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autoCompressPictures="0">
  <p:sldMasterIdLst>
    <p:sldMasterId id="2147484082" r:id="rId1"/>
    <p:sldMasterId id="2147484198" r:id="rId2"/>
    <p:sldMasterId id="2147484223" r:id="rId3"/>
  </p:sldMasterIdLst>
  <p:notesMasterIdLst>
    <p:notesMasterId r:id="rId38"/>
  </p:notesMasterIdLst>
  <p:handoutMasterIdLst>
    <p:handoutMasterId r:id="rId39"/>
  </p:handoutMasterIdLst>
  <p:sldIdLst>
    <p:sldId id="1135" r:id="rId4"/>
    <p:sldId id="1054" r:id="rId5"/>
    <p:sldId id="1251" r:id="rId6"/>
    <p:sldId id="1211" r:id="rId7"/>
    <p:sldId id="1212" r:id="rId8"/>
    <p:sldId id="1213" r:id="rId9"/>
    <p:sldId id="1254" r:id="rId10"/>
    <p:sldId id="1214" r:id="rId11"/>
    <p:sldId id="1216" r:id="rId12"/>
    <p:sldId id="1217" r:id="rId13"/>
    <p:sldId id="1255" r:id="rId14"/>
    <p:sldId id="1182" r:id="rId15"/>
    <p:sldId id="1164" r:id="rId16"/>
    <p:sldId id="1218" r:id="rId17"/>
    <p:sldId id="1181" r:id="rId18"/>
    <p:sldId id="1256" r:id="rId19"/>
    <p:sldId id="1262" r:id="rId20"/>
    <p:sldId id="1220" r:id="rId21"/>
    <p:sldId id="1221" r:id="rId22"/>
    <p:sldId id="1222" r:id="rId23"/>
    <p:sldId id="1223" r:id="rId24"/>
    <p:sldId id="1183" r:id="rId25"/>
    <p:sldId id="1260" r:id="rId26"/>
    <p:sldId id="1253" r:id="rId27"/>
    <p:sldId id="1250" r:id="rId28"/>
    <p:sldId id="1138" r:id="rId29"/>
    <p:sldId id="1225" r:id="rId30"/>
    <p:sldId id="1215" r:id="rId31"/>
    <p:sldId id="1257" r:id="rId32"/>
    <p:sldId id="1150" r:id="rId33"/>
    <p:sldId id="1147" r:id="rId34"/>
    <p:sldId id="1261" r:id="rId35"/>
    <p:sldId id="1258" r:id="rId36"/>
    <p:sldId id="1076" r:id="rId37"/>
  </p:sldIdLst>
  <p:sldSz cx="12436475" cy="6994525"/>
  <p:notesSz cx="6858000" cy="9144000"/>
  <p:embeddedFontLst>
    <p:embeddedFont>
      <p:font typeface="Segoe" panose="020B0502040504020203" pitchFamily="34" charset="0"/>
      <p:regular r:id="rId40"/>
      <p:bold r:id="rId41"/>
      <p:italic r:id="rId42"/>
      <p:boldItalic r:id="rId43"/>
    </p:embeddedFont>
    <p:embeddedFont>
      <p:font typeface="Calibri" panose="020F0502020204030204" pitchFamily="34" charset="0"/>
      <p:regular r:id="rId44"/>
      <p:bold r:id="rId45"/>
      <p:italic r:id="rId46"/>
      <p:boldItalic r:id="rId47"/>
    </p:embeddedFont>
    <p:embeddedFont>
      <p:font typeface="Segoe UI Light" panose="020B0502040204020203" pitchFamily="34" charset="0"/>
      <p:regular r:id="rId48"/>
      <p:italic r:id="rId49"/>
    </p:embeddedFont>
    <p:embeddedFont>
      <p:font typeface="Segoe UI" panose="020B0502040204020203" pitchFamily="34" charset="0"/>
      <p:regular r:id="rId50"/>
      <p:bold r:id="rId51"/>
      <p:italic r:id="rId52"/>
      <p:boldItalic r:id="rId53"/>
    </p:embeddedFont>
    <p:embeddedFont>
      <p:font typeface="Consolas" panose="020B0609020204030204" pitchFamily="49" charset="0"/>
      <p:regular r:id="rId54"/>
      <p:bold r:id="rId55"/>
      <p:italic r:id="rId56"/>
      <p:boldItalic r:id="rId57"/>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E8935"/>
    <a:srgbClr val="7DAD2E"/>
    <a:srgbClr val="5C6543"/>
    <a:srgbClr val="F38704"/>
    <a:srgbClr val="7FBA00"/>
    <a:srgbClr val="007233"/>
    <a:srgbClr val="0072C6"/>
    <a:srgbClr val="B4009E"/>
    <a:srgbClr val="B0B1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84549" autoAdjust="0"/>
  </p:normalViewPr>
  <p:slideViewPr>
    <p:cSldViewPr snapToGrid="0">
      <p:cViewPr varScale="1">
        <p:scale>
          <a:sx n="103" d="100"/>
          <a:sy n="103" d="100"/>
        </p:scale>
        <p:origin x="750" y="11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handoutMaster" Target="handoutMasters/handout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font" Target="fonts/font16.fntdata"/><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font" Target="fonts/font2.fntdata"/><Relationship Id="rId54" Type="http://schemas.openxmlformats.org/officeDocument/2006/relationships/font" Target="fonts/font15.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58"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font" Target="fonts/font10.fntdata"/><Relationship Id="rId57" Type="http://schemas.openxmlformats.org/officeDocument/2006/relationships/font" Target="fonts/font18.fntdata"/><Relationship Id="rId61"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5.fntdata"/><Relationship Id="rId52" Type="http://schemas.openxmlformats.org/officeDocument/2006/relationships/font" Target="fonts/font13.fntdata"/><Relationship Id="rId6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font" Target="fonts/font17.fntdata"/><Relationship Id="rId8" Type="http://schemas.openxmlformats.org/officeDocument/2006/relationships/slide" Target="slides/slide5.xml"/><Relationship Id="rId51" Type="http://schemas.openxmlformats.org/officeDocument/2006/relationships/font" Target="fonts/font12.fnt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notesMaster" Target="notesMasters/notesMaster1.xml"/><Relationship Id="rId46" Type="http://schemas.openxmlformats.org/officeDocument/2006/relationships/font" Target="fonts/font7.fntdata"/><Relationship Id="rId5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5/2013 3:1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5/2013 3:1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5/2013 3:17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r>
              <a:rPr lang="en-US" dirty="0" smtClean="0"/>
              <a:t>TechEd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5</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5/2013 3:18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8113022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System Center Marketing</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CCE84A5-4EA1-4A55-926F-3ADCB7F720B5}" type="datetime1">
              <a:rPr lang="en-US" smtClean="0"/>
              <a:pPr/>
              <a:t>6/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7842816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2</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5/2013 3:18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4998411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28058246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6</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5/2013 3:18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8396119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6BC32A-D626-4547-94C7-09CBFC16BCAA}" type="slidenum">
              <a:rPr lang="en-US" smtClean="0"/>
              <a:pPr/>
              <a:t>27</a:t>
            </a:fld>
            <a:endParaRPr lang="en-US"/>
          </a:p>
        </p:txBody>
      </p:sp>
    </p:spTree>
    <p:extLst>
      <p:ext uri="{BB962C8B-B14F-4D97-AF65-F5344CB8AC3E}">
        <p14:creationId xmlns:p14="http://schemas.microsoft.com/office/powerpoint/2010/main" val="16601122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28</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5/2013 3:18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7476982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29</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5/2013 3:18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7766756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3: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3:1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5/2013 3:17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9738577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5/2013 3:1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8579229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4</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5/2013 3:18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6002">
              <a:spcAft>
                <a:spcPts val="359"/>
              </a:spcAft>
            </a:pPr>
            <a:endParaRPr lang="en-US" dirty="0"/>
          </a:p>
        </p:txBody>
      </p:sp>
      <p:sp>
        <p:nvSpPr>
          <p:cNvPr id="4" name="Header Placeholder 3"/>
          <p:cNvSpPr>
            <a:spLocks noGrp="1"/>
          </p:cNvSpPr>
          <p:nvPr>
            <p:ph type="hdr" sz="quarter" idx="10"/>
          </p:nvPr>
        </p:nvSpPr>
        <p:spPr/>
        <p:txBody>
          <a:bodyPr/>
          <a:lstStyle/>
          <a:p>
            <a:r>
              <a:rPr lang="en-US" dirty="0" smtClean="0"/>
              <a:t>System Center Marketing</a:t>
            </a:r>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A2963FC-9880-4ED8-88F9-4852F55792AE}" type="datetime1">
              <a:rPr lang="en-US" smtClean="0"/>
              <a:t>6/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305400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r>
              <a:rPr lang="en-US" dirty="0" smtClean="0"/>
              <a:t>System Center Marketing</a:t>
            </a:r>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224AE01-E607-472F-B330-D48EA6509D82}" type="datetime1">
              <a:rPr lang="en-US" smtClean="0"/>
              <a:t>6/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015237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System Center Marketing</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8C6A1CB-B377-413A-BDC0-228849BAE23A}" type="datetime1">
              <a:rPr lang="en-US" smtClean="0"/>
              <a:pPr/>
              <a:t>6/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312128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4072DC-4D4A-44A6-9718-D6EFA394B02B}"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2653508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9C2955BE-9B3E-4317-9D0E-093050C636A9}" type="datetime1">
              <a:rPr lang="en-US" smtClean="0"/>
              <a:t>6/5/2013</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14496095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5/2013 3:18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592830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1705098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62153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5788092"/>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with 2 lines of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7" y="1406494"/>
            <a:ext cx="11644835" cy="1778949"/>
          </a:xfrm>
        </p:spPr>
        <p:txBody>
          <a:bodyPr wrap="square">
            <a:spAutoFit/>
          </a:bodyPr>
          <a:lstStyle>
            <a:lvl1pPr>
              <a:buClr>
                <a:schemeClr val="accent3"/>
              </a:buClr>
              <a:defRPr>
                <a:gradFill>
                  <a:gsLst>
                    <a:gs pos="1250">
                      <a:schemeClr val="accent3"/>
                    </a:gs>
                    <a:gs pos="99000">
                      <a:schemeClr val="accent3"/>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74320" y="471031"/>
            <a:ext cx="10816814" cy="748169"/>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214644225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09552" y="513797"/>
            <a:ext cx="11428171" cy="742628"/>
          </a:xfrm>
        </p:spPr>
        <p:txBody>
          <a:bodyPr vert="horz" lIns="0" tIns="0" rIns="0" bIns="0" rtlCol="0">
            <a:noAutofit/>
          </a:bodyPr>
          <a:lstStyle>
            <a:lvl1pPr>
              <a:defRPr lang="en-US" sz="4899" dirty="0" smtClean="0"/>
            </a:lvl1pPr>
          </a:lstStyle>
          <a:p>
            <a:pPr lvl="0"/>
            <a:r>
              <a:rPr lang="en-US" dirty="0" smtClean="0"/>
              <a:t>Click to edit Master text styles</a:t>
            </a:r>
          </a:p>
        </p:txBody>
      </p:sp>
    </p:spTree>
    <p:extLst>
      <p:ext uri="{BB962C8B-B14F-4D97-AF65-F5344CB8AC3E}">
        <p14:creationId xmlns:p14="http://schemas.microsoft.com/office/powerpoint/2010/main" val="375219827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49702699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7391254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16375686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109712" rIns="146283" bIns="109712"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8883586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247292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356574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030882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7659981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8039455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8271118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5410279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4944744"/>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1344613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1494168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351348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5086659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513081"/>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11457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37173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809283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10200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081916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29662" y="1476625"/>
            <a:ext cx="5597871" cy="1940531"/>
          </a:xfrm>
        </p:spPr>
        <p:txBody>
          <a:bodyPr/>
          <a:lstStyle>
            <a:lvl1pPr marL="346713" indent="-346713">
              <a:lnSpc>
                <a:spcPct val="90000"/>
              </a:lnSpc>
              <a:defRPr sz="2900"/>
            </a:lvl1pPr>
            <a:lvl2pPr marL="686682" indent="-331873">
              <a:lnSpc>
                <a:spcPct val="90000"/>
              </a:lnSpc>
              <a:defRPr sz="2400"/>
            </a:lvl2pPr>
            <a:lvl3pPr marL="972686" indent="-294099">
              <a:lnSpc>
                <a:spcPct val="90000"/>
              </a:lnSpc>
              <a:defRPr sz="2000"/>
            </a:lvl3pPr>
            <a:lvl4pPr marL="1251946" indent="-279260">
              <a:lnSpc>
                <a:spcPct val="90000"/>
              </a:lnSpc>
              <a:defRPr sz="1800"/>
            </a:lvl4pPr>
            <a:lvl5pPr marL="1546045" indent="-286005">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7" y="1476625"/>
            <a:ext cx="5597871" cy="1940531"/>
          </a:xfrm>
        </p:spPr>
        <p:txBody>
          <a:bodyPr/>
          <a:lstStyle>
            <a:lvl1pPr marL="354809" indent="-354809">
              <a:lnSpc>
                <a:spcPct val="90000"/>
              </a:lnSpc>
              <a:defRPr sz="2900"/>
            </a:lvl1pPr>
            <a:lvl2pPr marL="686682" indent="-346713">
              <a:lnSpc>
                <a:spcPct val="90000"/>
              </a:lnSpc>
              <a:defRPr sz="2400"/>
            </a:lvl2pPr>
            <a:lvl3pPr marL="980781" indent="-308940">
              <a:lnSpc>
                <a:spcPct val="90000"/>
              </a:lnSpc>
              <a:defRPr sz="2000"/>
            </a:lvl3pPr>
            <a:lvl4pPr marL="1251946" indent="-271165">
              <a:lnSpc>
                <a:spcPct val="90000"/>
              </a:lnSpc>
              <a:defRPr sz="1800"/>
            </a:lvl4pPr>
            <a:lvl5pPr marL="1546045" indent="-279260">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3"/>
          <p:cNvSpPr txBox="1">
            <a:spLocks/>
          </p:cNvSpPr>
          <p:nvPr/>
        </p:nvSpPr>
        <p:spPr>
          <a:xfrm>
            <a:off x="309375" y="6482893"/>
            <a:ext cx="2900981" cy="372394"/>
          </a:xfrm>
          <a:prstGeom prst="rect">
            <a:avLst/>
          </a:prstGeom>
        </p:spPr>
        <p:txBody>
          <a:bodyPr vert="horz" lIns="93257" tIns="46628" rIns="93257" bIns="46628" rtlCol="0" anchor="ctr"/>
          <a:lstStyle>
            <a:lvl1pPr algn="l">
              <a:defRPr sz="1200">
                <a:solidFill>
                  <a:schemeClr val="tx1">
                    <a:tint val="75000"/>
                  </a:schemeClr>
                </a:solidFill>
              </a:defRPr>
            </a:lvl1pPr>
          </a:lstStyle>
          <a:p>
            <a:pPr defTabSz="932483">
              <a:defRPr/>
            </a:pPr>
            <a:fld id="{24516EDB-3C53-4793-B056-19F9B4AE913A}" type="slidenum">
              <a:rPr lang="en-US" sz="1199" smtClean="0">
                <a:solidFill>
                  <a:srgbClr val="292929">
                    <a:tint val="75000"/>
                  </a:srgbClr>
                </a:solidFill>
              </a:rPr>
              <a:pPr defTabSz="932483">
                <a:defRPr/>
              </a:pPr>
              <a:t>‹#›</a:t>
            </a:fld>
            <a:endParaRPr lang="en-US" sz="1199" dirty="0">
              <a:solidFill>
                <a:srgbClr val="292929">
                  <a:tint val="75000"/>
                </a:srgbClr>
              </a:solidFill>
            </a:endParaRPr>
          </a:p>
        </p:txBody>
      </p:sp>
    </p:spTree>
    <p:extLst>
      <p:ext uri="{BB962C8B-B14F-4D97-AF65-F5344CB8AC3E}">
        <p14:creationId xmlns:p14="http://schemas.microsoft.com/office/powerpoint/2010/main" val="268949904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7329" y="233153"/>
            <a:ext cx="11375536" cy="476742"/>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3"/>
          <p:cNvSpPr txBox="1">
            <a:spLocks/>
          </p:cNvSpPr>
          <p:nvPr/>
        </p:nvSpPr>
        <p:spPr>
          <a:xfrm>
            <a:off x="309375" y="6482893"/>
            <a:ext cx="2900981" cy="372394"/>
          </a:xfrm>
          <a:prstGeom prst="rect">
            <a:avLst/>
          </a:prstGeom>
        </p:spPr>
        <p:txBody>
          <a:bodyPr vert="horz" lIns="93257" tIns="46628" rIns="93257" bIns="46628" rtlCol="0" anchor="ctr"/>
          <a:lstStyle>
            <a:lvl1pPr algn="l">
              <a:defRPr sz="1200">
                <a:solidFill>
                  <a:schemeClr val="tx1">
                    <a:tint val="75000"/>
                  </a:schemeClr>
                </a:solidFill>
              </a:defRPr>
            </a:lvl1pPr>
          </a:lstStyle>
          <a:p>
            <a:pPr defTabSz="932483">
              <a:defRPr/>
            </a:pPr>
            <a:fld id="{24516EDB-3C53-4793-B056-19F9B4AE913A}" type="slidenum">
              <a:rPr lang="en-US" sz="1199" smtClean="0">
                <a:solidFill>
                  <a:srgbClr val="292929">
                    <a:tint val="75000"/>
                  </a:srgbClr>
                </a:solidFill>
              </a:rPr>
              <a:pPr defTabSz="932483">
                <a:defRPr/>
              </a:pPr>
              <a:t>‹#›</a:t>
            </a:fld>
            <a:endParaRPr lang="en-US" sz="1199" dirty="0">
              <a:solidFill>
                <a:srgbClr val="292929">
                  <a:tint val="75000"/>
                </a:srgbClr>
              </a:solidFill>
            </a:endParaRPr>
          </a:p>
        </p:txBody>
      </p:sp>
    </p:spTree>
    <p:extLst>
      <p:ext uri="{BB962C8B-B14F-4D97-AF65-F5344CB8AC3E}">
        <p14:creationId xmlns:p14="http://schemas.microsoft.com/office/powerpoint/2010/main" val="88407725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429237162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6534620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9185888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738076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470765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663238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13463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8741490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418413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747704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6424956"/>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5303180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4932665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836651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622553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298712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950191"/>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939540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371677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69660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52988261"/>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012932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547102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heme" Target="../theme/theme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6" r:id="rId23"/>
    <p:sldLayoutId id="2147484197" r:id="rId24"/>
    <p:sldLayoutId id="2147484247" r:id="rId2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1475150"/>
      </p:ext>
    </p:extLst>
  </p:cSld>
  <p:clrMap bg1="dk1" tx1="lt1" bg2="dk2" tx2="lt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 id="2147484216" r:id="rId18"/>
    <p:sldLayoutId id="2147484217" r:id="rId19"/>
    <p:sldLayoutId id="2147484218" r:id="rId20"/>
    <p:sldLayoutId id="2147484219" r:id="rId21"/>
    <p:sldLayoutId id="2147484220" r:id="rId22"/>
    <p:sldLayoutId id="2147484221" r:id="rId23"/>
    <p:sldLayoutId id="2147484222" r:id="rId24"/>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5498083"/>
      </p:ext>
    </p:extLst>
  </p:cSld>
  <p:clrMap bg1="dk1" tx1="lt1" bg2="dk2" tx2="lt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tags" Target="../tags/tag3.xml"/><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tags" Target="../tags/tag2.xml"/><Relationship Id="rId16" Type="http://schemas.openxmlformats.org/officeDocument/2006/relationships/image" Target="../media/image40.png"/><Relationship Id="rId1" Type="http://schemas.openxmlformats.org/officeDocument/2006/relationships/tags" Target="../tags/tag1.xml"/><Relationship Id="rId6" Type="http://schemas.openxmlformats.org/officeDocument/2006/relationships/notesSlide" Target="../notesSlides/notesSlide6.xml"/><Relationship Id="rId11" Type="http://schemas.openxmlformats.org/officeDocument/2006/relationships/image" Target="../media/image35.png"/><Relationship Id="rId5" Type="http://schemas.openxmlformats.org/officeDocument/2006/relationships/slideLayout" Target="../slideLayouts/slideLayout16.xml"/><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tags" Target="../tags/tag4.xml"/><Relationship Id="rId9" Type="http://schemas.openxmlformats.org/officeDocument/2006/relationships/image" Target="../media/image33.png"/><Relationship Id="rId14" Type="http://schemas.openxmlformats.org/officeDocument/2006/relationships/image" Target="../media/image3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8" Type="http://schemas.openxmlformats.org/officeDocument/2006/relationships/hyperlink" Target="microsoft.com/windows/wtg" TargetMode="External"/><Relationship Id="rId3" Type="http://schemas.openxmlformats.org/officeDocument/2006/relationships/image" Target="../media/image49.png"/><Relationship Id="rId7" Type="http://schemas.openxmlformats.org/officeDocument/2006/relationships/hyperlink" Target="microsoft.com/dv" TargetMode="External"/><Relationship Id="rId2" Type="http://schemas.openxmlformats.org/officeDocument/2006/relationships/notesSlide" Target="../notesSlides/notesSlide17.xml"/><Relationship Id="rId1" Type="http://schemas.openxmlformats.org/officeDocument/2006/relationships/slideLayout" Target="../slideLayouts/slideLayout41.xml"/><Relationship Id="rId6" Type="http://schemas.openxmlformats.org/officeDocument/2006/relationships/hyperlink" Target="microsoft.com/mdop" TargetMode="External"/><Relationship Id="rId5" Type="http://schemas.openxmlformats.org/officeDocument/2006/relationships/hyperlink" Target="windows.com/ITpro" TargetMode="External"/><Relationship Id="rId4" Type="http://schemas.openxmlformats.org/officeDocument/2006/relationships/hyperlink" Target="windows.com/enterprise" TargetMode="External"/><Relationship Id="rId9" Type="http://schemas.openxmlformats.org/officeDocument/2006/relationships/hyperlink" Target="tryoutlook.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png"/><Relationship Id="rId7" Type="http://schemas.openxmlformats.org/officeDocument/2006/relationships/image" Target="../media/image55.jpe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png"/><Relationship Id="rId9" Type="http://schemas.openxmlformats.org/officeDocument/2006/relationships/image" Target="../media/image57.jpeg"/></Relationships>
</file>

<file path=ppt/slides/_rels/slide32.xml.rels><?xml version="1.0" encoding="UTF-8" standalone="yes"?>
<Relationships xmlns="http://schemas.openxmlformats.org/package/2006/relationships"><Relationship Id="rId8" Type="http://schemas.openxmlformats.org/officeDocument/2006/relationships/hyperlink" Target="http://www.microsoft.com/workstyle" TargetMode="External"/><Relationship Id="rId3" Type="http://schemas.openxmlformats.org/officeDocument/2006/relationships/hyperlink" Target="../technet.microsoft.com/en-us/evalcenter/hh667640.aspx?wt.mc_id=TEC_105_1_33" TargetMode="External"/><Relationship Id="rId7" Type="http://schemas.openxmlformats.org/officeDocument/2006/relationships/hyperlink" Target="http://www.microsoft.com/en-us/server-cloud/windows-server/virtual-desktop-infrastructure.aspx" TargetMode="External"/><Relationship Id="rId2" Type="http://schemas.openxmlformats.org/officeDocument/2006/relationships/notesSlide" Target="../notesSlides/notesSlide20.xml"/><Relationship Id="rId1" Type="http://schemas.openxmlformats.org/officeDocument/2006/relationships/slideLayout" Target="../slideLayouts/slideLayout25.xml"/><Relationship Id="rId6" Type="http://schemas.openxmlformats.org/officeDocument/2006/relationships/hyperlink" Target="http://technet.microsoft.com/en-us/evalcenter/hh670538.aspx?ocid=&amp;wt.mc_id=TEC_108_1_33" TargetMode="External"/><Relationship Id="rId5" Type="http://schemas.openxmlformats.org/officeDocument/2006/relationships/hyperlink" Target="http://www.microsoft.com/en-us/server-cloud/windows-server" TargetMode="External"/><Relationship Id="rId10" Type="http://schemas.openxmlformats.org/officeDocument/2006/relationships/image" Target="../media/image58.png"/><Relationship Id="rId4" Type="http://schemas.openxmlformats.org/officeDocument/2006/relationships/hyperlink" Target="http://www.microsoft.com/en-us/windows/windowsintune/try-and-buy" TargetMode="External"/><Relationship Id="rId9" Type="http://schemas.openxmlformats.org/officeDocument/2006/relationships/hyperlink" Target="http://www.microsoft.com/server-cloud/user-device-management"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65.xml"/><Relationship Id="rId5" Type="http://schemas.openxmlformats.org/officeDocument/2006/relationships/image" Target="../media/image61.png"/><Relationship Id="rId4" Type="http://schemas.openxmlformats.org/officeDocument/2006/relationships/image" Target="../media/image60.png"/></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14.png"/><Relationship Id="rId4" Type="http://schemas.openxmlformats.org/officeDocument/2006/relationships/image" Target="../media/image16.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7.png"/><Relationship Id="rId7" Type="http://schemas.openxmlformats.org/officeDocument/2006/relationships/image" Target="../media/image29.png"/><Relationship Id="rId2" Type="http://schemas.openxmlformats.org/officeDocument/2006/relationships/image" Target="../media/image26.png"/><Relationship Id="rId1" Type="http://schemas.openxmlformats.org/officeDocument/2006/relationships/slideLayout" Target="../slideLayouts/slideLayout16.xml"/><Relationship Id="rId6" Type="http://schemas.openxmlformats.org/officeDocument/2006/relationships/image" Target="../media/image18.png"/><Relationship Id="rId5" Type="http://schemas.openxmlformats.org/officeDocument/2006/relationships/image" Target="../media/image15.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1166" y="292406"/>
            <a:ext cx="11372310" cy="627838"/>
          </a:xfrm>
        </p:spPr>
        <p:txBody>
          <a:bodyPr vert="horz" wrap="square" lIns="146283" tIns="91427" rIns="146283" bIns="91427" rtlCol="0" anchor="t">
            <a:spAutoFit/>
          </a:bodyPr>
          <a:lstStyle/>
          <a:p>
            <a:r>
              <a:rPr lang="en-US" sz="3200" dirty="0" smtClean="0"/>
              <a:t>Registering and Enrolling Devices</a:t>
            </a:r>
            <a:endParaRPr lang="en-US" sz="3199" dirty="0"/>
          </a:p>
        </p:txBody>
      </p:sp>
      <p:sp>
        <p:nvSpPr>
          <p:cNvPr id="2" name="Slide Number Placeholder 1"/>
          <p:cNvSpPr>
            <a:spLocks noGrp="1"/>
          </p:cNvSpPr>
          <p:nvPr>
            <p:ph type="sldNum" sz="quarter" idx="4294967295"/>
          </p:nvPr>
        </p:nvSpPr>
        <p:spPr>
          <a:xfrm>
            <a:off x="11650175" y="6573013"/>
            <a:ext cx="511664" cy="124650"/>
          </a:xfrm>
          <a:prstGeom prst="rect">
            <a:avLst/>
          </a:prstGeo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10</a:t>
            </a:fld>
            <a:endParaRPr dirty="0">
              <a:gradFill>
                <a:gsLst>
                  <a:gs pos="0">
                    <a:srgbClr val="505050"/>
                  </a:gs>
                  <a:gs pos="100000">
                    <a:srgbClr val="505050"/>
                  </a:gs>
                </a:gsLst>
                <a:lin ang="5400000" scaled="0"/>
              </a:gradFill>
            </a:endParaRPr>
          </a:p>
        </p:txBody>
      </p:sp>
      <p:sp>
        <p:nvSpPr>
          <p:cNvPr id="459" name="Rectangle 458"/>
          <p:cNvSpPr/>
          <p:nvPr>
            <p:custDataLst>
              <p:tags r:id="rId1"/>
            </p:custDataLst>
          </p:nvPr>
        </p:nvSpPr>
        <p:spPr bwMode="auto">
          <a:xfrm>
            <a:off x="3818649" y="5677297"/>
            <a:ext cx="4310704" cy="1038746"/>
          </a:xfrm>
          <a:prstGeom prst="rect">
            <a:avLst/>
          </a:prstGeom>
          <a:ln>
            <a:noFill/>
          </a:ln>
        </p:spPr>
        <p:txBody>
          <a:bodyPr vert="horz" wrap="square" lIns="0" tIns="0" rIns="0" bIns="0" rtlCol="0">
            <a:spAutoFit/>
          </a:bodyPr>
          <a:lstStyle/>
          <a:p>
            <a:pPr>
              <a:lnSpc>
                <a:spcPct val="90000"/>
              </a:lnSpc>
              <a:spcBef>
                <a:spcPts val="1224"/>
              </a:spcBef>
            </a:pPr>
            <a:r>
              <a:rPr lang="en-US" sz="1500" spc="-31" dirty="0" smtClean="0"/>
              <a:t>IT can </a:t>
            </a:r>
            <a:r>
              <a:rPr lang="en-US" sz="1500" b="1" spc="-31" dirty="0" smtClean="0"/>
              <a:t>publish access</a:t>
            </a:r>
            <a:r>
              <a:rPr lang="en-US" sz="1500" spc="-31" dirty="0" smtClean="0"/>
              <a:t> to corporate resources with the </a:t>
            </a:r>
            <a:r>
              <a:rPr lang="en-US" sz="1500" b="1" spc="-31" dirty="0" smtClean="0"/>
              <a:t>Web Application Proxy</a:t>
            </a:r>
            <a:r>
              <a:rPr lang="en-US" sz="1500" spc="-31" dirty="0" smtClean="0"/>
              <a:t> based </a:t>
            </a:r>
            <a:r>
              <a:rPr lang="en-US" sz="1500" spc="-31" dirty="0"/>
              <a:t>on </a:t>
            </a:r>
            <a:r>
              <a:rPr lang="en-US" sz="1500" spc="-31" dirty="0" smtClean="0"/>
              <a:t>device awareness and </a:t>
            </a:r>
            <a:r>
              <a:rPr lang="en-US" sz="1500" spc="-31" dirty="0"/>
              <a:t>the </a:t>
            </a:r>
            <a:r>
              <a:rPr lang="en-US" sz="1500" spc="-31" dirty="0" smtClean="0"/>
              <a:t>user’s identity.; </a:t>
            </a:r>
            <a:r>
              <a:rPr lang="en-US" sz="1500" b="1" spc="-31" dirty="0" smtClean="0"/>
              <a:t>multi-factor </a:t>
            </a:r>
            <a:r>
              <a:rPr lang="en-US" sz="1500" b="1" spc="-31" dirty="0"/>
              <a:t>authentication</a:t>
            </a:r>
            <a:r>
              <a:rPr lang="en-US" sz="1500" spc="-31" dirty="0"/>
              <a:t> can be used through </a:t>
            </a:r>
            <a:r>
              <a:rPr lang="en-US" sz="1500" b="1" spc="-31" dirty="0"/>
              <a:t>Windows Azure Active </a:t>
            </a:r>
            <a:r>
              <a:rPr lang="en-US" sz="1500" b="1" spc="-31" dirty="0" smtClean="0"/>
              <a:t>Authentication</a:t>
            </a:r>
            <a:r>
              <a:rPr lang="en-US" sz="1500" spc="-31" dirty="0" smtClean="0"/>
              <a:t> (formerly </a:t>
            </a:r>
            <a:r>
              <a:rPr lang="en-US" sz="1500" spc="-31" dirty="0" err="1" smtClean="0"/>
              <a:t>PhoneFactor</a:t>
            </a:r>
            <a:r>
              <a:rPr lang="en-US" sz="1500" spc="-31" dirty="0" smtClean="0"/>
              <a:t>)</a:t>
            </a:r>
            <a:endParaRPr lang="en-US" sz="1500" b="1" spc="-31" dirty="0"/>
          </a:p>
        </p:txBody>
      </p:sp>
      <p:sp>
        <p:nvSpPr>
          <p:cNvPr id="624" name="Rectangle 623"/>
          <p:cNvSpPr/>
          <p:nvPr/>
        </p:nvSpPr>
        <p:spPr bwMode="auto">
          <a:xfrm>
            <a:off x="465372" y="4491025"/>
            <a:ext cx="2374536" cy="1329595"/>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t>Users can </a:t>
            </a:r>
            <a:r>
              <a:rPr lang="en-US" sz="1600" b="1" spc="-30" dirty="0" smtClean="0"/>
              <a:t>register</a:t>
            </a:r>
            <a:r>
              <a:rPr lang="en-US" sz="1600" spc="-30" dirty="0" smtClean="0"/>
              <a:t> BYO devices for </a:t>
            </a:r>
            <a:r>
              <a:rPr lang="en-US" sz="1600" b="1" spc="-30" dirty="0" smtClean="0"/>
              <a:t>single </a:t>
            </a:r>
            <a:r>
              <a:rPr lang="en-US" sz="1600" b="1" spc="-30" dirty="0"/>
              <a:t>s</a:t>
            </a:r>
            <a:r>
              <a:rPr lang="en-US" sz="1600" b="1" spc="-30" dirty="0" smtClean="0"/>
              <a:t>ign-on </a:t>
            </a:r>
            <a:r>
              <a:rPr lang="en-US" sz="1600" spc="-30" dirty="0" smtClean="0"/>
              <a:t>and access to corporate data with </a:t>
            </a:r>
            <a:r>
              <a:rPr lang="en-US" sz="1600" b="1" spc="-30" dirty="0" smtClean="0"/>
              <a:t>Workplace Join</a:t>
            </a:r>
            <a:r>
              <a:rPr lang="en-US" sz="1600" spc="-30" dirty="0" smtClean="0"/>
              <a:t>. As part </a:t>
            </a:r>
            <a:r>
              <a:rPr lang="en-US" sz="1600" spc="-30" dirty="0"/>
              <a:t>of this, </a:t>
            </a:r>
            <a:r>
              <a:rPr lang="en-US" sz="1600" spc="-30" dirty="0" smtClean="0"/>
              <a:t>a </a:t>
            </a:r>
            <a:r>
              <a:rPr lang="en-US" sz="1600" b="1" spc="-30" dirty="0"/>
              <a:t>certificate</a:t>
            </a:r>
            <a:r>
              <a:rPr lang="en-US" sz="1600" spc="-30" dirty="0"/>
              <a:t> is installed on the </a:t>
            </a:r>
            <a:r>
              <a:rPr lang="en-US" sz="1600" spc="-30" dirty="0" smtClean="0"/>
              <a:t>device</a:t>
            </a:r>
            <a:endParaRPr lang="en-US" sz="1600" b="1" spc="-30" dirty="0" smtClean="0"/>
          </a:p>
        </p:txBody>
      </p:sp>
      <p:sp>
        <p:nvSpPr>
          <p:cNvPr id="637" name="Rectangle 636"/>
          <p:cNvSpPr/>
          <p:nvPr/>
        </p:nvSpPr>
        <p:spPr bwMode="auto">
          <a:xfrm>
            <a:off x="4829564" y="1675907"/>
            <a:ext cx="3226710" cy="1038746"/>
          </a:xfrm>
          <a:prstGeom prst="rect">
            <a:avLst/>
          </a:prstGeom>
          <a:ln>
            <a:noFill/>
          </a:ln>
        </p:spPr>
        <p:txBody>
          <a:bodyPr vert="horz" wrap="square" lIns="0" tIns="0" rIns="0" bIns="0" rtlCol="0">
            <a:spAutoFit/>
          </a:bodyPr>
          <a:lstStyle/>
          <a:p>
            <a:pPr>
              <a:lnSpc>
                <a:spcPct val="90000"/>
              </a:lnSpc>
              <a:spcBef>
                <a:spcPts val="1200"/>
              </a:spcBef>
            </a:pPr>
            <a:r>
              <a:rPr lang="en-US" sz="1500" spc="-30" dirty="0" smtClean="0"/>
              <a:t>Users can </a:t>
            </a:r>
            <a:r>
              <a:rPr lang="en-US" sz="1500" b="1" spc="-30" dirty="0" smtClean="0"/>
              <a:t>enroll devices </a:t>
            </a:r>
            <a:r>
              <a:rPr lang="en-US" sz="1500" spc="-30" dirty="0" smtClean="0"/>
              <a:t>that configure the device for management with Windows </a:t>
            </a:r>
            <a:r>
              <a:rPr lang="en-US" sz="1500" spc="-30" dirty="0" err="1" smtClean="0"/>
              <a:t>Intune</a:t>
            </a:r>
            <a:r>
              <a:rPr lang="en-US" sz="1500" spc="-30" dirty="0" smtClean="0"/>
              <a:t>; the user can then use the </a:t>
            </a:r>
            <a:r>
              <a:rPr lang="en-US" sz="1500" b="1" spc="-30" dirty="0" smtClean="0"/>
              <a:t>Company Portal </a:t>
            </a:r>
            <a:r>
              <a:rPr lang="en-US" sz="1500" spc="-30" dirty="0" smtClean="0"/>
              <a:t>for easy access to corporate applications</a:t>
            </a:r>
            <a:endParaRPr lang="en-US" sz="1500" spc="-30" dirty="0"/>
          </a:p>
        </p:txBody>
      </p:sp>
      <p:sp>
        <p:nvSpPr>
          <p:cNvPr id="354" name="Rectangle 353"/>
          <p:cNvSpPr/>
          <p:nvPr/>
        </p:nvSpPr>
        <p:spPr bwMode="auto">
          <a:xfrm>
            <a:off x="9467850" y="5534557"/>
            <a:ext cx="2682930" cy="1038746"/>
          </a:xfrm>
          <a:prstGeom prst="rect">
            <a:avLst/>
          </a:prstGeom>
          <a:ln>
            <a:noFill/>
          </a:ln>
        </p:spPr>
        <p:txBody>
          <a:bodyPr vert="horz" wrap="square" lIns="0" tIns="0" rIns="0" bIns="0" rtlCol="0">
            <a:spAutoFit/>
          </a:bodyPr>
          <a:lstStyle/>
          <a:p>
            <a:pPr>
              <a:lnSpc>
                <a:spcPct val="90000"/>
              </a:lnSpc>
              <a:spcBef>
                <a:spcPts val="1200"/>
              </a:spcBef>
            </a:pPr>
            <a:r>
              <a:rPr lang="en-US" sz="1500" spc="-30" dirty="0" smtClean="0"/>
              <a:t>As part of the registration process, a new </a:t>
            </a:r>
            <a:r>
              <a:rPr lang="en-US" sz="1500" b="1" spc="-30" dirty="0" smtClean="0"/>
              <a:t>device object </a:t>
            </a:r>
            <a:r>
              <a:rPr lang="en-US" sz="1500" spc="-30" dirty="0" smtClean="0"/>
              <a:t>is created in Active Directory, establishing a link between the user and their device</a:t>
            </a:r>
            <a:endParaRPr lang="en-US" sz="1500" b="1" spc="-30" dirty="0" smtClean="0"/>
          </a:p>
        </p:txBody>
      </p:sp>
      <p:sp>
        <p:nvSpPr>
          <p:cNvPr id="372" name="Rectangle 371"/>
          <p:cNvSpPr/>
          <p:nvPr>
            <p:custDataLst>
              <p:tags r:id="rId2"/>
            </p:custDataLst>
          </p:nvPr>
        </p:nvSpPr>
        <p:spPr bwMode="auto">
          <a:xfrm>
            <a:off x="9477375" y="2095201"/>
            <a:ext cx="2682930" cy="1246495"/>
          </a:xfrm>
          <a:prstGeom prst="rect">
            <a:avLst/>
          </a:prstGeom>
          <a:ln>
            <a:noFill/>
          </a:ln>
        </p:spPr>
        <p:txBody>
          <a:bodyPr vert="horz" wrap="square" lIns="0" tIns="0" rIns="0" bIns="0" rtlCol="0">
            <a:spAutoFit/>
          </a:bodyPr>
          <a:lstStyle/>
          <a:p>
            <a:pPr>
              <a:lnSpc>
                <a:spcPct val="90000"/>
              </a:lnSpc>
              <a:spcBef>
                <a:spcPts val="1224"/>
              </a:spcBef>
            </a:pPr>
            <a:r>
              <a:rPr lang="en-US" sz="1500" spc="-31" dirty="0" smtClean="0"/>
              <a:t>Data from </a:t>
            </a:r>
            <a:r>
              <a:rPr lang="en-US" sz="1500" b="1" spc="-31" dirty="0" smtClean="0"/>
              <a:t>Windows </a:t>
            </a:r>
            <a:r>
              <a:rPr lang="en-US" sz="1500" b="1" spc="-31" dirty="0" err="1" smtClean="0"/>
              <a:t>Intune</a:t>
            </a:r>
            <a:r>
              <a:rPr lang="en-US" sz="1500" b="1" spc="-31" dirty="0" smtClean="0"/>
              <a:t> </a:t>
            </a:r>
            <a:r>
              <a:rPr lang="en-US" sz="1500" spc="-31" dirty="0" smtClean="0"/>
              <a:t>is in sync with </a:t>
            </a:r>
            <a:r>
              <a:rPr lang="en-US" sz="1500" b="1" spc="-31" dirty="0" smtClean="0"/>
              <a:t>Configuration Manager, </a:t>
            </a:r>
            <a:r>
              <a:rPr lang="en-US" sz="1500" spc="-31" dirty="0" smtClean="0"/>
              <a:t>which provides </a:t>
            </a:r>
            <a:r>
              <a:rPr lang="en-US" sz="1500" b="1" spc="-31" dirty="0" smtClean="0"/>
              <a:t>unified management </a:t>
            </a:r>
            <a:r>
              <a:rPr lang="en-US" sz="1500" spc="-31" dirty="0" smtClean="0"/>
              <a:t>across both on-premises and in the cloud</a:t>
            </a:r>
            <a:endParaRPr lang="en-US" sz="1500" spc="-31" dirty="0"/>
          </a:p>
        </p:txBody>
      </p:sp>
      <p:pic>
        <p:nvPicPr>
          <p:cNvPr id="100" name="Picture 3"/>
          <p:cNvPicPr>
            <a:picLocks noChangeAspect="1" noChangeArrowheads="1"/>
          </p:cNvPicPr>
          <p:nvPr/>
        </p:nvPicPr>
        <p:blipFill>
          <a:blip r:embed="rId7" cstate="screen">
            <a:lum bright="70000" contrast="-70000"/>
            <a:extLst>
              <a:ext uri="{28A0092B-C50C-407E-A947-70E740481C1C}">
                <a14:useLocalDpi xmlns:a14="http://schemas.microsoft.com/office/drawing/2010/main"/>
              </a:ext>
            </a:extLst>
          </a:blip>
          <a:stretch>
            <a:fillRect/>
          </a:stretch>
        </p:blipFill>
        <p:spPr bwMode="auto">
          <a:xfrm>
            <a:off x="1152359" y="1551125"/>
            <a:ext cx="737305" cy="1110509"/>
          </a:xfrm>
          <a:prstGeom prst="rect">
            <a:avLst/>
          </a:prstGeom>
          <a:blipFill dpi="0" rotWithShape="1">
            <a:blip r:embed="rId8" cstate="screen">
              <a:alphaModFix amt="95000"/>
              <a:lum bright="70000" contrast="-70000"/>
              <a:extLst>
                <a:ext uri="{28A0092B-C50C-407E-A947-70E740481C1C}">
                  <a14:useLocalDpi xmlns:a14="http://schemas.microsoft.com/office/drawing/2010/main"/>
                </a:ext>
              </a:extLst>
            </a:blip>
            <a:srcRect/>
            <a:stretch>
              <a:fillRect/>
            </a:stretch>
          </a:blipFill>
          <a:ln w="55000" cap="flat" cmpd="thickThin" algn="ctr">
            <a:noFill/>
            <a:prstDash val="solid"/>
            <a:headEnd type="none" w="med" len="med"/>
            <a:tailEnd type="none" w="med" len="med"/>
          </a:ln>
          <a:effectLst/>
        </p:spPr>
      </p:pic>
      <p:grpSp>
        <p:nvGrpSpPr>
          <p:cNvPr id="106" name="Group 105"/>
          <p:cNvGrpSpPr/>
          <p:nvPr/>
        </p:nvGrpSpPr>
        <p:grpSpPr>
          <a:xfrm>
            <a:off x="4892388" y="2995017"/>
            <a:ext cx="1853990" cy="997957"/>
            <a:chOff x="5364565" y="1712248"/>
            <a:chExt cx="2242174" cy="1149297"/>
          </a:xfrm>
        </p:grpSpPr>
        <p:sp>
          <p:nvSpPr>
            <p:cNvPr id="107" name="Freeform 106"/>
            <p:cNvSpPr>
              <a:spLocks noChangeAspect="1"/>
            </p:cNvSpPr>
            <p:nvPr/>
          </p:nvSpPr>
          <p:spPr bwMode="auto">
            <a:xfrm>
              <a:off x="5364565" y="1712248"/>
              <a:ext cx="2242174" cy="1149297"/>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accent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grpSp>
          <p:nvGrpSpPr>
            <p:cNvPr id="108" name="Group 107"/>
            <p:cNvGrpSpPr/>
            <p:nvPr/>
          </p:nvGrpSpPr>
          <p:grpSpPr>
            <a:xfrm>
              <a:off x="5621626" y="2333068"/>
              <a:ext cx="165900" cy="268272"/>
              <a:chOff x="4395727" y="3453834"/>
              <a:chExt cx="200140" cy="323641"/>
            </a:xfrm>
          </p:grpSpPr>
          <p:sp>
            <p:nvSpPr>
              <p:cNvPr id="112" name="Oval 111"/>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3" name="Oval 112"/>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4" name="Oval 113"/>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5" name="Arc 114"/>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sp>
            <p:nvSpPr>
              <p:cNvPr id="116" name="Oval 115"/>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grpSp>
        <p:sp>
          <p:nvSpPr>
            <p:cNvPr id="109" name="Rectangle 108"/>
            <p:cNvSpPr/>
            <p:nvPr/>
          </p:nvSpPr>
          <p:spPr>
            <a:xfrm>
              <a:off x="5896624" y="2487249"/>
              <a:ext cx="1463670" cy="177225"/>
            </a:xfrm>
            <a:prstGeom prst="rect">
              <a:avLst/>
            </a:prstGeom>
            <a:ln>
              <a:noFill/>
            </a:ln>
          </p:spPr>
          <p:txBody>
            <a:bodyPr wrap="none" lIns="0" tIns="0" rIns="0" bIns="0" anchor="ctr">
              <a:spAutoFit/>
            </a:bodyPr>
            <a:lstStyle/>
            <a:p>
              <a:pPr algn="ctr" defTabSz="1118538" fontAlgn="base">
                <a:spcAft>
                  <a:spcPct val="0"/>
                </a:spcAft>
              </a:pPr>
              <a:r>
                <a:rPr lang="en-US" sz="1000" dirty="0" smtClean="0">
                  <a:ln>
                    <a:solidFill>
                      <a:srgbClr val="FFFFFF">
                        <a:alpha val="0"/>
                      </a:srgbClr>
                    </a:solidFill>
                  </a:ln>
                  <a:solidFill>
                    <a:srgbClr val="FFFFFF"/>
                  </a:solidFill>
                </a:rPr>
                <a:t>Active Authentication</a:t>
              </a:r>
              <a:endParaRPr lang="en-US" sz="1000" dirty="0">
                <a:ln>
                  <a:solidFill>
                    <a:srgbClr val="FFFFFF">
                      <a:alpha val="0"/>
                    </a:srgbClr>
                  </a:solidFill>
                </a:ln>
                <a:solidFill>
                  <a:srgbClr val="FFFFFF"/>
                </a:solidFill>
              </a:endParaRPr>
            </a:p>
          </p:txBody>
        </p:sp>
        <p:pic>
          <p:nvPicPr>
            <p:cNvPr id="110" name="Picture 10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504214" y="2232467"/>
              <a:ext cx="1745607" cy="420449"/>
            </a:xfrm>
            <a:prstGeom prst="rect">
              <a:avLst/>
            </a:prstGeom>
          </p:spPr>
        </p:pic>
      </p:grpSp>
      <p:grpSp>
        <p:nvGrpSpPr>
          <p:cNvPr id="5" name="Group 4"/>
          <p:cNvGrpSpPr/>
          <p:nvPr/>
        </p:nvGrpSpPr>
        <p:grpSpPr>
          <a:xfrm>
            <a:off x="5007860" y="4494877"/>
            <a:ext cx="1623047" cy="1047316"/>
            <a:chOff x="4412952" y="4033201"/>
            <a:chExt cx="1623047" cy="1047316"/>
          </a:xfrm>
        </p:grpSpPr>
        <p:sp>
          <p:nvSpPr>
            <p:cNvPr id="351" name="Rectangle 350"/>
            <p:cNvSpPr/>
            <p:nvPr/>
          </p:nvSpPr>
          <p:spPr>
            <a:xfrm>
              <a:off x="4412952" y="4895979"/>
              <a:ext cx="1623047" cy="184538"/>
            </a:xfrm>
            <a:prstGeom prst="rect">
              <a:avLst/>
            </a:prstGeom>
            <a:ln>
              <a:noFill/>
            </a:ln>
          </p:spPr>
          <p:txBody>
            <a:bodyPr wrap="square" lIns="0" tIns="0" rIns="0" bIns="0" anchor="ctr">
              <a:spAutoFit/>
            </a:bodyPr>
            <a:lstStyle/>
            <a:p>
              <a:pPr algn="ctr" defTabSz="1096480" fontAlgn="base">
                <a:spcAft>
                  <a:spcPct val="0"/>
                </a:spcAft>
              </a:pPr>
              <a:r>
                <a:rPr lang="en-US" sz="1199" dirty="0">
                  <a:ln>
                    <a:solidFill>
                      <a:srgbClr val="FFFFFF">
                        <a:alpha val="0"/>
                      </a:srgbClr>
                    </a:solidFill>
                  </a:ln>
                  <a:solidFill>
                    <a:srgbClr val="FFFFFF"/>
                  </a:solidFill>
                </a:rPr>
                <a:t>Web </a:t>
              </a:r>
              <a:r>
                <a:rPr lang="en-US" sz="1199" dirty="0" smtClean="0">
                  <a:ln>
                    <a:solidFill>
                      <a:srgbClr val="FFFFFF">
                        <a:alpha val="0"/>
                      </a:srgbClr>
                    </a:solidFill>
                  </a:ln>
                  <a:solidFill>
                    <a:srgbClr val="FFFFFF"/>
                  </a:solidFill>
                </a:rPr>
                <a:t>Application Proxy</a:t>
              </a:r>
            </a:p>
          </p:txBody>
        </p:sp>
        <p:pic>
          <p:nvPicPr>
            <p:cNvPr id="117" name="Picture 116"/>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4764092" y="4033201"/>
              <a:ext cx="666712" cy="854225"/>
            </a:xfrm>
            <a:prstGeom prst="rect">
              <a:avLst/>
            </a:prstGeom>
          </p:spPr>
        </p:pic>
      </p:grpSp>
      <p:grpSp>
        <p:nvGrpSpPr>
          <p:cNvPr id="4" name="Group 3"/>
          <p:cNvGrpSpPr/>
          <p:nvPr/>
        </p:nvGrpSpPr>
        <p:grpSpPr>
          <a:xfrm>
            <a:off x="5206747" y="673269"/>
            <a:ext cx="1855844" cy="951272"/>
            <a:chOff x="3945351" y="671280"/>
            <a:chExt cx="1855844" cy="951272"/>
          </a:xfrm>
        </p:grpSpPr>
        <p:sp>
          <p:nvSpPr>
            <p:cNvPr id="118" name="Freeform 117"/>
            <p:cNvSpPr>
              <a:spLocks/>
            </p:cNvSpPr>
            <p:nvPr/>
          </p:nvSpPr>
          <p:spPr bwMode="auto">
            <a:xfrm>
              <a:off x="3945351" y="671280"/>
              <a:ext cx="1855844" cy="95127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accent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sp>
          <p:nvSpPr>
            <p:cNvPr id="119" name="Freeform 10"/>
            <p:cNvSpPr>
              <a:spLocks noChangeAspect="1" noEditPoints="1"/>
            </p:cNvSpPr>
            <p:nvPr/>
          </p:nvSpPr>
          <p:spPr bwMode="auto">
            <a:xfrm>
              <a:off x="4170735" y="1232118"/>
              <a:ext cx="1484461" cy="153633"/>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7" name="Group 6"/>
          <p:cNvGrpSpPr/>
          <p:nvPr/>
        </p:nvGrpSpPr>
        <p:grpSpPr>
          <a:xfrm>
            <a:off x="9691191" y="468313"/>
            <a:ext cx="2115203" cy="1535739"/>
            <a:chOff x="8951076" y="1367117"/>
            <a:chExt cx="2115203" cy="1535739"/>
          </a:xfrm>
        </p:grpSpPr>
        <p:sp>
          <p:nvSpPr>
            <p:cNvPr id="121" name="Oval 120"/>
            <p:cNvSpPr/>
            <p:nvPr>
              <p:custDataLst>
                <p:tags r:id="rId4"/>
              </p:custDataLst>
            </p:nvPr>
          </p:nvSpPr>
          <p:spPr bwMode="auto">
            <a:xfrm>
              <a:off x="8951076" y="1367117"/>
              <a:ext cx="2115203" cy="1535739"/>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1915" tIns="55957" rIns="111915" bIns="55957" numCol="1" rtlCol="0" anchor="ctr" anchorCtr="0" compatLnSpc="1">
              <a:prstTxWarp prst="textNoShape">
                <a:avLst/>
              </a:prstTxWarp>
            </a:bodyPr>
            <a:lstStyle/>
            <a:p>
              <a:pPr algn="ctr" defTabSz="1118920" fontAlgn="base">
                <a:spcBef>
                  <a:spcPct val="0"/>
                </a:spcBef>
                <a:spcAft>
                  <a:spcPct val="0"/>
                </a:spcAft>
                <a:defRPr/>
              </a:pPr>
              <a:endParaRPr lang="en-US" sz="2754" kern="0" dirty="0">
                <a:solidFill>
                  <a:srgbClr val="505050"/>
                </a:solidFill>
              </a:endParaRPr>
            </a:p>
          </p:txBody>
        </p:sp>
        <p:sp>
          <p:nvSpPr>
            <p:cNvPr id="122" name="Rounded Rectangle 2058"/>
            <p:cNvSpPr>
              <a:spLocks noChangeAspect="1"/>
            </p:cNvSpPr>
            <p:nvPr/>
          </p:nvSpPr>
          <p:spPr bwMode="auto">
            <a:xfrm>
              <a:off x="9838423" y="1517814"/>
              <a:ext cx="340503" cy="621651"/>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391" fontAlgn="base">
                <a:spcBef>
                  <a:spcPct val="0"/>
                </a:spcBef>
                <a:spcAft>
                  <a:spcPct val="0"/>
                </a:spcAft>
                <a:defRPr/>
              </a:pPr>
              <a:endParaRPr lang="en-US"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21"/>
            <p:cNvSpPr>
              <a:spLocks noChangeAspect="1" noEditPoints="1"/>
            </p:cNvSpPr>
            <p:nvPr/>
          </p:nvSpPr>
          <p:spPr bwMode="auto">
            <a:xfrm>
              <a:off x="9142209" y="2242683"/>
              <a:ext cx="1824016" cy="280662"/>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grpSp>
      <p:grpSp>
        <p:nvGrpSpPr>
          <p:cNvPr id="124" name="Group 123"/>
          <p:cNvGrpSpPr/>
          <p:nvPr/>
        </p:nvGrpSpPr>
        <p:grpSpPr>
          <a:xfrm>
            <a:off x="9847948" y="3943590"/>
            <a:ext cx="1943660" cy="1477131"/>
            <a:chOff x="3435182" y="5042873"/>
            <a:chExt cx="1943660" cy="1477131"/>
          </a:xfrm>
        </p:grpSpPr>
        <p:sp>
          <p:nvSpPr>
            <p:cNvPr id="125" name="Oval 124"/>
            <p:cNvSpPr/>
            <p:nvPr>
              <p:custDataLst>
                <p:tags r:id="rId3"/>
              </p:custDataLst>
            </p:nvPr>
          </p:nvSpPr>
          <p:spPr bwMode="auto">
            <a:xfrm>
              <a:off x="3435182" y="5042873"/>
              <a:ext cx="1943660" cy="1477131"/>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solidFill>
                  <a:schemeClr val="accent1">
                    <a:lumMod val="60000"/>
                    <a:lumOff val="40000"/>
                  </a:schemeClr>
                </a:solidFill>
              </a:endParaRPr>
            </a:p>
          </p:txBody>
        </p:sp>
        <p:pic>
          <p:nvPicPr>
            <p:cNvPr id="127" name="Picture 12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537113" y="5820371"/>
              <a:ext cx="1808890" cy="421949"/>
            </a:xfrm>
            <a:prstGeom prst="rect">
              <a:avLst/>
            </a:prstGeom>
          </p:spPr>
        </p:pic>
        <p:sp>
          <p:nvSpPr>
            <p:cNvPr id="126" name="Rectangle 125"/>
            <p:cNvSpPr/>
            <p:nvPr/>
          </p:nvSpPr>
          <p:spPr>
            <a:xfrm>
              <a:off x="3940333" y="6088098"/>
              <a:ext cx="1005083" cy="172676"/>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solidFill>
                    <a:srgbClr val="FFFFFF"/>
                  </a:solidFill>
                </a:rPr>
                <a:t>Active Directory</a:t>
              </a:r>
            </a:p>
          </p:txBody>
        </p:sp>
        <p:pic>
          <p:nvPicPr>
            <p:cNvPr id="128" name="Picture 12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920288" y="5203147"/>
              <a:ext cx="967012" cy="646270"/>
            </a:xfrm>
            <a:prstGeom prst="rect">
              <a:avLst/>
            </a:prstGeom>
          </p:spPr>
        </p:pic>
      </p:grpSp>
      <p:cxnSp>
        <p:nvCxnSpPr>
          <p:cNvPr id="73" name="Straight Connector 72"/>
          <p:cNvCxnSpPr/>
          <p:nvPr/>
        </p:nvCxnSpPr>
        <p:spPr>
          <a:xfrm flipV="1">
            <a:off x="2257424" y="1387741"/>
            <a:ext cx="2634964" cy="1358772"/>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257424" y="4103864"/>
            <a:ext cx="2984699" cy="818125"/>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6174361" y="4977276"/>
            <a:ext cx="1887097" cy="11388"/>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9067800" y="4819052"/>
            <a:ext cx="623391" cy="135913"/>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324725" y="1211263"/>
            <a:ext cx="2095500" cy="0"/>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5799300" y="4021791"/>
            <a:ext cx="0" cy="403204"/>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10805556" y="3215712"/>
            <a:ext cx="0" cy="566748"/>
          </a:xfrm>
          <a:prstGeom prst="line">
            <a:avLst/>
          </a:prstGeom>
          <a:ln w="2540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8156709" y="4447522"/>
            <a:ext cx="807141" cy="1070767"/>
            <a:chOff x="7099380" y="2421480"/>
            <a:chExt cx="867823" cy="1151268"/>
          </a:xfrm>
        </p:grpSpPr>
        <p:sp>
          <p:nvSpPr>
            <p:cNvPr id="89" name="Rectangle 88"/>
            <p:cNvSpPr/>
            <p:nvPr/>
          </p:nvSpPr>
          <p:spPr>
            <a:xfrm>
              <a:off x="7231528" y="3374336"/>
              <a:ext cx="735675" cy="198412"/>
            </a:xfrm>
            <a:prstGeom prst="rect">
              <a:avLst/>
            </a:prstGeom>
            <a:ln>
              <a:noFill/>
            </a:ln>
          </p:spPr>
          <p:txBody>
            <a:bodyPr wrap="square" lIns="0" tIns="0" rIns="0" bIns="0" anchor="ctr">
              <a:spAutoFit/>
            </a:bodyPr>
            <a:lstStyle/>
            <a:p>
              <a:pPr algn="ctr" defTabSz="1096480" fontAlgn="base">
                <a:spcAft>
                  <a:spcPct val="0"/>
                </a:spcAft>
              </a:pPr>
              <a:r>
                <a:rPr lang="en-US" sz="1199" dirty="0" smtClean="0">
                  <a:ln>
                    <a:solidFill>
                      <a:srgbClr val="FFFFFF">
                        <a:alpha val="0"/>
                      </a:srgbClr>
                    </a:solidFill>
                  </a:ln>
                  <a:solidFill>
                    <a:srgbClr val="FFFFFF"/>
                  </a:solidFill>
                </a:rPr>
                <a:t>ADFS</a:t>
              </a:r>
            </a:p>
          </p:txBody>
        </p:sp>
        <p:grpSp>
          <p:nvGrpSpPr>
            <p:cNvPr id="90" name="Group 89"/>
            <p:cNvGrpSpPr/>
            <p:nvPr/>
          </p:nvGrpSpPr>
          <p:grpSpPr>
            <a:xfrm>
              <a:off x="7099380" y="2421480"/>
              <a:ext cx="776661" cy="927326"/>
              <a:chOff x="7348547" y="1170892"/>
              <a:chExt cx="1530784" cy="1827743"/>
            </a:xfrm>
          </p:grpSpPr>
          <p:sp>
            <p:nvSpPr>
              <p:cNvPr id="91" name="Freeform 836"/>
              <p:cNvSpPr>
                <a:spLocks noEditPoints="1"/>
              </p:cNvSpPr>
              <p:nvPr/>
            </p:nvSpPr>
            <p:spPr bwMode="auto">
              <a:xfrm>
                <a:off x="7915735" y="1170892"/>
                <a:ext cx="963596"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7348547" y="1712570"/>
                <a:ext cx="1348570" cy="888065"/>
                <a:chOff x="6873117" y="2060843"/>
                <a:chExt cx="1134713" cy="747235"/>
              </a:xfrm>
            </p:grpSpPr>
            <p:sp>
              <p:nvSpPr>
                <p:cNvPr id="93" name="Freeform 92"/>
                <p:cNvSpPr>
                  <a:spLocks noEditPoints="1"/>
                </p:cNvSpPr>
                <p:nvPr/>
              </p:nvSpPr>
              <p:spPr bwMode="auto">
                <a:xfrm>
                  <a:off x="6873117" y="2060843"/>
                  <a:ext cx="1134713"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93"/>
                <p:cNvSpPr>
                  <a:spLocks noEditPoints="1"/>
                </p:cNvSpPr>
                <p:nvPr/>
              </p:nvSpPr>
              <p:spPr bwMode="auto">
                <a:xfrm>
                  <a:off x="7008706" y="2267541"/>
                  <a:ext cx="871373" cy="456776"/>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94"/>
                <p:cNvSpPr>
                  <a:spLocks noEditPoints="1"/>
                </p:cNvSpPr>
                <p:nvPr/>
              </p:nvSpPr>
              <p:spPr bwMode="auto">
                <a:xfrm>
                  <a:off x="7096084" y="2321775"/>
                  <a:ext cx="696014" cy="335051"/>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grpSp>
      <p:grpSp>
        <p:nvGrpSpPr>
          <p:cNvPr id="58" name="Group 57"/>
          <p:cNvGrpSpPr/>
          <p:nvPr/>
        </p:nvGrpSpPr>
        <p:grpSpPr>
          <a:xfrm>
            <a:off x="439937" y="2733831"/>
            <a:ext cx="1757696" cy="1556400"/>
            <a:chOff x="4610988" y="1953172"/>
            <a:chExt cx="2029280" cy="1796882"/>
          </a:xfrm>
        </p:grpSpPr>
        <p:grpSp>
          <p:nvGrpSpPr>
            <p:cNvPr id="59" name="Group 58"/>
            <p:cNvGrpSpPr/>
            <p:nvPr/>
          </p:nvGrpSpPr>
          <p:grpSpPr>
            <a:xfrm>
              <a:off x="4610988" y="1953172"/>
              <a:ext cx="2029280" cy="1796882"/>
              <a:chOff x="3482578" y="3115154"/>
              <a:chExt cx="1660345" cy="1470197"/>
            </a:xfrm>
          </p:grpSpPr>
          <p:pic>
            <p:nvPicPr>
              <p:cNvPr id="61" name="Picture 60"/>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482578" y="3876832"/>
                <a:ext cx="1061011" cy="708519"/>
              </a:xfrm>
              <a:prstGeom prst="rect">
                <a:avLst/>
              </a:prstGeom>
            </p:spPr>
          </p:pic>
          <p:pic>
            <p:nvPicPr>
              <p:cNvPr id="62" name="Picture 61"/>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745349" y="3878001"/>
                <a:ext cx="351089" cy="648811"/>
              </a:xfrm>
              <a:prstGeom prst="rect">
                <a:avLst/>
              </a:prstGeom>
            </p:spPr>
          </p:pic>
          <p:pic>
            <p:nvPicPr>
              <p:cNvPr id="63" name="Picture 6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698507" y="3115154"/>
                <a:ext cx="444416" cy="664847"/>
              </a:xfrm>
              <a:prstGeom prst="rect">
                <a:avLst/>
              </a:prstGeom>
            </p:spPr>
          </p:pic>
        </p:grpSp>
        <p:pic>
          <p:nvPicPr>
            <p:cNvPr id="60" name="Picture 59"/>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912965" y="1962709"/>
              <a:ext cx="941216" cy="802914"/>
            </a:xfrm>
            <a:prstGeom prst="rect">
              <a:avLst/>
            </a:prstGeom>
          </p:spPr>
        </p:pic>
      </p:grpSp>
    </p:spTree>
    <p:extLst>
      <p:ext uri="{BB962C8B-B14F-4D97-AF65-F5344CB8AC3E}">
        <p14:creationId xmlns:p14="http://schemas.microsoft.com/office/powerpoint/2010/main" val="33923403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500"/>
                                        <p:tgtEl>
                                          <p:spTgt spid="100"/>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24"/>
                                        </p:tgtEl>
                                        <p:attrNameLst>
                                          <p:attrName>style.visibility</p:attrName>
                                        </p:attrNameLst>
                                      </p:cBhvr>
                                      <p:to>
                                        <p:strVal val="visible"/>
                                      </p:to>
                                    </p:set>
                                    <p:animEffect transition="in" filter="fade">
                                      <p:cBhvr>
                                        <p:cTn id="13" dur="500"/>
                                        <p:tgtEl>
                                          <p:spTgt spid="62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24"/>
                                        </p:tgtEl>
                                        <p:attrNameLst>
                                          <p:attrName>style.visibility</p:attrName>
                                        </p:attrNameLst>
                                      </p:cBhvr>
                                      <p:to>
                                        <p:strVal val="visible"/>
                                      </p:to>
                                    </p:set>
                                    <p:animEffect transition="in" filter="fade">
                                      <p:cBhvr>
                                        <p:cTn id="18" dur="500"/>
                                        <p:tgtEl>
                                          <p:spTgt spid="12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54"/>
                                        </p:tgtEl>
                                        <p:attrNameLst>
                                          <p:attrName>style.visibility</p:attrName>
                                        </p:attrNameLst>
                                      </p:cBhvr>
                                      <p:to>
                                        <p:strVal val="visible"/>
                                      </p:to>
                                    </p:set>
                                    <p:animEffect transition="in" filter="fade">
                                      <p:cBhvr>
                                        <p:cTn id="21" dur="500"/>
                                        <p:tgtEl>
                                          <p:spTgt spid="354"/>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74"/>
                                        </p:tgtEl>
                                        <p:attrNameLst>
                                          <p:attrName>style.visibility</p:attrName>
                                        </p:attrNameLst>
                                      </p:cBhvr>
                                      <p:to>
                                        <p:strVal val="visible"/>
                                      </p:to>
                                    </p:set>
                                    <p:animEffect transition="in" filter="wipe(left)">
                                      <p:cBhvr>
                                        <p:cTn id="26" dur="500"/>
                                        <p:tgtEl>
                                          <p:spTgt spid="74"/>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par>
                          <p:cTn id="31" fill="hold">
                            <p:stCondLst>
                              <p:cond delay="1000"/>
                            </p:stCondLst>
                            <p:childTnLst>
                              <p:par>
                                <p:cTn id="32" presetID="22" presetClass="entr" presetSubtype="8" fill="hold" nodeType="afterEffect">
                                  <p:stCondLst>
                                    <p:cond delay="0"/>
                                  </p:stCondLst>
                                  <p:childTnLst>
                                    <p:set>
                                      <p:cBhvr>
                                        <p:cTn id="33" dur="1" fill="hold">
                                          <p:stCondLst>
                                            <p:cond delay="0"/>
                                          </p:stCondLst>
                                        </p:cTn>
                                        <p:tgtEl>
                                          <p:spTgt spid="76"/>
                                        </p:tgtEl>
                                        <p:attrNameLst>
                                          <p:attrName>style.visibility</p:attrName>
                                        </p:attrNameLst>
                                      </p:cBhvr>
                                      <p:to>
                                        <p:strVal val="visible"/>
                                      </p:to>
                                    </p:set>
                                    <p:animEffect transition="in" filter="wipe(left)">
                                      <p:cBhvr>
                                        <p:cTn id="34" dur="500"/>
                                        <p:tgtEl>
                                          <p:spTgt spid="76"/>
                                        </p:tgtEl>
                                      </p:cBhvr>
                                    </p:animEffect>
                                  </p:childTnLst>
                                </p:cTn>
                              </p:par>
                            </p:childTnLst>
                          </p:cTn>
                        </p:par>
                        <p:par>
                          <p:cTn id="35" fill="hold">
                            <p:stCondLst>
                              <p:cond delay="1500"/>
                            </p:stCondLst>
                            <p:childTnLst>
                              <p:par>
                                <p:cTn id="36" presetID="10" presetClass="entr" presetSubtype="0" fill="hold" nodeType="afterEffect">
                                  <p:stCondLst>
                                    <p:cond delay="0"/>
                                  </p:stCondLst>
                                  <p:childTnLst>
                                    <p:set>
                                      <p:cBhvr>
                                        <p:cTn id="37" dur="1" fill="hold">
                                          <p:stCondLst>
                                            <p:cond delay="0"/>
                                          </p:stCondLst>
                                        </p:cTn>
                                        <p:tgtEl>
                                          <p:spTgt spid="88"/>
                                        </p:tgtEl>
                                        <p:attrNameLst>
                                          <p:attrName>style.visibility</p:attrName>
                                        </p:attrNameLst>
                                      </p:cBhvr>
                                      <p:to>
                                        <p:strVal val="visible"/>
                                      </p:to>
                                    </p:set>
                                    <p:animEffect transition="in" filter="fade">
                                      <p:cBhvr>
                                        <p:cTn id="38" dur="500"/>
                                        <p:tgtEl>
                                          <p:spTgt spid="88"/>
                                        </p:tgtEl>
                                      </p:cBhvr>
                                    </p:animEffect>
                                  </p:childTnLst>
                                </p:cTn>
                              </p:par>
                            </p:childTnLst>
                          </p:cTn>
                        </p:par>
                        <p:par>
                          <p:cTn id="39" fill="hold">
                            <p:stCondLst>
                              <p:cond delay="2000"/>
                            </p:stCondLst>
                            <p:childTnLst>
                              <p:par>
                                <p:cTn id="40" presetID="22" presetClass="entr" presetSubtype="8" fill="hold" nodeType="afterEffect">
                                  <p:stCondLst>
                                    <p:cond delay="0"/>
                                  </p:stCondLst>
                                  <p:childTnLst>
                                    <p:set>
                                      <p:cBhvr>
                                        <p:cTn id="41" dur="1" fill="hold">
                                          <p:stCondLst>
                                            <p:cond delay="0"/>
                                          </p:stCondLst>
                                        </p:cTn>
                                        <p:tgtEl>
                                          <p:spTgt spid="78"/>
                                        </p:tgtEl>
                                        <p:attrNameLst>
                                          <p:attrName>style.visibility</p:attrName>
                                        </p:attrNameLst>
                                      </p:cBhvr>
                                      <p:to>
                                        <p:strVal val="visible"/>
                                      </p:to>
                                    </p:set>
                                    <p:animEffect transition="in" filter="wipe(left)">
                                      <p:cBhvr>
                                        <p:cTn id="42" dur="500"/>
                                        <p:tgtEl>
                                          <p:spTgt spid="78"/>
                                        </p:tgtEl>
                                      </p:cBhvr>
                                    </p:animEffect>
                                  </p:childTnLst>
                                </p:cTn>
                              </p:par>
                            </p:childTnLst>
                          </p:cTn>
                        </p:par>
                        <p:par>
                          <p:cTn id="43" fill="hold">
                            <p:stCondLst>
                              <p:cond delay="2500"/>
                            </p:stCondLst>
                            <p:childTnLst>
                              <p:par>
                                <p:cTn id="44" presetID="22" presetClass="entr" presetSubtype="4" fill="hold" nodeType="afterEffect">
                                  <p:stCondLst>
                                    <p:cond delay="0"/>
                                  </p:stCondLst>
                                  <p:childTnLst>
                                    <p:set>
                                      <p:cBhvr>
                                        <p:cTn id="45" dur="1" fill="hold">
                                          <p:stCondLst>
                                            <p:cond delay="0"/>
                                          </p:stCondLst>
                                        </p:cTn>
                                        <p:tgtEl>
                                          <p:spTgt spid="85"/>
                                        </p:tgtEl>
                                        <p:attrNameLst>
                                          <p:attrName>style.visibility</p:attrName>
                                        </p:attrNameLst>
                                      </p:cBhvr>
                                      <p:to>
                                        <p:strVal val="visible"/>
                                      </p:to>
                                    </p:set>
                                    <p:animEffect transition="in" filter="wipe(down)">
                                      <p:cBhvr>
                                        <p:cTn id="46" dur="500"/>
                                        <p:tgtEl>
                                          <p:spTgt spid="85"/>
                                        </p:tgtEl>
                                      </p:cBhvr>
                                    </p:animEffect>
                                  </p:childTnLst>
                                </p:cTn>
                              </p:par>
                            </p:childTnLst>
                          </p:cTn>
                        </p:par>
                        <p:par>
                          <p:cTn id="47" fill="hold">
                            <p:stCondLst>
                              <p:cond delay="3000"/>
                            </p:stCondLst>
                            <p:childTnLst>
                              <p:par>
                                <p:cTn id="48" presetID="10" presetClass="entr" presetSubtype="0" fill="hold" nodeType="afterEffect">
                                  <p:stCondLst>
                                    <p:cond delay="0"/>
                                  </p:stCondLst>
                                  <p:childTnLst>
                                    <p:set>
                                      <p:cBhvr>
                                        <p:cTn id="49" dur="1" fill="hold">
                                          <p:stCondLst>
                                            <p:cond delay="0"/>
                                          </p:stCondLst>
                                        </p:cTn>
                                        <p:tgtEl>
                                          <p:spTgt spid="106"/>
                                        </p:tgtEl>
                                        <p:attrNameLst>
                                          <p:attrName>style.visibility</p:attrName>
                                        </p:attrNameLst>
                                      </p:cBhvr>
                                      <p:to>
                                        <p:strVal val="visible"/>
                                      </p:to>
                                    </p:set>
                                    <p:animEffect transition="in" filter="fade">
                                      <p:cBhvr>
                                        <p:cTn id="50" dur="500"/>
                                        <p:tgtEl>
                                          <p:spTgt spid="10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59"/>
                                        </p:tgtEl>
                                        <p:attrNameLst>
                                          <p:attrName>style.visibility</p:attrName>
                                        </p:attrNameLst>
                                      </p:cBhvr>
                                      <p:to>
                                        <p:strVal val="visible"/>
                                      </p:to>
                                    </p:set>
                                    <p:animEffect transition="in" filter="fade">
                                      <p:cBhvr>
                                        <p:cTn id="53" dur="500"/>
                                        <p:tgtEl>
                                          <p:spTgt spid="459"/>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73"/>
                                        </p:tgtEl>
                                        <p:attrNameLst>
                                          <p:attrName>style.visibility</p:attrName>
                                        </p:attrNameLst>
                                      </p:cBhvr>
                                      <p:to>
                                        <p:strVal val="visible"/>
                                      </p:to>
                                    </p:set>
                                    <p:animEffect transition="in" filter="wipe(left)">
                                      <p:cBhvr>
                                        <p:cTn id="58" dur="500"/>
                                        <p:tgtEl>
                                          <p:spTgt spid="73"/>
                                        </p:tgtEl>
                                      </p:cBhvr>
                                    </p:animEffect>
                                  </p:childTnLst>
                                </p:cTn>
                              </p:par>
                            </p:childTnLst>
                          </p:cTn>
                        </p:par>
                        <p:par>
                          <p:cTn id="59" fill="hold">
                            <p:stCondLst>
                              <p:cond delay="500"/>
                            </p:stCondLst>
                            <p:childTnLst>
                              <p:par>
                                <p:cTn id="60" presetID="10" presetClass="entr" presetSubtype="0" fill="hold" nodeType="afterEffect">
                                  <p:stCondLst>
                                    <p:cond delay="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37"/>
                                        </p:tgtEl>
                                        <p:attrNameLst>
                                          <p:attrName>style.visibility</p:attrName>
                                        </p:attrNameLst>
                                      </p:cBhvr>
                                      <p:to>
                                        <p:strVal val="visible"/>
                                      </p:to>
                                    </p:set>
                                    <p:animEffect transition="in" filter="fade">
                                      <p:cBhvr>
                                        <p:cTn id="65" dur="500"/>
                                        <p:tgtEl>
                                          <p:spTgt spid="637"/>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nodeType="clickEffect">
                                  <p:stCondLst>
                                    <p:cond delay="0"/>
                                  </p:stCondLst>
                                  <p:childTnLst>
                                    <p:set>
                                      <p:cBhvr>
                                        <p:cTn id="69" dur="1" fill="hold">
                                          <p:stCondLst>
                                            <p:cond delay="0"/>
                                          </p:stCondLst>
                                        </p:cTn>
                                        <p:tgtEl>
                                          <p:spTgt spid="80"/>
                                        </p:tgtEl>
                                        <p:attrNameLst>
                                          <p:attrName>style.visibility</p:attrName>
                                        </p:attrNameLst>
                                      </p:cBhvr>
                                      <p:to>
                                        <p:strVal val="visible"/>
                                      </p:to>
                                    </p:set>
                                    <p:animEffect transition="in" filter="wipe(left)">
                                      <p:cBhvr>
                                        <p:cTn id="70" dur="500"/>
                                        <p:tgtEl>
                                          <p:spTgt spid="80"/>
                                        </p:tgtEl>
                                      </p:cBhvr>
                                    </p:animEffect>
                                  </p:childTnLst>
                                </p:cTn>
                              </p:par>
                            </p:childTnLst>
                          </p:cTn>
                        </p:par>
                        <p:par>
                          <p:cTn id="71" fill="hold">
                            <p:stCondLst>
                              <p:cond delay="500"/>
                            </p:stCondLst>
                            <p:childTnLst>
                              <p:par>
                                <p:cTn id="72" presetID="10" presetClass="entr" presetSubtype="0" fill="hold" nodeType="afterEffect">
                                  <p:stCondLst>
                                    <p:cond delay="0"/>
                                  </p:stCondLst>
                                  <p:childTnLst>
                                    <p:set>
                                      <p:cBhvr>
                                        <p:cTn id="73" dur="1" fill="hold">
                                          <p:stCondLst>
                                            <p:cond delay="0"/>
                                          </p:stCondLst>
                                        </p:cTn>
                                        <p:tgtEl>
                                          <p:spTgt spid="7"/>
                                        </p:tgtEl>
                                        <p:attrNameLst>
                                          <p:attrName>style.visibility</p:attrName>
                                        </p:attrNameLst>
                                      </p:cBhvr>
                                      <p:to>
                                        <p:strVal val="visible"/>
                                      </p:to>
                                    </p:set>
                                    <p:animEffect transition="in" filter="fade">
                                      <p:cBhvr>
                                        <p:cTn id="74" dur="500"/>
                                        <p:tgtEl>
                                          <p:spTgt spid="7"/>
                                        </p:tgtEl>
                                      </p:cBhvr>
                                    </p:animEffect>
                                  </p:childTnLst>
                                </p:cTn>
                              </p:par>
                            </p:childTnLst>
                          </p:cTn>
                        </p:par>
                        <p:par>
                          <p:cTn id="75" fill="hold">
                            <p:stCondLst>
                              <p:cond delay="1000"/>
                            </p:stCondLst>
                            <p:childTnLst>
                              <p:par>
                                <p:cTn id="76" presetID="22" presetClass="entr" presetSubtype="1" fill="hold" nodeType="afterEffect">
                                  <p:stCondLst>
                                    <p:cond delay="0"/>
                                  </p:stCondLst>
                                  <p:childTnLst>
                                    <p:set>
                                      <p:cBhvr>
                                        <p:cTn id="77" dur="1" fill="hold">
                                          <p:stCondLst>
                                            <p:cond delay="0"/>
                                          </p:stCondLst>
                                        </p:cTn>
                                        <p:tgtEl>
                                          <p:spTgt spid="75"/>
                                        </p:tgtEl>
                                        <p:attrNameLst>
                                          <p:attrName>style.visibility</p:attrName>
                                        </p:attrNameLst>
                                      </p:cBhvr>
                                      <p:to>
                                        <p:strVal val="visible"/>
                                      </p:to>
                                    </p:set>
                                    <p:animEffect transition="in" filter="wipe(up)">
                                      <p:cBhvr>
                                        <p:cTn id="78" dur="500"/>
                                        <p:tgtEl>
                                          <p:spTgt spid="75"/>
                                        </p:tgtEl>
                                      </p:cBhvr>
                                    </p:animEffect>
                                  </p:childTnLst>
                                </p:cTn>
                              </p:par>
                            </p:childTnLst>
                          </p:cTn>
                        </p:par>
                        <p:par>
                          <p:cTn id="79" fill="hold">
                            <p:stCondLst>
                              <p:cond delay="1500"/>
                            </p:stCondLst>
                            <p:childTnLst>
                              <p:par>
                                <p:cTn id="80" presetID="10" presetClass="entr" presetSubtype="0" fill="hold" grpId="0" nodeType="afterEffect">
                                  <p:stCondLst>
                                    <p:cond delay="0"/>
                                  </p:stCondLst>
                                  <p:childTnLst>
                                    <p:set>
                                      <p:cBhvr>
                                        <p:cTn id="81" dur="1" fill="hold">
                                          <p:stCondLst>
                                            <p:cond delay="0"/>
                                          </p:stCondLst>
                                        </p:cTn>
                                        <p:tgtEl>
                                          <p:spTgt spid="372"/>
                                        </p:tgtEl>
                                        <p:attrNameLst>
                                          <p:attrName>style.visibility</p:attrName>
                                        </p:attrNameLst>
                                      </p:cBhvr>
                                      <p:to>
                                        <p:strVal val="visible"/>
                                      </p:to>
                                    </p:set>
                                    <p:animEffect transition="in" filter="fade">
                                      <p:cBhvr>
                                        <p:cTn id="82" dur="500"/>
                                        <p:tgtEl>
                                          <p:spTgt spid="3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9" grpId="0"/>
      <p:bldP spid="624" grpId="0"/>
      <p:bldP spid="637" grpId="0"/>
      <p:bldP spid="354" grpId="0"/>
      <p:bldP spid="37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bile Device Enrollment in R2</a:t>
            </a:r>
            <a:endParaRPr lang="en-US" dirty="0"/>
          </a:p>
        </p:txBody>
      </p:sp>
      <p:sp>
        <p:nvSpPr>
          <p:cNvPr id="3" name="Content Placeholder 2"/>
          <p:cNvSpPr>
            <a:spLocks noGrp="1"/>
          </p:cNvSpPr>
          <p:nvPr>
            <p:ph idx="4294967295"/>
          </p:nvPr>
        </p:nvSpPr>
        <p:spPr>
          <a:xfrm>
            <a:off x="520479" y="1319557"/>
            <a:ext cx="11427011" cy="5410712"/>
          </a:xfrm>
          <a:prstGeom prst="rect">
            <a:avLst/>
          </a:prstGeom>
        </p:spPr>
        <p:txBody>
          <a:bodyPr/>
          <a:lstStyle/>
          <a:p>
            <a:r>
              <a:rPr lang="en-US" altLang="zh-CN" sz="2800" dirty="0" smtClean="0"/>
              <a:t>Establishes </a:t>
            </a:r>
            <a:r>
              <a:rPr lang="en-US" altLang="zh-CN" sz="2800" dirty="0"/>
              <a:t>mutual trust between the device and the management server</a:t>
            </a:r>
          </a:p>
          <a:p>
            <a:r>
              <a:rPr lang="en-US" altLang="zh-CN" sz="2800" dirty="0"/>
              <a:t>User-initiated process over </a:t>
            </a:r>
            <a:r>
              <a:rPr lang="en-US" altLang="zh-CN" sz="2800" dirty="0" smtClean="0"/>
              <a:t>SSL</a:t>
            </a:r>
          </a:p>
          <a:p>
            <a:pPr lvl="1"/>
            <a:r>
              <a:rPr lang="en-US" altLang="zh-CN" sz="2400" dirty="0" smtClean="0">
                <a:latin typeface="+mj-lt"/>
              </a:rPr>
              <a:t>Admin defines which users are authorized to enroll devices</a:t>
            </a:r>
          </a:p>
          <a:p>
            <a:pPr lvl="1"/>
            <a:r>
              <a:rPr lang="en-US" altLang="zh-CN" sz="2400" dirty="0" smtClean="0">
                <a:latin typeface="+mj-lt"/>
              </a:rPr>
              <a:t>License allows 5 mobile device enrollments per user</a:t>
            </a:r>
          </a:p>
          <a:p>
            <a:pPr lvl="1"/>
            <a:endParaRPr lang="en-US" altLang="zh-CN" sz="2400" dirty="0">
              <a:latin typeface="+mj-lt"/>
            </a:endParaRPr>
          </a:p>
          <a:p>
            <a:r>
              <a:rPr lang="en-US" altLang="zh-CN" sz="2800" dirty="0" smtClean="0"/>
              <a:t>Supports </a:t>
            </a:r>
            <a:r>
              <a:rPr lang="en-US" altLang="zh-CN" sz="2800" dirty="0"/>
              <a:t>Windows RT, Windows Phone 8, iOS 5.0</a:t>
            </a:r>
            <a:r>
              <a:rPr lang="en-US" altLang="zh-CN" sz="2800" dirty="0" smtClean="0"/>
              <a:t>+</a:t>
            </a:r>
          </a:p>
          <a:p>
            <a:r>
              <a:rPr lang="en-US" altLang="zh-CN" sz="2800" b="1" dirty="0" smtClean="0"/>
              <a:t>New </a:t>
            </a:r>
            <a:r>
              <a:rPr lang="en-US" altLang="zh-CN" sz="2800" b="1" dirty="0"/>
              <a:t>for R2: Direct Management of </a:t>
            </a:r>
            <a:r>
              <a:rPr lang="en-US" altLang="zh-CN" sz="2800" b="1" dirty="0" smtClean="0"/>
              <a:t>Android</a:t>
            </a:r>
          </a:p>
          <a:p>
            <a:endParaRPr lang="en-US" altLang="zh-CN" sz="2800" b="1" dirty="0"/>
          </a:p>
          <a:p>
            <a:r>
              <a:rPr lang="en-US" sz="2800" dirty="0" smtClean="0"/>
              <a:t>End </a:t>
            </a:r>
            <a:r>
              <a:rPr lang="en-US" sz="2800" dirty="0"/>
              <a:t>result: A user certificate is installed on the device and the management agent is configured. </a:t>
            </a:r>
            <a:endParaRPr lang="en-US" altLang="zh-CN" sz="2800" dirty="0"/>
          </a:p>
          <a:p>
            <a:r>
              <a:rPr lang="en-US" altLang="zh-CN" sz="2800" dirty="0" smtClean="0"/>
              <a:t>WinCE</a:t>
            </a:r>
            <a:r>
              <a:rPr lang="en-US" altLang="zh-CN" sz="2800" dirty="0"/>
              <a:t>, </a:t>
            </a:r>
            <a:r>
              <a:rPr lang="en-US" altLang="zh-CN" sz="2800" dirty="0" smtClean="0"/>
              <a:t>Windows Embedded Handheld, Windows Mobile 6.5</a:t>
            </a:r>
            <a:r>
              <a:rPr lang="en-US" altLang="zh-CN" sz="2800" smtClean="0"/>
              <a:t>, etc. </a:t>
            </a:r>
            <a:r>
              <a:rPr lang="en-US" altLang="zh-CN" sz="2800" dirty="0" smtClean="0"/>
              <a:t>still </a:t>
            </a:r>
            <a:r>
              <a:rPr lang="en-US" altLang="zh-CN" sz="2800" dirty="0"/>
              <a:t>supported </a:t>
            </a:r>
            <a:r>
              <a:rPr lang="en-US" altLang="zh-CN" sz="2800" dirty="0" smtClean="0"/>
              <a:t>via ConfigMgr on-</a:t>
            </a:r>
            <a:r>
              <a:rPr lang="en-US" altLang="zh-CN" sz="2800" dirty="0" err="1" smtClean="0"/>
              <a:t>prem</a:t>
            </a:r>
            <a:r>
              <a:rPr lang="en-US" altLang="zh-CN" sz="2800" dirty="0" smtClean="0"/>
              <a:t> infrastructure</a:t>
            </a:r>
            <a:endParaRPr lang="en-US" altLang="zh-CN" sz="2800" dirty="0"/>
          </a:p>
        </p:txBody>
      </p:sp>
    </p:spTree>
    <p:extLst>
      <p:ext uri="{BB962C8B-B14F-4D97-AF65-F5344CB8AC3E}">
        <p14:creationId xmlns:p14="http://schemas.microsoft.com/office/powerpoint/2010/main" val="8261887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 - Enrollment</a:t>
            </a:r>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1496122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oubleshooting Device Enrollment </a:t>
            </a:r>
            <a:endParaRPr lang="en-US" dirty="0"/>
          </a:p>
        </p:txBody>
      </p:sp>
      <p:sp>
        <p:nvSpPr>
          <p:cNvPr id="3" name="Content Placeholder 2"/>
          <p:cNvSpPr>
            <a:spLocks noGrp="1"/>
          </p:cNvSpPr>
          <p:nvPr>
            <p:ph type="body" sz="quarter" idx="10"/>
          </p:nvPr>
        </p:nvSpPr>
        <p:spPr>
          <a:xfrm>
            <a:off x="274638" y="1212850"/>
            <a:ext cx="11887200" cy="5736122"/>
          </a:xfrm>
        </p:spPr>
        <p:txBody>
          <a:bodyPr/>
          <a:lstStyle/>
          <a:p>
            <a:pPr lvl="1">
              <a:spcBef>
                <a:spcPts val="0"/>
              </a:spcBef>
              <a:spcAft>
                <a:spcPts val="918"/>
              </a:spcAft>
            </a:pPr>
            <a:r>
              <a:rPr lang="en-US" sz="2856" spc="-102" dirty="0" smtClean="0">
                <a:solidFill>
                  <a:schemeClr val="tx1"/>
                </a:solidFill>
                <a:latin typeface="Segoe UI Light" pitchFamily="34" charset="0"/>
              </a:rPr>
              <a:t>There are a couple of possible reasons why device enrollment may not succeed:</a:t>
            </a:r>
          </a:p>
          <a:p>
            <a:pPr marL="457200" lvl="1" indent="-457200">
              <a:spcBef>
                <a:spcPts val="0"/>
              </a:spcBef>
              <a:spcAft>
                <a:spcPts val="918"/>
              </a:spcAft>
              <a:buFont typeface="Arial" panose="020B0604020202020204" pitchFamily="34" charset="0"/>
              <a:buChar char="•"/>
            </a:pPr>
            <a:r>
              <a:rPr lang="en-US" sz="2856" spc="-102" dirty="0" smtClean="0">
                <a:solidFill>
                  <a:schemeClr val="tx1"/>
                </a:solidFill>
                <a:latin typeface="Segoe UI Light" pitchFamily="34" charset="0"/>
              </a:rPr>
              <a:t>Admin </a:t>
            </a:r>
            <a:r>
              <a:rPr lang="en-US" sz="2856" spc="-102" dirty="0">
                <a:solidFill>
                  <a:schemeClr val="tx1"/>
                </a:solidFill>
                <a:latin typeface="Segoe UI Light" pitchFamily="34" charset="0"/>
              </a:rPr>
              <a:t>has not configured </a:t>
            </a:r>
            <a:r>
              <a:rPr lang="en-US" sz="2856" spc="-102" dirty="0" smtClean="0">
                <a:solidFill>
                  <a:schemeClr val="tx1"/>
                </a:solidFill>
                <a:latin typeface="Segoe UI Light" pitchFamily="34" charset="0"/>
              </a:rPr>
              <a:t> mobile </a:t>
            </a:r>
            <a:r>
              <a:rPr lang="en-US" sz="2856" spc="-102" dirty="0">
                <a:solidFill>
                  <a:schemeClr val="tx1"/>
                </a:solidFill>
                <a:latin typeface="Segoe UI Light" pitchFamily="34" charset="0"/>
              </a:rPr>
              <a:t>device management</a:t>
            </a:r>
          </a:p>
          <a:p>
            <a:pPr marL="457200" lvl="1" indent="-457200">
              <a:spcBef>
                <a:spcPts val="0"/>
              </a:spcBef>
              <a:spcAft>
                <a:spcPts val="918"/>
              </a:spcAft>
              <a:buFont typeface="Arial" panose="020B0604020202020204" pitchFamily="34" charset="0"/>
              <a:buChar char="•"/>
            </a:pPr>
            <a:r>
              <a:rPr lang="en-US" sz="2856" spc="-102" dirty="0" smtClean="0">
                <a:solidFill>
                  <a:schemeClr val="tx1"/>
                </a:solidFill>
                <a:latin typeface="Segoe UI Light" pitchFamily="34" charset="0"/>
              </a:rPr>
              <a:t>Admin </a:t>
            </a:r>
            <a:r>
              <a:rPr lang="en-US" sz="2856" spc="-102" dirty="0">
                <a:solidFill>
                  <a:schemeClr val="tx1"/>
                </a:solidFill>
                <a:latin typeface="Segoe UI Light" pitchFamily="34" charset="0"/>
              </a:rPr>
              <a:t>has not enabled enrollment for specific device types</a:t>
            </a:r>
          </a:p>
          <a:p>
            <a:pPr marL="457200" lvl="1" indent="-457200">
              <a:spcBef>
                <a:spcPts val="0"/>
              </a:spcBef>
              <a:spcAft>
                <a:spcPts val="918"/>
              </a:spcAft>
              <a:buFont typeface="Arial" panose="020B0604020202020204" pitchFamily="34" charset="0"/>
              <a:buChar char="•"/>
            </a:pPr>
            <a:r>
              <a:rPr lang="en-US" sz="2856" spc="-102" dirty="0">
                <a:solidFill>
                  <a:schemeClr val="tx1"/>
                </a:solidFill>
                <a:latin typeface="Segoe UI Light" pitchFamily="34" charset="0"/>
              </a:rPr>
              <a:t>User is trying to enroll several devices at the same time or has more than 20 mobile devices in the system</a:t>
            </a:r>
          </a:p>
          <a:p>
            <a:pPr marL="457200" lvl="1" indent="-457200">
              <a:spcBef>
                <a:spcPts val="0"/>
              </a:spcBef>
              <a:spcAft>
                <a:spcPts val="918"/>
              </a:spcAft>
              <a:buFont typeface="Arial" panose="020B0604020202020204" pitchFamily="34" charset="0"/>
              <a:buChar char="•"/>
            </a:pPr>
            <a:r>
              <a:rPr lang="en-US" sz="2856" spc="-102" dirty="0">
                <a:solidFill>
                  <a:schemeClr val="tx1"/>
                </a:solidFill>
                <a:latin typeface="Segoe UI Light" pitchFamily="34" charset="0"/>
              </a:rPr>
              <a:t>User is not provisioned by their IT admin</a:t>
            </a:r>
          </a:p>
          <a:p>
            <a:pPr marL="457200" lvl="1" indent="-457200">
              <a:spcBef>
                <a:spcPts val="0"/>
              </a:spcBef>
              <a:spcAft>
                <a:spcPts val="918"/>
              </a:spcAft>
              <a:buFont typeface="Arial" panose="020B0604020202020204" pitchFamily="34" charset="0"/>
              <a:buChar char="•"/>
            </a:pPr>
            <a:r>
              <a:rPr lang="en-US" sz="2856" spc="-102" dirty="0" smtClean="0">
                <a:solidFill>
                  <a:schemeClr val="tx1"/>
                </a:solidFill>
                <a:latin typeface="Segoe UI Light" pitchFamily="34" charset="0"/>
              </a:rPr>
              <a:t>Windows Phone 8 </a:t>
            </a:r>
            <a:r>
              <a:rPr lang="en-US" sz="2856" spc="-102" dirty="0">
                <a:solidFill>
                  <a:schemeClr val="tx1"/>
                </a:solidFill>
                <a:latin typeface="Segoe UI Light" pitchFamily="34" charset="0"/>
              </a:rPr>
              <a:t>Only: WP8 code signing certificate not configured properly </a:t>
            </a:r>
          </a:p>
          <a:p>
            <a:pPr marL="457200" lvl="1" indent="-457200">
              <a:spcBef>
                <a:spcPts val="0"/>
              </a:spcBef>
              <a:spcAft>
                <a:spcPts val="918"/>
              </a:spcAft>
              <a:buFont typeface="Arial" panose="020B0604020202020204" pitchFamily="34" charset="0"/>
              <a:buChar char="•"/>
            </a:pPr>
            <a:r>
              <a:rPr lang="en-US" sz="2856" spc="-102" dirty="0" err="1">
                <a:solidFill>
                  <a:schemeClr val="tx1"/>
                </a:solidFill>
                <a:latin typeface="Segoe UI Light" pitchFamily="34" charset="0"/>
              </a:rPr>
              <a:t>iOS</a:t>
            </a:r>
            <a:r>
              <a:rPr lang="en-US" sz="2856" spc="-102" dirty="0">
                <a:solidFill>
                  <a:schemeClr val="tx1"/>
                </a:solidFill>
                <a:latin typeface="Segoe UI Light" pitchFamily="34" charset="0"/>
              </a:rPr>
              <a:t> only: </a:t>
            </a:r>
            <a:r>
              <a:rPr lang="en-US" sz="2856" spc="-102" dirty="0" smtClean="0">
                <a:solidFill>
                  <a:schemeClr val="tx1"/>
                </a:solidFill>
                <a:latin typeface="Segoe UI Light" pitchFamily="34" charset="0"/>
              </a:rPr>
              <a:t>Apple Push Notification Service </a:t>
            </a:r>
            <a:r>
              <a:rPr lang="en-US" sz="2856" spc="-102" dirty="0">
                <a:solidFill>
                  <a:schemeClr val="tx1"/>
                </a:solidFill>
                <a:latin typeface="Segoe UI Light" pitchFamily="34" charset="0"/>
              </a:rPr>
              <a:t>certificate is not configured or expired. Or device is not running </a:t>
            </a:r>
            <a:r>
              <a:rPr lang="en-US" sz="2856" spc="-102" dirty="0" err="1">
                <a:solidFill>
                  <a:schemeClr val="tx1"/>
                </a:solidFill>
                <a:latin typeface="Segoe UI Light" pitchFamily="34" charset="0"/>
              </a:rPr>
              <a:t>iOS</a:t>
            </a:r>
            <a:r>
              <a:rPr lang="en-US" sz="2856" spc="-102" dirty="0">
                <a:solidFill>
                  <a:schemeClr val="tx1"/>
                </a:solidFill>
                <a:latin typeface="Segoe UI Light" pitchFamily="34" charset="0"/>
              </a:rPr>
              <a:t> 5.0 +</a:t>
            </a:r>
          </a:p>
          <a:p>
            <a:pPr marL="0" lvl="1" indent="0">
              <a:spcBef>
                <a:spcPts val="0"/>
              </a:spcBef>
              <a:spcAft>
                <a:spcPts val="918"/>
              </a:spcAft>
              <a:buNone/>
            </a:pPr>
            <a:endParaRPr lang="en-US" spc="-102" dirty="0" smtClean="0">
              <a:solidFill>
                <a:schemeClr val="tx1"/>
              </a:solidFill>
              <a:latin typeface="Segoe UI Light" pitchFamily="34" charset="0"/>
            </a:endParaRPr>
          </a:p>
          <a:p>
            <a:pPr marL="0" lvl="1" indent="0">
              <a:spcBef>
                <a:spcPts val="0"/>
              </a:spcBef>
              <a:spcAft>
                <a:spcPts val="918"/>
              </a:spcAft>
              <a:buNone/>
            </a:pPr>
            <a:r>
              <a:rPr lang="en-US" sz="2856" spc="-102" dirty="0">
                <a:solidFill>
                  <a:schemeClr val="tx1"/>
                </a:solidFill>
                <a:latin typeface="Segoe UI Light" pitchFamily="34" charset="0"/>
              </a:rPr>
              <a:t>Recommendation from </a:t>
            </a:r>
            <a:r>
              <a:rPr lang="en-US" sz="2856" spc="-102" dirty="0" smtClean="0">
                <a:solidFill>
                  <a:schemeClr val="tx1"/>
                </a:solidFill>
                <a:latin typeface="Segoe UI Light" pitchFamily="34" charset="0"/>
              </a:rPr>
              <a:t>TAP customers is </a:t>
            </a:r>
            <a:r>
              <a:rPr lang="en-US" sz="2856" spc="-102" dirty="0">
                <a:solidFill>
                  <a:schemeClr val="tx1"/>
                </a:solidFill>
                <a:latin typeface="Segoe UI Light" pitchFamily="34" charset="0"/>
              </a:rPr>
              <a:t>to test configuration thoroughly and </a:t>
            </a:r>
            <a:r>
              <a:rPr lang="en-US" sz="2856" spc="-102" dirty="0" smtClean="0">
                <a:solidFill>
                  <a:schemeClr val="tx1"/>
                </a:solidFill>
                <a:latin typeface="Segoe UI Light" pitchFamily="34" charset="0"/>
              </a:rPr>
              <a:t>provide user </a:t>
            </a:r>
            <a:r>
              <a:rPr lang="en-US" sz="2856" spc="-102" dirty="0">
                <a:solidFill>
                  <a:schemeClr val="tx1"/>
                </a:solidFill>
                <a:latin typeface="Segoe UI Light" pitchFamily="34" charset="0"/>
              </a:rPr>
              <a:t>education</a:t>
            </a:r>
          </a:p>
        </p:txBody>
      </p:sp>
    </p:spTree>
    <p:extLst>
      <p:ext uri="{BB962C8B-B14F-4D97-AF65-F5344CB8AC3E}">
        <p14:creationId xmlns:p14="http://schemas.microsoft.com/office/powerpoint/2010/main" val="1740350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485" y="292646"/>
            <a:ext cx="11778658" cy="738664"/>
          </a:xfrm>
        </p:spPr>
        <p:txBody>
          <a:bodyPr vert="horz" wrap="square" lIns="146304" tIns="91440" rIns="146304" bIns="91440" rtlCol="0" anchor="t">
            <a:spAutoFit/>
          </a:bodyPr>
          <a:lstStyle/>
          <a:p>
            <a:r>
              <a:rPr lang="en-US" sz="4000" dirty="0"/>
              <a:t>What’s </a:t>
            </a:r>
            <a:r>
              <a:rPr lang="en-US" sz="4000" dirty="0" smtClean="0"/>
              <a:t>New </a:t>
            </a:r>
            <a:r>
              <a:rPr lang="en-US" sz="4000" dirty="0"/>
              <a:t>in </a:t>
            </a:r>
            <a:r>
              <a:rPr lang="en-US" sz="4000" dirty="0" smtClean="0"/>
              <a:t>Mobile Device Inventory?</a:t>
            </a:r>
            <a:endParaRPr lang="en-US" sz="4000" dirty="0"/>
          </a:p>
        </p:txBody>
      </p:sp>
      <p:sp>
        <p:nvSpPr>
          <p:cNvPr id="3" name="TextBox 2"/>
          <p:cNvSpPr txBox="1"/>
          <p:nvPr/>
        </p:nvSpPr>
        <p:spPr>
          <a:xfrm>
            <a:off x="5927064" y="6477460"/>
            <a:ext cx="6509411" cy="517065"/>
          </a:xfrm>
          <a:prstGeom prst="rect">
            <a:avLst/>
          </a:prstGeom>
          <a:noFill/>
        </p:spPr>
        <p:txBody>
          <a:bodyPr wrap="none" lIns="182880" tIns="146304" rIns="182880" bIns="146304" rtlCol="0">
            <a:spAutoFit/>
          </a:bodyPr>
          <a:lstStyle/>
          <a:p>
            <a:pPr marL="0" lvl="2">
              <a:lnSpc>
                <a:spcPct val="90000"/>
              </a:lnSpc>
            </a:pPr>
            <a:r>
              <a:rPr lang="en-US" sz="1600" dirty="0"/>
              <a:t>* iOS – Apple MDM allows only inventory of MDM provisioned </a:t>
            </a:r>
            <a:r>
              <a:rPr lang="en-US" sz="1600" dirty="0" smtClean="0"/>
              <a:t>apps</a:t>
            </a:r>
            <a:endParaRPr lang="en-US" sz="1600" dirty="0"/>
          </a:p>
        </p:txBody>
      </p:sp>
      <p:sp>
        <p:nvSpPr>
          <p:cNvPr id="4" name="Rectangle 3"/>
          <p:cNvSpPr/>
          <p:nvPr/>
        </p:nvSpPr>
        <p:spPr>
          <a:xfrm>
            <a:off x="8504238" y="5117968"/>
            <a:ext cx="3665415" cy="830997"/>
          </a:xfrm>
          <a:prstGeom prst="rect">
            <a:avLst/>
          </a:prstGeom>
        </p:spPr>
        <p:txBody>
          <a:bodyPr wrap="square" lIns="0" rIns="0">
            <a:spAutoFit/>
          </a:bodyPr>
          <a:lstStyle/>
          <a:p>
            <a:pPr marL="466023" lvl="1"/>
            <a:r>
              <a:rPr lang="en-US" sz="1600" dirty="0"/>
              <a:t>New global condition to differentiate app installs on corporate </a:t>
            </a:r>
            <a:r>
              <a:rPr lang="en-US" sz="1600" dirty="0" smtClean="0"/>
              <a:t>versus </a:t>
            </a:r>
            <a:r>
              <a:rPr lang="en-US" sz="1600" dirty="0"/>
              <a:t>personal </a:t>
            </a:r>
          </a:p>
        </p:txBody>
      </p:sp>
      <p:sp>
        <p:nvSpPr>
          <p:cNvPr id="6" name="Rectangle 5"/>
          <p:cNvSpPr/>
          <p:nvPr/>
        </p:nvSpPr>
        <p:spPr>
          <a:xfrm>
            <a:off x="8504238" y="4378822"/>
            <a:ext cx="3429765" cy="400110"/>
          </a:xfrm>
          <a:prstGeom prst="rect">
            <a:avLst/>
          </a:prstGeom>
        </p:spPr>
        <p:txBody>
          <a:bodyPr wrap="square" rIns="0">
            <a:spAutoFit/>
          </a:bodyPr>
          <a:lstStyle/>
          <a:p>
            <a:pPr marL="466115" lvl="1"/>
            <a:r>
              <a:rPr lang="en-US" sz="2000" dirty="0">
                <a:solidFill>
                  <a:schemeClr val="accent1"/>
                </a:solidFill>
              </a:rPr>
              <a:t>App Management</a:t>
            </a:r>
          </a:p>
        </p:txBody>
      </p:sp>
      <p:sp>
        <p:nvSpPr>
          <p:cNvPr id="7" name="Rectangle 6"/>
          <p:cNvSpPr/>
          <p:nvPr/>
        </p:nvSpPr>
        <p:spPr>
          <a:xfrm>
            <a:off x="3970338" y="5121895"/>
            <a:ext cx="4522008" cy="1077218"/>
          </a:xfrm>
          <a:prstGeom prst="rect">
            <a:avLst/>
          </a:prstGeom>
        </p:spPr>
        <p:txBody>
          <a:bodyPr wrap="square" rIns="0">
            <a:spAutoFit/>
          </a:bodyPr>
          <a:lstStyle/>
          <a:p>
            <a:pPr marL="466023" lvl="1"/>
            <a:r>
              <a:rPr lang="en-US" sz="1600" dirty="0"/>
              <a:t>Personal devices</a:t>
            </a:r>
            <a:r>
              <a:rPr lang="en-US" sz="1600" b="1" dirty="0"/>
              <a:t> </a:t>
            </a:r>
            <a:r>
              <a:rPr lang="en-US" sz="1600" dirty="0"/>
              <a:t>– Inventory </a:t>
            </a:r>
            <a:r>
              <a:rPr lang="en-US" sz="1600" dirty="0" smtClean="0"/>
              <a:t>of applications </a:t>
            </a:r>
            <a:r>
              <a:rPr lang="en-US" sz="1600" dirty="0"/>
              <a:t>installed by </a:t>
            </a:r>
            <a:r>
              <a:rPr lang="en-US" sz="1600" dirty="0" smtClean="0"/>
              <a:t>ConfigMgr/Intune only</a:t>
            </a:r>
            <a:endParaRPr lang="en-US" sz="1600" dirty="0"/>
          </a:p>
          <a:p>
            <a:pPr marL="466023" lvl="1"/>
            <a:r>
              <a:rPr lang="en-US" sz="1600" dirty="0"/>
              <a:t>Corporate devices – Complete inventory of all applications on the device*</a:t>
            </a:r>
          </a:p>
        </p:txBody>
      </p:sp>
      <p:sp>
        <p:nvSpPr>
          <p:cNvPr id="8" name="Rectangle 7"/>
          <p:cNvSpPr/>
          <p:nvPr/>
        </p:nvSpPr>
        <p:spPr>
          <a:xfrm>
            <a:off x="3970338" y="4386617"/>
            <a:ext cx="4533900" cy="400110"/>
          </a:xfrm>
          <a:prstGeom prst="rect">
            <a:avLst/>
          </a:prstGeom>
        </p:spPr>
        <p:txBody>
          <a:bodyPr wrap="square" lIns="0" rIns="0">
            <a:spAutoFit/>
          </a:bodyPr>
          <a:lstStyle/>
          <a:p>
            <a:pPr marL="466115" lvl="1" algn="ctr"/>
            <a:r>
              <a:rPr lang="en-US" sz="2000" dirty="0">
                <a:solidFill>
                  <a:schemeClr val="accent1"/>
                </a:solidFill>
              </a:rPr>
              <a:t>App inventory</a:t>
            </a:r>
          </a:p>
        </p:txBody>
      </p:sp>
      <p:sp>
        <p:nvSpPr>
          <p:cNvPr id="9" name="Rectangle 8"/>
          <p:cNvSpPr/>
          <p:nvPr/>
        </p:nvSpPr>
        <p:spPr>
          <a:xfrm>
            <a:off x="212117" y="5119614"/>
            <a:ext cx="3703515" cy="1077218"/>
          </a:xfrm>
          <a:prstGeom prst="rect">
            <a:avLst/>
          </a:prstGeom>
        </p:spPr>
        <p:txBody>
          <a:bodyPr wrap="square" rIns="0">
            <a:spAutoFit/>
          </a:bodyPr>
          <a:lstStyle/>
          <a:p>
            <a:pPr marL="466023" lvl="1"/>
            <a:r>
              <a:rPr lang="en-US" sz="1600" dirty="0"/>
              <a:t>By </a:t>
            </a:r>
            <a:r>
              <a:rPr lang="en-US" sz="1600" dirty="0" smtClean="0"/>
              <a:t>default, user-enrolled </a:t>
            </a:r>
            <a:r>
              <a:rPr lang="en-US" sz="1600" dirty="0"/>
              <a:t>devices are </a:t>
            </a:r>
            <a:r>
              <a:rPr lang="en-US" sz="1600" dirty="0" smtClean="0"/>
              <a:t>“Personal” </a:t>
            </a:r>
          </a:p>
          <a:p>
            <a:pPr marL="466023" lvl="1"/>
            <a:r>
              <a:rPr lang="en-US" sz="1600" dirty="0" smtClean="0"/>
              <a:t>Admin </a:t>
            </a:r>
            <a:r>
              <a:rPr lang="en-US" sz="1600" dirty="0"/>
              <a:t>can specify </a:t>
            </a:r>
            <a:r>
              <a:rPr lang="en-US" sz="1600" dirty="0" smtClean="0"/>
              <a:t>corporate-owned </a:t>
            </a:r>
            <a:r>
              <a:rPr lang="en-US" sz="1600" dirty="0"/>
              <a:t>devices</a:t>
            </a:r>
          </a:p>
        </p:txBody>
      </p:sp>
      <p:sp>
        <p:nvSpPr>
          <p:cNvPr id="10" name="Rectangle 9"/>
          <p:cNvSpPr/>
          <p:nvPr/>
        </p:nvSpPr>
        <p:spPr>
          <a:xfrm>
            <a:off x="460375" y="4386637"/>
            <a:ext cx="3509963" cy="707886"/>
          </a:xfrm>
          <a:prstGeom prst="rect">
            <a:avLst/>
          </a:prstGeom>
        </p:spPr>
        <p:txBody>
          <a:bodyPr wrap="square" rIns="0">
            <a:spAutoFit/>
          </a:bodyPr>
          <a:lstStyle/>
          <a:p>
            <a:pPr marL="466115" lvl="1"/>
            <a:r>
              <a:rPr lang="en-US" sz="2000" dirty="0">
                <a:solidFill>
                  <a:schemeClr val="accent1"/>
                </a:solidFill>
              </a:rPr>
              <a:t>Personal </a:t>
            </a:r>
            <a:r>
              <a:rPr lang="en-US" sz="2000" dirty="0" smtClean="0">
                <a:solidFill>
                  <a:schemeClr val="accent1"/>
                </a:solidFill>
              </a:rPr>
              <a:t>vs. </a:t>
            </a:r>
            <a:r>
              <a:rPr lang="en-US" sz="2000" dirty="0">
                <a:solidFill>
                  <a:schemeClr val="accent1"/>
                </a:solidFill>
              </a:rPr>
              <a:t>Corporate Owned Devices</a:t>
            </a:r>
          </a:p>
        </p:txBody>
      </p:sp>
      <p:grpSp>
        <p:nvGrpSpPr>
          <p:cNvPr id="37" name="Group 36"/>
          <p:cNvGrpSpPr/>
          <p:nvPr/>
        </p:nvGrpSpPr>
        <p:grpSpPr>
          <a:xfrm>
            <a:off x="8786395" y="1488705"/>
            <a:ext cx="2695383" cy="2777105"/>
            <a:chOff x="8887017" y="1788862"/>
            <a:chExt cx="2311657" cy="2381745"/>
          </a:xfrm>
        </p:grpSpPr>
        <p:grpSp>
          <p:nvGrpSpPr>
            <p:cNvPr id="25" name="Group 24"/>
            <p:cNvGrpSpPr/>
            <p:nvPr/>
          </p:nvGrpSpPr>
          <p:grpSpPr>
            <a:xfrm>
              <a:off x="8887017" y="1788862"/>
              <a:ext cx="1575990" cy="2381745"/>
              <a:chOff x="8753983" y="1788862"/>
              <a:chExt cx="1575990" cy="2381745"/>
            </a:xfrm>
          </p:grpSpPr>
          <p:sp>
            <p:nvSpPr>
              <p:cNvPr id="23" name="Freeform 6"/>
              <p:cNvSpPr>
                <a:spLocks/>
              </p:cNvSpPr>
              <p:nvPr/>
            </p:nvSpPr>
            <p:spPr bwMode="auto">
              <a:xfrm>
                <a:off x="9079096" y="1788862"/>
                <a:ext cx="919634" cy="919636"/>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sp>
            <p:nvSpPr>
              <p:cNvPr id="24" name="Freeform 7"/>
              <p:cNvSpPr>
                <a:spLocks/>
              </p:cNvSpPr>
              <p:nvPr/>
            </p:nvSpPr>
            <p:spPr bwMode="auto">
              <a:xfrm>
                <a:off x="8753983" y="2606247"/>
                <a:ext cx="1575990" cy="1564360"/>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158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grpSp>
        <p:sp>
          <p:nvSpPr>
            <p:cNvPr id="26" name="Freeform 31"/>
            <p:cNvSpPr>
              <a:spLocks/>
            </p:cNvSpPr>
            <p:nvPr/>
          </p:nvSpPr>
          <p:spPr bwMode="auto">
            <a:xfrm>
              <a:off x="9964955" y="2920104"/>
              <a:ext cx="1159546" cy="852132"/>
            </a:xfrm>
            <a:custGeom>
              <a:avLst/>
              <a:gdLst>
                <a:gd name="T0" fmla="*/ 445 w 445"/>
                <a:gd name="T1" fmla="*/ 297 h 328"/>
                <a:gd name="T2" fmla="*/ 412 w 445"/>
                <a:gd name="T3" fmla="*/ 325 h 328"/>
                <a:gd name="T4" fmla="*/ 9 w 445"/>
                <a:gd name="T5" fmla="*/ 325 h 328"/>
                <a:gd name="T6" fmla="*/ 0 w 445"/>
                <a:gd name="T7" fmla="*/ 297 h 328"/>
                <a:gd name="T8" fmla="*/ 0 w 445"/>
                <a:gd name="T9" fmla="*/ 31 h 328"/>
                <a:gd name="T10" fmla="*/ 9 w 445"/>
                <a:gd name="T11" fmla="*/ 3 h 328"/>
                <a:gd name="T12" fmla="*/ 412 w 445"/>
                <a:gd name="T13" fmla="*/ 3 h 328"/>
                <a:gd name="T14" fmla="*/ 445 w 445"/>
                <a:gd name="T15" fmla="*/ 31 h 328"/>
                <a:gd name="T16" fmla="*/ 445 w 445"/>
                <a:gd name="T17" fmla="*/ 29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328">
                  <a:moveTo>
                    <a:pt x="445" y="297"/>
                  </a:moveTo>
                  <a:cubicBezTo>
                    <a:pt x="445" y="328"/>
                    <a:pt x="443" y="325"/>
                    <a:pt x="412" y="325"/>
                  </a:cubicBezTo>
                  <a:cubicBezTo>
                    <a:pt x="9" y="325"/>
                    <a:pt x="9" y="325"/>
                    <a:pt x="9" y="325"/>
                  </a:cubicBezTo>
                  <a:cubicBezTo>
                    <a:pt x="9" y="325"/>
                    <a:pt x="0" y="328"/>
                    <a:pt x="0" y="297"/>
                  </a:cubicBezTo>
                  <a:cubicBezTo>
                    <a:pt x="0" y="31"/>
                    <a:pt x="0" y="31"/>
                    <a:pt x="0" y="31"/>
                  </a:cubicBezTo>
                  <a:cubicBezTo>
                    <a:pt x="0" y="0"/>
                    <a:pt x="9" y="3"/>
                    <a:pt x="9" y="3"/>
                  </a:cubicBezTo>
                  <a:cubicBezTo>
                    <a:pt x="412" y="3"/>
                    <a:pt x="412" y="3"/>
                    <a:pt x="412" y="3"/>
                  </a:cubicBezTo>
                  <a:cubicBezTo>
                    <a:pt x="443" y="3"/>
                    <a:pt x="445" y="0"/>
                    <a:pt x="445" y="31"/>
                  </a:cubicBezTo>
                  <a:lnTo>
                    <a:pt x="445"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32"/>
            <p:cNvSpPr>
              <a:spLocks noEditPoints="1"/>
            </p:cNvSpPr>
            <p:nvPr/>
          </p:nvSpPr>
          <p:spPr bwMode="auto">
            <a:xfrm>
              <a:off x="9945641" y="2910583"/>
              <a:ext cx="1253033" cy="1069664"/>
            </a:xfrm>
            <a:custGeom>
              <a:avLst/>
              <a:gdLst>
                <a:gd name="T0" fmla="*/ 466 w 481"/>
                <a:gd name="T1" fmla="*/ 0 h 412"/>
                <a:gd name="T2" fmla="*/ 16 w 481"/>
                <a:gd name="T3" fmla="*/ 0 h 412"/>
                <a:gd name="T4" fmla="*/ 0 w 481"/>
                <a:gd name="T5" fmla="*/ 15 h 412"/>
                <a:gd name="T6" fmla="*/ 0 w 481"/>
                <a:gd name="T7" fmla="*/ 337 h 412"/>
                <a:gd name="T8" fmla="*/ 16 w 481"/>
                <a:gd name="T9" fmla="*/ 352 h 412"/>
                <a:gd name="T10" fmla="*/ 164 w 481"/>
                <a:gd name="T11" fmla="*/ 352 h 412"/>
                <a:gd name="T12" fmla="*/ 159 w 481"/>
                <a:gd name="T13" fmla="*/ 375 h 412"/>
                <a:gd name="T14" fmla="*/ 134 w 481"/>
                <a:gd name="T15" fmla="*/ 384 h 412"/>
                <a:gd name="T16" fmla="*/ 132 w 481"/>
                <a:gd name="T17" fmla="*/ 384 h 412"/>
                <a:gd name="T18" fmla="*/ 121 w 481"/>
                <a:gd name="T19" fmla="*/ 395 h 412"/>
                <a:gd name="T20" fmla="*/ 121 w 481"/>
                <a:gd name="T21" fmla="*/ 401 h 412"/>
                <a:gd name="T22" fmla="*/ 132 w 481"/>
                <a:gd name="T23" fmla="*/ 412 h 412"/>
                <a:gd name="T24" fmla="*/ 355 w 481"/>
                <a:gd name="T25" fmla="*/ 412 h 412"/>
                <a:gd name="T26" fmla="*/ 365 w 481"/>
                <a:gd name="T27" fmla="*/ 401 h 412"/>
                <a:gd name="T28" fmla="*/ 365 w 481"/>
                <a:gd name="T29" fmla="*/ 395 h 412"/>
                <a:gd name="T30" fmla="*/ 355 w 481"/>
                <a:gd name="T31" fmla="*/ 384 h 412"/>
                <a:gd name="T32" fmla="*/ 354 w 481"/>
                <a:gd name="T33" fmla="*/ 384 h 412"/>
                <a:gd name="T34" fmla="*/ 330 w 481"/>
                <a:gd name="T35" fmla="*/ 375 h 412"/>
                <a:gd name="T36" fmla="*/ 326 w 481"/>
                <a:gd name="T37" fmla="*/ 352 h 412"/>
                <a:gd name="T38" fmla="*/ 466 w 481"/>
                <a:gd name="T39" fmla="*/ 352 h 412"/>
                <a:gd name="T40" fmla="*/ 481 w 481"/>
                <a:gd name="T41" fmla="*/ 337 h 412"/>
                <a:gd name="T42" fmla="*/ 481 w 481"/>
                <a:gd name="T43" fmla="*/ 15 h 412"/>
                <a:gd name="T44" fmla="*/ 466 w 481"/>
                <a:gd name="T45" fmla="*/ 0 h 412"/>
                <a:gd name="T46" fmla="*/ 453 w 481"/>
                <a:gd name="T47" fmla="*/ 313 h 412"/>
                <a:gd name="T48" fmla="*/ 440 w 481"/>
                <a:gd name="T49" fmla="*/ 325 h 412"/>
                <a:gd name="T50" fmla="*/ 41 w 481"/>
                <a:gd name="T51" fmla="*/ 325 h 412"/>
                <a:gd name="T52" fmla="*/ 28 w 481"/>
                <a:gd name="T53" fmla="*/ 313 h 412"/>
                <a:gd name="T54" fmla="*/ 28 w 481"/>
                <a:gd name="T55" fmla="*/ 39 h 412"/>
                <a:gd name="T56" fmla="*/ 41 w 481"/>
                <a:gd name="T57" fmla="*/ 26 h 412"/>
                <a:gd name="T58" fmla="*/ 440 w 481"/>
                <a:gd name="T59" fmla="*/ 26 h 412"/>
                <a:gd name="T60" fmla="*/ 453 w 481"/>
                <a:gd name="T61" fmla="*/ 39 h 412"/>
                <a:gd name="T62" fmla="*/ 453 w 481"/>
                <a:gd name="T63" fmla="*/ 31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1" h="412">
                  <a:moveTo>
                    <a:pt x="466" y="0"/>
                  </a:moveTo>
                  <a:cubicBezTo>
                    <a:pt x="16" y="0"/>
                    <a:pt x="16" y="0"/>
                    <a:pt x="16" y="0"/>
                  </a:cubicBezTo>
                  <a:cubicBezTo>
                    <a:pt x="7" y="0"/>
                    <a:pt x="0" y="7"/>
                    <a:pt x="0" y="15"/>
                  </a:cubicBezTo>
                  <a:cubicBezTo>
                    <a:pt x="0" y="342"/>
                    <a:pt x="0" y="20"/>
                    <a:pt x="0" y="337"/>
                  </a:cubicBezTo>
                  <a:cubicBezTo>
                    <a:pt x="0" y="345"/>
                    <a:pt x="7" y="352"/>
                    <a:pt x="16" y="352"/>
                  </a:cubicBezTo>
                  <a:cubicBezTo>
                    <a:pt x="164" y="352"/>
                    <a:pt x="164" y="352"/>
                    <a:pt x="164" y="352"/>
                  </a:cubicBezTo>
                  <a:cubicBezTo>
                    <a:pt x="164" y="352"/>
                    <a:pt x="163" y="370"/>
                    <a:pt x="159" y="375"/>
                  </a:cubicBezTo>
                  <a:cubicBezTo>
                    <a:pt x="153" y="384"/>
                    <a:pt x="142" y="382"/>
                    <a:pt x="134" y="384"/>
                  </a:cubicBezTo>
                  <a:cubicBezTo>
                    <a:pt x="132" y="384"/>
                    <a:pt x="132" y="384"/>
                    <a:pt x="132" y="384"/>
                  </a:cubicBezTo>
                  <a:cubicBezTo>
                    <a:pt x="126" y="384"/>
                    <a:pt x="121" y="389"/>
                    <a:pt x="121" y="395"/>
                  </a:cubicBezTo>
                  <a:cubicBezTo>
                    <a:pt x="121" y="401"/>
                    <a:pt x="121" y="401"/>
                    <a:pt x="121" y="401"/>
                  </a:cubicBezTo>
                  <a:cubicBezTo>
                    <a:pt x="121" y="407"/>
                    <a:pt x="126" y="412"/>
                    <a:pt x="132" y="412"/>
                  </a:cubicBezTo>
                  <a:cubicBezTo>
                    <a:pt x="355" y="412"/>
                    <a:pt x="355" y="412"/>
                    <a:pt x="355" y="412"/>
                  </a:cubicBezTo>
                  <a:cubicBezTo>
                    <a:pt x="360" y="412"/>
                    <a:pt x="365" y="407"/>
                    <a:pt x="365" y="401"/>
                  </a:cubicBezTo>
                  <a:cubicBezTo>
                    <a:pt x="365" y="395"/>
                    <a:pt x="365" y="395"/>
                    <a:pt x="365" y="395"/>
                  </a:cubicBezTo>
                  <a:cubicBezTo>
                    <a:pt x="365" y="389"/>
                    <a:pt x="360" y="384"/>
                    <a:pt x="355" y="384"/>
                  </a:cubicBezTo>
                  <a:cubicBezTo>
                    <a:pt x="354" y="384"/>
                    <a:pt x="354" y="384"/>
                    <a:pt x="354" y="384"/>
                  </a:cubicBezTo>
                  <a:cubicBezTo>
                    <a:pt x="349" y="384"/>
                    <a:pt x="336" y="385"/>
                    <a:pt x="330" y="375"/>
                  </a:cubicBezTo>
                  <a:cubicBezTo>
                    <a:pt x="327" y="370"/>
                    <a:pt x="326" y="352"/>
                    <a:pt x="326" y="352"/>
                  </a:cubicBezTo>
                  <a:cubicBezTo>
                    <a:pt x="466" y="352"/>
                    <a:pt x="466" y="352"/>
                    <a:pt x="466" y="352"/>
                  </a:cubicBezTo>
                  <a:cubicBezTo>
                    <a:pt x="474" y="352"/>
                    <a:pt x="481" y="345"/>
                    <a:pt x="481" y="337"/>
                  </a:cubicBezTo>
                  <a:cubicBezTo>
                    <a:pt x="481" y="20"/>
                    <a:pt x="481" y="342"/>
                    <a:pt x="481" y="15"/>
                  </a:cubicBezTo>
                  <a:cubicBezTo>
                    <a:pt x="481" y="7"/>
                    <a:pt x="474" y="0"/>
                    <a:pt x="466" y="0"/>
                  </a:cubicBezTo>
                  <a:close/>
                  <a:moveTo>
                    <a:pt x="453" y="313"/>
                  </a:moveTo>
                  <a:cubicBezTo>
                    <a:pt x="453" y="320"/>
                    <a:pt x="447" y="325"/>
                    <a:pt x="440" y="325"/>
                  </a:cubicBezTo>
                  <a:cubicBezTo>
                    <a:pt x="41" y="325"/>
                    <a:pt x="41" y="325"/>
                    <a:pt x="41" y="325"/>
                  </a:cubicBezTo>
                  <a:cubicBezTo>
                    <a:pt x="34" y="325"/>
                    <a:pt x="28" y="320"/>
                    <a:pt x="28" y="313"/>
                  </a:cubicBezTo>
                  <a:cubicBezTo>
                    <a:pt x="28" y="44"/>
                    <a:pt x="28" y="317"/>
                    <a:pt x="28" y="39"/>
                  </a:cubicBezTo>
                  <a:cubicBezTo>
                    <a:pt x="28" y="32"/>
                    <a:pt x="34" y="26"/>
                    <a:pt x="41" y="26"/>
                  </a:cubicBezTo>
                  <a:cubicBezTo>
                    <a:pt x="440" y="26"/>
                    <a:pt x="440" y="26"/>
                    <a:pt x="440" y="26"/>
                  </a:cubicBezTo>
                  <a:cubicBezTo>
                    <a:pt x="447" y="26"/>
                    <a:pt x="453" y="32"/>
                    <a:pt x="453" y="39"/>
                  </a:cubicBezTo>
                  <a:cubicBezTo>
                    <a:pt x="453" y="317"/>
                    <a:pt x="453" y="44"/>
                    <a:pt x="453" y="3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28" name="Group 4"/>
            <p:cNvGrpSpPr>
              <a:grpSpLocks noChangeAspect="1"/>
            </p:cNvGrpSpPr>
            <p:nvPr/>
          </p:nvGrpSpPr>
          <p:grpSpPr bwMode="auto">
            <a:xfrm>
              <a:off x="10154906" y="3017838"/>
              <a:ext cx="882271" cy="685007"/>
              <a:chOff x="1601" y="1580"/>
              <a:chExt cx="814" cy="632"/>
            </a:xfrm>
            <a:solidFill>
              <a:schemeClr val="accent3"/>
            </a:solidFill>
          </p:grpSpPr>
          <p:sp>
            <p:nvSpPr>
              <p:cNvPr id="29" name="Freeform 5"/>
              <p:cNvSpPr>
                <a:spLocks noEditPoints="1"/>
              </p:cNvSpPr>
              <p:nvPr/>
            </p:nvSpPr>
            <p:spPr bwMode="auto">
              <a:xfrm>
                <a:off x="1601" y="1684"/>
                <a:ext cx="814" cy="528"/>
              </a:xfrm>
              <a:custGeom>
                <a:avLst/>
                <a:gdLst>
                  <a:gd name="T0" fmla="*/ 1080 w 1136"/>
                  <a:gd name="T1" fmla="*/ 0 h 737"/>
                  <a:gd name="T2" fmla="*/ 56 w 1136"/>
                  <a:gd name="T3" fmla="*/ 0 h 737"/>
                  <a:gd name="T4" fmla="*/ 0 w 1136"/>
                  <a:gd name="T5" fmla="*/ 56 h 737"/>
                  <a:gd name="T6" fmla="*/ 0 w 1136"/>
                  <a:gd name="T7" fmla="*/ 681 h 737"/>
                  <a:gd name="T8" fmla="*/ 56 w 1136"/>
                  <a:gd name="T9" fmla="*/ 737 h 737"/>
                  <a:gd name="T10" fmla="*/ 1080 w 1136"/>
                  <a:gd name="T11" fmla="*/ 737 h 737"/>
                  <a:gd name="T12" fmla="*/ 1136 w 1136"/>
                  <a:gd name="T13" fmla="*/ 681 h 737"/>
                  <a:gd name="T14" fmla="*/ 1136 w 1136"/>
                  <a:gd name="T15" fmla="*/ 56 h 737"/>
                  <a:gd name="T16" fmla="*/ 1080 w 1136"/>
                  <a:gd name="T17" fmla="*/ 0 h 737"/>
                  <a:gd name="T18" fmla="*/ 1080 w 1136"/>
                  <a:gd name="T19" fmla="*/ 681 h 737"/>
                  <a:gd name="T20" fmla="*/ 1080 w 1136"/>
                  <a:gd name="T21" fmla="*/ 681 h 737"/>
                  <a:gd name="T22" fmla="*/ 56 w 1136"/>
                  <a:gd name="T23" fmla="*/ 681 h 737"/>
                  <a:gd name="T24" fmla="*/ 56 w 1136"/>
                  <a:gd name="T25" fmla="*/ 681 h 737"/>
                  <a:gd name="T26" fmla="*/ 56 w 1136"/>
                  <a:gd name="T27" fmla="*/ 56 h 737"/>
                  <a:gd name="T28" fmla="*/ 56 w 1136"/>
                  <a:gd name="T29" fmla="*/ 56 h 737"/>
                  <a:gd name="T30" fmla="*/ 1080 w 1136"/>
                  <a:gd name="T31" fmla="*/ 56 h 737"/>
                  <a:gd name="T32" fmla="*/ 1080 w 1136"/>
                  <a:gd name="T33" fmla="*/ 56 h 737"/>
                  <a:gd name="T34" fmla="*/ 1080 w 1136"/>
                  <a:gd name="T35" fmla="*/ 681 h 737"/>
                  <a:gd name="T36" fmla="*/ 1080 w 1136"/>
                  <a:gd name="T37" fmla="*/ 68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6" h="737">
                    <a:moveTo>
                      <a:pt x="1080" y="0"/>
                    </a:moveTo>
                    <a:cubicBezTo>
                      <a:pt x="56" y="0"/>
                      <a:pt x="56" y="0"/>
                      <a:pt x="56" y="0"/>
                    </a:cubicBezTo>
                    <a:cubicBezTo>
                      <a:pt x="25" y="0"/>
                      <a:pt x="0" y="25"/>
                      <a:pt x="0" y="56"/>
                    </a:cubicBezTo>
                    <a:cubicBezTo>
                      <a:pt x="0" y="681"/>
                      <a:pt x="0" y="681"/>
                      <a:pt x="0" y="681"/>
                    </a:cubicBezTo>
                    <a:cubicBezTo>
                      <a:pt x="0" y="712"/>
                      <a:pt x="25" y="737"/>
                      <a:pt x="56" y="737"/>
                    </a:cubicBezTo>
                    <a:cubicBezTo>
                      <a:pt x="1080" y="737"/>
                      <a:pt x="1080" y="737"/>
                      <a:pt x="1080" y="737"/>
                    </a:cubicBezTo>
                    <a:cubicBezTo>
                      <a:pt x="1111" y="737"/>
                      <a:pt x="1136" y="712"/>
                      <a:pt x="1136" y="681"/>
                    </a:cubicBezTo>
                    <a:cubicBezTo>
                      <a:pt x="1136" y="56"/>
                      <a:pt x="1136" y="56"/>
                      <a:pt x="1136" y="56"/>
                    </a:cubicBezTo>
                    <a:cubicBezTo>
                      <a:pt x="1136" y="25"/>
                      <a:pt x="1111" y="0"/>
                      <a:pt x="1080" y="0"/>
                    </a:cubicBezTo>
                    <a:close/>
                    <a:moveTo>
                      <a:pt x="1080" y="681"/>
                    </a:moveTo>
                    <a:cubicBezTo>
                      <a:pt x="1080" y="681"/>
                      <a:pt x="1080" y="681"/>
                      <a:pt x="1080" y="681"/>
                    </a:cubicBezTo>
                    <a:cubicBezTo>
                      <a:pt x="56" y="681"/>
                      <a:pt x="56" y="681"/>
                      <a:pt x="56" y="681"/>
                    </a:cubicBezTo>
                    <a:cubicBezTo>
                      <a:pt x="56" y="681"/>
                      <a:pt x="56" y="681"/>
                      <a:pt x="56" y="681"/>
                    </a:cubicBezTo>
                    <a:cubicBezTo>
                      <a:pt x="56" y="56"/>
                      <a:pt x="56" y="56"/>
                      <a:pt x="56" y="56"/>
                    </a:cubicBezTo>
                    <a:cubicBezTo>
                      <a:pt x="56" y="56"/>
                      <a:pt x="56" y="56"/>
                      <a:pt x="56" y="56"/>
                    </a:cubicBezTo>
                    <a:cubicBezTo>
                      <a:pt x="1080" y="56"/>
                      <a:pt x="1080" y="56"/>
                      <a:pt x="1080" y="56"/>
                    </a:cubicBezTo>
                    <a:cubicBezTo>
                      <a:pt x="1080" y="56"/>
                      <a:pt x="1080" y="56"/>
                      <a:pt x="1080" y="56"/>
                    </a:cubicBezTo>
                    <a:cubicBezTo>
                      <a:pt x="1080" y="681"/>
                      <a:pt x="1080" y="681"/>
                      <a:pt x="1080" y="681"/>
                    </a:cubicBezTo>
                    <a:cubicBezTo>
                      <a:pt x="1080" y="681"/>
                      <a:pt x="1080" y="681"/>
                      <a:pt x="1080" y="6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6"/>
              <p:cNvSpPr>
                <a:spLocks noEditPoints="1"/>
              </p:cNvSpPr>
              <p:nvPr/>
            </p:nvSpPr>
            <p:spPr bwMode="auto">
              <a:xfrm>
                <a:off x="1601" y="1580"/>
                <a:ext cx="814" cy="95"/>
              </a:xfrm>
              <a:custGeom>
                <a:avLst/>
                <a:gdLst>
                  <a:gd name="T0" fmla="*/ 1080 w 1136"/>
                  <a:gd name="T1" fmla="*/ 0 h 132"/>
                  <a:gd name="T2" fmla="*/ 56 w 1136"/>
                  <a:gd name="T3" fmla="*/ 0 h 132"/>
                  <a:gd name="T4" fmla="*/ 0 w 1136"/>
                  <a:gd name="T5" fmla="*/ 56 h 132"/>
                  <a:gd name="T6" fmla="*/ 0 w 1136"/>
                  <a:gd name="T7" fmla="*/ 127 h 132"/>
                  <a:gd name="T8" fmla="*/ 39 w 1136"/>
                  <a:gd name="T9" fmla="*/ 112 h 132"/>
                  <a:gd name="T10" fmla="*/ 1092 w 1136"/>
                  <a:gd name="T11" fmla="*/ 112 h 132"/>
                  <a:gd name="T12" fmla="*/ 1136 w 1136"/>
                  <a:gd name="T13" fmla="*/ 132 h 132"/>
                  <a:gd name="T14" fmla="*/ 1136 w 1136"/>
                  <a:gd name="T15" fmla="*/ 56 h 132"/>
                  <a:gd name="T16" fmla="*/ 1080 w 1136"/>
                  <a:gd name="T17" fmla="*/ 0 h 132"/>
                  <a:gd name="T18" fmla="*/ 909 w 1136"/>
                  <a:gd name="T19" fmla="*/ 79 h 132"/>
                  <a:gd name="T20" fmla="*/ 859 w 1136"/>
                  <a:gd name="T21" fmla="*/ 79 h 132"/>
                  <a:gd name="T22" fmla="*/ 859 w 1136"/>
                  <a:gd name="T23" fmla="*/ 69 h 132"/>
                  <a:gd name="T24" fmla="*/ 909 w 1136"/>
                  <a:gd name="T25" fmla="*/ 69 h 132"/>
                  <a:gd name="T26" fmla="*/ 909 w 1136"/>
                  <a:gd name="T27" fmla="*/ 79 h 132"/>
                  <a:gd name="T28" fmla="*/ 979 w 1136"/>
                  <a:gd name="T29" fmla="*/ 78 h 132"/>
                  <a:gd name="T30" fmla="*/ 938 w 1136"/>
                  <a:gd name="T31" fmla="*/ 78 h 132"/>
                  <a:gd name="T32" fmla="*/ 938 w 1136"/>
                  <a:gd name="T33" fmla="*/ 37 h 132"/>
                  <a:gd name="T34" fmla="*/ 979 w 1136"/>
                  <a:gd name="T35" fmla="*/ 37 h 132"/>
                  <a:gd name="T36" fmla="*/ 979 w 1136"/>
                  <a:gd name="T37" fmla="*/ 78 h 132"/>
                  <a:gd name="T38" fmla="*/ 1069 w 1136"/>
                  <a:gd name="T39" fmla="*/ 78 h 132"/>
                  <a:gd name="T40" fmla="*/ 1055 w 1136"/>
                  <a:gd name="T41" fmla="*/ 78 h 132"/>
                  <a:gd name="T42" fmla="*/ 1047 w 1136"/>
                  <a:gd name="T43" fmla="*/ 70 h 132"/>
                  <a:gd name="T44" fmla="*/ 1041 w 1136"/>
                  <a:gd name="T45" fmla="*/ 64 h 132"/>
                  <a:gd name="T46" fmla="*/ 1028 w 1136"/>
                  <a:gd name="T47" fmla="*/ 77 h 132"/>
                  <a:gd name="T48" fmla="*/ 1027 w 1136"/>
                  <a:gd name="T49" fmla="*/ 78 h 132"/>
                  <a:gd name="T50" fmla="*/ 1014 w 1136"/>
                  <a:gd name="T51" fmla="*/ 78 h 132"/>
                  <a:gd name="T52" fmla="*/ 1035 w 1136"/>
                  <a:gd name="T53" fmla="*/ 57 h 132"/>
                  <a:gd name="T54" fmla="*/ 1014 w 1136"/>
                  <a:gd name="T55" fmla="*/ 36 h 132"/>
                  <a:gd name="T56" fmla="*/ 1027 w 1136"/>
                  <a:gd name="T57" fmla="*/ 37 h 132"/>
                  <a:gd name="T58" fmla="*/ 1041 w 1136"/>
                  <a:gd name="T59" fmla="*/ 51 h 132"/>
                  <a:gd name="T60" fmla="*/ 1055 w 1136"/>
                  <a:gd name="T61" fmla="*/ 37 h 132"/>
                  <a:gd name="T62" fmla="*/ 1069 w 1136"/>
                  <a:gd name="T63" fmla="*/ 37 h 132"/>
                  <a:gd name="T64" fmla="*/ 1048 w 1136"/>
                  <a:gd name="T65" fmla="*/ 57 h 132"/>
                  <a:gd name="T66" fmla="*/ 1069 w 1136"/>
                  <a:gd name="T67" fmla="*/ 78 h 132"/>
                  <a:gd name="T68" fmla="*/ 973 w 1136"/>
                  <a:gd name="T69" fmla="*/ 44 h 132"/>
                  <a:gd name="T70" fmla="*/ 945 w 1136"/>
                  <a:gd name="T71" fmla="*/ 44 h 132"/>
                  <a:gd name="T72" fmla="*/ 945 w 1136"/>
                  <a:gd name="T73" fmla="*/ 72 h 132"/>
                  <a:gd name="T74" fmla="*/ 973 w 1136"/>
                  <a:gd name="T75" fmla="*/ 72 h 132"/>
                  <a:gd name="T76" fmla="*/ 973 w 1136"/>
                  <a:gd name="T77"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6" h="132">
                    <a:moveTo>
                      <a:pt x="1080" y="0"/>
                    </a:moveTo>
                    <a:cubicBezTo>
                      <a:pt x="56" y="0"/>
                      <a:pt x="56" y="0"/>
                      <a:pt x="56" y="0"/>
                    </a:cubicBezTo>
                    <a:cubicBezTo>
                      <a:pt x="25" y="0"/>
                      <a:pt x="0" y="25"/>
                      <a:pt x="0" y="56"/>
                    </a:cubicBezTo>
                    <a:cubicBezTo>
                      <a:pt x="0" y="127"/>
                      <a:pt x="0" y="127"/>
                      <a:pt x="0" y="127"/>
                    </a:cubicBezTo>
                    <a:cubicBezTo>
                      <a:pt x="10" y="118"/>
                      <a:pt x="24" y="112"/>
                      <a:pt x="39" y="112"/>
                    </a:cubicBezTo>
                    <a:cubicBezTo>
                      <a:pt x="1092" y="112"/>
                      <a:pt x="1092" y="112"/>
                      <a:pt x="1092" y="112"/>
                    </a:cubicBezTo>
                    <a:cubicBezTo>
                      <a:pt x="1110" y="112"/>
                      <a:pt x="1126" y="120"/>
                      <a:pt x="1136" y="132"/>
                    </a:cubicBezTo>
                    <a:cubicBezTo>
                      <a:pt x="1136" y="56"/>
                      <a:pt x="1136" y="56"/>
                      <a:pt x="1136" y="56"/>
                    </a:cubicBezTo>
                    <a:cubicBezTo>
                      <a:pt x="1136" y="25"/>
                      <a:pt x="1111" y="0"/>
                      <a:pt x="1080" y="0"/>
                    </a:cubicBezTo>
                    <a:close/>
                    <a:moveTo>
                      <a:pt x="909" y="79"/>
                    </a:moveTo>
                    <a:cubicBezTo>
                      <a:pt x="859" y="79"/>
                      <a:pt x="859" y="79"/>
                      <a:pt x="859" y="79"/>
                    </a:cubicBezTo>
                    <a:cubicBezTo>
                      <a:pt x="859" y="69"/>
                      <a:pt x="859" y="69"/>
                      <a:pt x="859" y="69"/>
                    </a:cubicBezTo>
                    <a:cubicBezTo>
                      <a:pt x="909" y="69"/>
                      <a:pt x="909" y="69"/>
                      <a:pt x="909" y="69"/>
                    </a:cubicBezTo>
                    <a:lnTo>
                      <a:pt x="909" y="79"/>
                    </a:lnTo>
                    <a:close/>
                    <a:moveTo>
                      <a:pt x="979" y="78"/>
                    </a:moveTo>
                    <a:cubicBezTo>
                      <a:pt x="938" y="78"/>
                      <a:pt x="938" y="78"/>
                      <a:pt x="938" y="78"/>
                    </a:cubicBezTo>
                    <a:cubicBezTo>
                      <a:pt x="938" y="37"/>
                      <a:pt x="938" y="37"/>
                      <a:pt x="938" y="37"/>
                    </a:cubicBezTo>
                    <a:cubicBezTo>
                      <a:pt x="979" y="37"/>
                      <a:pt x="979" y="37"/>
                      <a:pt x="979" y="37"/>
                    </a:cubicBezTo>
                    <a:lnTo>
                      <a:pt x="979" y="78"/>
                    </a:lnTo>
                    <a:close/>
                    <a:moveTo>
                      <a:pt x="1069" y="78"/>
                    </a:moveTo>
                    <a:cubicBezTo>
                      <a:pt x="1055" y="78"/>
                      <a:pt x="1055" y="78"/>
                      <a:pt x="1055" y="78"/>
                    </a:cubicBezTo>
                    <a:cubicBezTo>
                      <a:pt x="1047" y="70"/>
                      <a:pt x="1047" y="70"/>
                      <a:pt x="1047" y="70"/>
                    </a:cubicBezTo>
                    <a:cubicBezTo>
                      <a:pt x="1041" y="64"/>
                      <a:pt x="1041" y="64"/>
                      <a:pt x="1041" y="64"/>
                    </a:cubicBezTo>
                    <a:cubicBezTo>
                      <a:pt x="1028" y="77"/>
                      <a:pt x="1028" y="77"/>
                      <a:pt x="1028" y="77"/>
                    </a:cubicBezTo>
                    <a:cubicBezTo>
                      <a:pt x="1027" y="78"/>
                      <a:pt x="1027" y="78"/>
                      <a:pt x="1027" y="78"/>
                    </a:cubicBezTo>
                    <a:cubicBezTo>
                      <a:pt x="1014" y="78"/>
                      <a:pt x="1014" y="78"/>
                      <a:pt x="1014" y="78"/>
                    </a:cubicBezTo>
                    <a:cubicBezTo>
                      <a:pt x="1035" y="57"/>
                      <a:pt x="1035" y="57"/>
                      <a:pt x="1035" y="57"/>
                    </a:cubicBezTo>
                    <a:cubicBezTo>
                      <a:pt x="1014" y="36"/>
                      <a:pt x="1014" y="36"/>
                      <a:pt x="1014" y="36"/>
                    </a:cubicBezTo>
                    <a:cubicBezTo>
                      <a:pt x="1027" y="37"/>
                      <a:pt x="1027" y="37"/>
                      <a:pt x="1027" y="37"/>
                    </a:cubicBezTo>
                    <a:cubicBezTo>
                      <a:pt x="1041" y="51"/>
                      <a:pt x="1041" y="51"/>
                      <a:pt x="1041" y="51"/>
                    </a:cubicBezTo>
                    <a:cubicBezTo>
                      <a:pt x="1055" y="37"/>
                      <a:pt x="1055" y="37"/>
                      <a:pt x="1055" y="37"/>
                    </a:cubicBezTo>
                    <a:cubicBezTo>
                      <a:pt x="1069" y="37"/>
                      <a:pt x="1069" y="37"/>
                      <a:pt x="1069" y="37"/>
                    </a:cubicBezTo>
                    <a:cubicBezTo>
                      <a:pt x="1048" y="57"/>
                      <a:pt x="1048" y="57"/>
                      <a:pt x="1048" y="57"/>
                    </a:cubicBezTo>
                    <a:lnTo>
                      <a:pt x="1069" y="78"/>
                    </a:lnTo>
                    <a:close/>
                    <a:moveTo>
                      <a:pt x="973" y="44"/>
                    </a:moveTo>
                    <a:cubicBezTo>
                      <a:pt x="945" y="44"/>
                      <a:pt x="945" y="44"/>
                      <a:pt x="945" y="44"/>
                    </a:cubicBezTo>
                    <a:cubicBezTo>
                      <a:pt x="945" y="72"/>
                      <a:pt x="945" y="72"/>
                      <a:pt x="945" y="72"/>
                    </a:cubicBezTo>
                    <a:cubicBezTo>
                      <a:pt x="973" y="72"/>
                      <a:pt x="973" y="72"/>
                      <a:pt x="973" y="72"/>
                    </a:cubicBezTo>
                    <a:lnTo>
                      <a:pt x="97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7"/>
              <p:cNvSpPr>
                <a:spLocks noEditPoints="1"/>
              </p:cNvSpPr>
              <p:nvPr/>
            </p:nvSpPr>
            <p:spPr bwMode="auto">
              <a:xfrm>
                <a:off x="1961" y="1850"/>
                <a:ext cx="250" cy="251"/>
              </a:xfrm>
              <a:custGeom>
                <a:avLst/>
                <a:gdLst>
                  <a:gd name="T0" fmla="*/ 306 w 349"/>
                  <a:gd name="T1" fmla="*/ 229 h 350"/>
                  <a:gd name="T2" fmla="*/ 347 w 349"/>
                  <a:gd name="T3" fmla="*/ 198 h 350"/>
                  <a:gd name="T4" fmla="*/ 347 w 349"/>
                  <a:gd name="T5" fmla="*/ 152 h 350"/>
                  <a:gd name="T6" fmla="*/ 306 w 349"/>
                  <a:gd name="T7" fmla="*/ 121 h 350"/>
                  <a:gd name="T8" fmla="*/ 314 w 349"/>
                  <a:gd name="T9" fmla="*/ 70 h 350"/>
                  <a:gd name="T10" fmla="*/ 281 w 349"/>
                  <a:gd name="T11" fmla="*/ 37 h 350"/>
                  <a:gd name="T12" fmla="*/ 230 w 349"/>
                  <a:gd name="T13" fmla="*/ 44 h 350"/>
                  <a:gd name="T14" fmla="*/ 200 w 349"/>
                  <a:gd name="T15" fmla="*/ 2 h 350"/>
                  <a:gd name="T16" fmla="*/ 149 w 349"/>
                  <a:gd name="T17" fmla="*/ 2 h 350"/>
                  <a:gd name="T18" fmla="*/ 119 w 349"/>
                  <a:gd name="T19" fmla="*/ 44 h 350"/>
                  <a:gd name="T20" fmla="*/ 68 w 349"/>
                  <a:gd name="T21" fmla="*/ 37 h 350"/>
                  <a:gd name="T22" fmla="*/ 35 w 349"/>
                  <a:gd name="T23" fmla="*/ 70 h 350"/>
                  <a:gd name="T24" fmla="*/ 43 w 349"/>
                  <a:gd name="T25" fmla="*/ 121 h 350"/>
                  <a:gd name="T26" fmla="*/ 2 w 349"/>
                  <a:gd name="T27" fmla="*/ 152 h 350"/>
                  <a:gd name="T28" fmla="*/ 2 w 349"/>
                  <a:gd name="T29" fmla="*/ 198 h 350"/>
                  <a:gd name="T30" fmla="*/ 43 w 349"/>
                  <a:gd name="T31" fmla="*/ 229 h 350"/>
                  <a:gd name="T32" fmla="*/ 35 w 349"/>
                  <a:gd name="T33" fmla="*/ 279 h 350"/>
                  <a:gd name="T34" fmla="*/ 68 w 349"/>
                  <a:gd name="T35" fmla="*/ 313 h 350"/>
                  <a:gd name="T36" fmla="*/ 119 w 349"/>
                  <a:gd name="T37" fmla="*/ 306 h 350"/>
                  <a:gd name="T38" fmla="*/ 149 w 349"/>
                  <a:gd name="T39" fmla="*/ 347 h 350"/>
                  <a:gd name="T40" fmla="*/ 200 w 349"/>
                  <a:gd name="T41" fmla="*/ 347 h 350"/>
                  <a:gd name="T42" fmla="*/ 230 w 349"/>
                  <a:gd name="T43" fmla="*/ 306 h 350"/>
                  <a:gd name="T44" fmla="*/ 281 w 349"/>
                  <a:gd name="T45" fmla="*/ 313 h 350"/>
                  <a:gd name="T46" fmla="*/ 314 w 349"/>
                  <a:gd name="T47" fmla="*/ 280 h 350"/>
                  <a:gd name="T48" fmla="*/ 306 w 349"/>
                  <a:gd name="T49" fmla="*/ 229 h 350"/>
                  <a:gd name="T50" fmla="*/ 133 w 349"/>
                  <a:gd name="T51" fmla="*/ 272 h 350"/>
                  <a:gd name="T52" fmla="*/ 77 w 349"/>
                  <a:gd name="T53" fmla="*/ 133 h 350"/>
                  <a:gd name="T54" fmla="*/ 216 w 349"/>
                  <a:gd name="T55" fmla="*/ 77 h 350"/>
                  <a:gd name="T56" fmla="*/ 272 w 349"/>
                  <a:gd name="T57" fmla="*/ 216 h 350"/>
                  <a:gd name="T58" fmla="*/ 133 w 349"/>
                  <a:gd name="T59" fmla="*/ 27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9" h="350">
                    <a:moveTo>
                      <a:pt x="306" y="229"/>
                    </a:moveTo>
                    <a:cubicBezTo>
                      <a:pt x="313" y="211"/>
                      <a:pt x="329" y="200"/>
                      <a:pt x="347" y="198"/>
                    </a:cubicBezTo>
                    <a:cubicBezTo>
                      <a:pt x="349" y="182"/>
                      <a:pt x="349" y="167"/>
                      <a:pt x="347" y="152"/>
                    </a:cubicBezTo>
                    <a:cubicBezTo>
                      <a:pt x="330" y="150"/>
                      <a:pt x="313" y="139"/>
                      <a:pt x="306" y="121"/>
                    </a:cubicBezTo>
                    <a:cubicBezTo>
                      <a:pt x="299" y="103"/>
                      <a:pt x="302" y="84"/>
                      <a:pt x="314" y="70"/>
                    </a:cubicBezTo>
                    <a:cubicBezTo>
                      <a:pt x="305" y="58"/>
                      <a:pt x="294" y="47"/>
                      <a:pt x="281" y="37"/>
                    </a:cubicBezTo>
                    <a:cubicBezTo>
                      <a:pt x="267" y="48"/>
                      <a:pt x="248" y="51"/>
                      <a:pt x="230" y="44"/>
                    </a:cubicBezTo>
                    <a:cubicBezTo>
                      <a:pt x="212" y="36"/>
                      <a:pt x="201" y="20"/>
                      <a:pt x="200" y="2"/>
                    </a:cubicBezTo>
                    <a:cubicBezTo>
                      <a:pt x="183" y="0"/>
                      <a:pt x="166" y="0"/>
                      <a:pt x="149" y="2"/>
                    </a:cubicBezTo>
                    <a:cubicBezTo>
                      <a:pt x="148" y="20"/>
                      <a:pt x="136" y="36"/>
                      <a:pt x="119" y="44"/>
                    </a:cubicBezTo>
                    <a:cubicBezTo>
                      <a:pt x="101" y="51"/>
                      <a:pt x="82" y="48"/>
                      <a:pt x="68" y="37"/>
                    </a:cubicBezTo>
                    <a:cubicBezTo>
                      <a:pt x="56" y="46"/>
                      <a:pt x="45" y="57"/>
                      <a:pt x="35" y="70"/>
                    </a:cubicBezTo>
                    <a:cubicBezTo>
                      <a:pt x="47" y="84"/>
                      <a:pt x="50" y="103"/>
                      <a:pt x="43" y="121"/>
                    </a:cubicBezTo>
                    <a:cubicBezTo>
                      <a:pt x="36" y="139"/>
                      <a:pt x="19" y="150"/>
                      <a:pt x="2" y="152"/>
                    </a:cubicBezTo>
                    <a:cubicBezTo>
                      <a:pt x="0" y="167"/>
                      <a:pt x="0" y="183"/>
                      <a:pt x="2" y="198"/>
                    </a:cubicBezTo>
                    <a:cubicBezTo>
                      <a:pt x="19" y="200"/>
                      <a:pt x="36" y="211"/>
                      <a:pt x="43" y="229"/>
                    </a:cubicBezTo>
                    <a:cubicBezTo>
                      <a:pt x="50" y="246"/>
                      <a:pt x="46" y="266"/>
                      <a:pt x="35" y="279"/>
                    </a:cubicBezTo>
                    <a:cubicBezTo>
                      <a:pt x="44" y="292"/>
                      <a:pt x="55" y="303"/>
                      <a:pt x="68" y="313"/>
                    </a:cubicBezTo>
                    <a:cubicBezTo>
                      <a:pt x="82" y="302"/>
                      <a:pt x="101" y="298"/>
                      <a:pt x="119" y="306"/>
                    </a:cubicBezTo>
                    <a:cubicBezTo>
                      <a:pt x="137" y="313"/>
                      <a:pt x="148" y="329"/>
                      <a:pt x="149" y="347"/>
                    </a:cubicBezTo>
                    <a:cubicBezTo>
                      <a:pt x="166" y="350"/>
                      <a:pt x="183" y="350"/>
                      <a:pt x="200" y="347"/>
                    </a:cubicBezTo>
                    <a:cubicBezTo>
                      <a:pt x="201" y="329"/>
                      <a:pt x="213" y="313"/>
                      <a:pt x="230" y="306"/>
                    </a:cubicBezTo>
                    <a:cubicBezTo>
                      <a:pt x="248" y="298"/>
                      <a:pt x="267" y="301"/>
                      <a:pt x="281" y="313"/>
                    </a:cubicBezTo>
                    <a:cubicBezTo>
                      <a:pt x="293" y="303"/>
                      <a:pt x="304" y="292"/>
                      <a:pt x="314" y="280"/>
                    </a:cubicBezTo>
                    <a:cubicBezTo>
                      <a:pt x="302" y="266"/>
                      <a:pt x="299" y="246"/>
                      <a:pt x="306" y="229"/>
                    </a:cubicBezTo>
                    <a:close/>
                    <a:moveTo>
                      <a:pt x="133" y="272"/>
                    </a:moveTo>
                    <a:cubicBezTo>
                      <a:pt x="79" y="249"/>
                      <a:pt x="54" y="187"/>
                      <a:pt x="77" y="133"/>
                    </a:cubicBezTo>
                    <a:cubicBezTo>
                      <a:pt x="100" y="80"/>
                      <a:pt x="162" y="55"/>
                      <a:pt x="216" y="77"/>
                    </a:cubicBezTo>
                    <a:cubicBezTo>
                      <a:pt x="270" y="100"/>
                      <a:pt x="295" y="162"/>
                      <a:pt x="272" y="216"/>
                    </a:cubicBezTo>
                    <a:cubicBezTo>
                      <a:pt x="249" y="270"/>
                      <a:pt x="187" y="295"/>
                      <a:pt x="133" y="2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8"/>
              <p:cNvSpPr>
                <a:spLocks noEditPoints="1"/>
              </p:cNvSpPr>
              <p:nvPr/>
            </p:nvSpPr>
            <p:spPr bwMode="auto">
              <a:xfrm>
                <a:off x="2027" y="1917"/>
                <a:ext cx="119" cy="117"/>
              </a:xfrm>
              <a:custGeom>
                <a:avLst/>
                <a:gdLst>
                  <a:gd name="T0" fmla="*/ 111 w 165"/>
                  <a:gd name="T1" fmla="*/ 15 h 164"/>
                  <a:gd name="T2" fmla="*/ 16 w 165"/>
                  <a:gd name="T3" fmla="*/ 54 h 164"/>
                  <a:gd name="T4" fmla="*/ 54 w 165"/>
                  <a:gd name="T5" fmla="*/ 148 h 164"/>
                  <a:gd name="T6" fmla="*/ 149 w 165"/>
                  <a:gd name="T7" fmla="*/ 110 h 164"/>
                  <a:gd name="T8" fmla="*/ 111 w 165"/>
                  <a:gd name="T9" fmla="*/ 15 h 164"/>
                  <a:gd name="T10" fmla="*/ 68 w 165"/>
                  <a:gd name="T11" fmla="*/ 116 h 164"/>
                  <a:gd name="T12" fmla="*/ 48 w 165"/>
                  <a:gd name="T13" fmla="*/ 67 h 164"/>
                  <a:gd name="T14" fmla="*/ 97 w 165"/>
                  <a:gd name="T15" fmla="*/ 48 h 164"/>
                  <a:gd name="T16" fmla="*/ 117 w 165"/>
                  <a:gd name="T17" fmla="*/ 96 h 164"/>
                  <a:gd name="T18" fmla="*/ 68 w 165"/>
                  <a:gd name="T19" fmla="*/ 1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111" y="15"/>
                    </a:moveTo>
                    <a:cubicBezTo>
                      <a:pt x="74" y="0"/>
                      <a:pt x="31" y="17"/>
                      <a:pt x="16" y="54"/>
                    </a:cubicBezTo>
                    <a:cubicBezTo>
                      <a:pt x="0" y="90"/>
                      <a:pt x="17" y="133"/>
                      <a:pt x="54" y="148"/>
                    </a:cubicBezTo>
                    <a:cubicBezTo>
                      <a:pt x="91" y="164"/>
                      <a:pt x="133" y="147"/>
                      <a:pt x="149" y="110"/>
                    </a:cubicBezTo>
                    <a:cubicBezTo>
                      <a:pt x="165" y="73"/>
                      <a:pt x="148" y="31"/>
                      <a:pt x="111" y="15"/>
                    </a:cubicBezTo>
                    <a:close/>
                    <a:moveTo>
                      <a:pt x="68" y="116"/>
                    </a:moveTo>
                    <a:cubicBezTo>
                      <a:pt x="49" y="108"/>
                      <a:pt x="40" y="86"/>
                      <a:pt x="48" y="67"/>
                    </a:cubicBezTo>
                    <a:cubicBezTo>
                      <a:pt x="56" y="48"/>
                      <a:pt x="78" y="39"/>
                      <a:pt x="97" y="48"/>
                    </a:cubicBezTo>
                    <a:cubicBezTo>
                      <a:pt x="116" y="56"/>
                      <a:pt x="125" y="77"/>
                      <a:pt x="117" y="96"/>
                    </a:cubicBezTo>
                    <a:cubicBezTo>
                      <a:pt x="109" y="115"/>
                      <a:pt x="87" y="124"/>
                      <a:pt x="6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9"/>
              <p:cNvSpPr>
                <a:spLocks noEditPoints="1"/>
              </p:cNvSpPr>
              <p:nvPr/>
            </p:nvSpPr>
            <p:spPr bwMode="auto">
              <a:xfrm>
                <a:off x="1815" y="1784"/>
                <a:ext cx="165" cy="164"/>
              </a:xfrm>
              <a:custGeom>
                <a:avLst/>
                <a:gdLst>
                  <a:gd name="T0" fmla="*/ 201 w 230"/>
                  <a:gd name="T1" fmla="*/ 150 h 230"/>
                  <a:gd name="T2" fmla="*/ 228 w 230"/>
                  <a:gd name="T3" fmla="*/ 130 h 230"/>
                  <a:gd name="T4" fmla="*/ 228 w 230"/>
                  <a:gd name="T5" fmla="*/ 100 h 230"/>
                  <a:gd name="T6" fmla="*/ 201 w 230"/>
                  <a:gd name="T7" fmla="*/ 80 h 230"/>
                  <a:gd name="T8" fmla="*/ 206 w 230"/>
                  <a:gd name="T9" fmla="*/ 46 h 230"/>
                  <a:gd name="T10" fmla="*/ 185 w 230"/>
                  <a:gd name="T11" fmla="*/ 24 h 230"/>
                  <a:gd name="T12" fmla="*/ 151 w 230"/>
                  <a:gd name="T13" fmla="*/ 29 h 230"/>
                  <a:gd name="T14" fmla="*/ 132 w 230"/>
                  <a:gd name="T15" fmla="*/ 2 h 230"/>
                  <a:gd name="T16" fmla="*/ 98 w 230"/>
                  <a:gd name="T17" fmla="*/ 2 h 230"/>
                  <a:gd name="T18" fmla="*/ 79 w 230"/>
                  <a:gd name="T19" fmla="*/ 29 h 230"/>
                  <a:gd name="T20" fmla="*/ 45 w 230"/>
                  <a:gd name="T21" fmla="*/ 24 h 230"/>
                  <a:gd name="T22" fmla="*/ 24 w 230"/>
                  <a:gd name="T23" fmla="*/ 46 h 230"/>
                  <a:gd name="T24" fmla="*/ 29 w 230"/>
                  <a:gd name="T25" fmla="*/ 79 h 230"/>
                  <a:gd name="T26" fmla="*/ 2 w 230"/>
                  <a:gd name="T27" fmla="*/ 100 h 230"/>
                  <a:gd name="T28" fmla="*/ 2 w 230"/>
                  <a:gd name="T29" fmla="*/ 130 h 230"/>
                  <a:gd name="T30" fmla="*/ 29 w 230"/>
                  <a:gd name="T31" fmla="*/ 150 h 230"/>
                  <a:gd name="T32" fmla="*/ 24 w 230"/>
                  <a:gd name="T33" fmla="*/ 183 h 230"/>
                  <a:gd name="T34" fmla="*/ 45 w 230"/>
                  <a:gd name="T35" fmla="*/ 205 h 230"/>
                  <a:gd name="T36" fmla="*/ 79 w 230"/>
                  <a:gd name="T37" fmla="*/ 201 h 230"/>
                  <a:gd name="T38" fmla="*/ 98 w 230"/>
                  <a:gd name="T39" fmla="*/ 228 h 230"/>
                  <a:gd name="T40" fmla="*/ 132 w 230"/>
                  <a:gd name="T41" fmla="*/ 228 h 230"/>
                  <a:gd name="T42" fmla="*/ 152 w 230"/>
                  <a:gd name="T43" fmla="*/ 201 h 230"/>
                  <a:gd name="T44" fmla="*/ 185 w 230"/>
                  <a:gd name="T45" fmla="*/ 205 h 230"/>
                  <a:gd name="T46" fmla="*/ 206 w 230"/>
                  <a:gd name="T47" fmla="*/ 184 h 230"/>
                  <a:gd name="T48" fmla="*/ 201 w 230"/>
                  <a:gd name="T49" fmla="*/ 150 h 230"/>
                  <a:gd name="T50" fmla="*/ 88 w 230"/>
                  <a:gd name="T51" fmla="*/ 179 h 230"/>
                  <a:gd name="T52" fmla="*/ 51 w 230"/>
                  <a:gd name="T53" fmla="*/ 88 h 230"/>
                  <a:gd name="T54" fmla="*/ 142 w 230"/>
                  <a:gd name="T55" fmla="*/ 51 h 230"/>
                  <a:gd name="T56" fmla="*/ 179 w 230"/>
                  <a:gd name="T57" fmla="*/ 142 h 230"/>
                  <a:gd name="T58" fmla="*/ 88 w 230"/>
                  <a:gd name="T59" fmla="*/ 17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0" h="230">
                    <a:moveTo>
                      <a:pt x="201" y="150"/>
                    </a:moveTo>
                    <a:cubicBezTo>
                      <a:pt x="206" y="139"/>
                      <a:pt x="217" y="131"/>
                      <a:pt x="228" y="130"/>
                    </a:cubicBezTo>
                    <a:cubicBezTo>
                      <a:pt x="230" y="120"/>
                      <a:pt x="230" y="110"/>
                      <a:pt x="228" y="100"/>
                    </a:cubicBezTo>
                    <a:cubicBezTo>
                      <a:pt x="217" y="99"/>
                      <a:pt x="206" y="91"/>
                      <a:pt x="201" y="80"/>
                    </a:cubicBezTo>
                    <a:cubicBezTo>
                      <a:pt x="197" y="68"/>
                      <a:pt x="199" y="55"/>
                      <a:pt x="206" y="46"/>
                    </a:cubicBezTo>
                    <a:cubicBezTo>
                      <a:pt x="200" y="38"/>
                      <a:pt x="193" y="31"/>
                      <a:pt x="185" y="24"/>
                    </a:cubicBezTo>
                    <a:cubicBezTo>
                      <a:pt x="176" y="32"/>
                      <a:pt x="163" y="34"/>
                      <a:pt x="151" y="29"/>
                    </a:cubicBezTo>
                    <a:cubicBezTo>
                      <a:pt x="140" y="24"/>
                      <a:pt x="133" y="13"/>
                      <a:pt x="132" y="2"/>
                    </a:cubicBezTo>
                    <a:cubicBezTo>
                      <a:pt x="120" y="0"/>
                      <a:pt x="109" y="0"/>
                      <a:pt x="98" y="2"/>
                    </a:cubicBezTo>
                    <a:cubicBezTo>
                      <a:pt x="97" y="13"/>
                      <a:pt x="90" y="24"/>
                      <a:pt x="79" y="29"/>
                    </a:cubicBezTo>
                    <a:cubicBezTo>
                      <a:pt x="67" y="34"/>
                      <a:pt x="54" y="32"/>
                      <a:pt x="45" y="24"/>
                    </a:cubicBezTo>
                    <a:cubicBezTo>
                      <a:pt x="37" y="31"/>
                      <a:pt x="30" y="38"/>
                      <a:pt x="24" y="46"/>
                    </a:cubicBezTo>
                    <a:cubicBezTo>
                      <a:pt x="31" y="55"/>
                      <a:pt x="33" y="68"/>
                      <a:pt x="29" y="79"/>
                    </a:cubicBezTo>
                    <a:cubicBezTo>
                      <a:pt x="24" y="91"/>
                      <a:pt x="13" y="98"/>
                      <a:pt x="2" y="100"/>
                    </a:cubicBezTo>
                    <a:cubicBezTo>
                      <a:pt x="0" y="110"/>
                      <a:pt x="0" y="120"/>
                      <a:pt x="2" y="130"/>
                    </a:cubicBezTo>
                    <a:cubicBezTo>
                      <a:pt x="13" y="131"/>
                      <a:pt x="24" y="138"/>
                      <a:pt x="29" y="150"/>
                    </a:cubicBezTo>
                    <a:cubicBezTo>
                      <a:pt x="33" y="162"/>
                      <a:pt x="31" y="174"/>
                      <a:pt x="24" y="183"/>
                    </a:cubicBezTo>
                    <a:cubicBezTo>
                      <a:pt x="30" y="192"/>
                      <a:pt x="37" y="199"/>
                      <a:pt x="45" y="205"/>
                    </a:cubicBezTo>
                    <a:cubicBezTo>
                      <a:pt x="54" y="198"/>
                      <a:pt x="67" y="196"/>
                      <a:pt x="79" y="201"/>
                    </a:cubicBezTo>
                    <a:cubicBezTo>
                      <a:pt x="90" y="206"/>
                      <a:pt x="97" y="216"/>
                      <a:pt x="98" y="228"/>
                    </a:cubicBezTo>
                    <a:cubicBezTo>
                      <a:pt x="110" y="230"/>
                      <a:pt x="121" y="230"/>
                      <a:pt x="132" y="228"/>
                    </a:cubicBezTo>
                    <a:cubicBezTo>
                      <a:pt x="133" y="216"/>
                      <a:pt x="140" y="206"/>
                      <a:pt x="152" y="201"/>
                    </a:cubicBezTo>
                    <a:cubicBezTo>
                      <a:pt x="163" y="196"/>
                      <a:pt x="176" y="198"/>
                      <a:pt x="185" y="205"/>
                    </a:cubicBezTo>
                    <a:cubicBezTo>
                      <a:pt x="193" y="199"/>
                      <a:pt x="200" y="192"/>
                      <a:pt x="206" y="184"/>
                    </a:cubicBezTo>
                    <a:cubicBezTo>
                      <a:pt x="199" y="175"/>
                      <a:pt x="197" y="162"/>
                      <a:pt x="201" y="150"/>
                    </a:cubicBezTo>
                    <a:close/>
                    <a:moveTo>
                      <a:pt x="88" y="179"/>
                    </a:moveTo>
                    <a:cubicBezTo>
                      <a:pt x="53" y="164"/>
                      <a:pt x="36" y="123"/>
                      <a:pt x="51" y="88"/>
                    </a:cubicBezTo>
                    <a:cubicBezTo>
                      <a:pt x="66" y="52"/>
                      <a:pt x="107" y="36"/>
                      <a:pt x="142" y="51"/>
                    </a:cubicBezTo>
                    <a:cubicBezTo>
                      <a:pt x="177" y="66"/>
                      <a:pt x="194" y="107"/>
                      <a:pt x="179" y="142"/>
                    </a:cubicBezTo>
                    <a:cubicBezTo>
                      <a:pt x="164" y="177"/>
                      <a:pt x="123" y="194"/>
                      <a:pt x="88"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0"/>
              <p:cNvSpPr>
                <a:spLocks noEditPoints="1"/>
              </p:cNvSpPr>
              <p:nvPr/>
            </p:nvSpPr>
            <p:spPr bwMode="auto">
              <a:xfrm>
                <a:off x="1859" y="1827"/>
                <a:ext cx="77" cy="78"/>
              </a:xfrm>
              <a:custGeom>
                <a:avLst/>
                <a:gdLst>
                  <a:gd name="T0" fmla="*/ 73 w 108"/>
                  <a:gd name="T1" fmla="*/ 10 h 108"/>
                  <a:gd name="T2" fmla="*/ 10 w 108"/>
                  <a:gd name="T3" fmla="*/ 35 h 108"/>
                  <a:gd name="T4" fmla="*/ 35 w 108"/>
                  <a:gd name="T5" fmla="*/ 97 h 108"/>
                  <a:gd name="T6" fmla="*/ 98 w 108"/>
                  <a:gd name="T7" fmla="*/ 72 h 108"/>
                  <a:gd name="T8" fmla="*/ 73 w 108"/>
                  <a:gd name="T9" fmla="*/ 10 h 108"/>
                  <a:gd name="T10" fmla="*/ 44 w 108"/>
                  <a:gd name="T11" fmla="*/ 76 h 108"/>
                  <a:gd name="T12" fmla="*/ 32 w 108"/>
                  <a:gd name="T13" fmla="*/ 44 h 108"/>
                  <a:gd name="T14" fmla="*/ 64 w 108"/>
                  <a:gd name="T15" fmla="*/ 31 h 108"/>
                  <a:gd name="T16" fmla="*/ 77 w 108"/>
                  <a:gd name="T17" fmla="*/ 63 h 108"/>
                  <a:gd name="T18" fmla="*/ 44 w 108"/>
                  <a:gd name="T19"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73" y="10"/>
                    </a:moveTo>
                    <a:cubicBezTo>
                      <a:pt x="48" y="0"/>
                      <a:pt x="21" y="11"/>
                      <a:pt x="10" y="35"/>
                    </a:cubicBezTo>
                    <a:cubicBezTo>
                      <a:pt x="0" y="59"/>
                      <a:pt x="11" y="87"/>
                      <a:pt x="35" y="97"/>
                    </a:cubicBezTo>
                    <a:cubicBezTo>
                      <a:pt x="60" y="108"/>
                      <a:pt x="87" y="96"/>
                      <a:pt x="98" y="72"/>
                    </a:cubicBezTo>
                    <a:cubicBezTo>
                      <a:pt x="108" y="48"/>
                      <a:pt x="97" y="20"/>
                      <a:pt x="73" y="10"/>
                    </a:cubicBezTo>
                    <a:close/>
                    <a:moveTo>
                      <a:pt x="44" y="76"/>
                    </a:moveTo>
                    <a:cubicBezTo>
                      <a:pt x="32" y="71"/>
                      <a:pt x="26" y="57"/>
                      <a:pt x="32" y="44"/>
                    </a:cubicBezTo>
                    <a:cubicBezTo>
                      <a:pt x="37" y="32"/>
                      <a:pt x="51" y="26"/>
                      <a:pt x="64" y="31"/>
                    </a:cubicBezTo>
                    <a:cubicBezTo>
                      <a:pt x="76" y="37"/>
                      <a:pt x="82" y="51"/>
                      <a:pt x="77" y="63"/>
                    </a:cubicBezTo>
                    <a:cubicBezTo>
                      <a:pt x="71" y="76"/>
                      <a:pt x="57" y="82"/>
                      <a:pt x="4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
        <p:nvSpPr>
          <p:cNvPr id="43" name="Freeform 341"/>
          <p:cNvSpPr>
            <a:spLocks noChangeAspect="1"/>
          </p:cNvSpPr>
          <p:nvPr/>
        </p:nvSpPr>
        <p:spPr bwMode="auto">
          <a:xfrm>
            <a:off x="5072414" y="2975017"/>
            <a:ext cx="567423" cy="614219"/>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chemeClr val="tx1"/>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44" name="Freeform 18"/>
          <p:cNvSpPr>
            <a:spLocks noChangeAspect="1" noEditPoints="1"/>
          </p:cNvSpPr>
          <p:nvPr/>
        </p:nvSpPr>
        <p:spPr bwMode="auto">
          <a:xfrm>
            <a:off x="5499684" y="2322006"/>
            <a:ext cx="730338" cy="411821"/>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tx1"/>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45" name="Freeform 5"/>
          <p:cNvSpPr>
            <a:spLocks noChangeAspect="1"/>
          </p:cNvSpPr>
          <p:nvPr/>
        </p:nvSpPr>
        <p:spPr bwMode="auto">
          <a:xfrm flipH="1">
            <a:off x="6781829" y="2989746"/>
            <a:ext cx="545787" cy="550297"/>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chemeClr val="tx1"/>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46" name="Freeform 5"/>
          <p:cNvSpPr>
            <a:spLocks noChangeAspect="1" noEditPoints="1"/>
          </p:cNvSpPr>
          <p:nvPr/>
        </p:nvSpPr>
        <p:spPr bwMode="auto">
          <a:xfrm>
            <a:off x="6308250" y="2193164"/>
            <a:ext cx="682879" cy="684094"/>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chemeClr val="tx1"/>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47" name="Freeform 55"/>
          <p:cNvSpPr>
            <a:spLocks noEditPoints="1"/>
          </p:cNvSpPr>
          <p:nvPr/>
        </p:nvSpPr>
        <p:spPr bwMode="auto">
          <a:xfrm>
            <a:off x="5864853" y="2954803"/>
            <a:ext cx="635794" cy="609838"/>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48" name="Rectangle 47"/>
          <p:cNvSpPr/>
          <p:nvPr/>
        </p:nvSpPr>
        <p:spPr bwMode="auto">
          <a:xfrm>
            <a:off x="4774068" y="1817301"/>
            <a:ext cx="2903991" cy="2137162"/>
          </a:xfrm>
          <a:prstGeom prst="rect">
            <a:avLst/>
          </a:prstGeom>
          <a:noFill/>
          <a:ln w="41275">
            <a:solidFill>
              <a:schemeClr val="tx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nvGrpSpPr>
          <p:cNvPr id="11" name="Group 10"/>
          <p:cNvGrpSpPr/>
          <p:nvPr/>
        </p:nvGrpSpPr>
        <p:grpSpPr>
          <a:xfrm>
            <a:off x="1261029" y="1290866"/>
            <a:ext cx="1834171" cy="2915999"/>
            <a:chOff x="1261029" y="1290866"/>
            <a:chExt cx="1834171" cy="2915999"/>
          </a:xfrm>
        </p:grpSpPr>
        <p:pic>
          <p:nvPicPr>
            <p:cNvPr id="16" name="Picture 1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57558" y="3286177"/>
              <a:ext cx="1378734" cy="920688"/>
            </a:xfrm>
            <a:prstGeom prst="rect">
              <a:avLst/>
            </a:prstGeom>
          </p:spPr>
        </p:pic>
        <p:pic>
          <p:nvPicPr>
            <p:cNvPr id="17" name="Picture 1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06435" y="2364144"/>
              <a:ext cx="457615" cy="845670"/>
            </a:xfrm>
            <a:prstGeom prst="rect">
              <a:avLst/>
            </a:prstGeom>
          </p:spPr>
        </p:pic>
        <p:pic>
          <p:nvPicPr>
            <p:cNvPr id="18" name="Picture 1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42326" y="1290866"/>
              <a:ext cx="1052874" cy="1052873"/>
            </a:xfrm>
            <a:prstGeom prst="rect">
              <a:avLst/>
            </a:prstGeom>
          </p:spPr>
        </p:pic>
        <p:pic>
          <p:nvPicPr>
            <p:cNvPr id="19" name="Picture 1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17077" y="1355972"/>
              <a:ext cx="579258" cy="866571"/>
            </a:xfrm>
            <a:prstGeom prst="rect">
              <a:avLst/>
            </a:prstGeom>
          </p:spPr>
        </p:pic>
        <p:pic>
          <p:nvPicPr>
            <p:cNvPr id="38" name="Picture 3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61029" y="2365401"/>
              <a:ext cx="954327" cy="814098"/>
            </a:xfrm>
            <a:prstGeom prst="rect">
              <a:avLst/>
            </a:prstGeom>
          </p:spPr>
        </p:pic>
      </p:grpSp>
    </p:spTree>
    <p:extLst>
      <p:ext uri="{BB962C8B-B14F-4D97-AF65-F5344CB8AC3E}">
        <p14:creationId xmlns:p14="http://schemas.microsoft.com/office/powerpoint/2010/main" val="3752791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 - Inventory</a:t>
            </a:r>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094680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ttings management</a:t>
            </a:r>
            <a:endParaRPr lang="en-US" dirty="0"/>
          </a:p>
        </p:txBody>
      </p:sp>
      <p:sp>
        <p:nvSpPr>
          <p:cNvPr id="4" name="Text Placeholder 3"/>
          <p:cNvSpPr>
            <a:spLocks noGrp="1"/>
          </p:cNvSpPr>
          <p:nvPr>
            <p:ph type="body" sz="quarter" idx="10"/>
          </p:nvPr>
        </p:nvSpPr>
        <p:spPr>
          <a:xfrm>
            <a:off x="274638" y="1212850"/>
            <a:ext cx="11887200" cy="6266074"/>
          </a:xfrm>
        </p:spPr>
        <p:txBody>
          <a:bodyPr/>
          <a:lstStyle/>
          <a:p>
            <a:pPr marL="466299" lvl="1"/>
            <a:r>
              <a:rPr lang="en-US" sz="2800" dirty="0"/>
              <a:t>Settings can be </a:t>
            </a:r>
            <a:r>
              <a:rPr lang="en-US" sz="2800" dirty="0" smtClean="0"/>
              <a:t>applied </a:t>
            </a:r>
            <a:r>
              <a:rPr lang="en-US" sz="2800" dirty="0"/>
              <a:t>to devices managed </a:t>
            </a:r>
            <a:r>
              <a:rPr lang="en-US" sz="2800" dirty="0" smtClean="0"/>
              <a:t>via Windows </a:t>
            </a:r>
            <a:r>
              <a:rPr lang="en-US" sz="2800" dirty="0"/>
              <a:t>Intune and devices managed through the Exchange Server </a:t>
            </a:r>
            <a:r>
              <a:rPr lang="en-US" sz="2800" dirty="0" smtClean="0"/>
              <a:t>Connector</a:t>
            </a:r>
          </a:p>
          <a:p>
            <a:pPr marL="466299" lvl="1"/>
            <a:endParaRPr lang="en-US" sz="2800" dirty="0"/>
          </a:p>
          <a:p>
            <a:pPr marL="466299" lvl="1"/>
            <a:r>
              <a:rPr lang="en-US" sz="2800" dirty="0"/>
              <a:t>Single security policy template can be used to manage settings on all managed mobile devices. System figures out applicability to each platform</a:t>
            </a:r>
            <a:r>
              <a:rPr lang="en-US" sz="2800" dirty="0" smtClean="0"/>
              <a:t>.</a:t>
            </a:r>
          </a:p>
          <a:p>
            <a:pPr marL="466299" lvl="1"/>
            <a:endParaRPr lang="en-US" sz="2800" dirty="0"/>
          </a:p>
          <a:p>
            <a:pPr marL="466299" lvl="1"/>
            <a:r>
              <a:rPr lang="en-US" sz="2800" dirty="0"/>
              <a:t>Reporting available on each setting (applicable, conformant or error</a:t>
            </a:r>
            <a:r>
              <a:rPr lang="en-US" sz="2800" dirty="0" smtClean="0"/>
              <a:t>)</a:t>
            </a:r>
          </a:p>
          <a:p>
            <a:pPr marL="466299" lvl="1"/>
            <a:endParaRPr lang="en-US" sz="2800" dirty="0"/>
          </a:p>
          <a:p>
            <a:pPr marL="466299" lvl="1"/>
            <a:r>
              <a:rPr lang="en-US" sz="2800" dirty="0"/>
              <a:t>If a device is receiving policy from more than 1 authority, the most secure value for a setting is applied.</a:t>
            </a:r>
          </a:p>
          <a:p>
            <a:endParaRPr lang="en-US" sz="1836" dirty="0"/>
          </a:p>
          <a:p>
            <a:endParaRPr lang="en-US" sz="1836" dirty="0"/>
          </a:p>
          <a:p>
            <a:pPr marL="571500" indent="-571500">
              <a:buFont typeface="Arial" panose="020B0604020202020204" pitchFamily="34" charset="0"/>
              <a:buChar char="•"/>
            </a:pPr>
            <a:endParaRPr lang="en-US" dirty="0"/>
          </a:p>
        </p:txBody>
      </p:sp>
    </p:spTree>
    <p:extLst>
      <p:ext uri="{BB962C8B-B14F-4D97-AF65-F5344CB8AC3E}">
        <p14:creationId xmlns:p14="http://schemas.microsoft.com/office/powerpoint/2010/main" val="171451253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2606" y="294165"/>
            <a:ext cx="11370961" cy="738664"/>
          </a:xfrm>
        </p:spPr>
        <p:txBody>
          <a:bodyPr vert="horz" wrap="square" lIns="146304" tIns="91440" rIns="146304" bIns="91440" rtlCol="0" anchor="t">
            <a:spAutoFit/>
          </a:bodyPr>
          <a:lstStyle/>
          <a:p>
            <a:r>
              <a:rPr lang="en-US" sz="4000" dirty="0"/>
              <a:t>Mobile Device Settings in ConfigMgr 2012 R2</a:t>
            </a: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793439617"/>
              </p:ext>
            </p:extLst>
          </p:nvPr>
        </p:nvGraphicFramePr>
        <p:xfrm>
          <a:off x="1003958" y="1185229"/>
          <a:ext cx="10598070" cy="5209720"/>
        </p:xfrm>
        <a:graphic>
          <a:graphicData uri="http://schemas.openxmlformats.org/drawingml/2006/table">
            <a:tbl>
              <a:tblPr firstRow="1" bandRow="1">
                <a:tableStyleId>{5C22544A-7EE6-4342-B048-85BDC9FD1C3A}</a:tableStyleId>
              </a:tblPr>
              <a:tblGrid>
                <a:gridCol w="3004162"/>
                <a:gridCol w="2194560"/>
                <a:gridCol w="1726145"/>
                <a:gridCol w="1748575"/>
                <a:gridCol w="1924628"/>
              </a:tblGrid>
              <a:tr h="414971">
                <a:tc>
                  <a:txBody>
                    <a:bodyPr/>
                    <a:lstStyle/>
                    <a:p>
                      <a:r>
                        <a:rPr lang="en-US" sz="1800" dirty="0" smtClean="0">
                          <a:solidFill>
                            <a:schemeClr val="tx1"/>
                          </a:solidFill>
                        </a:rPr>
                        <a:t>Category</a:t>
                      </a:r>
                      <a:endParaRPr lang="en-US" sz="1800" dirty="0">
                        <a:solidFill>
                          <a:schemeClr val="tx1"/>
                        </a:solidFill>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800" dirty="0" smtClean="0">
                          <a:solidFill>
                            <a:schemeClr val="tx1"/>
                          </a:solidFill>
                        </a:rPr>
                        <a:t>Win 8.1 PC &amp; RT</a:t>
                      </a:r>
                      <a:endParaRPr lang="en-US" sz="1800" dirty="0">
                        <a:solidFill>
                          <a:schemeClr val="tx1"/>
                        </a:solidFill>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800" dirty="0" smtClean="0">
                          <a:solidFill>
                            <a:schemeClr val="tx1"/>
                          </a:solidFill>
                        </a:rPr>
                        <a:t>WP8</a:t>
                      </a:r>
                      <a:endParaRPr lang="en-US" sz="1800" dirty="0">
                        <a:solidFill>
                          <a:schemeClr val="tx1"/>
                        </a:solidFill>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800" dirty="0" err="1" smtClean="0">
                          <a:solidFill>
                            <a:schemeClr val="tx1"/>
                          </a:solidFill>
                        </a:rPr>
                        <a:t>iOS</a:t>
                      </a:r>
                      <a:endParaRPr lang="en-US" sz="1800" dirty="0">
                        <a:solidFill>
                          <a:schemeClr val="tx1"/>
                        </a:solidFill>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a:r>
                        <a:rPr lang="en-US" sz="1800" dirty="0" smtClean="0">
                          <a:solidFill>
                            <a:schemeClr val="tx1"/>
                          </a:solidFill>
                        </a:rPr>
                        <a:t>Android</a:t>
                      </a:r>
                      <a:endParaRPr lang="en-US" sz="1800" dirty="0">
                        <a:solidFill>
                          <a:schemeClr val="tx1"/>
                        </a:solidFill>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r>
              <a:tr h="364025">
                <a:tc>
                  <a:txBody>
                    <a:bodyPr/>
                    <a:lstStyle/>
                    <a:p>
                      <a:pPr marL="0" algn="l" defTabSz="914363" rtl="0" eaLnBrk="1" latinLnBrk="0" hangingPunct="1"/>
                      <a:r>
                        <a:rPr lang="en-US" sz="1600" kern="1200" dirty="0" smtClean="0">
                          <a:solidFill>
                            <a:schemeClr val="tx1"/>
                          </a:solidFill>
                          <a:latin typeface="+mn-lt"/>
                          <a:ea typeface="+mn-ea"/>
                          <a:cs typeface="+mn-cs"/>
                        </a:rPr>
                        <a:t>VPN</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noFill/>
                  </a:tcPr>
                </a:tc>
              </a:tr>
              <a:tr h="426673">
                <a:tc>
                  <a:txBody>
                    <a:bodyPr/>
                    <a:lstStyle/>
                    <a:p>
                      <a:pPr marL="0" algn="l" defTabSz="914363" rtl="0" eaLnBrk="1" latinLnBrk="0" hangingPunct="1"/>
                      <a:r>
                        <a:rPr lang="en-US" sz="1600" kern="1200" dirty="0" smtClean="0">
                          <a:solidFill>
                            <a:schemeClr val="tx1"/>
                          </a:solidFill>
                          <a:latin typeface="+mn-lt"/>
                          <a:ea typeface="+mn-ea"/>
                          <a:cs typeface="+mn-cs"/>
                        </a:rPr>
                        <a:t>Wi-Fi</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64025">
                <a:tc>
                  <a:txBody>
                    <a:bodyPr/>
                    <a:lstStyle/>
                    <a:p>
                      <a:pPr marL="0" algn="l" defTabSz="914363" rtl="0" eaLnBrk="1" latinLnBrk="0" hangingPunct="1"/>
                      <a:r>
                        <a:rPr lang="en-US" sz="1600" kern="1200" dirty="0" smtClean="0">
                          <a:solidFill>
                            <a:schemeClr val="tx1"/>
                          </a:solidFill>
                          <a:latin typeface="+mn-lt"/>
                          <a:ea typeface="+mn-ea"/>
                          <a:cs typeface="+mn-cs"/>
                        </a:rPr>
                        <a:t>Certificates</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88960">
                <a:tc>
                  <a:txBody>
                    <a:bodyPr/>
                    <a:lstStyle/>
                    <a:p>
                      <a:r>
                        <a:rPr lang="en-US" sz="1600" kern="1200" dirty="0" smtClean="0">
                          <a:solidFill>
                            <a:schemeClr val="tx1"/>
                          </a:solidFill>
                          <a:latin typeface="+mn-lt"/>
                          <a:ea typeface="+mn-ea"/>
                          <a:cs typeface="+mn-cs"/>
                        </a:rPr>
                        <a:t>Password</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64512">
                <a:tc>
                  <a:txBody>
                    <a:bodyPr/>
                    <a:lstStyle/>
                    <a:p>
                      <a:r>
                        <a:rPr lang="en-US" sz="1600" kern="1200" dirty="0" smtClean="0">
                          <a:solidFill>
                            <a:schemeClr val="tx1"/>
                          </a:solidFill>
                          <a:latin typeface="+mn-lt"/>
                          <a:ea typeface="+mn-ea"/>
                          <a:cs typeface="+mn-cs"/>
                        </a:rPr>
                        <a:t>Device restrictions</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62431">
                <a:tc>
                  <a:txBody>
                    <a:bodyPr/>
                    <a:lstStyle/>
                    <a:p>
                      <a:r>
                        <a:rPr lang="en-US" sz="1600" kern="1200" dirty="0" smtClean="0">
                          <a:solidFill>
                            <a:schemeClr val="tx1"/>
                          </a:solidFill>
                          <a:latin typeface="+mn-lt"/>
                          <a:ea typeface="+mn-ea"/>
                          <a:cs typeface="+mn-cs"/>
                        </a:rPr>
                        <a:t>Store access</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77534">
                <a:tc>
                  <a:txBody>
                    <a:bodyPr/>
                    <a:lstStyle/>
                    <a:p>
                      <a:r>
                        <a:rPr lang="en-US" sz="1600" kern="1200" dirty="0" smtClean="0">
                          <a:solidFill>
                            <a:schemeClr val="tx1"/>
                          </a:solidFill>
                          <a:latin typeface="+mn-lt"/>
                          <a:ea typeface="+mn-ea"/>
                          <a:cs typeface="+mn-cs"/>
                        </a:rPr>
                        <a:t>Browsers</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77533">
                <a:tc>
                  <a:txBody>
                    <a:bodyPr/>
                    <a:lstStyle/>
                    <a:p>
                      <a:r>
                        <a:rPr lang="en-US" sz="1600" kern="1200" dirty="0" smtClean="0">
                          <a:solidFill>
                            <a:schemeClr val="tx1"/>
                          </a:solidFill>
                          <a:latin typeface="+mn-lt"/>
                          <a:ea typeface="+mn-ea"/>
                          <a:cs typeface="+mn-cs"/>
                        </a:rPr>
                        <a:t>Content Rating</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73017">
                <a:tc>
                  <a:txBody>
                    <a:bodyPr/>
                    <a:lstStyle/>
                    <a:p>
                      <a:r>
                        <a:rPr lang="en-US" sz="1600" kern="1200" dirty="0" smtClean="0">
                          <a:solidFill>
                            <a:schemeClr val="tx1"/>
                          </a:solidFill>
                          <a:latin typeface="+mn-lt"/>
                          <a:ea typeface="+mn-ea"/>
                          <a:cs typeface="+mn-cs"/>
                        </a:rPr>
                        <a:t>Cloud Synch</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73017">
                <a:tc>
                  <a:txBody>
                    <a:bodyPr/>
                    <a:lstStyle/>
                    <a:p>
                      <a:r>
                        <a:rPr lang="en-US" sz="1600" kern="1200" dirty="0" smtClean="0">
                          <a:solidFill>
                            <a:schemeClr val="tx1"/>
                          </a:solidFill>
                          <a:latin typeface="+mn-lt"/>
                          <a:ea typeface="+mn-ea"/>
                          <a:cs typeface="+mn-cs"/>
                        </a:rPr>
                        <a:t>Encryption</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31151">
                <a:tc>
                  <a:txBody>
                    <a:bodyPr/>
                    <a:lstStyle/>
                    <a:p>
                      <a:r>
                        <a:rPr lang="en-US" sz="1600" kern="1200" dirty="0" smtClean="0">
                          <a:solidFill>
                            <a:schemeClr val="tx1"/>
                          </a:solidFill>
                          <a:latin typeface="+mn-lt"/>
                          <a:ea typeface="+mn-ea"/>
                          <a:cs typeface="+mn-cs"/>
                        </a:rPr>
                        <a:t>Security</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42973">
                <a:tc>
                  <a:txBody>
                    <a:bodyPr/>
                    <a:lstStyle/>
                    <a:p>
                      <a:r>
                        <a:rPr lang="en-US" sz="1600" kern="1200" dirty="0" smtClean="0">
                          <a:solidFill>
                            <a:schemeClr val="tx1"/>
                          </a:solidFill>
                          <a:latin typeface="+mn-lt"/>
                          <a:ea typeface="+mn-ea"/>
                          <a:cs typeface="+mn-cs"/>
                        </a:rPr>
                        <a:t>Roaming</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 (*)</a:t>
                      </a: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noFill/>
                  </a:tcPr>
                </a:tc>
              </a:tr>
              <a:tr h="342973">
                <a:tc>
                  <a:txBody>
                    <a:bodyPr/>
                    <a:lstStyle/>
                    <a:p>
                      <a:r>
                        <a:rPr lang="en-US" sz="1600" kern="1200" dirty="0" smtClean="0">
                          <a:solidFill>
                            <a:schemeClr val="tx1"/>
                          </a:solidFill>
                          <a:latin typeface="+mn-lt"/>
                          <a:ea typeface="+mn-ea"/>
                          <a:cs typeface="+mn-cs"/>
                        </a:rPr>
                        <a:t>Windows Server Work Folders</a:t>
                      </a: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latin typeface="+mn-lt"/>
                          <a:ea typeface="+mn-ea"/>
                          <a:cs typeface="+mn-cs"/>
                          <a:sym typeface="Wingdings" panose="05000000000000000000" pitchFamily="2" charset="2"/>
                        </a:rPr>
                        <a:t></a:t>
                      </a: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algn="ct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600" kern="1200" dirty="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600" kern="1200" dirty="0" smtClean="0">
                        <a:solidFill>
                          <a:schemeClr val="tx1"/>
                        </a:solidFill>
                        <a:latin typeface="+mn-lt"/>
                        <a:ea typeface="+mn-ea"/>
                        <a:cs typeface="+mn-cs"/>
                      </a:endParaRPr>
                    </a:p>
                  </a:txBody>
                  <a:tcPr marL="93236" marR="93236" marT="46618" marB="4661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tr>
            </a:tbl>
          </a:graphicData>
        </a:graphic>
      </p:graphicFrame>
      <p:sp>
        <p:nvSpPr>
          <p:cNvPr id="3" name="TextBox 2"/>
          <p:cNvSpPr txBox="1"/>
          <p:nvPr/>
        </p:nvSpPr>
        <p:spPr>
          <a:xfrm>
            <a:off x="6302993" y="6730358"/>
            <a:ext cx="5959563" cy="224114"/>
          </a:xfrm>
          <a:prstGeom prst="rect">
            <a:avLst/>
          </a:prstGeom>
          <a:noFill/>
        </p:spPr>
        <p:txBody>
          <a:bodyPr wrap="square" lIns="0" tIns="0" rIns="0" bIns="0" rtlCol="0">
            <a:spAutoFit/>
          </a:bodyPr>
          <a:lstStyle/>
          <a:p>
            <a:r>
              <a:rPr lang="en-US" sz="1428" dirty="0" smtClean="0"/>
              <a:t>* Subset of settings      Note: Table applicable to direct MDM and not EAS</a:t>
            </a:r>
            <a:endParaRPr lang="en-US" sz="1428" dirty="0"/>
          </a:p>
        </p:txBody>
      </p:sp>
    </p:spTree>
    <p:extLst>
      <p:ext uri="{BB962C8B-B14F-4D97-AF65-F5344CB8AC3E}">
        <p14:creationId xmlns:p14="http://schemas.microsoft.com/office/powerpoint/2010/main" val="571057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4364" y="289623"/>
            <a:ext cx="11375536" cy="738664"/>
          </a:xfrm>
        </p:spPr>
        <p:txBody>
          <a:bodyPr/>
          <a:lstStyle/>
          <a:p>
            <a:r>
              <a:rPr lang="en-US" sz="4000" dirty="0" smtClean="0">
                <a:solidFill>
                  <a:schemeClr val="tx1"/>
                </a:solidFill>
              </a:rPr>
              <a:t>Resource Access Configuration</a:t>
            </a:r>
            <a:endParaRPr lang="en-US" sz="4000" dirty="0">
              <a:solidFill>
                <a:schemeClr val="tx1"/>
              </a:solidFill>
            </a:endParaRPr>
          </a:p>
        </p:txBody>
      </p:sp>
      <p:sp>
        <p:nvSpPr>
          <p:cNvPr id="4" name="TextBox 3"/>
          <p:cNvSpPr txBox="1"/>
          <p:nvPr/>
        </p:nvSpPr>
        <p:spPr>
          <a:xfrm>
            <a:off x="-115746" y="6586504"/>
            <a:ext cx="2673752" cy="461665"/>
          </a:xfrm>
          <a:prstGeom prst="rect">
            <a:avLst/>
          </a:prstGeom>
          <a:noFill/>
        </p:spPr>
        <p:txBody>
          <a:bodyPr wrap="square" lIns="182880" tIns="146304" rIns="182880" bIns="146304" rtlCol="0">
            <a:spAutoFit/>
          </a:bodyPr>
          <a:lstStyle/>
          <a:p>
            <a:pPr>
              <a:lnSpc>
                <a:spcPct val="90000"/>
              </a:lnSpc>
              <a:spcAft>
                <a:spcPts val="600"/>
              </a:spcAft>
            </a:pPr>
            <a:r>
              <a:rPr lang="en-US" sz="1200" i="1" dirty="0" smtClean="0">
                <a:gradFill>
                  <a:gsLst>
                    <a:gs pos="2917">
                      <a:schemeClr val="tx1"/>
                    </a:gs>
                    <a:gs pos="30000">
                      <a:schemeClr val="tx1"/>
                    </a:gs>
                  </a:gsLst>
                  <a:lin ang="5400000" scaled="0"/>
                </a:gradFill>
              </a:rPr>
              <a:t>* Varies based on device platform</a:t>
            </a:r>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70563" y="1209627"/>
            <a:ext cx="6391275" cy="5201715"/>
          </a:xfrm>
          <a:prstGeom prst="rect">
            <a:avLst/>
          </a:prstGeom>
        </p:spPr>
      </p:pic>
      <p:sp>
        <p:nvSpPr>
          <p:cNvPr id="3" name="Rectangle 2"/>
          <p:cNvSpPr/>
          <p:nvPr/>
        </p:nvSpPr>
        <p:spPr>
          <a:xfrm>
            <a:off x="2992286" y="3594873"/>
            <a:ext cx="2778277" cy="1708160"/>
          </a:xfrm>
          <a:prstGeom prst="rect">
            <a:avLst/>
          </a:prstGeom>
        </p:spPr>
        <p:txBody>
          <a:bodyPr wrap="square">
            <a:spAutoFit/>
          </a:bodyPr>
          <a:lstStyle/>
          <a:p>
            <a:r>
              <a:rPr lang="en-US" sz="2500" dirty="0" smtClean="0">
                <a:solidFill>
                  <a:schemeClr val="accent1"/>
                </a:solidFill>
              </a:rPr>
              <a:t>Platforms</a:t>
            </a:r>
          </a:p>
          <a:p>
            <a:endParaRPr lang="en-US" sz="1600" dirty="0" smtClean="0"/>
          </a:p>
          <a:p>
            <a:r>
              <a:rPr lang="en-US" sz="1600" dirty="0" smtClean="0"/>
              <a:t>Windows </a:t>
            </a:r>
            <a:r>
              <a:rPr lang="en-US" sz="1600" dirty="0"/>
              <a:t>8.1</a:t>
            </a:r>
          </a:p>
          <a:p>
            <a:r>
              <a:rPr lang="en-US" sz="1600" dirty="0"/>
              <a:t>Windows 8.1 RT</a:t>
            </a:r>
          </a:p>
          <a:p>
            <a:r>
              <a:rPr lang="en-US" sz="1600" dirty="0" err="1"/>
              <a:t>iOS</a:t>
            </a:r>
            <a:endParaRPr lang="en-US" sz="1600" dirty="0"/>
          </a:p>
          <a:p>
            <a:r>
              <a:rPr lang="en-US" sz="1600" dirty="0"/>
              <a:t>Android</a:t>
            </a:r>
          </a:p>
        </p:txBody>
      </p:sp>
      <p:sp>
        <p:nvSpPr>
          <p:cNvPr id="7" name="Rectangle 6"/>
          <p:cNvSpPr/>
          <p:nvPr/>
        </p:nvSpPr>
        <p:spPr>
          <a:xfrm>
            <a:off x="335977" y="3596376"/>
            <a:ext cx="2648493" cy="1492716"/>
          </a:xfrm>
          <a:prstGeom prst="rect">
            <a:avLst/>
          </a:prstGeom>
        </p:spPr>
        <p:txBody>
          <a:bodyPr wrap="square">
            <a:spAutoFit/>
          </a:bodyPr>
          <a:lstStyle/>
          <a:p>
            <a:r>
              <a:rPr lang="en-US" sz="2700" dirty="0" smtClean="0">
                <a:solidFill>
                  <a:schemeClr val="accent1"/>
                </a:solidFill>
              </a:rPr>
              <a:t>Benefits</a:t>
            </a:r>
          </a:p>
          <a:p>
            <a:endParaRPr lang="en-US" sz="1600" dirty="0">
              <a:solidFill>
                <a:schemeClr val="accent1"/>
              </a:solidFill>
            </a:endParaRPr>
          </a:p>
          <a:p>
            <a:r>
              <a:rPr lang="en-US" sz="1600" dirty="0"/>
              <a:t>End users get access to company resources with no manual steps for them</a:t>
            </a:r>
          </a:p>
        </p:txBody>
      </p:sp>
      <p:sp>
        <p:nvSpPr>
          <p:cNvPr id="8" name="TextBox 7"/>
          <p:cNvSpPr txBox="1"/>
          <p:nvPr/>
        </p:nvSpPr>
        <p:spPr>
          <a:xfrm>
            <a:off x="243816" y="1291693"/>
            <a:ext cx="5525942" cy="2043636"/>
          </a:xfrm>
          <a:prstGeom prst="rect">
            <a:avLst/>
          </a:prstGeom>
          <a:noFill/>
        </p:spPr>
        <p:txBody>
          <a:bodyPr wrap="square" lIns="182880" tIns="146304" rIns="182880" bIns="146304" rtlCol="0">
            <a:spAutoFit/>
          </a:bodyPr>
          <a:lstStyle/>
          <a:p>
            <a:r>
              <a:rPr lang="en-US" sz="2700" dirty="0">
                <a:solidFill>
                  <a:schemeClr val="accent1"/>
                </a:solidFill>
              </a:rPr>
              <a:t>New Features*</a:t>
            </a:r>
          </a:p>
          <a:p>
            <a:r>
              <a:rPr lang="en-US" sz="1600" dirty="0"/>
              <a:t>Configure networking profiles VPN profiles </a:t>
            </a:r>
          </a:p>
          <a:p>
            <a:r>
              <a:rPr lang="en-US" sz="1600" dirty="0"/>
              <a:t>Support for Windows 8.1 </a:t>
            </a:r>
            <a:r>
              <a:rPr lang="en-US" sz="1600" dirty="0" smtClean="0"/>
              <a:t>Automatic VPN</a:t>
            </a:r>
            <a:endParaRPr lang="en-US" sz="1600" dirty="0"/>
          </a:p>
          <a:p>
            <a:r>
              <a:rPr lang="en-US" sz="1600" dirty="0"/>
              <a:t>Wi-Fi protocol and authentication settings</a:t>
            </a:r>
          </a:p>
          <a:p>
            <a:r>
              <a:rPr lang="en-US" sz="1600" dirty="0"/>
              <a:t>Management and distribution of certificates </a:t>
            </a:r>
          </a:p>
          <a:p>
            <a:pPr>
              <a:lnSpc>
                <a:spcPct val="90000"/>
              </a:lnSpc>
            </a:pPr>
            <a:endParaRPr lang="en-GB" sz="2400" spc="-50" dirty="0" smtClean="0">
              <a:gradFill>
                <a:gsLst>
                  <a:gs pos="2917">
                    <a:schemeClr val="tx1"/>
                  </a:gs>
                  <a:gs pos="30000">
                    <a:schemeClr val="tx1"/>
                  </a:gs>
                </a:gsLst>
                <a:lin ang="5400000" scaled="0"/>
              </a:gradFill>
            </a:endParaRPr>
          </a:p>
        </p:txBody>
      </p:sp>
      <p:sp>
        <p:nvSpPr>
          <p:cNvPr id="6" name="Slide Number Placeholder 5"/>
          <p:cNvSpPr>
            <a:spLocks noGrp="1"/>
          </p:cNvSpPr>
          <p:nvPr>
            <p:ph type="sldNum" sz="quarter" idx="4294967295"/>
          </p:nvPr>
        </p:nvSpPr>
        <p:spPr>
          <a:xfrm>
            <a:off x="11650175" y="6573013"/>
            <a:ext cx="511664" cy="124650"/>
          </a:xfrm>
          <a:prstGeom prst="rect">
            <a:avLst/>
          </a:prstGeom>
        </p:spPr>
        <p:txBody>
          <a:bodyPr/>
          <a:lstStyle/>
          <a:p>
            <a:pPr>
              <a:lnSpc>
                <a:spcPct val="90000"/>
              </a:lnSpc>
            </a:pPr>
            <a:fld id="{1BC86A1F-E589-44B2-A543-2EC98F5547A7}" type="slidenum">
              <a:rPr lang="en-US" smtClean="0"/>
              <a:pPr>
                <a:lnSpc>
                  <a:spcPct val="90000"/>
                </a:lnSpc>
              </a:pPr>
              <a:t>18</a:t>
            </a:fld>
            <a:endParaRPr lang="en-US" dirty="0"/>
          </a:p>
        </p:txBody>
      </p:sp>
      <p:sp>
        <p:nvSpPr>
          <p:cNvPr id="9" name="Rectangle 8"/>
          <p:cNvSpPr/>
          <p:nvPr/>
        </p:nvSpPr>
        <p:spPr bwMode="auto">
          <a:xfrm>
            <a:off x="5879805" y="3827721"/>
            <a:ext cx="1307804" cy="49973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10" name="Rounded Rectangle 9"/>
          <p:cNvSpPr/>
          <p:nvPr/>
        </p:nvSpPr>
        <p:spPr bwMode="auto">
          <a:xfrm>
            <a:off x="5879805" y="3827721"/>
            <a:ext cx="1307804" cy="499730"/>
          </a:xfrm>
          <a:prstGeom prst="roundRect">
            <a:avLst/>
          </a:prstGeom>
          <a:no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Tree>
    <p:extLst>
      <p:ext uri="{BB962C8B-B14F-4D97-AF65-F5344CB8AC3E}">
        <p14:creationId xmlns:p14="http://schemas.microsoft.com/office/powerpoint/2010/main" val="1510354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083" y="292692"/>
            <a:ext cx="11370961" cy="738664"/>
          </a:xfrm>
        </p:spPr>
        <p:txBody>
          <a:bodyPr vert="horz" wrap="square" lIns="146304" tIns="91440" rIns="146304" bIns="91440" rtlCol="0" anchor="t">
            <a:spAutoFit/>
          </a:bodyPr>
          <a:lstStyle/>
          <a:p>
            <a:r>
              <a:rPr lang="en-US" sz="4000" dirty="0"/>
              <a:t>VPN Profile Management</a:t>
            </a:r>
          </a:p>
        </p:txBody>
      </p:sp>
      <p:sp>
        <p:nvSpPr>
          <p:cNvPr id="3" name="Text Placeholder 2"/>
          <p:cNvSpPr>
            <a:spLocks noGrp="1"/>
          </p:cNvSpPr>
          <p:nvPr>
            <p:ph type="body" sz="quarter" idx="10"/>
          </p:nvPr>
        </p:nvSpPr>
        <p:spPr>
          <a:xfrm>
            <a:off x="251193" y="3946621"/>
            <a:ext cx="3781545" cy="960263"/>
          </a:xfrm>
        </p:spPr>
        <p:txBody>
          <a:bodyPr/>
          <a:lstStyle/>
          <a:p>
            <a:pPr marL="0" indent="0" algn="ctr">
              <a:buNone/>
            </a:pPr>
            <a:r>
              <a:rPr lang="en-US" sz="2400" dirty="0">
                <a:solidFill>
                  <a:schemeClr val="accent1"/>
                </a:solidFill>
                <a:latin typeface="+mn-lt"/>
              </a:rPr>
              <a:t>Support for major SSL VPN </a:t>
            </a:r>
            <a:r>
              <a:rPr lang="en-US" sz="2400" dirty="0" smtClean="0">
                <a:solidFill>
                  <a:schemeClr val="accent1"/>
                </a:solidFill>
                <a:latin typeface="+mn-lt"/>
              </a:rPr>
              <a:t>vendors</a:t>
            </a:r>
            <a:endParaRPr lang="en-US" sz="2400" dirty="0">
              <a:solidFill>
                <a:schemeClr val="accent1"/>
              </a:solidFill>
              <a:latin typeface="+mn-lt"/>
            </a:endParaRPr>
          </a:p>
        </p:txBody>
      </p:sp>
      <p:sp>
        <p:nvSpPr>
          <p:cNvPr id="4" name="Rectangle 3"/>
          <p:cNvSpPr/>
          <p:nvPr/>
        </p:nvSpPr>
        <p:spPr>
          <a:xfrm>
            <a:off x="8504239" y="5119973"/>
            <a:ext cx="3586161" cy="1077218"/>
          </a:xfrm>
          <a:prstGeom prst="rect">
            <a:avLst/>
          </a:prstGeom>
        </p:spPr>
        <p:txBody>
          <a:bodyPr wrap="square">
            <a:spAutoFit/>
          </a:bodyPr>
          <a:lstStyle/>
          <a:p>
            <a:pPr marL="289817" lvl="2" indent="0">
              <a:buNone/>
            </a:pPr>
            <a:r>
              <a:rPr lang="en-US" sz="1600" dirty="0"/>
              <a:t>DNS </a:t>
            </a:r>
            <a:r>
              <a:rPr lang="en-US" sz="1600" dirty="0" smtClean="0"/>
              <a:t>name-based </a:t>
            </a:r>
            <a:r>
              <a:rPr lang="en-US" sz="1600" dirty="0"/>
              <a:t>initiation support for Windows 8.1 and </a:t>
            </a:r>
            <a:r>
              <a:rPr lang="en-US" sz="1600" dirty="0" err="1"/>
              <a:t>iOS</a:t>
            </a:r>
            <a:endParaRPr lang="en-US" sz="1600" dirty="0"/>
          </a:p>
          <a:p>
            <a:pPr marL="289817" lvl="2" indent="0">
              <a:buNone/>
            </a:pPr>
            <a:r>
              <a:rPr lang="en-US" sz="1600" dirty="0"/>
              <a:t>Application </a:t>
            </a:r>
            <a:r>
              <a:rPr lang="en-US" sz="1600" dirty="0" smtClean="0"/>
              <a:t>ID </a:t>
            </a:r>
            <a:r>
              <a:rPr lang="en-US" sz="1600" dirty="0"/>
              <a:t>based initiation support for Windows 8.1</a:t>
            </a:r>
          </a:p>
        </p:txBody>
      </p:sp>
      <p:sp>
        <p:nvSpPr>
          <p:cNvPr id="5" name="Rectangle 4"/>
          <p:cNvSpPr/>
          <p:nvPr/>
        </p:nvSpPr>
        <p:spPr>
          <a:xfrm>
            <a:off x="8504238" y="3954463"/>
            <a:ext cx="3482975" cy="830997"/>
          </a:xfrm>
          <a:prstGeom prst="rect">
            <a:avLst/>
          </a:prstGeom>
        </p:spPr>
        <p:txBody>
          <a:bodyPr wrap="square">
            <a:spAutoFit/>
          </a:bodyPr>
          <a:lstStyle/>
          <a:p>
            <a:pPr marL="0" lvl="1" indent="0" algn="ctr">
              <a:buNone/>
            </a:pPr>
            <a:r>
              <a:rPr lang="en-US" sz="2400" dirty="0">
                <a:solidFill>
                  <a:schemeClr val="accent1"/>
                </a:solidFill>
              </a:rPr>
              <a:t>Automatic </a:t>
            </a:r>
            <a:r>
              <a:rPr lang="en-US" sz="2400" dirty="0" smtClean="0">
                <a:solidFill>
                  <a:schemeClr val="accent1"/>
                </a:solidFill>
              </a:rPr>
              <a:t>VPN connection</a:t>
            </a:r>
            <a:endParaRPr lang="en-US" sz="2400" dirty="0">
              <a:solidFill>
                <a:schemeClr val="accent1"/>
              </a:solidFill>
            </a:endParaRPr>
          </a:p>
        </p:txBody>
      </p:sp>
      <p:sp>
        <p:nvSpPr>
          <p:cNvPr id="6" name="Rectangle 5"/>
          <p:cNvSpPr/>
          <p:nvPr/>
        </p:nvSpPr>
        <p:spPr>
          <a:xfrm>
            <a:off x="4164978" y="3975399"/>
            <a:ext cx="3776540" cy="830997"/>
          </a:xfrm>
          <a:prstGeom prst="rect">
            <a:avLst/>
          </a:prstGeom>
        </p:spPr>
        <p:txBody>
          <a:bodyPr wrap="square">
            <a:spAutoFit/>
          </a:bodyPr>
          <a:lstStyle/>
          <a:p>
            <a:pPr marL="0" lvl="1" indent="0" algn="ctr">
              <a:buNone/>
            </a:pPr>
            <a:r>
              <a:rPr lang="en-US" sz="2400" dirty="0">
                <a:solidFill>
                  <a:schemeClr val="accent1"/>
                </a:solidFill>
              </a:rPr>
              <a:t>Support for VPN </a:t>
            </a:r>
            <a:r>
              <a:rPr lang="en-US" sz="2400" dirty="0" smtClean="0">
                <a:solidFill>
                  <a:schemeClr val="accent1"/>
                </a:solidFill>
              </a:rPr>
              <a:t>standards</a:t>
            </a:r>
            <a:endParaRPr lang="en-US" sz="2400" dirty="0">
              <a:solidFill>
                <a:schemeClr val="accent1"/>
              </a:solidFill>
            </a:endParaRPr>
          </a:p>
        </p:txBody>
      </p:sp>
      <p:sp>
        <p:nvSpPr>
          <p:cNvPr id="7" name="Rectangle 6"/>
          <p:cNvSpPr/>
          <p:nvPr/>
        </p:nvSpPr>
        <p:spPr>
          <a:xfrm>
            <a:off x="358780" y="5113995"/>
            <a:ext cx="3509963" cy="1323439"/>
          </a:xfrm>
          <a:prstGeom prst="rect">
            <a:avLst/>
          </a:prstGeom>
        </p:spPr>
        <p:txBody>
          <a:bodyPr wrap="square">
            <a:spAutoFit/>
          </a:bodyPr>
          <a:lstStyle/>
          <a:p>
            <a:pPr marL="289817" lvl="2" indent="0">
              <a:buNone/>
            </a:pPr>
            <a:r>
              <a:rPr lang="en-US" sz="1600" dirty="0"/>
              <a:t>SSL VPNs from Cisco, Juniper, Check Point, Microsoft, Dell </a:t>
            </a:r>
            <a:r>
              <a:rPr lang="en-US" sz="1600" dirty="0" err="1"/>
              <a:t>SonicWALL</a:t>
            </a:r>
            <a:r>
              <a:rPr lang="en-US" sz="1600" dirty="0"/>
              <a:t>, F5 </a:t>
            </a:r>
          </a:p>
          <a:p>
            <a:pPr marL="289817" lvl="2" indent="0">
              <a:buNone/>
            </a:pPr>
            <a:r>
              <a:rPr lang="en-US" sz="1600" dirty="0"/>
              <a:t>Subset of vendors have Windows </a:t>
            </a:r>
            <a:r>
              <a:rPr lang="en-US" sz="1600" dirty="0" err="1" smtClean="0"/>
              <a:t>Windows</a:t>
            </a:r>
            <a:r>
              <a:rPr lang="en-US" sz="1600" dirty="0" smtClean="0"/>
              <a:t> RT </a:t>
            </a:r>
            <a:r>
              <a:rPr lang="en-US" sz="1600" dirty="0"/>
              <a:t>VPN </a:t>
            </a:r>
            <a:r>
              <a:rPr lang="en-US" sz="1600" dirty="0" smtClean="0"/>
              <a:t>plug-in</a:t>
            </a:r>
            <a:endParaRPr lang="en-US" sz="1600" dirty="0"/>
          </a:p>
        </p:txBody>
      </p:sp>
      <p:grpSp>
        <p:nvGrpSpPr>
          <p:cNvPr id="206" name="Group 205"/>
          <p:cNvGrpSpPr/>
          <p:nvPr/>
        </p:nvGrpSpPr>
        <p:grpSpPr>
          <a:xfrm>
            <a:off x="8908190" y="1360324"/>
            <a:ext cx="2422995" cy="2317376"/>
            <a:chOff x="8925306" y="1459391"/>
            <a:chExt cx="2422995" cy="2317376"/>
          </a:xfrm>
        </p:grpSpPr>
        <p:grpSp>
          <p:nvGrpSpPr>
            <p:cNvPr id="13" name="Group 12"/>
            <p:cNvGrpSpPr/>
            <p:nvPr/>
          </p:nvGrpSpPr>
          <p:grpSpPr>
            <a:xfrm>
              <a:off x="8925306" y="1459391"/>
              <a:ext cx="2047493" cy="2047493"/>
              <a:chOff x="2598738" y="3613150"/>
              <a:chExt cx="1177925" cy="1177925"/>
            </a:xfrm>
            <a:solidFill>
              <a:schemeClr val="accent1"/>
            </a:solidFill>
          </p:grpSpPr>
          <p:sp>
            <p:nvSpPr>
              <p:cNvPr id="14" name="Freeform 61"/>
              <p:cNvSpPr>
                <a:spLocks noEditPoints="1"/>
              </p:cNvSpPr>
              <p:nvPr/>
            </p:nvSpPr>
            <p:spPr bwMode="auto">
              <a:xfrm>
                <a:off x="2598738" y="3613150"/>
                <a:ext cx="1177925" cy="1177925"/>
              </a:xfrm>
              <a:custGeom>
                <a:avLst/>
                <a:gdLst>
                  <a:gd name="T0" fmla="*/ 0 w 1562"/>
                  <a:gd name="T1" fmla="*/ 781 h 1562"/>
                  <a:gd name="T2" fmla="*/ 1562 w 1562"/>
                  <a:gd name="T3" fmla="*/ 781 h 1562"/>
                  <a:gd name="T4" fmla="*/ 1493 w 1562"/>
                  <a:gd name="T5" fmla="*/ 925 h 1562"/>
                  <a:gd name="T6" fmla="*/ 1331 w 1562"/>
                  <a:gd name="T7" fmla="*/ 1256 h 1562"/>
                  <a:gd name="T8" fmla="*/ 1331 w 1562"/>
                  <a:gd name="T9" fmla="*/ 1256 h 1562"/>
                  <a:gd name="T10" fmla="*/ 1283 w 1562"/>
                  <a:gd name="T11" fmla="*/ 1306 h 1562"/>
                  <a:gd name="T12" fmla="*/ 1283 w 1562"/>
                  <a:gd name="T13" fmla="*/ 1306 h 1562"/>
                  <a:gd name="T14" fmla="*/ 1169 w 1562"/>
                  <a:gd name="T15" fmla="*/ 1395 h 1562"/>
                  <a:gd name="T16" fmla="*/ 1016 w 1562"/>
                  <a:gd name="T17" fmla="*/ 1469 h 1562"/>
                  <a:gd name="T18" fmla="*/ 1014 w 1562"/>
                  <a:gd name="T19" fmla="*/ 1469 h 1562"/>
                  <a:gd name="T20" fmla="*/ 882 w 1562"/>
                  <a:gd name="T21" fmla="*/ 1500 h 1562"/>
                  <a:gd name="T22" fmla="*/ 863 w 1562"/>
                  <a:gd name="T23" fmla="*/ 1503 h 1562"/>
                  <a:gd name="T24" fmla="*/ 859 w 1562"/>
                  <a:gd name="T25" fmla="*/ 1503 h 1562"/>
                  <a:gd name="T26" fmla="*/ 781 w 1562"/>
                  <a:gd name="T27" fmla="*/ 1507 h 1562"/>
                  <a:gd name="T28" fmla="*/ 701 w 1562"/>
                  <a:gd name="T29" fmla="*/ 1503 h 1562"/>
                  <a:gd name="T30" fmla="*/ 548 w 1562"/>
                  <a:gd name="T31" fmla="*/ 1469 h 1562"/>
                  <a:gd name="T32" fmla="*/ 393 w 1562"/>
                  <a:gd name="T33" fmla="*/ 1395 h 1562"/>
                  <a:gd name="T34" fmla="*/ 386 w 1562"/>
                  <a:gd name="T35" fmla="*/ 1391 h 1562"/>
                  <a:gd name="T36" fmla="*/ 356 w 1562"/>
                  <a:gd name="T37" fmla="*/ 1370 h 1562"/>
                  <a:gd name="T38" fmla="*/ 329 w 1562"/>
                  <a:gd name="T39" fmla="*/ 1350 h 1562"/>
                  <a:gd name="T40" fmla="*/ 304 w 1562"/>
                  <a:gd name="T41" fmla="*/ 1329 h 1562"/>
                  <a:gd name="T42" fmla="*/ 279 w 1562"/>
                  <a:gd name="T43" fmla="*/ 1306 h 1562"/>
                  <a:gd name="T44" fmla="*/ 279 w 1562"/>
                  <a:gd name="T45" fmla="*/ 1306 h 1562"/>
                  <a:gd name="T46" fmla="*/ 55 w 1562"/>
                  <a:gd name="T47" fmla="*/ 812 h 1562"/>
                  <a:gd name="T48" fmla="*/ 55 w 1562"/>
                  <a:gd name="T49" fmla="*/ 781 h 1562"/>
                  <a:gd name="T50" fmla="*/ 115 w 1562"/>
                  <a:gd name="T51" fmla="*/ 489 h 1562"/>
                  <a:gd name="T52" fmla="*/ 116 w 1562"/>
                  <a:gd name="T53" fmla="*/ 489 h 1562"/>
                  <a:gd name="T54" fmla="*/ 283 w 1562"/>
                  <a:gd name="T55" fmla="*/ 252 h 1562"/>
                  <a:gd name="T56" fmla="*/ 284 w 1562"/>
                  <a:gd name="T57" fmla="*/ 251 h 1562"/>
                  <a:gd name="T58" fmla="*/ 312 w 1562"/>
                  <a:gd name="T59" fmla="*/ 226 h 1562"/>
                  <a:gd name="T60" fmla="*/ 340 w 1562"/>
                  <a:gd name="T61" fmla="*/ 204 h 1562"/>
                  <a:gd name="T62" fmla="*/ 369 w 1562"/>
                  <a:gd name="T63" fmla="*/ 183 h 1562"/>
                  <a:gd name="T64" fmla="*/ 400 w 1562"/>
                  <a:gd name="T65" fmla="*/ 163 h 1562"/>
                  <a:gd name="T66" fmla="*/ 517 w 1562"/>
                  <a:gd name="T67" fmla="*/ 104 h 1562"/>
                  <a:gd name="T68" fmla="*/ 517 w 1562"/>
                  <a:gd name="T69" fmla="*/ 104 h 1562"/>
                  <a:gd name="T70" fmla="*/ 555 w 1562"/>
                  <a:gd name="T71" fmla="*/ 90 h 1562"/>
                  <a:gd name="T72" fmla="*/ 587 w 1562"/>
                  <a:gd name="T73" fmla="*/ 81 h 1562"/>
                  <a:gd name="T74" fmla="*/ 607 w 1562"/>
                  <a:gd name="T75" fmla="*/ 76 h 1562"/>
                  <a:gd name="T76" fmla="*/ 650 w 1562"/>
                  <a:gd name="T77" fmla="*/ 66 h 1562"/>
                  <a:gd name="T78" fmla="*/ 700 w 1562"/>
                  <a:gd name="T79" fmla="*/ 59 h 1562"/>
                  <a:gd name="T80" fmla="*/ 748 w 1562"/>
                  <a:gd name="T81" fmla="*/ 55 h 1562"/>
                  <a:gd name="T82" fmla="*/ 750 w 1562"/>
                  <a:gd name="T83" fmla="*/ 55 h 1562"/>
                  <a:gd name="T84" fmla="*/ 782 w 1562"/>
                  <a:gd name="T85" fmla="*/ 55 h 1562"/>
                  <a:gd name="T86" fmla="*/ 785 w 1562"/>
                  <a:gd name="T87" fmla="*/ 55 h 1562"/>
                  <a:gd name="T88" fmla="*/ 812 w 1562"/>
                  <a:gd name="T89" fmla="*/ 55 h 1562"/>
                  <a:gd name="T90" fmla="*/ 857 w 1562"/>
                  <a:gd name="T91" fmla="*/ 59 h 1562"/>
                  <a:gd name="T92" fmla="*/ 862 w 1562"/>
                  <a:gd name="T93" fmla="*/ 59 h 1562"/>
                  <a:gd name="T94" fmla="*/ 912 w 1562"/>
                  <a:gd name="T95" fmla="*/ 66 h 1562"/>
                  <a:gd name="T96" fmla="*/ 955 w 1562"/>
                  <a:gd name="T97" fmla="*/ 76 h 1562"/>
                  <a:gd name="T98" fmla="*/ 975 w 1562"/>
                  <a:gd name="T99" fmla="*/ 81 h 1562"/>
                  <a:gd name="T100" fmla="*/ 1045 w 1562"/>
                  <a:gd name="T101" fmla="*/ 104 h 1562"/>
                  <a:gd name="T102" fmla="*/ 1163 w 1562"/>
                  <a:gd name="T103" fmla="*/ 163 h 1562"/>
                  <a:gd name="T104" fmla="*/ 1193 w 1562"/>
                  <a:gd name="T105" fmla="*/ 183 h 1562"/>
                  <a:gd name="T106" fmla="*/ 1223 w 1562"/>
                  <a:gd name="T107" fmla="*/ 204 h 1562"/>
                  <a:gd name="T108" fmla="*/ 1251 w 1562"/>
                  <a:gd name="T109" fmla="*/ 227 h 1562"/>
                  <a:gd name="T110" fmla="*/ 1278 w 1562"/>
                  <a:gd name="T111" fmla="*/ 251 h 1562"/>
                  <a:gd name="T112" fmla="*/ 1279 w 1562"/>
                  <a:gd name="T113" fmla="*/ 252 h 1562"/>
                  <a:gd name="T114" fmla="*/ 1294 w 1562"/>
                  <a:gd name="T115" fmla="*/ 267 h 1562"/>
                  <a:gd name="T116" fmla="*/ 1384 w 1562"/>
                  <a:gd name="T117" fmla="*/ 376 h 1562"/>
                  <a:gd name="T118" fmla="*/ 1446 w 1562"/>
                  <a:gd name="T119" fmla="*/ 489 h 1562"/>
                  <a:gd name="T120" fmla="*/ 1447 w 1562"/>
                  <a:gd name="T121" fmla="*/ 489 h 1562"/>
                  <a:gd name="T122" fmla="*/ 1507 w 1562"/>
                  <a:gd name="T123" fmla="*/ 812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2" h="1562">
                    <a:moveTo>
                      <a:pt x="781" y="0"/>
                    </a:moveTo>
                    <a:cubicBezTo>
                      <a:pt x="350" y="0"/>
                      <a:pt x="0" y="350"/>
                      <a:pt x="0" y="781"/>
                    </a:cubicBezTo>
                    <a:cubicBezTo>
                      <a:pt x="0" y="1212"/>
                      <a:pt x="350" y="1562"/>
                      <a:pt x="781" y="1562"/>
                    </a:cubicBezTo>
                    <a:cubicBezTo>
                      <a:pt x="1212" y="1562"/>
                      <a:pt x="1562" y="1212"/>
                      <a:pt x="1562" y="781"/>
                    </a:cubicBezTo>
                    <a:cubicBezTo>
                      <a:pt x="1562" y="350"/>
                      <a:pt x="1212" y="0"/>
                      <a:pt x="781" y="0"/>
                    </a:cubicBezTo>
                    <a:close/>
                    <a:moveTo>
                      <a:pt x="1493" y="925"/>
                    </a:moveTo>
                    <a:cubicBezTo>
                      <a:pt x="1473" y="1026"/>
                      <a:pt x="1432" y="1119"/>
                      <a:pt x="1374" y="1201"/>
                    </a:cubicBezTo>
                    <a:cubicBezTo>
                      <a:pt x="1361" y="1220"/>
                      <a:pt x="1346" y="1238"/>
                      <a:pt x="1331" y="1256"/>
                    </a:cubicBezTo>
                    <a:cubicBezTo>
                      <a:pt x="1331" y="1256"/>
                      <a:pt x="1331" y="1256"/>
                      <a:pt x="1331" y="1256"/>
                    </a:cubicBezTo>
                    <a:cubicBezTo>
                      <a:pt x="1331" y="1256"/>
                      <a:pt x="1331" y="1256"/>
                      <a:pt x="1331" y="1256"/>
                    </a:cubicBezTo>
                    <a:cubicBezTo>
                      <a:pt x="1316" y="1273"/>
                      <a:pt x="1300" y="1290"/>
                      <a:pt x="1283" y="1306"/>
                    </a:cubicBezTo>
                    <a:cubicBezTo>
                      <a:pt x="1283" y="1306"/>
                      <a:pt x="1283" y="1306"/>
                      <a:pt x="1283" y="1306"/>
                    </a:cubicBezTo>
                    <a:cubicBezTo>
                      <a:pt x="1283" y="1306"/>
                      <a:pt x="1283" y="1306"/>
                      <a:pt x="1283" y="1306"/>
                    </a:cubicBezTo>
                    <a:cubicBezTo>
                      <a:pt x="1283" y="1306"/>
                      <a:pt x="1283" y="1306"/>
                      <a:pt x="1283" y="1306"/>
                    </a:cubicBezTo>
                    <a:cubicBezTo>
                      <a:pt x="1250" y="1338"/>
                      <a:pt x="1214" y="1366"/>
                      <a:pt x="1176" y="1391"/>
                    </a:cubicBezTo>
                    <a:cubicBezTo>
                      <a:pt x="1169" y="1395"/>
                      <a:pt x="1169" y="1395"/>
                      <a:pt x="1169" y="1395"/>
                    </a:cubicBezTo>
                    <a:cubicBezTo>
                      <a:pt x="1169" y="1395"/>
                      <a:pt x="1169" y="1395"/>
                      <a:pt x="1169" y="1395"/>
                    </a:cubicBezTo>
                    <a:cubicBezTo>
                      <a:pt x="1122" y="1425"/>
                      <a:pt x="1070" y="1450"/>
                      <a:pt x="1016" y="1469"/>
                    </a:cubicBezTo>
                    <a:cubicBezTo>
                      <a:pt x="1016" y="1469"/>
                      <a:pt x="1016" y="1469"/>
                      <a:pt x="1016" y="1469"/>
                    </a:cubicBezTo>
                    <a:cubicBezTo>
                      <a:pt x="1014" y="1469"/>
                      <a:pt x="1014" y="1469"/>
                      <a:pt x="1014" y="1469"/>
                    </a:cubicBezTo>
                    <a:cubicBezTo>
                      <a:pt x="1014" y="1469"/>
                      <a:pt x="1014" y="1469"/>
                      <a:pt x="1014" y="1469"/>
                    </a:cubicBezTo>
                    <a:cubicBezTo>
                      <a:pt x="972" y="1484"/>
                      <a:pt x="928" y="1494"/>
                      <a:pt x="882" y="1500"/>
                    </a:cubicBezTo>
                    <a:cubicBezTo>
                      <a:pt x="882" y="1500"/>
                      <a:pt x="882" y="1500"/>
                      <a:pt x="882" y="1500"/>
                    </a:cubicBezTo>
                    <a:cubicBezTo>
                      <a:pt x="876" y="1501"/>
                      <a:pt x="870" y="1502"/>
                      <a:pt x="863" y="1503"/>
                    </a:cubicBezTo>
                    <a:cubicBezTo>
                      <a:pt x="863" y="1503"/>
                      <a:pt x="863" y="1503"/>
                      <a:pt x="863" y="1503"/>
                    </a:cubicBezTo>
                    <a:cubicBezTo>
                      <a:pt x="859" y="1503"/>
                      <a:pt x="859" y="1503"/>
                      <a:pt x="859" y="1503"/>
                    </a:cubicBezTo>
                    <a:cubicBezTo>
                      <a:pt x="859" y="1503"/>
                      <a:pt x="859" y="1503"/>
                      <a:pt x="859" y="1503"/>
                    </a:cubicBezTo>
                    <a:cubicBezTo>
                      <a:pt x="833" y="1506"/>
                      <a:pt x="807" y="1507"/>
                      <a:pt x="781" y="1507"/>
                    </a:cubicBezTo>
                    <a:cubicBezTo>
                      <a:pt x="755" y="1507"/>
                      <a:pt x="729" y="1506"/>
                      <a:pt x="704" y="1503"/>
                    </a:cubicBezTo>
                    <a:cubicBezTo>
                      <a:pt x="701" y="1503"/>
                      <a:pt x="701" y="1503"/>
                      <a:pt x="701" y="1503"/>
                    </a:cubicBezTo>
                    <a:cubicBezTo>
                      <a:pt x="648" y="1497"/>
                      <a:pt x="597" y="1486"/>
                      <a:pt x="549" y="1469"/>
                    </a:cubicBezTo>
                    <a:cubicBezTo>
                      <a:pt x="549" y="1469"/>
                      <a:pt x="548" y="1469"/>
                      <a:pt x="548" y="1469"/>
                    </a:cubicBezTo>
                    <a:cubicBezTo>
                      <a:pt x="547" y="1469"/>
                      <a:pt x="547" y="1469"/>
                      <a:pt x="547" y="1469"/>
                    </a:cubicBezTo>
                    <a:cubicBezTo>
                      <a:pt x="492" y="1450"/>
                      <a:pt x="441" y="1425"/>
                      <a:pt x="393" y="1395"/>
                    </a:cubicBezTo>
                    <a:cubicBezTo>
                      <a:pt x="393" y="1395"/>
                      <a:pt x="393" y="1395"/>
                      <a:pt x="393" y="1395"/>
                    </a:cubicBezTo>
                    <a:cubicBezTo>
                      <a:pt x="386" y="1391"/>
                      <a:pt x="386" y="1391"/>
                      <a:pt x="386" y="1391"/>
                    </a:cubicBezTo>
                    <a:cubicBezTo>
                      <a:pt x="385" y="1390"/>
                      <a:pt x="384" y="1390"/>
                      <a:pt x="384" y="1389"/>
                    </a:cubicBezTo>
                    <a:cubicBezTo>
                      <a:pt x="374" y="1383"/>
                      <a:pt x="365" y="1377"/>
                      <a:pt x="356" y="1370"/>
                    </a:cubicBezTo>
                    <a:cubicBezTo>
                      <a:pt x="356" y="1370"/>
                      <a:pt x="356" y="1370"/>
                      <a:pt x="356" y="1370"/>
                    </a:cubicBezTo>
                    <a:cubicBezTo>
                      <a:pt x="347" y="1364"/>
                      <a:pt x="338" y="1357"/>
                      <a:pt x="329" y="1350"/>
                    </a:cubicBezTo>
                    <a:cubicBezTo>
                      <a:pt x="329" y="1350"/>
                      <a:pt x="329" y="1350"/>
                      <a:pt x="329" y="1350"/>
                    </a:cubicBezTo>
                    <a:cubicBezTo>
                      <a:pt x="320" y="1343"/>
                      <a:pt x="312" y="1336"/>
                      <a:pt x="304" y="1329"/>
                    </a:cubicBezTo>
                    <a:cubicBezTo>
                      <a:pt x="303" y="1329"/>
                      <a:pt x="303" y="1328"/>
                      <a:pt x="303" y="1328"/>
                    </a:cubicBezTo>
                    <a:cubicBezTo>
                      <a:pt x="295" y="1321"/>
                      <a:pt x="287" y="1314"/>
                      <a:pt x="279" y="1306"/>
                    </a:cubicBezTo>
                    <a:cubicBezTo>
                      <a:pt x="279" y="1306"/>
                      <a:pt x="279" y="1306"/>
                      <a:pt x="279" y="1306"/>
                    </a:cubicBezTo>
                    <a:cubicBezTo>
                      <a:pt x="279" y="1306"/>
                      <a:pt x="279" y="1306"/>
                      <a:pt x="279" y="1306"/>
                    </a:cubicBezTo>
                    <a:cubicBezTo>
                      <a:pt x="279" y="1306"/>
                      <a:pt x="279" y="1306"/>
                      <a:pt x="279" y="1306"/>
                    </a:cubicBezTo>
                    <a:cubicBezTo>
                      <a:pt x="148" y="1180"/>
                      <a:pt x="63" y="1006"/>
                      <a:pt x="55" y="812"/>
                    </a:cubicBezTo>
                    <a:cubicBezTo>
                      <a:pt x="55" y="812"/>
                      <a:pt x="55" y="812"/>
                      <a:pt x="55" y="812"/>
                    </a:cubicBezTo>
                    <a:cubicBezTo>
                      <a:pt x="55" y="802"/>
                      <a:pt x="55" y="792"/>
                      <a:pt x="55" y="781"/>
                    </a:cubicBezTo>
                    <a:cubicBezTo>
                      <a:pt x="55" y="677"/>
                      <a:pt x="76" y="579"/>
                      <a:pt x="115" y="489"/>
                    </a:cubicBezTo>
                    <a:cubicBezTo>
                      <a:pt x="115" y="489"/>
                      <a:pt x="115" y="489"/>
                      <a:pt x="115" y="489"/>
                    </a:cubicBezTo>
                    <a:cubicBezTo>
                      <a:pt x="116" y="489"/>
                      <a:pt x="116" y="489"/>
                      <a:pt x="116" y="489"/>
                    </a:cubicBezTo>
                    <a:cubicBezTo>
                      <a:pt x="116" y="489"/>
                      <a:pt x="116" y="489"/>
                      <a:pt x="116" y="489"/>
                    </a:cubicBezTo>
                    <a:cubicBezTo>
                      <a:pt x="126" y="465"/>
                      <a:pt x="138" y="442"/>
                      <a:pt x="151" y="420"/>
                    </a:cubicBezTo>
                    <a:cubicBezTo>
                      <a:pt x="186" y="357"/>
                      <a:pt x="231" y="301"/>
                      <a:pt x="283" y="252"/>
                    </a:cubicBezTo>
                    <a:cubicBezTo>
                      <a:pt x="283" y="252"/>
                      <a:pt x="283" y="252"/>
                      <a:pt x="284" y="252"/>
                    </a:cubicBezTo>
                    <a:cubicBezTo>
                      <a:pt x="284" y="251"/>
                      <a:pt x="284" y="251"/>
                      <a:pt x="284" y="251"/>
                    </a:cubicBezTo>
                    <a:cubicBezTo>
                      <a:pt x="293" y="243"/>
                      <a:pt x="301" y="235"/>
                      <a:pt x="310" y="228"/>
                    </a:cubicBezTo>
                    <a:cubicBezTo>
                      <a:pt x="311" y="227"/>
                      <a:pt x="311" y="227"/>
                      <a:pt x="312" y="226"/>
                    </a:cubicBezTo>
                    <a:cubicBezTo>
                      <a:pt x="321" y="219"/>
                      <a:pt x="329" y="212"/>
                      <a:pt x="339" y="205"/>
                    </a:cubicBezTo>
                    <a:cubicBezTo>
                      <a:pt x="339" y="204"/>
                      <a:pt x="339" y="204"/>
                      <a:pt x="340" y="204"/>
                    </a:cubicBezTo>
                    <a:cubicBezTo>
                      <a:pt x="349" y="197"/>
                      <a:pt x="359" y="190"/>
                      <a:pt x="368" y="183"/>
                    </a:cubicBezTo>
                    <a:cubicBezTo>
                      <a:pt x="369" y="183"/>
                      <a:pt x="369" y="183"/>
                      <a:pt x="369" y="183"/>
                    </a:cubicBezTo>
                    <a:cubicBezTo>
                      <a:pt x="379" y="176"/>
                      <a:pt x="389" y="169"/>
                      <a:pt x="399" y="163"/>
                    </a:cubicBezTo>
                    <a:cubicBezTo>
                      <a:pt x="400" y="163"/>
                      <a:pt x="400" y="163"/>
                      <a:pt x="400" y="163"/>
                    </a:cubicBezTo>
                    <a:cubicBezTo>
                      <a:pt x="400" y="163"/>
                      <a:pt x="400" y="163"/>
                      <a:pt x="400" y="163"/>
                    </a:cubicBezTo>
                    <a:cubicBezTo>
                      <a:pt x="437" y="140"/>
                      <a:pt x="476" y="120"/>
                      <a:pt x="517" y="104"/>
                    </a:cubicBezTo>
                    <a:cubicBezTo>
                      <a:pt x="517" y="104"/>
                      <a:pt x="517" y="104"/>
                      <a:pt x="517" y="104"/>
                    </a:cubicBezTo>
                    <a:cubicBezTo>
                      <a:pt x="517" y="104"/>
                      <a:pt x="517" y="104"/>
                      <a:pt x="517" y="104"/>
                    </a:cubicBezTo>
                    <a:cubicBezTo>
                      <a:pt x="517" y="104"/>
                      <a:pt x="517" y="104"/>
                      <a:pt x="517" y="104"/>
                    </a:cubicBezTo>
                    <a:cubicBezTo>
                      <a:pt x="530" y="99"/>
                      <a:pt x="543" y="94"/>
                      <a:pt x="555" y="90"/>
                    </a:cubicBezTo>
                    <a:cubicBezTo>
                      <a:pt x="565" y="87"/>
                      <a:pt x="574" y="84"/>
                      <a:pt x="583" y="82"/>
                    </a:cubicBezTo>
                    <a:cubicBezTo>
                      <a:pt x="585" y="81"/>
                      <a:pt x="586" y="81"/>
                      <a:pt x="587" y="81"/>
                    </a:cubicBezTo>
                    <a:cubicBezTo>
                      <a:pt x="593" y="79"/>
                      <a:pt x="598" y="78"/>
                      <a:pt x="604" y="76"/>
                    </a:cubicBezTo>
                    <a:cubicBezTo>
                      <a:pt x="605" y="76"/>
                      <a:pt x="606" y="76"/>
                      <a:pt x="607" y="76"/>
                    </a:cubicBezTo>
                    <a:cubicBezTo>
                      <a:pt x="621" y="72"/>
                      <a:pt x="635" y="69"/>
                      <a:pt x="650" y="66"/>
                    </a:cubicBezTo>
                    <a:cubicBezTo>
                      <a:pt x="650" y="66"/>
                      <a:pt x="650" y="66"/>
                      <a:pt x="650" y="66"/>
                    </a:cubicBezTo>
                    <a:cubicBezTo>
                      <a:pt x="666" y="63"/>
                      <a:pt x="683" y="61"/>
                      <a:pt x="700" y="59"/>
                    </a:cubicBezTo>
                    <a:cubicBezTo>
                      <a:pt x="700" y="59"/>
                      <a:pt x="700" y="59"/>
                      <a:pt x="700" y="59"/>
                    </a:cubicBezTo>
                    <a:cubicBezTo>
                      <a:pt x="704" y="59"/>
                      <a:pt x="704" y="59"/>
                      <a:pt x="704" y="59"/>
                    </a:cubicBezTo>
                    <a:cubicBezTo>
                      <a:pt x="719" y="57"/>
                      <a:pt x="733" y="56"/>
                      <a:pt x="748" y="55"/>
                    </a:cubicBezTo>
                    <a:cubicBezTo>
                      <a:pt x="750" y="55"/>
                      <a:pt x="750" y="55"/>
                      <a:pt x="750" y="55"/>
                    </a:cubicBezTo>
                    <a:cubicBezTo>
                      <a:pt x="750" y="55"/>
                      <a:pt x="750" y="55"/>
                      <a:pt x="750" y="55"/>
                    </a:cubicBezTo>
                    <a:cubicBezTo>
                      <a:pt x="760" y="55"/>
                      <a:pt x="771" y="55"/>
                      <a:pt x="781" y="55"/>
                    </a:cubicBezTo>
                    <a:cubicBezTo>
                      <a:pt x="781" y="55"/>
                      <a:pt x="782" y="55"/>
                      <a:pt x="782" y="55"/>
                    </a:cubicBezTo>
                    <a:cubicBezTo>
                      <a:pt x="785" y="55"/>
                      <a:pt x="785" y="55"/>
                      <a:pt x="785" y="55"/>
                    </a:cubicBezTo>
                    <a:cubicBezTo>
                      <a:pt x="785" y="55"/>
                      <a:pt x="785" y="55"/>
                      <a:pt x="785" y="55"/>
                    </a:cubicBezTo>
                    <a:cubicBezTo>
                      <a:pt x="794" y="55"/>
                      <a:pt x="803" y="55"/>
                      <a:pt x="812" y="55"/>
                    </a:cubicBezTo>
                    <a:cubicBezTo>
                      <a:pt x="812" y="55"/>
                      <a:pt x="812" y="55"/>
                      <a:pt x="812" y="55"/>
                    </a:cubicBezTo>
                    <a:cubicBezTo>
                      <a:pt x="814" y="55"/>
                      <a:pt x="814" y="55"/>
                      <a:pt x="814" y="55"/>
                    </a:cubicBezTo>
                    <a:cubicBezTo>
                      <a:pt x="829" y="56"/>
                      <a:pt x="843" y="57"/>
                      <a:pt x="857" y="59"/>
                    </a:cubicBezTo>
                    <a:cubicBezTo>
                      <a:pt x="862" y="59"/>
                      <a:pt x="862" y="59"/>
                      <a:pt x="862" y="59"/>
                    </a:cubicBezTo>
                    <a:cubicBezTo>
                      <a:pt x="862" y="59"/>
                      <a:pt x="862" y="59"/>
                      <a:pt x="862" y="59"/>
                    </a:cubicBezTo>
                    <a:cubicBezTo>
                      <a:pt x="879" y="61"/>
                      <a:pt x="896" y="63"/>
                      <a:pt x="912" y="66"/>
                    </a:cubicBezTo>
                    <a:cubicBezTo>
                      <a:pt x="912" y="66"/>
                      <a:pt x="912" y="66"/>
                      <a:pt x="912" y="66"/>
                    </a:cubicBezTo>
                    <a:cubicBezTo>
                      <a:pt x="913" y="67"/>
                      <a:pt x="913" y="67"/>
                      <a:pt x="913" y="67"/>
                    </a:cubicBezTo>
                    <a:cubicBezTo>
                      <a:pt x="927" y="69"/>
                      <a:pt x="941" y="72"/>
                      <a:pt x="955" y="76"/>
                    </a:cubicBezTo>
                    <a:cubicBezTo>
                      <a:pt x="956" y="76"/>
                      <a:pt x="957" y="76"/>
                      <a:pt x="958" y="76"/>
                    </a:cubicBezTo>
                    <a:cubicBezTo>
                      <a:pt x="964" y="78"/>
                      <a:pt x="969" y="79"/>
                      <a:pt x="975" y="81"/>
                    </a:cubicBezTo>
                    <a:cubicBezTo>
                      <a:pt x="976" y="81"/>
                      <a:pt x="977" y="81"/>
                      <a:pt x="979" y="82"/>
                    </a:cubicBezTo>
                    <a:cubicBezTo>
                      <a:pt x="1001" y="88"/>
                      <a:pt x="1023" y="95"/>
                      <a:pt x="1045" y="104"/>
                    </a:cubicBezTo>
                    <a:cubicBezTo>
                      <a:pt x="1086" y="120"/>
                      <a:pt x="1125" y="140"/>
                      <a:pt x="1163" y="163"/>
                    </a:cubicBezTo>
                    <a:cubicBezTo>
                      <a:pt x="1163" y="163"/>
                      <a:pt x="1163" y="163"/>
                      <a:pt x="1163" y="163"/>
                    </a:cubicBezTo>
                    <a:cubicBezTo>
                      <a:pt x="1163" y="163"/>
                      <a:pt x="1163" y="163"/>
                      <a:pt x="1163" y="163"/>
                    </a:cubicBezTo>
                    <a:cubicBezTo>
                      <a:pt x="1173" y="169"/>
                      <a:pt x="1183" y="176"/>
                      <a:pt x="1193" y="183"/>
                    </a:cubicBezTo>
                    <a:cubicBezTo>
                      <a:pt x="1193" y="183"/>
                      <a:pt x="1193" y="183"/>
                      <a:pt x="1194" y="183"/>
                    </a:cubicBezTo>
                    <a:cubicBezTo>
                      <a:pt x="1203" y="190"/>
                      <a:pt x="1213" y="197"/>
                      <a:pt x="1223" y="204"/>
                    </a:cubicBezTo>
                    <a:cubicBezTo>
                      <a:pt x="1223" y="204"/>
                      <a:pt x="1223" y="204"/>
                      <a:pt x="1223" y="205"/>
                    </a:cubicBezTo>
                    <a:cubicBezTo>
                      <a:pt x="1233" y="212"/>
                      <a:pt x="1242" y="219"/>
                      <a:pt x="1251" y="227"/>
                    </a:cubicBezTo>
                    <a:cubicBezTo>
                      <a:pt x="1251" y="227"/>
                      <a:pt x="1251" y="227"/>
                      <a:pt x="1252" y="228"/>
                    </a:cubicBezTo>
                    <a:cubicBezTo>
                      <a:pt x="1261" y="235"/>
                      <a:pt x="1270" y="243"/>
                      <a:pt x="1278" y="251"/>
                    </a:cubicBezTo>
                    <a:cubicBezTo>
                      <a:pt x="1278" y="252"/>
                      <a:pt x="1278" y="252"/>
                      <a:pt x="1278" y="252"/>
                    </a:cubicBezTo>
                    <a:cubicBezTo>
                      <a:pt x="1279" y="252"/>
                      <a:pt x="1279" y="252"/>
                      <a:pt x="1279" y="252"/>
                    </a:cubicBezTo>
                    <a:cubicBezTo>
                      <a:pt x="1284" y="257"/>
                      <a:pt x="1289" y="262"/>
                      <a:pt x="1294" y="267"/>
                    </a:cubicBezTo>
                    <a:cubicBezTo>
                      <a:pt x="1294" y="267"/>
                      <a:pt x="1294" y="267"/>
                      <a:pt x="1294" y="267"/>
                    </a:cubicBezTo>
                    <a:cubicBezTo>
                      <a:pt x="1300" y="272"/>
                      <a:pt x="1305" y="278"/>
                      <a:pt x="1310" y="283"/>
                    </a:cubicBezTo>
                    <a:cubicBezTo>
                      <a:pt x="1337" y="312"/>
                      <a:pt x="1362" y="343"/>
                      <a:pt x="1384" y="376"/>
                    </a:cubicBezTo>
                    <a:cubicBezTo>
                      <a:pt x="1408" y="412"/>
                      <a:pt x="1429" y="449"/>
                      <a:pt x="1446" y="489"/>
                    </a:cubicBezTo>
                    <a:cubicBezTo>
                      <a:pt x="1446" y="489"/>
                      <a:pt x="1446" y="489"/>
                      <a:pt x="1446" y="489"/>
                    </a:cubicBezTo>
                    <a:cubicBezTo>
                      <a:pt x="1447" y="489"/>
                      <a:pt x="1447" y="489"/>
                      <a:pt x="1447" y="489"/>
                    </a:cubicBezTo>
                    <a:cubicBezTo>
                      <a:pt x="1447" y="489"/>
                      <a:pt x="1447" y="489"/>
                      <a:pt x="1447" y="489"/>
                    </a:cubicBezTo>
                    <a:cubicBezTo>
                      <a:pt x="1486" y="579"/>
                      <a:pt x="1508" y="677"/>
                      <a:pt x="1508" y="781"/>
                    </a:cubicBezTo>
                    <a:cubicBezTo>
                      <a:pt x="1508" y="792"/>
                      <a:pt x="1507" y="802"/>
                      <a:pt x="1507" y="812"/>
                    </a:cubicBezTo>
                    <a:cubicBezTo>
                      <a:pt x="1505" y="851"/>
                      <a:pt x="1500" y="888"/>
                      <a:pt x="1493" y="9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2"/>
              <p:cNvSpPr>
                <a:spLocks/>
              </p:cNvSpPr>
              <p:nvPr/>
            </p:nvSpPr>
            <p:spPr bwMode="auto">
              <a:xfrm>
                <a:off x="3119438" y="4011613"/>
                <a:ext cx="3175" cy="4763"/>
              </a:xfrm>
              <a:custGeom>
                <a:avLst/>
                <a:gdLst>
                  <a:gd name="T0" fmla="*/ 0 w 5"/>
                  <a:gd name="T1" fmla="*/ 3 h 6"/>
                  <a:gd name="T2" fmla="*/ 5 w 5"/>
                  <a:gd name="T3" fmla="*/ 2 h 6"/>
                  <a:gd name="T4" fmla="*/ 0 w 5"/>
                  <a:gd name="T5" fmla="*/ 3 h 6"/>
                </a:gdLst>
                <a:ahLst/>
                <a:cxnLst>
                  <a:cxn ang="0">
                    <a:pos x="T0" y="T1"/>
                  </a:cxn>
                  <a:cxn ang="0">
                    <a:pos x="T2" y="T3"/>
                  </a:cxn>
                  <a:cxn ang="0">
                    <a:pos x="T4" y="T5"/>
                  </a:cxn>
                </a:cxnLst>
                <a:rect l="0" t="0" r="r" b="b"/>
                <a:pathLst>
                  <a:path w="5" h="6">
                    <a:moveTo>
                      <a:pt x="0" y="3"/>
                    </a:moveTo>
                    <a:cubicBezTo>
                      <a:pt x="0" y="6"/>
                      <a:pt x="5" y="5"/>
                      <a:pt x="5" y="2"/>
                    </a:cubicBezTo>
                    <a:cubicBezTo>
                      <a:pt x="3"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3"/>
              <p:cNvSpPr>
                <a:spLocks/>
              </p:cNvSpPr>
              <p:nvPr/>
            </p:nvSpPr>
            <p:spPr bwMode="auto">
              <a:xfrm>
                <a:off x="3086101" y="4094163"/>
                <a:ext cx="15875" cy="12700"/>
              </a:xfrm>
              <a:custGeom>
                <a:avLst/>
                <a:gdLst>
                  <a:gd name="T0" fmla="*/ 13 w 21"/>
                  <a:gd name="T1" fmla="*/ 1 h 16"/>
                  <a:gd name="T2" fmla="*/ 6 w 21"/>
                  <a:gd name="T3" fmla="*/ 0 h 16"/>
                  <a:gd name="T4" fmla="*/ 3 w 21"/>
                  <a:gd name="T5" fmla="*/ 3 h 16"/>
                  <a:gd name="T6" fmla="*/ 0 w 21"/>
                  <a:gd name="T7" fmla="*/ 10 h 16"/>
                  <a:gd name="T8" fmla="*/ 4 w 21"/>
                  <a:gd name="T9" fmla="*/ 16 h 16"/>
                  <a:gd name="T10" fmla="*/ 9 w 21"/>
                  <a:gd name="T11" fmla="*/ 10 h 16"/>
                  <a:gd name="T12" fmla="*/ 19 w 21"/>
                  <a:gd name="T13" fmla="*/ 1 h 16"/>
                  <a:gd name="T14" fmla="*/ 13 w 21"/>
                  <a:gd name="T15" fmla="*/ 1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6">
                    <a:moveTo>
                      <a:pt x="13" y="1"/>
                    </a:moveTo>
                    <a:cubicBezTo>
                      <a:pt x="11" y="1"/>
                      <a:pt x="8" y="1"/>
                      <a:pt x="6" y="0"/>
                    </a:cubicBezTo>
                    <a:cubicBezTo>
                      <a:pt x="5" y="0"/>
                      <a:pt x="4" y="3"/>
                      <a:pt x="3" y="3"/>
                    </a:cubicBezTo>
                    <a:cubicBezTo>
                      <a:pt x="1" y="5"/>
                      <a:pt x="0" y="7"/>
                      <a:pt x="0" y="10"/>
                    </a:cubicBezTo>
                    <a:cubicBezTo>
                      <a:pt x="1" y="12"/>
                      <a:pt x="2" y="16"/>
                      <a:pt x="4" y="16"/>
                    </a:cubicBezTo>
                    <a:cubicBezTo>
                      <a:pt x="6" y="16"/>
                      <a:pt x="8" y="12"/>
                      <a:pt x="9" y="10"/>
                    </a:cubicBezTo>
                    <a:cubicBezTo>
                      <a:pt x="12" y="8"/>
                      <a:pt x="21" y="7"/>
                      <a:pt x="19" y="1"/>
                    </a:cubicBezTo>
                    <a:cubicBezTo>
                      <a:pt x="17" y="1"/>
                      <a:pt x="15" y="0"/>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4"/>
              <p:cNvSpPr>
                <a:spLocks/>
              </p:cNvSpPr>
              <p:nvPr/>
            </p:nvSpPr>
            <p:spPr bwMode="auto">
              <a:xfrm>
                <a:off x="3106738" y="4137025"/>
                <a:ext cx="12700" cy="15875"/>
              </a:xfrm>
              <a:custGeom>
                <a:avLst/>
                <a:gdLst>
                  <a:gd name="T0" fmla="*/ 3 w 16"/>
                  <a:gd name="T1" fmla="*/ 19 h 20"/>
                  <a:gd name="T2" fmla="*/ 9 w 16"/>
                  <a:gd name="T3" fmla="*/ 7 h 20"/>
                  <a:gd name="T4" fmla="*/ 12 w 16"/>
                  <a:gd name="T5" fmla="*/ 0 h 20"/>
                  <a:gd name="T6" fmla="*/ 9 w 16"/>
                  <a:gd name="T7" fmla="*/ 5 h 20"/>
                  <a:gd name="T8" fmla="*/ 4 w 16"/>
                  <a:gd name="T9" fmla="*/ 8 h 20"/>
                  <a:gd name="T10" fmla="*/ 3 w 16"/>
                  <a:gd name="T11" fmla="*/ 19 h 20"/>
                </a:gdLst>
                <a:ahLst/>
                <a:cxnLst>
                  <a:cxn ang="0">
                    <a:pos x="T0" y="T1"/>
                  </a:cxn>
                  <a:cxn ang="0">
                    <a:pos x="T2" y="T3"/>
                  </a:cxn>
                  <a:cxn ang="0">
                    <a:pos x="T4" y="T5"/>
                  </a:cxn>
                  <a:cxn ang="0">
                    <a:pos x="T6" y="T7"/>
                  </a:cxn>
                  <a:cxn ang="0">
                    <a:pos x="T8" y="T9"/>
                  </a:cxn>
                  <a:cxn ang="0">
                    <a:pos x="T10" y="T11"/>
                  </a:cxn>
                </a:cxnLst>
                <a:rect l="0" t="0" r="r" b="b"/>
                <a:pathLst>
                  <a:path w="16" h="20">
                    <a:moveTo>
                      <a:pt x="3" y="19"/>
                    </a:moveTo>
                    <a:cubicBezTo>
                      <a:pt x="3" y="15"/>
                      <a:pt x="6" y="10"/>
                      <a:pt x="9" y="7"/>
                    </a:cubicBezTo>
                    <a:cubicBezTo>
                      <a:pt x="11" y="6"/>
                      <a:pt x="16" y="2"/>
                      <a:pt x="12" y="0"/>
                    </a:cubicBezTo>
                    <a:cubicBezTo>
                      <a:pt x="7" y="0"/>
                      <a:pt x="11" y="2"/>
                      <a:pt x="9" y="5"/>
                    </a:cubicBezTo>
                    <a:cubicBezTo>
                      <a:pt x="8" y="6"/>
                      <a:pt x="5" y="6"/>
                      <a:pt x="4" y="8"/>
                    </a:cubicBezTo>
                    <a:cubicBezTo>
                      <a:pt x="4" y="9"/>
                      <a:pt x="0"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5"/>
              <p:cNvSpPr>
                <a:spLocks/>
              </p:cNvSpPr>
              <p:nvPr/>
            </p:nvSpPr>
            <p:spPr bwMode="auto">
              <a:xfrm>
                <a:off x="3117851" y="4006850"/>
                <a:ext cx="4763" cy="3175"/>
              </a:xfrm>
              <a:custGeom>
                <a:avLst/>
                <a:gdLst>
                  <a:gd name="T0" fmla="*/ 3 w 5"/>
                  <a:gd name="T1" fmla="*/ 3 h 5"/>
                  <a:gd name="T2" fmla="*/ 5 w 5"/>
                  <a:gd name="T3" fmla="*/ 0 h 5"/>
                  <a:gd name="T4" fmla="*/ 2 w 5"/>
                  <a:gd name="T5" fmla="*/ 0 h 5"/>
                  <a:gd name="T6" fmla="*/ 3 w 5"/>
                  <a:gd name="T7" fmla="*/ 3 h 5"/>
                </a:gdLst>
                <a:ahLst/>
                <a:cxnLst>
                  <a:cxn ang="0">
                    <a:pos x="T0" y="T1"/>
                  </a:cxn>
                  <a:cxn ang="0">
                    <a:pos x="T2" y="T3"/>
                  </a:cxn>
                  <a:cxn ang="0">
                    <a:pos x="T4" y="T5"/>
                  </a:cxn>
                  <a:cxn ang="0">
                    <a:pos x="T6" y="T7"/>
                  </a:cxn>
                </a:cxnLst>
                <a:rect l="0" t="0" r="r" b="b"/>
                <a:pathLst>
                  <a:path w="5" h="5">
                    <a:moveTo>
                      <a:pt x="3" y="3"/>
                    </a:moveTo>
                    <a:cubicBezTo>
                      <a:pt x="5" y="5"/>
                      <a:pt x="5" y="1"/>
                      <a:pt x="5" y="0"/>
                    </a:cubicBezTo>
                    <a:cubicBezTo>
                      <a:pt x="2" y="0"/>
                      <a:pt x="2" y="0"/>
                      <a:pt x="2" y="0"/>
                    </a:cubicBezTo>
                    <a:cubicBezTo>
                      <a:pt x="0" y="0"/>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6"/>
              <p:cNvSpPr>
                <a:spLocks/>
              </p:cNvSpPr>
              <p:nvPr/>
            </p:nvSpPr>
            <p:spPr bwMode="auto">
              <a:xfrm>
                <a:off x="3114676" y="3990975"/>
                <a:ext cx="11113" cy="11113"/>
              </a:xfrm>
              <a:custGeom>
                <a:avLst/>
                <a:gdLst>
                  <a:gd name="T0" fmla="*/ 12 w 14"/>
                  <a:gd name="T1" fmla="*/ 0 h 15"/>
                  <a:gd name="T2" fmla="*/ 10 w 14"/>
                  <a:gd name="T3" fmla="*/ 7 h 15"/>
                  <a:gd name="T4" fmla="*/ 3 w 14"/>
                  <a:gd name="T5" fmla="*/ 10 h 15"/>
                  <a:gd name="T6" fmla="*/ 6 w 14"/>
                  <a:gd name="T7" fmla="*/ 14 h 15"/>
                  <a:gd name="T8" fmla="*/ 12 w 14"/>
                  <a:gd name="T9" fmla="*/ 5 h 15"/>
                  <a:gd name="T10" fmla="*/ 13 w 14"/>
                  <a:gd name="T11" fmla="*/ 2 h 15"/>
                  <a:gd name="T12" fmla="*/ 12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12" y="0"/>
                    </a:moveTo>
                    <a:cubicBezTo>
                      <a:pt x="6" y="0"/>
                      <a:pt x="10" y="5"/>
                      <a:pt x="10" y="7"/>
                    </a:cubicBezTo>
                    <a:cubicBezTo>
                      <a:pt x="10" y="9"/>
                      <a:pt x="5" y="9"/>
                      <a:pt x="3" y="10"/>
                    </a:cubicBezTo>
                    <a:cubicBezTo>
                      <a:pt x="0" y="12"/>
                      <a:pt x="2" y="15"/>
                      <a:pt x="6" y="14"/>
                    </a:cubicBezTo>
                    <a:cubicBezTo>
                      <a:pt x="9" y="14"/>
                      <a:pt x="14" y="8"/>
                      <a:pt x="12" y="5"/>
                    </a:cubicBezTo>
                    <a:cubicBezTo>
                      <a:pt x="11" y="4"/>
                      <a:pt x="12" y="3"/>
                      <a:pt x="13" y="2"/>
                    </a:cubicBezTo>
                    <a:cubicBezTo>
                      <a:pt x="14" y="1"/>
                      <a:pt x="12" y="1"/>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7"/>
              <p:cNvSpPr>
                <a:spLocks/>
              </p:cNvSpPr>
              <p:nvPr/>
            </p:nvSpPr>
            <p:spPr bwMode="auto">
              <a:xfrm>
                <a:off x="3130551" y="4011613"/>
                <a:ext cx="19050" cy="19050"/>
              </a:xfrm>
              <a:custGeom>
                <a:avLst/>
                <a:gdLst>
                  <a:gd name="T0" fmla="*/ 8 w 24"/>
                  <a:gd name="T1" fmla="*/ 23 h 25"/>
                  <a:gd name="T2" fmla="*/ 22 w 24"/>
                  <a:gd name="T3" fmla="*/ 18 h 25"/>
                  <a:gd name="T4" fmla="*/ 20 w 24"/>
                  <a:gd name="T5" fmla="*/ 3 h 25"/>
                  <a:gd name="T6" fmla="*/ 4 w 24"/>
                  <a:gd name="T7" fmla="*/ 8 h 25"/>
                  <a:gd name="T8" fmla="*/ 1 w 24"/>
                  <a:gd name="T9" fmla="*/ 18 h 25"/>
                  <a:gd name="T10" fmla="*/ 8 w 24"/>
                  <a:gd name="T11" fmla="*/ 23 h 25"/>
                </a:gdLst>
                <a:ahLst/>
                <a:cxnLst>
                  <a:cxn ang="0">
                    <a:pos x="T0" y="T1"/>
                  </a:cxn>
                  <a:cxn ang="0">
                    <a:pos x="T2" y="T3"/>
                  </a:cxn>
                  <a:cxn ang="0">
                    <a:pos x="T4" y="T5"/>
                  </a:cxn>
                  <a:cxn ang="0">
                    <a:pos x="T6" y="T7"/>
                  </a:cxn>
                  <a:cxn ang="0">
                    <a:pos x="T8" y="T9"/>
                  </a:cxn>
                  <a:cxn ang="0">
                    <a:pos x="T10" y="T11"/>
                  </a:cxn>
                </a:cxnLst>
                <a:rect l="0" t="0" r="r" b="b"/>
                <a:pathLst>
                  <a:path w="24" h="25">
                    <a:moveTo>
                      <a:pt x="8" y="23"/>
                    </a:moveTo>
                    <a:cubicBezTo>
                      <a:pt x="13" y="25"/>
                      <a:pt x="21" y="23"/>
                      <a:pt x="22" y="18"/>
                    </a:cubicBezTo>
                    <a:cubicBezTo>
                      <a:pt x="22" y="15"/>
                      <a:pt x="24" y="5"/>
                      <a:pt x="20" y="3"/>
                    </a:cubicBezTo>
                    <a:cubicBezTo>
                      <a:pt x="12" y="0"/>
                      <a:pt x="6" y="0"/>
                      <a:pt x="4" y="8"/>
                    </a:cubicBezTo>
                    <a:cubicBezTo>
                      <a:pt x="3" y="11"/>
                      <a:pt x="0" y="15"/>
                      <a:pt x="1" y="18"/>
                    </a:cubicBezTo>
                    <a:cubicBezTo>
                      <a:pt x="2" y="20"/>
                      <a:pt x="5" y="22"/>
                      <a:pt x="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8"/>
              <p:cNvSpPr>
                <a:spLocks/>
              </p:cNvSpPr>
              <p:nvPr/>
            </p:nvSpPr>
            <p:spPr bwMode="auto">
              <a:xfrm>
                <a:off x="3062288" y="4049713"/>
                <a:ext cx="47625" cy="42863"/>
              </a:xfrm>
              <a:custGeom>
                <a:avLst/>
                <a:gdLst>
                  <a:gd name="T0" fmla="*/ 54 w 65"/>
                  <a:gd name="T1" fmla="*/ 45 h 56"/>
                  <a:gd name="T2" fmla="*/ 64 w 65"/>
                  <a:gd name="T3" fmla="*/ 45 h 56"/>
                  <a:gd name="T4" fmla="*/ 57 w 65"/>
                  <a:gd name="T5" fmla="*/ 30 h 56"/>
                  <a:gd name="T6" fmla="*/ 46 w 65"/>
                  <a:gd name="T7" fmla="*/ 21 h 56"/>
                  <a:gd name="T8" fmla="*/ 35 w 65"/>
                  <a:gd name="T9" fmla="*/ 16 h 56"/>
                  <a:gd name="T10" fmla="*/ 33 w 65"/>
                  <a:gd name="T11" fmla="*/ 12 h 56"/>
                  <a:gd name="T12" fmla="*/ 25 w 65"/>
                  <a:gd name="T13" fmla="*/ 10 h 56"/>
                  <a:gd name="T14" fmla="*/ 20 w 65"/>
                  <a:gd name="T15" fmla="*/ 1 h 56"/>
                  <a:gd name="T16" fmla="*/ 12 w 65"/>
                  <a:gd name="T17" fmla="*/ 13 h 56"/>
                  <a:gd name="T18" fmla="*/ 11 w 65"/>
                  <a:gd name="T19" fmla="*/ 19 h 56"/>
                  <a:gd name="T20" fmla="*/ 15 w 65"/>
                  <a:gd name="T21" fmla="*/ 23 h 56"/>
                  <a:gd name="T22" fmla="*/ 14 w 65"/>
                  <a:gd name="T23" fmla="*/ 31 h 56"/>
                  <a:gd name="T24" fmla="*/ 9 w 65"/>
                  <a:gd name="T25" fmla="*/ 37 h 56"/>
                  <a:gd name="T26" fmla="*/ 3 w 65"/>
                  <a:gd name="T27" fmla="*/ 41 h 56"/>
                  <a:gd name="T28" fmla="*/ 11 w 65"/>
                  <a:gd name="T29" fmla="*/ 47 h 56"/>
                  <a:gd name="T30" fmla="*/ 15 w 65"/>
                  <a:gd name="T31" fmla="*/ 50 h 56"/>
                  <a:gd name="T32" fmla="*/ 17 w 65"/>
                  <a:gd name="T33" fmla="*/ 55 h 56"/>
                  <a:gd name="T34" fmla="*/ 29 w 65"/>
                  <a:gd name="T35" fmla="*/ 47 h 56"/>
                  <a:gd name="T36" fmla="*/ 37 w 65"/>
                  <a:gd name="T37" fmla="*/ 42 h 56"/>
                  <a:gd name="T38" fmla="*/ 43 w 65"/>
                  <a:gd name="T39" fmla="*/ 37 h 56"/>
                  <a:gd name="T40" fmla="*/ 47 w 65"/>
                  <a:gd name="T41" fmla="*/ 43 h 56"/>
                  <a:gd name="T42" fmla="*/ 51 w 65"/>
                  <a:gd name="T43" fmla="*/ 43 h 56"/>
                  <a:gd name="T44" fmla="*/ 54 w 65"/>
                  <a:gd name="T45"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56">
                    <a:moveTo>
                      <a:pt x="54" y="45"/>
                    </a:moveTo>
                    <a:cubicBezTo>
                      <a:pt x="56" y="47"/>
                      <a:pt x="63" y="49"/>
                      <a:pt x="64" y="45"/>
                    </a:cubicBezTo>
                    <a:cubicBezTo>
                      <a:pt x="65" y="39"/>
                      <a:pt x="62" y="34"/>
                      <a:pt x="57" y="30"/>
                    </a:cubicBezTo>
                    <a:cubicBezTo>
                      <a:pt x="53" y="27"/>
                      <a:pt x="51" y="22"/>
                      <a:pt x="46" y="21"/>
                    </a:cubicBezTo>
                    <a:cubicBezTo>
                      <a:pt x="43" y="21"/>
                      <a:pt x="35" y="20"/>
                      <a:pt x="35" y="16"/>
                    </a:cubicBezTo>
                    <a:cubicBezTo>
                      <a:pt x="35" y="15"/>
                      <a:pt x="34" y="13"/>
                      <a:pt x="33" y="12"/>
                    </a:cubicBezTo>
                    <a:cubicBezTo>
                      <a:pt x="31" y="10"/>
                      <a:pt x="27" y="12"/>
                      <a:pt x="25" y="10"/>
                    </a:cubicBezTo>
                    <a:cubicBezTo>
                      <a:pt x="22" y="8"/>
                      <a:pt x="24" y="2"/>
                      <a:pt x="20" y="1"/>
                    </a:cubicBezTo>
                    <a:cubicBezTo>
                      <a:pt x="13" y="0"/>
                      <a:pt x="13" y="9"/>
                      <a:pt x="12" y="13"/>
                    </a:cubicBezTo>
                    <a:cubicBezTo>
                      <a:pt x="11" y="15"/>
                      <a:pt x="11" y="18"/>
                      <a:pt x="11" y="19"/>
                    </a:cubicBezTo>
                    <a:cubicBezTo>
                      <a:pt x="10" y="22"/>
                      <a:pt x="13" y="22"/>
                      <a:pt x="15" y="23"/>
                    </a:cubicBezTo>
                    <a:cubicBezTo>
                      <a:pt x="21" y="26"/>
                      <a:pt x="18" y="28"/>
                      <a:pt x="14" y="31"/>
                    </a:cubicBezTo>
                    <a:cubicBezTo>
                      <a:pt x="12" y="33"/>
                      <a:pt x="11" y="35"/>
                      <a:pt x="9" y="37"/>
                    </a:cubicBezTo>
                    <a:cubicBezTo>
                      <a:pt x="8" y="39"/>
                      <a:pt x="4" y="39"/>
                      <a:pt x="3" y="41"/>
                    </a:cubicBezTo>
                    <a:cubicBezTo>
                      <a:pt x="0" y="46"/>
                      <a:pt x="8" y="46"/>
                      <a:pt x="11" y="47"/>
                    </a:cubicBezTo>
                    <a:cubicBezTo>
                      <a:pt x="13" y="47"/>
                      <a:pt x="15" y="48"/>
                      <a:pt x="15" y="50"/>
                    </a:cubicBezTo>
                    <a:cubicBezTo>
                      <a:pt x="15" y="52"/>
                      <a:pt x="15" y="54"/>
                      <a:pt x="17" y="55"/>
                    </a:cubicBezTo>
                    <a:cubicBezTo>
                      <a:pt x="24" y="56"/>
                      <a:pt x="25" y="51"/>
                      <a:pt x="29" y="47"/>
                    </a:cubicBezTo>
                    <a:cubicBezTo>
                      <a:pt x="31" y="45"/>
                      <a:pt x="38" y="47"/>
                      <a:pt x="37" y="42"/>
                    </a:cubicBezTo>
                    <a:cubicBezTo>
                      <a:pt x="36" y="39"/>
                      <a:pt x="40" y="33"/>
                      <a:pt x="43" y="37"/>
                    </a:cubicBezTo>
                    <a:cubicBezTo>
                      <a:pt x="45" y="38"/>
                      <a:pt x="45" y="41"/>
                      <a:pt x="47" y="43"/>
                    </a:cubicBezTo>
                    <a:cubicBezTo>
                      <a:pt x="48" y="44"/>
                      <a:pt x="49" y="43"/>
                      <a:pt x="51" y="43"/>
                    </a:cubicBezTo>
                    <a:cubicBezTo>
                      <a:pt x="52" y="43"/>
                      <a:pt x="53" y="45"/>
                      <a:pt x="5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9"/>
              <p:cNvSpPr>
                <a:spLocks/>
              </p:cNvSpPr>
              <p:nvPr/>
            </p:nvSpPr>
            <p:spPr bwMode="auto">
              <a:xfrm>
                <a:off x="3125788" y="4084638"/>
                <a:ext cx="9525" cy="9525"/>
              </a:xfrm>
              <a:custGeom>
                <a:avLst/>
                <a:gdLst>
                  <a:gd name="T0" fmla="*/ 1 w 14"/>
                  <a:gd name="T1" fmla="*/ 6 h 13"/>
                  <a:gd name="T2" fmla="*/ 7 w 14"/>
                  <a:gd name="T3" fmla="*/ 2 h 13"/>
                  <a:gd name="T4" fmla="*/ 2 w 14"/>
                  <a:gd name="T5" fmla="*/ 2 h 13"/>
                  <a:gd name="T6" fmla="*/ 1 w 14"/>
                  <a:gd name="T7" fmla="*/ 6 h 13"/>
                </a:gdLst>
                <a:ahLst/>
                <a:cxnLst>
                  <a:cxn ang="0">
                    <a:pos x="T0" y="T1"/>
                  </a:cxn>
                  <a:cxn ang="0">
                    <a:pos x="T2" y="T3"/>
                  </a:cxn>
                  <a:cxn ang="0">
                    <a:pos x="T4" y="T5"/>
                  </a:cxn>
                  <a:cxn ang="0">
                    <a:pos x="T6" y="T7"/>
                  </a:cxn>
                </a:cxnLst>
                <a:rect l="0" t="0" r="r" b="b"/>
                <a:pathLst>
                  <a:path w="14" h="13">
                    <a:moveTo>
                      <a:pt x="1" y="6"/>
                    </a:moveTo>
                    <a:cubicBezTo>
                      <a:pt x="3" y="13"/>
                      <a:pt x="14" y="7"/>
                      <a:pt x="7" y="2"/>
                    </a:cubicBezTo>
                    <a:cubicBezTo>
                      <a:pt x="4" y="0"/>
                      <a:pt x="5" y="3"/>
                      <a:pt x="2" y="2"/>
                    </a:cubicBezTo>
                    <a:cubicBezTo>
                      <a:pt x="0" y="1"/>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70"/>
              <p:cNvSpPr>
                <a:spLocks/>
              </p:cNvSpPr>
              <p:nvPr/>
            </p:nvSpPr>
            <p:spPr bwMode="auto">
              <a:xfrm>
                <a:off x="3149601" y="4014788"/>
                <a:ext cx="11113" cy="7938"/>
              </a:xfrm>
              <a:custGeom>
                <a:avLst/>
                <a:gdLst>
                  <a:gd name="T0" fmla="*/ 6 w 14"/>
                  <a:gd name="T1" fmla="*/ 1 h 11"/>
                  <a:gd name="T2" fmla="*/ 3 w 14"/>
                  <a:gd name="T3" fmla="*/ 6 h 11"/>
                  <a:gd name="T4" fmla="*/ 6 w 14"/>
                  <a:gd name="T5" fmla="*/ 1 h 11"/>
                </a:gdLst>
                <a:ahLst/>
                <a:cxnLst>
                  <a:cxn ang="0">
                    <a:pos x="T0" y="T1"/>
                  </a:cxn>
                  <a:cxn ang="0">
                    <a:pos x="T2" y="T3"/>
                  </a:cxn>
                  <a:cxn ang="0">
                    <a:pos x="T4" y="T5"/>
                  </a:cxn>
                </a:cxnLst>
                <a:rect l="0" t="0" r="r" b="b"/>
                <a:pathLst>
                  <a:path w="14" h="11">
                    <a:moveTo>
                      <a:pt x="6" y="1"/>
                    </a:moveTo>
                    <a:cubicBezTo>
                      <a:pt x="3" y="0"/>
                      <a:pt x="0" y="3"/>
                      <a:pt x="3" y="6"/>
                    </a:cubicBezTo>
                    <a:cubicBezTo>
                      <a:pt x="9" y="11"/>
                      <a:pt x="14" y="3"/>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1"/>
              <p:cNvSpPr>
                <a:spLocks/>
              </p:cNvSpPr>
              <p:nvPr/>
            </p:nvSpPr>
            <p:spPr bwMode="auto">
              <a:xfrm>
                <a:off x="3048001" y="3860800"/>
                <a:ext cx="11113" cy="6350"/>
              </a:xfrm>
              <a:custGeom>
                <a:avLst/>
                <a:gdLst>
                  <a:gd name="T0" fmla="*/ 11 w 15"/>
                  <a:gd name="T1" fmla="*/ 1 h 8"/>
                  <a:gd name="T2" fmla="*/ 8 w 15"/>
                  <a:gd name="T3" fmla="*/ 1 h 8"/>
                  <a:gd name="T4" fmla="*/ 4 w 15"/>
                  <a:gd name="T5" fmla="*/ 3 h 8"/>
                  <a:gd name="T6" fmla="*/ 3 w 15"/>
                  <a:gd name="T7" fmla="*/ 8 h 8"/>
                  <a:gd name="T8" fmla="*/ 11 w 15"/>
                  <a:gd name="T9" fmla="*/ 1 h 8"/>
                </a:gdLst>
                <a:ahLst/>
                <a:cxnLst>
                  <a:cxn ang="0">
                    <a:pos x="T0" y="T1"/>
                  </a:cxn>
                  <a:cxn ang="0">
                    <a:pos x="T2" y="T3"/>
                  </a:cxn>
                  <a:cxn ang="0">
                    <a:pos x="T4" y="T5"/>
                  </a:cxn>
                  <a:cxn ang="0">
                    <a:pos x="T6" y="T7"/>
                  </a:cxn>
                  <a:cxn ang="0">
                    <a:pos x="T8" y="T9"/>
                  </a:cxn>
                </a:cxnLst>
                <a:rect l="0" t="0" r="r" b="b"/>
                <a:pathLst>
                  <a:path w="15" h="8">
                    <a:moveTo>
                      <a:pt x="11" y="1"/>
                    </a:moveTo>
                    <a:cubicBezTo>
                      <a:pt x="10" y="0"/>
                      <a:pt x="9" y="0"/>
                      <a:pt x="8" y="1"/>
                    </a:cubicBezTo>
                    <a:cubicBezTo>
                      <a:pt x="6" y="2"/>
                      <a:pt x="5" y="2"/>
                      <a:pt x="4" y="3"/>
                    </a:cubicBezTo>
                    <a:cubicBezTo>
                      <a:pt x="1" y="4"/>
                      <a:pt x="0" y="7"/>
                      <a:pt x="3" y="8"/>
                    </a:cubicBezTo>
                    <a:cubicBezTo>
                      <a:pt x="8" y="8"/>
                      <a:pt x="15" y="3"/>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2"/>
              <p:cNvSpPr>
                <a:spLocks/>
              </p:cNvSpPr>
              <p:nvPr/>
            </p:nvSpPr>
            <p:spPr bwMode="auto">
              <a:xfrm>
                <a:off x="3127376" y="4084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3"/>
              <p:cNvSpPr>
                <a:spLocks/>
              </p:cNvSpPr>
              <p:nvPr/>
            </p:nvSpPr>
            <p:spPr bwMode="auto">
              <a:xfrm>
                <a:off x="3109913" y="4098925"/>
                <a:ext cx="11113" cy="15875"/>
              </a:xfrm>
              <a:custGeom>
                <a:avLst/>
                <a:gdLst>
                  <a:gd name="T0" fmla="*/ 4 w 13"/>
                  <a:gd name="T1" fmla="*/ 2 h 20"/>
                  <a:gd name="T2" fmla="*/ 7 w 13"/>
                  <a:gd name="T3" fmla="*/ 20 h 20"/>
                  <a:gd name="T4" fmla="*/ 12 w 13"/>
                  <a:gd name="T5" fmla="*/ 10 h 20"/>
                  <a:gd name="T6" fmla="*/ 4 w 13"/>
                  <a:gd name="T7" fmla="*/ 2 h 20"/>
                </a:gdLst>
                <a:ahLst/>
                <a:cxnLst>
                  <a:cxn ang="0">
                    <a:pos x="T0" y="T1"/>
                  </a:cxn>
                  <a:cxn ang="0">
                    <a:pos x="T2" y="T3"/>
                  </a:cxn>
                  <a:cxn ang="0">
                    <a:pos x="T4" y="T5"/>
                  </a:cxn>
                  <a:cxn ang="0">
                    <a:pos x="T6" y="T7"/>
                  </a:cxn>
                </a:cxnLst>
                <a:rect l="0" t="0" r="r" b="b"/>
                <a:pathLst>
                  <a:path w="13" h="20">
                    <a:moveTo>
                      <a:pt x="4" y="2"/>
                    </a:moveTo>
                    <a:cubicBezTo>
                      <a:pt x="0" y="5"/>
                      <a:pt x="1" y="18"/>
                      <a:pt x="7" y="20"/>
                    </a:cubicBezTo>
                    <a:cubicBezTo>
                      <a:pt x="9" y="20"/>
                      <a:pt x="12" y="13"/>
                      <a:pt x="12" y="10"/>
                    </a:cubicBezTo>
                    <a:cubicBezTo>
                      <a:pt x="13" y="7"/>
                      <a:pt x="9" y="0"/>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4"/>
              <p:cNvSpPr>
                <a:spLocks/>
              </p:cNvSpPr>
              <p:nvPr/>
            </p:nvSpPr>
            <p:spPr bwMode="auto">
              <a:xfrm>
                <a:off x="3021013" y="3859213"/>
                <a:ext cx="19050" cy="4763"/>
              </a:xfrm>
              <a:custGeom>
                <a:avLst/>
                <a:gdLst>
                  <a:gd name="T0" fmla="*/ 1 w 25"/>
                  <a:gd name="T1" fmla="*/ 3 h 8"/>
                  <a:gd name="T2" fmla="*/ 2 w 25"/>
                  <a:gd name="T3" fmla="*/ 7 h 8"/>
                  <a:gd name="T4" fmla="*/ 9 w 25"/>
                  <a:gd name="T5" fmla="*/ 7 h 8"/>
                  <a:gd name="T6" fmla="*/ 18 w 25"/>
                  <a:gd name="T7" fmla="*/ 7 h 8"/>
                  <a:gd name="T8" fmla="*/ 20 w 25"/>
                  <a:gd name="T9" fmla="*/ 0 h 8"/>
                  <a:gd name="T10" fmla="*/ 8 w 25"/>
                  <a:gd name="T11" fmla="*/ 1 h 8"/>
                  <a:gd name="T12" fmla="*/ 9 w 25"/>
                  <a:gd name="T13" fmla="*/ 1 h 8"/>
                  <a:gd name="T14" fmla="*/ 7 w 25"/>
                  <a:gd name="T15" fmla="*/ 1 h 8"/>
                  <a:gd name="T16" fmla="*/ 1 w 2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1" y="3"/>
                    </a:moveTo>
                    <a:cubicBezTo>
                      <a:pt x="0" y="4"/>
                      <a:pt x="0" y="6"/>
                      <a:pt x="2" y="7"/>
                    </a:cubicBezTo>
                    <a:cubicBezTo>
                      <a:pt x="4" y="8"/>
                      <a:pt x="7" y="8"/>
                      <a:pt x="9" y="7"/>
                    </a:cubicBezTo>
                    <a:cubicBezTo>
                      <a:pt x="12" y="7"/>
                      <a:pt x="14" y="8"/>
                      <a:pt x="18" y="7"/>
                    </a:cubicBezTo>
                    <a:cubicBezTo>
                      <a:pt x="22" y="6"/>
                      <a:pt x="25" y="1"/>
                      <a:pt x="20" y="0"/>
                    </a:cubicBezTo>
                    <a:cubicBezTo>
                      <a:pt x="16" y="0"/>
                      <a:pt x="12" y="1"/>
                      <a:pt x="8" y="1"/>
                    </a:cubicBezTo>
                    <a:cubicBezTo>
                      <a:pt x="9" y="1"/>
                      <a:pt x="9" y="1"/>
                      <a:pt x="9" y="1"/>
                    </a:cubicBezTo>
                    <a:cubicBezTo>
                      <a:pt x="9" y="1"/>
                      <a:pt x="8" y="1"/>
                      <a:pt x="7" y="1"/>
                    </a:cubicBezTo>
                    <a:cubicBezTo>
                      <a:pt x="5" y="2"/>
                      <a:pt x="3" y="1"/>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75"/>
              <p:cNvSpPr>
                <a:spLocks/>
              </p:cNvSpPr>
              <p:nvPr/>
            </p:nvSpPr>
            <p:spPr bwMode="auto">
              <a:xfrm>
                <a:off x="3005138" y="3819525"/>
                <a:ext cx="14288" cy="7938"/>
              </a:xfrm>
              <a:custGeom>
                <a:avLst/>
                <a:gdLst>
                  <a:gd name="T0" fmla="*/ 11 w 19"/>
                  <a:gd name="T1" fmla="*/ 1 h 11"/>
                  <a:gd name="T2" fmla="*/ 5 w 19"/>
                  <a:gd name="T3" fmla="*/ 6 h 11"/>
                  <a:gd name="T4" fmla="*/ 8 w 19"/>
                  <a:gd name="T5" fmla="*/ 6 h 11"/>
                  <a:gd name="T6" fmla="*/ 10 w 19"/>
                  <a:gd name="T7" fmla="*/ 9 h 11"/>
                  <a:gd name="T8" fmla="*/ 17 w 19"/>
                  <a:gd name="T9" fmla="*/ 8 h 11"/>
                  <a:gd name="T10" fmla="*/ 11 w 19"/>
                  <a:gd name="T11" fmla="*/ 1 h 11"/>
                </a:gdLst>
                <a:ahLst/>
                <a:cxnLst>
                  <a:cxn ang="0">
                    <a:pos x="T0" y="T1"/>
                  </a:cxn>
                  <a:cxn ang="0">
                    <a:pos x="T2" y="T3"/>
                  </a:cxn>
                  <a:cxn ang="0">
                    <a:pos x="T4" y="T5"/>
                  </a:cxn>
                  <a:cxn ang="0">
                    <a:pos x="T6" y="T7"/>
                  </a:cxn>
                  <a:cxn ang="0">
                    <a:pos x="T8" y="T9"/>
                  </a:cxn>
                  <a:cxn ang="0">
                    <a:pos x="T10" y="T11"/>
                  </a:cxn>
                </a:cxnLst>
                <a:rect l="0" t="0" r="r" b="b"/>
                <a:pathLst>
                  <a:path w="19" h="11">
                    <a:moveTo>
                      <a:pt x="11" y="1"/>
                    </a:moveTo>
                    <a:cubicBezTo>
                      <a:pt x="8" y="1"/>
                      <a:pt x="0" y="5"/>
                      <a:pt x="5" y="6"/>
                    </a:cubicBezTo>
                    <a:cubicBezTo>
                      <a:pt x="6" y="6"/>
                      <a:pt x="7" y="6"/>
                      <a:pt x="8" y="6"/>
                    </a:cubicBezTo>
                    <a:cubicBezTo>
                      <a:pt x="9" y="7"/>
                      <a:pt x="9" y="8"/>
                      <a:pt x="10" y="9"/>
                    </a:cubicBezTo>
                    <a:cubicBezTo>
                      <a:pt x="11" y="10"/>
                      <a:pt x="15" y="11"/>
                      <a:pt x="17" y="8"/>
                    </a:cubicBezTo>
                    <a:cubicBezTo>
                      <a:pt x="19" y="5"/>
                      <a:pt x="16" y="0"/>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76"/>
              <p:cNvSpPr>
                <a:spLocks/>
              </p:cNvSpPr>
              <p:nvPr/>
            </p:nvSpPr>
            <p:spPr bwMode="auto">
              <a:xfrm>
                <a:off x="3109913" y="3883025"/>
                <a:ext cx="9525" cy="7938"/>
              </a:xfrm>
              <a:custGeom>
                <a:avLst/>
                <a:gdLst>
                  <a:gd name="T0" fmla="*/ 4 w 12"/>
                  <a:gd name="T1" fmla="*/ 4 h 9"/>
                  <a:gd name="T2" fmla="*/ 6 w 12"/>
                  <a:gd name="T3" fmla="*/ 9 h 9"/>
                  <a:gd name="T4" fmla="*/ 8 w 12"/>
                  <a:gd name="T5" fmla="*/ 1 h 9"/>
                  <a:gd name="T6" fmla="*/ 4 w 12"/>
                  <a:gd name="T7" fmla="*/ 4 h 9"/>
                </a:gdLst>
                <a:ahLst/>
                <a:cxnLst>
                  <a:cxn ang="0">
                    <a:pos x="T0" y="T1"/>
                  </a:cxn>
                  <a:cxn ang="0">
                    <a:pos x="T2" y="T3"/>
                  </a:cxn>
                  <a:cxn ang="0">
                    <a:pos x="T4" y="T5"/>
                  </a:cxn>
                  <a:cxn ang="0">
                    <a:pos x="T6" y="T7"/>
                  </a:cxn>
                </a:cxnLst>
                <a:rect l="0" t="0" r="r" b="b"/>
                <a:pathLst>
                  <a:path w="12" h="9">
                    <a:moveTo>
                      <a:pt x="4" y="4"/>
                    </a:moveTo>
                    <a:cubicBezTo>
                      <a:pt x="0" y="6"/>
                      <a:pt x="3" y="8"/>
                      <a:pt x="6" y="9"/>
                    </a:cubicBezTo>
                    <a:cubicBezTo>
                      <a:pt x="11" y="9"/>
                      <a:pt x="12" y="0"/>
                      <a:pt x="8" y="1"/>
                    </a:cubicBezTo>
                    <a:cubicBezTo>
                      <a:pt x="7" y="1"/>
                      <a:pt x="5" y="3"/>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7"/>
              <p:cNvSpPr>
                <a:spLocks/>
              </p:cNvSpPr>
              <p:nvPr/>
            </p:nvSpPr>
            <p:spPr bwMode="auto">
              <a:xfrm>
                <a:off x="3011488" y="3840163"/>
                <a:ext cx="20638" cy="19050"/>
              </a:xfrm>
              <a:custGeom>
                <a:avLst/>
                <a:gdLst>
                  <a:gd name="T0" fmla="*/ 17 w 28"/>
                  <a:gd name="T1" fmla="*/ 6 h 25"/>
                  <a:gd name="T2" fmla="*/ 12 w 28"/>
                  <a:gd name="T3" fmla="*/ 2 h 25"/>
                  <a:gd name="T4" fmla="*/ 5 w 28"/>
                  <a:gd name="T5" fmla="*/ 1 h 25"/>
                  <a:gd name="T6" fmla="*/ 3 w 28"/>
                  <a:gd name="T7" fmla="*/ 5 h 25"/>
                  <a:gd name="T8" fmla="*/ 2 w 28"/>
                  <a:gd name="T9" fmla="*/ 10 h 25"/>
                  <a:gd name="T10" fmla="*/ 4 w 28"/>
                  <a:gd name="T11" fmla="*/ 11 h 25"/>
                  <a:gd name="T12" fmla="*/ 4 w 28"/>
                  <a:gd name="T13" fmla="*/ 14 h 25"/>
                  <a:gd name="T14" fmla="*/ 8 w 28"/>
                  <a:gd name="T15" fmla="*/ 15 h 25"/>
                  <a:gd name="T16" fmla="*/ 7 w 28"/>
                  <a:gd name="T17" fmla="*/ 18 h 25"/>
                  <a:gd name="T18" fmla="*/ 2 w 28"/>
                  <a:gd name="T19" fmla="*/ 19 h 25"/>
                  <a:gd name="T20" fmla="*/ 5 w 28"/>
                  <a:gd name="T21" fmla="*/ 23 h 25"/>
                  <a:gd name="T22" fmla="*/ 10 w 28"/>
                  <a:gd name="T23" fmla="*/ 25 h 25"/>
                  <a:gd name="T24" fmla="*/ 18 w 28"/>
                  <a:gd name="T25" fmla="*/ 22 h 25"/>
                  <a:gd name="T26" fmla="*/ 24 w 28"/>
                  <a:gd name="T27" fmla="*/ 19 h 25"/>
                  <a:gd name="T28" fmla="*/ 23 w 28"/>
                  <a:gd name="T29" fmla="*/ 17 h 25"/>
                  <a:gd name="T30" fmla="*/ 26 w 28"/>
                  <a:gd name="T31" fmla="*/ 15 h 25"/>
                  <a:gd name="T32" fmla="*/ 24 w 28"/>
                  <a:gd name="T33" fmla="*/ 12 h 25"/>
                  <a:gd name="T34" fmla="*/ 22 w 28"/>
                  <a:gd name="T35" fmla="*/ 7 h 25"/>
                  <a:gd name="T36" fmla="*/ 17 w 28"/>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7" y="6"/>
                    </a:moveTo>
                    <a:cubicBezTo>
                      <a:pt x="14" y="6"/>
                      <a:pt x="14" y="3"/>
                      <a:pt x="12" y="2"/>
                    </a:cubicBezTo>
                    <a:cubicBezTo>
                      <a:pt x="11" y="1"/>
                      <a:pt x="8" y="0"/>
                      <a:pt x="5" y="1"/>
                    </a:cubicBezTo>
                    <a:cubicBezTo>
                      <a:pt x="2" y="2"/>
                      <a:pt x="3" y="4"/>
                      <a:pt x="3" y="5"/>
                    </a:cubicBezTo>
                    <a:cubicBezTo>
                      <a:pt x="3" y="7"/>
                      <a:pt x="0" y="8"/>
                      <a:pt x="2" y="10"/>
                    </a:cubicBezTo>
                    <a:cubicBezTo>
                      <a:pt x="3" y="10"/>
                      <a:pt x="4" y="11"/>
                      <a:pt x="4" y="11"/>
                    </a:cubicBezTo>
                    <a:cubicBezTo>
                      <a:pt x="4" y="12"/>
                      <a:pt x="3" y="13"/>
                      <a:pt x="4" y="14"/>
                    </a:cubicBezTo>
                    <a:cubicBezTo>
                      <a:pt x="4" y="15"/>
                      <a:pt x="7" y="15"/>
                      <a:pt x="8" y="15"/>
                    </a:cubicBezTo>
                    <a:cubicBezTo>
                      <a:pt x="10" y="16"/>
                      <a:pt x="10" y="18"/>
                      <a:pt x="7" y="18"/>
                    </a:cubicBezTo>
                    <a:cubicBezTo>
                      <a:pt x="6" y="19"/>
                      <a:pt x="4" y="18"/>
                      <a:pt x="2" y="19"/>
                    </a:cubicBezTo>
                    <a:cubicBezTo>
                      <a:pt x="0" y="20"/>
                      <a:pt x="4" y="22"/>
                      <a:pt x="5" y="23"/>
                    </a:cubicBezTo>
                    <a:cubicBezTo>
                      <a:pt x="6" y="24"/>
                      <a:pt x="7" y="25"/>
                      <a:pt x="10" y="25"/>
                    </a:cubicBezTo>
                    <a:cubicBezTo>
                      <a:pt x="13" y="24"/>
                      <a:pt x="15" y="22"/>
                      <a:pt x="18" y="22"/>
                    </a:cubicBezTo>
                    <a:cubicBezTo>
                      <a:pt x="20" y="21"/>
                      <a:pt x="23" y="21"/>
                      <a:pt x="24" y="19"/>
                    </a:cubicBezTo>
                    <a:cubicBezTo>
                      <a:pt x="24" y="18"/>
                      <a:pt x="23" y="17"/>
                      <a:pt x="23" y="17"/>
                    </a:cubicBezTo>
                    <a:cubicBezTo>
                      <a:pt x="24" y="16"/>
                      <a:pt x="25" y="16"/>
                      <a:pt x="26" y="15"/>
                    </a:cubicBezTo>
                    <a:cubicBezTo>
                      <a:pt x="28" y="14"/>
                      <a:pt x="25" y="12"/>
                      <a:pt x="24" y="12"/>
                    </a:cubicBezTo>
                    <a:cubicBezTo>
                      <a:pt x="22" y="11"/>
                      <a:pt x="24" y="8"/>
                      <a:pt x="22" y="7"/>
                    </a:cubicBezTo>
                    <a:cubicBezTo>
                      <a:pt x="21" y="5"/>
                      <a:pt x="19" y="6"/>
                      <a:pt x="1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8"/>
              <p:cNvSpPr>
                <a:spLocks/>
              </p:cNvSpPr>
              <p:nvPr/>
            </p:nvSpPr>
            <p:spPr bwMode="auto">
              <a:xfrm>
                <a:off x="3022601" y="3867150"/>
                <a:ext cx="4763" cy="4763"/>
              </a:xfrm>
              <a:custGeom>
                <a:avLst/>
                <a:gdLst>
                  <a:gd name="T0" fmla="*/ 1 w 6"/>
                  <a:gd name="T1" fmla="*/ 4 h 7"/>
                  <a:gd name="T2" fmla="*/ 4 w 6"/>
                  <a:gd name="T3" fmla="*/ 5 h 7"/>
                  <a:gd name="T4" fmla="*/ 6 w 6"/>
                  <a:gd name="T5" fmla="*/ 0 h 7"/>
                  <a:gd name="T6" fmla="*/ 1 w 6"/>
                  <a:gd name="T7" fmla="*/ 4 h 7"/>
                </a:gdLst>
                <a:ahLst/>
                <a:cxnLst>
                  <a:cxn ang="0">
                    <a:pos x="T0" y="T1"/>
                  </a:cxn>
                  <a:cxn ang="0">
                    <a:pos x="T2" y="T3"/>
                  </a:cxn>
                  <a:cxn ang="0">
                    <a:pos x="T4" y="T5"/>
                  </a:cxn>
                  <a:cxn ang="0">
                    <a:pos x="T6" y="T7"/>
                  </a:cxn>
                </a:cxnLst>
                <a:rect l="0" t="0" r="r" b="b"/>
                <a:pathLst>
                  <a:path w="6" h="7">
                    <a:moveTo>
                      <a:pt x="1" y="4"/>
                    </a:moveTo>
                    <a:cubicBezTo>
                      <a:pt x="1" y="4"/>
                      <a:pt x="2" y="7"/>
                      <a:pt x="4" y="5"/>
                    </a:cubicBezTo>
                    <a:cubicBezTo>
                      <a:pt x="6" y="4"/>
                      <a:pt x="5" y="2"/>
                      <a:pt x="6" y="0"/>
                    </a:cubicBezTo>
                    <a:cubicBezTo>
                      <a:pt x="3" y="0"/>
                      <a:pt x="0" y="1"/>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9"/>
              <p:cNvSpPr>
                <a:spLocks/>
              </p:cNvSpPr>
              <p:nvPr/>
            </p:nvSpPr>
            <p:spPr bwMode="auto">
              <a:xfrm>
                <a:off x="3024188" y="3889375"/>
                <a:ext cx="4763" cy="4763"/>
              </a:xfrm>
              <a:custGeom>
                <a:avLst/>
                <a:gdLst>
                  <a:gd name="T0" fmla="*/ 6 w 6"/>
                  <a:gd name="T1" fmla="*/ 3 h 6"/>
                  <a:gd name="T2" fmla="*/ 0 w 6"/>
                  <a:gd name="T3" fmla="*/ 3 h 6"/>
                  <a:gd name="T4" fmla="*/ 6 w 6"/>
                  <a:gd name="T5" fmla="*/ 3 h 6"/>
                </a:gdLst>
                <a:ahLst/>
                <a:cxnLst>
                  <a:cxn ang="0">
                    <a:pos x="T0" y="T1"/>
                  </a:cxn>
                  <a:cxn ang="0">
                    <a:pos x="T2" y="T3"/>
                  </a:cxn>
                  <a:cxn ang="0">
                    <a:pos x="T4" y="T5"/>
                  </a:cxn>
                </a:cxnLst>
                <a:rect l="0" t="0" r="r" b="b"/>
                <a:pathLst>
                  <a:path w="6" h="6">
                    <a:moveTo>
                      <a:pt x="6" y="3"/>
                    </a:moveTo>
                    <a:cubicBezTo>
                      <a:pt x="6" y="1"/>
                      <a:pt x="0" y="0"/>
                      <a:pt x="0" y="3"/>
                    </a:cubicBezTo>
                    <a:cubicBezTo>
                      <a:pt x="0" y="6"/>
                      <a:pt x="5" y="6"/>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0"/>
              <p:cNvSpPr>
                <a:spLocks/>
              </p:cNvSpPr>
              <p:nvPr/>
            </p:nvSpPr>
            <p:spPr bwMode="auto">
              <a:xfrm>
                <a:off x="3114676" y="4167188"/>
                <a:ext cx="4763" cy="4763"/>
              </a:xfrm>
              <a:custGeom>
                <a:avLst/>
                <a:gdLst>
                  <a:gd name="T0" fmla="*/ 3 w 6"/>
                  <a:gd name="T1" fmla="*/ 6 h 7"/>
                  <a:gd name="T2" fmla="*/ 5 w 6"/>
                  <a:gd name="T3" fmla="*/ 4 h 7"/>
                  <a:gd name="T4" fmla="*/ 3 w 6"/>
                  <a:gd name="T5" fmla="*/ 0 h 7"/>
                  <a:gd name="T6" fmla="*/ 3 w 6"/>
                  <a:gd name="T7" fmla="*/ 6 h 7"/>
                </a:gdLst>
                <a:ahLst/>
                <a:cxnLst>
                  <a:cxn ang="0">
                    <a:pos x="T0" y="T1"/>
                  </a:cxn>
                  <a:cxn ang="0">
                    <a:pos x="T2" y="T3"/>
                  </a:cxn>
                  <a:cxn ang="0">
                    <a:pos x="T4" y="T5"/>
                  </a:cxn>
                  <a:cxn ang="0">
                    <a:pos x="T6" y="T7"/>
                  </a:cxn>
                </a:cxnLst>
                <a:rect l="0" t="0" r="r" b="b"/>
                <a:pathLst>
                  <a:path w="6" h="7">
                    <a:moveTo>
                      <a:pt x="3" y="6"/>
                    </a:moveTo>
                    <a:cubicBezTo>
                      <a:pt x="5" y="7"/>
                      <a:pt x="6" y="6"/>
                      <a:pt x="5" y="4"/>
                    </a:cubicBezTo>
                    <a:cubicBezTo>
                      <a:pt x="5" y="2"/>
                      <a:pt x="5" y="1"/>
                      <a:pt x="3" y="0"/>
                    </a:cubicBezTo>
                    <a:cubicBezTo>
                      <a:pt x="0" y="1"/>
                      <a:pt x="0"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1"/>
              <p:cNvSpPr>
                <a:spLocks/>
              </p:cNvSpPr>
              <p:nvPr/>
            </p:nvSpPr>
            <p:spPr bwMode="auto">
              <a:xfrm>
                <a:off x="3111501" y="4176713"/>
                <a:ext cx="12700" cy="17463"/>
              </a:xfrm>
              <a:custGeom>
                <a:avLst/>
                <a:gdLst>
                  <a:gd name="T0" fmla="*/ 5 w 16"/>
                  <a:gd name="T1" fmla="*/ 23 h 24"/>
                  <a:gd name="T2" fmla="*/ 15 w 16"/>
                  <a:gd name="T3" fmla="*/ 16 h 24"/>
                  <a:gd name="T4" fmla="*/ 10 w 16"/>
                  <a:gd name="T5" fmla="*/ 4 h 24"/>
                  <a:gd name="T6" fmla="*/ 6 w 16"/>
                  <a:gd name="T7" fmla="*/ 1 h 24"/>
                  <a:gd name="T8" fmla="*/ 6 w 16"/>
                  <a:gd name="T9" fmla="*/ 7 h 24"/>
                  <a:gd name="T10" fmla="*/ 5 w 16"/>
                  <a:gd name="T11" fmla="*/ 23 h 24"/>
                </a:gdLst>
                <a:ahLst/>
                <a:cxnLst>
                  <a:cxn ang="0">
                    <a:pos x="T0" y="T1"/>
                  </a:cxn>
                  <a:cxn ang="0">
                    <a:pos x="T2" y="T3"/>
                  </a:cxn>
                  <a:cxn ang="0">
                    <a:pos x="T4" y="T5"/>
                  </a:cxn>
                  <a:cxn ang="0">
                    <a:pos x="T6" y="T7"/>
                  </a:cxn>
                  <a:cxn ang="0">
                    <a:pos x="T8" y="T9"/>
                  </a:cxn>
                  <a:cxn ang="0">
                    <a:pos x="T10" y="T11"/>
                  </a:cxn>
                </a:cxnLst>
                <a:rect l="0" t="0" r="r" b="b"/>
                <a:pathLst>
                  <a:path w="16" h="24">
                    <a:moveTo>
                      <a:pt x="5" y="23"/>
                    </a:moveTo>
                    <a:cubicBezTo>
                      <a:pt x="8" y="24"/>
                      <a:pt x="16" y="20"/>
                      <a:pt x="15" y="16"/>
                    </a:cubicBezTo>
                    <a:cubicBezTo>
                      <a:pt x="15" y="12"/>
                      <a:pt x="10" y="9"/>
                      <a:pt x="10" y="4"/>
                    </a:cubicBezTo>
                    <a:cubicBezTo>
                      <a:pt x="10" y="2"/>
                      <a:pt x="9" y="0"/>
                      <a:pt x="6" y="1"/>
                    </a:cubicBezTo>
                    <a:cubicBezTo>
                      <a:pt x="4" y="2"/>
                      <a:pt x="6" y="6"/>
                      <a:pt x="6" y="7"/>
                    </a:cubicBezTo>
                    <a:cubicBezTo>
                      <a:pt x="7" y="11"/>
                      <a:pt x="0" y="20"/>
                      <a:pt x="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2"/>
              <p:cNvSpPr>
                <a:spLocks/>
              </p:cNvSpPr>
              <p:nvPr/>
            </p:nvSpPr>
            <p:spPr bwMode="auto">
              <a:xfrm>
                <a:off x="3013076" y="3919538"/>
                <a:ext cx="38100" cy="36513"/>
              </a:xfrm>
              <a:custGeom>
                <a:avLst/>
                <a:gdLst>
                  <a:gd name="T0" fmla="*/ 42 w 50"/>
                  <a:gd name="T1" fmla="*/ 12 h 48"/>
                  <a:gd name="T2" fmla="*/ 50 w 50"/>
                  <a:gd name="T3" fmla="*/ 6 h 48"/>
                  <a:gd name="T4" fmla="*/ 41 w 50"/>
                  <a:gd name="T5" fmla="*/ 3 h 48"/>
                  <a:gd name="T6" fmla="*/ 34 w 50"/>
                  <a:gd name="T7" fmla="*/ 3 h 48"/>
                  <a:gd name="T8" fmla="*/ 27 w 50"/>
                  <a:gd name="T9" fmla="*/ 2 h 48"/>
                  <a:gd name="T10" fmla="*/ 12 w 50"/>
                  <a:gd name="T11" fmla="*/ 4 h 48"/>
                  <a:gd name="T12" fmla="*/ 7 w 50"/>
                  <a:gd name="T13" fmla="*/ 9 h 48"/>
                  <a:gd name="T14" fmla="*/ 8 w 50"/>
                  <a:gd name="T15" fmla="*/ 15 h 48"/>
                  <a:gd name="T16" fmla="*/ 2 w 50"/>
                  <a:gd name="T17" fmla="*/ 25 h 48"/>
                  <a:gd name="T18" fmla="*/ 1 w 50"/>
                  <a:gd name="T19" fmla="*/ 40 h 48"/>
                  <a:gd name="T20" fmla="*/ 7 w 50"/>
                  <a:gd name="T21" fmla="*/ 48 h 48"/>
                  <a:gd name="T22" fmla="*/ 17 w 50"/>
                  <a:gd name="T23" fmla="*/ 42 h 48"/>
                  <a:gd name="T24" fmla="*/ 19 w 50"/>
                  <a:gd name="T25" fmla="*/ 33 h 48"/>
                  <a:gd name="T26" fmla="*/ 18 w 50"/>
                  <a:gd name="T27" fmla="*/ 29 h 48"/>
                  <a:gd name="T28" fmla="*/ 31 w 50"/>
                  <a:gd name="T29" fmla="*/ 30 h 48"/>
                  <a:gd name="T30" fmla="*/ 33 w 50"/>
                  <a:gd name="T31" fmla="*/ 25 h 48"/>
                  <a:gd name="T32" fmla="*/ 38 w 50"/>
                  <a:gd name="T33" fmla="*/ 20 h 48"/>
                  <a:gd name="T34" fmla="*/ 40 w 50"/>
                  <a:gd name="T35" fmla="*/ 15 h 48"/>
                  <a:gd name="T36" fmla="*/ 42 w 50"/>
                  <a:gd name="T3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48">
                    <a:moveTo>
                      <a:pt x="42" y="12"/>
                    </a:moveTo>
                    <a:cubicBezTo>
                      <a:pt x="46" y="11"/>
                      <a:pt x="50" y="9"/>
                      <a:pt x="50" y="6"/>
                    </a:cubicBezTo>
                    <a:cubicBezTo>
                      <a:pt x="50" y="3"/>
                      <a:pt x="44" y="2"/>
                      <a:pt x="41" y="3"/>
                    </a:cubicBezTo>
                    <a:cubicBezTo>
                      <a:pt x="39" y="3"/>
                      <a:pt x="36" y="3"/>
                      <a:pt x="34" y="3"/>
                    </a:cubicBezTo>
                    <a:cubicBezTo>
                      <a:pt x="31" y="3"/>
                      <a:pt x="30" y="2"/>
                      <a:pt x="27" y="2"/>
                    </a:cubicBezTo>
                    <a:cubicBezTo>
                      <a:pt x="22" y="0"/>
                      <a:pt x="17" y="2"/>
                      <a:pt x="12" y="4"/>
                    </a:cubicBezTo>
                    <a:cubicBezTo>
                      <a:pt x="9" y="5"/>
                      <a:pt x="5" y="7"/>
                      <a:pt x="7" y="9"/>
                    </a:cubicBezTo>
                    <a:cubicBezTo>
                      <a:pt x="8" y="11"/>
                      <a:pt x="12" y="14"/>
                      <a:pt x="8" y="15"/>
                    </a:cubicBezTo>
                    <a:cubicBezTo>
                      <a:pt x="3" y="17"/>
                      <a:pt x="3" y="21"/>
                      <a:pt x="2" y="25"/>
                    </a:cubicBezTo>
                    <a:cubicBezTo>
                      <a:pt x="2" y="30"/>
                      <a:pt x="0" y="35"/>
                      <a:pt x="1" y="40"/>
                    </a:cubicBezTo>
                    <a:cubicBezTo>
                      <a:pt x="2" y="42"/>
                      <a:pt x="3" y="48"/>
                      <a:pt x="7" y="48"/>
                    </a:cubicBezTo>
                    <a:cubicBezTo>
                      <a:pt x="10" y="48"/>
                      <a:pt x="15" y="44"/>
                      <a:pt x="17" y="42"/>
                    </a:cubicBezTo>
                    <a:cubicBezTo>
                      <a:pt x="20" y="40"/>
                      <a:pt x="21" y="35"/>
                      <a:pt x="19" y="33"/>
                    </a:cubicBezTo>
                    <a:cubicBezTo>
                      <a:pt x="18" y="32"/>
                      <a:pt x="14" y="29"/>
                      <a:pt x="18" y="29"/>
                    </a:cubicBezTo>
                    <a:cubicBezTo>
                      <a:pt x="22" y="29"/>
                      <a:pt x="28" y="35"/>
                      <a:pt x="31" y="30"/>
                    </a:cubicBezTo>
                    <a:cubicBezTo>
                      <a:pt x="32" y="29"/>
                      <a:pt x="32" y="27"/>
                      <a:pt x="33" y="25"/>
                    </a:cubicBezTo>
                    <a:cubicBezTo>
                      <a:pt x="34" y="23"/>
                      <a:pt x="36" y="22"/>
                      <a:pt x="38" y="20"/>
                    </a:cubicBezTo>
                    <a:cubicBezTo>
                      <a:pt x="38" y="18"/>
                      <a:pt x="40" y="17"/>
                      <a:pt x="40" y="15"/>
                    </a:cubicBezTo>
                    <a:cubicBezTo>
                      <a:pt x="40" y="13"/>
                      <a:pt x="39" y="13"/>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83"/>
              <p:cNvSpPr>
                <a:spLocks/>
              </p:cNvSpPr>
              <p:nvPr/>
            </p:nvSpPr>
            <p:spPr bwMode="auto">
              <a:xfrm>
                <a:off x="3011488" y="3895725"/>
                <a:ext cx="23813" cy="19050"/>
              </a:xfrm>
              <a:custGeom>
                <a:avLst/>
                <a:gdLst>
                  <a:gd name="T0" fmla="*/ 9 w 31"/>
                  <a:gd name="T1" fmla="*/ 5 h 25"/>
                  <a:gd name="T2" fmla="*/ 7 w 31"/>
                  <a:gd name="T3" fmla="*/ 20 h 25"/>
                  <a:gd name="T4" fmla="*/ 26 w 31"/>
                  <a:gd name="T5" fmla="*/ 19 h 25"/>
                  <a:gd name="T6" fmla="*/ 22 w 31"/>
                  <a:gd name="T7" fmla="*/ 4 h 25"/>
                  <a:gd name="T8" fmla="*/ 9 w 31"/>
                  <a:gd name="T9" fmla="*/ 5 h 25"/>
                </a:gdLst>
                <a:ahLst/>
                <a:cxnLst>
                  <a:cxn ang="0">
                    <a:pos x="T0" y="T1"/>
                  </a:cxn>
                  <a:cxn ang="0">
                    <a:pos x="T2" y="T3"/>
                  </a:cxn>
                  <a:cxn ang="0">
                    <a:pos x="T4" y="T5"/>
                  </a:cxn>
                  <a:cxn ang="0">
                    <a:pos x="T6" y="T7"/>
                  </a:cxn>
                  <a:cxn ang="0">
                    <a:pos x="T8" y="T9"/>
                  </a:cxn>
                </a:cxnLst>
                <a:rect l="0" t="0" r="r" b="b"/>
                <a:pathLst>
                  <a:path w="31" h="25">
                    <a:moveTo>
                      <a:pt x="9" y="5"/>
                    </a:moveTo>
                    <a:cubicBezTo>
                      <a:pt x="7" y="9"/>
                      <a:pt x="0" y="18"/>
                      <a:pt x="7" y="20"/>
                    </a:cubicBezTo>
                    <a:cubicBezTo>
                      <a:pt x="12" y="22"/>
                      <a:pt x="22" y="25"/>
                      <a:pt x="26" y="19"/>
                    </a:cubicBezTo>
                    <a:cubicBezTo>
                      <a:pt x="31" y="12"/>
                      <a:pt x="25" y="9"/>
                      <a:pt x="22" y="4"/>
                    </a:cubicBezTo>
                    <a:cubicBezTo>
                      <a:pt x="20" y="1"/>
                      <a:pt x="11" y="0"/>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4"/>
              <p:cNvSpPr>
                <a:spLocks/>
              </p:cNvSpPr>
              <p:nvPr/>
            </p:nvSpPr>
            <p:spPr bwMode="auto">
              <a:xfrm>
                <a:off x="3414713" y="3898900"/>
                <a:ext cx="4763" cy="6350"/>
              </a:xfrm>
              <a:custGeom>
                <a:avLst/>
                <a:gdLst>
                  <a:gd name="T0" fmla="*/ 5 w 6"/>
                  <a:gd name="T1" fmla="*/ 7 h 8"/>
                  <a:gd name="T2" fmla="*/ 5 w 6"/>
                  <a:gd name="T3" fmla="*/ 4 h 8"/>
                  <a:gd name="T4" fmla="*/ 2 w 6"/>
                  <a:gd name="T5" fmla="*/ 1 h 8"/>
                  <a:gd name="T6" fmla="*/ 2 w 6"/>
                  <a:gd name="T7" fmla="*/ 6 h 8"/>
                  <a:gd name="T8" fmla="*/ 5 w 6"/>
                  <a:gd name="T9" fmla="*/ 7 h 8"/>
                </a:gdLst>
                <a:ahLst/>
                <a:cxnLst>
                  <a:cxn ang="0">
                    <a:pos x="T0" y="T1"/>
                  </a:cxn>
                  <a:cxn ang="0">
                    <a:pos x="T2" y="T3"/>
                  </a:cxn>
                  <a:cxn ang="0">
                    <a:pos x="T4" y="T5"/>
                  </a:cxn>
                  <a:cxn ang="0">
                    <a:pos x="T6" y="T7"/>
                  </a:cxn>
                  <a:cxn ang="0">
                    <a:pos x="T8" y="T9"/>
                  </a:cxn>
                </a:cxnLst>
                <a:rect l="0" t="0" r="r" b="b"/>
                <a:pathLst>
                  <a:path w="6" h="8">
                    <a:moveTo>
                      <a:pt x="5" y="7"/>
                    </a:moveTo>
                    <a:cubicBezTo>
                      <a:pt x="6" y="7"/>
                      <a:pt x="5" y="5"/>
                      <a:pt x="5" y="4"/>
                    </a:cubicBezTo>
                    <a:cubicBezTo>
                      <a:pt x="5" y="2"/>
                      <a:pt x="3" y="1"/>
                      <a:pt x="2" y="1"/>
                    </a:cubicBezTo>
                    <a:cubicBezTo>
                      <a:pt x="0" y="0"/>
                      <a:pt x="2" y="5"/>
                      <a:pt x="2" y="6"/>
                    </a:cubicBezTo>
                    <a:cubicBezTo>
                      <a:pt x="3" y="7"/>
                      <a:pt x="4" y="8"/>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85"/>
              <p:cNvSpPr>
                <a:spLocks/>
              </p:cNvSpPr>
              <p:nvPr/>
            </p:nvSpPr>
            <p:spPr bwMode="auto">
              <a:xfrm>
                <a:off x="2974976" y="3835400"/>
                <a:ext cx="30163" cy="25400"/>
              </a:xfrm>
              <a:custGeom>
                <a:avLst/>
                <a:gdLst>
                  <a:gd name="T0" fmla="*/ 29 w 40"/>
                  <a:gd name="T1" fmla="*/ 13 h 34"/>
                  <a:gd name="T2" fmla="*/ 25 w 40"/>
                  <a:gd name="T3" fmla="*/ 7 h 34"/>
                  <a:gd name="T4" fmla="*/ 22 w 40"/>
                  <a:gd name="T5" fmla="*/ 8 h 34"/>
                  <a:gd name="T6" fmla="*/ 18 w 40"/>
                  <a:gd name="T7" fmla="*/ 8 h 34"/>
                  <a:gd name="T8" fmla="*/ 16 w 40"/>
                  <a:gd name="T9" fmla="*/ 2 h 34"/>
                  <a:gd name="T10" fmla="*/ 13 w 40"/>
                  <a:gd name="T11" fmla="*/ 1 h 34"/>
                  <a:gd name="T12" fmla="*/ 6 w 40"/>
                  <a:gd name="T13" fmla="*/ 2 h 34"/>
                  <a:gd name="T14" fmla="*/ 0 w 40"/>
                  <a:gd name="T15" fmla="*/ 9 h 34"/>
                  <a:gd name="T16" fmla="*/ 5 w 40"/>
                  <a:gd name="T17" fmla="*/ 12 h 34"/>
                  <a:gd name="T18" fmla="*/ 9 w 40"/>
                  <a:gd name="T19" fmla="*/ 19 h 34"/>
                  <a:gd name="T20" fmla="*/ 5 w 40"/>
                  <a:gd name="T21" fmla="*/ 20 h 34"/>
                  <a:gd name="T22" fmla="*/ 1 w 40"/>
                  <a:gd name="T23" fmla="*/ 23 h 34"/>
                  <a:gd name="T24" fmla="*/ 15 w 40"/>
                  <a:gd name="T25" fmla="*/ 28 h 34"/>
                  <a:gd name="T26" fmla="*/ 17 w 40"/>
                  <a:gd name="T27" fmla="*/ 25 h 34"/>
                  <a:gd name="T28" fmla="*/ 21 w 40"/>
                  <a:gd name="T29" fmla="*/ 25 h 34"/>
                  <a:gd name="T30" fmla="*/ 25 w 40"/>
                  <a:gd name="T31" fmla="*/ 26 h 34"/>
                  <a:gd name="T32" fmla="*/ 29 w 40"/>
                  <a:gd name="T33" fmla="*/ 27 h 34"/>
                  <a:gd name="T34" fmla="*/ 34 w 40"/>
                  <a:gd name="T35" fmla="*/ 34 h 34"/>
                  <a:gd name="T36" fmla="*/ 38 w 40"/>
                  <a:gd name="T37" fmla="*/ 27 h 34"/>
                  <a:gd name="T38" fmla="*/ 36 w 40"/>
                  <a:gd name="T39" fmla="*/ 25 h 34"/>
                  <a:gd name="T40" fmla="*/ 35 w 40"/>
                  <a:gd name="T41" fmla="*/ 19 h 34"/>
                  <a:gd name="T42" fmla="*/ 29 w 40"/>
                  <a:gd name="T43"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29" y="13"/>
                    </a:moveTo>
                    <a:cubicBezTo>
                      <a:pt x="26" y="11"/>
                      <a:pt x="29" y="8"/>
                      <a:pt x="25" y="7"/>
                    </a:cubicBezTo>
                    <a:cubicBezTo>
                      <a:pt x="24" y="6"/>
                      <a:pt x="23" y="8"/>
                      <a:pt x="22" y="8"/>
                    </a:cubicBezTo>
                    <a:cubicBezTo>
                      <a:pt x="21" y="10"/>
                      <a:pt x="19" y="9"/>
                      <a:pt x="18" y="8"/>
                    </a:cubicBezTo>
                    <a:cubicBezTo>
                      <a:pt x="18" y="6"/>
                      <a:pt x="18" y="3"/>
                      <a:pt x="16" y="2"/>
                    </a:cubicBezTo>
                    <a:cubicBezTo>
                      <a:pt x="15" y="2"/>
                      <a:pt x="14" y="1"/>
                      <a:pt x="13" y="1"/>
                    </a:cubicBezTo>
                    <a:cubicBezTo>
                      <a:pt x="11" y="0"/>
                      <a:pt x="8" y="1"/>
                      <a:pt x="6" y="2"/>
                    </a:cubicBezTo>
                    <a:cubicBezTo>
                      <a:pt x="2" y="4"/>
                      <a:pt x="1" y="6"/>
                      <a:pt x="0" y="9"/>
                    </a:cubicBezTo>
                    <a:cubicBezTo>
                      <a:pt x="0" y="13"/>
                      <a:pt x="3" y="11"/>
                      <a:pt x="5" y="12"/>
                    </a:cubicBezTo>
                    <a:cubicBezTo>
                      <a:pt x="7" y="13"/>
                      <a:pt x="14" y="17"/>
                      <a:pt x="9" y="19"/>
                    </a:cubicBezTo>
                    <a:cubicBezTo>
                      <a:pt x="8" y="20"/>
                      <a:pt x="6" y="20"/>
                      <a:pt x="5" y="20"/>
                    </a:cubicBezTo>
                    <a:cubicBezTo>
                      <a:pt x="3" y="21"/>
                      <a:pt x="1" y="22"/>
                      <a:pt x="1" y="23"/>
                    </a:cubicBezTo>
                    <a:cubicBezTo>
                      <a:pt x="1" y="26"/>
                      <a:pt x="11" y="31"/>
                      <a:pt x="15" y="28"/>
                    </a:cubicBezTo>
                    <a:cubicBezTo>
                      <a:pt x="16" y="28"/>
                      <a:pt x="16" y="26"/>
                      <a:pt x="17" y="25"/>
                    </a:cubicBezTo>
                    <a:cubicBezTo>
                      <a:pt x="18" y="24"/>
                      <a:pt x="20" y="24"/>
                      <a:pt x="21" y="25"/>
                    </a:cubicBezTo>
                    <a:cubicBezTo>
                      <a:pt x="22" y="26"/>
                      <a:pt x="23" y="26"/>
                      <a:pt x="25" y="26"/>
                    </a:cubicBezTo>
                    <a:cubicBezTo>
                      <a:pt x="27" y="26"/>
                      <a:pt x="29" y="26"/>
                      <a:pt x="29" y="27"/>
                    </a:cubicBezTo>
                    <a:cubicBezTo>
                      <a:pt x="29" y="30"/>
                      <a:pt x="29" y="34"/>
                      <a:pt x="34" y="34"/>
                    </a:cubicBezTo>
                    <a:cubicBezTo>
                      <a:pt x="40" y="34"/>
                      <a:pt x="40" y="30"/>
                      <a:pt x="38" y="27"/>
                    </a:cubicBezTo>
                    <a:cubicBezTo>
                      <a:pt x="37" y="26"/>
                      <a:pt x="37" y="25"/>
                      <a:pt x="36" y="25"/>
                    </a:cubicBezTo>
                    <a:cubicBezTo>
                      <a:pt x="34" y="23"/>
                      <a:pt x="35" y="21"/>
                      <a:pt x="35" y="19"/>
                    </a:cubicBezTo>
                    <a:cubicBezTo>
                      <a:pt x="35" y="16"/>
                      <a:pt x="32" y="15"/>
                      <a:pt x="2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86"/>
              <p:cNvSpPr>
                <a:spLocks/>
              </p:cNvSpPr>
              <p:nvPr/>
            </p:nvSpPr>
            <p:spPr bwMode="auto">
              <a:xfrm>
                <a:off x="2897188" y="3881438"/>
                <a:ext cx="73025" cy="50800"/>
              </a:xfrm>
              <a:custGeom>
                <a:avLst/>
                <a:gdLst>
                  <a:gd name="T0" fmla="*/ 40 w 98"/>
                  <a:gd name="T1" fmla="*/ 21 h 66"/>
                  <a:gd name="T2" fmla="*/ 33 w 98"/>
                  <a:gd name="T3" fmla="*/ 21 h 66"/>
                  <a:gd name="T4" fmla="*/ 27 w 98"/>
                  <a:gd name="T5" fmla="*/ 18 h 66"/>
                  <a:gd name="T6" fmla="*/ 21 w 98"/>
                  <a:gd name="T7" fmla="*/ 25 h 66"/>
                  <a:gd name="T8" fmla="*/ 13 w 98"/>
                  <a:gd name="T9" fmla="*/ 33 h 66"/>
                  <a:gd name="T10" fmla="*/ 18 w 98"/>
                  <a:gd name="T11" fmla="*/ 35 h 66"/>
                  <a:gd name="T12" fmla="*/ 12 w 98"/>
                  <a:gd name="T13" fmla="*/ 39 h 66"/>
                  <a:gd name="T14" fmla="*/ 17 w 98"/>
                  <a:gd name="T15" fmla="*/ 41 h 66"/>
                  <a:gd name="T16" fmla="*/ 5 w 98"/>
                  <a:gd name="T17" fmla="*/ 45 h 66"/>
                  <a:gd name="T18" fmla="*/ 7 w 98"/>
                  <a:gd name="T19" fmla="*/ 51 h 66"/>
                  <a:gd name="T20" fmla="*/ 11 w 98"/>
                  <a:gd name="T21" fmla="*/ 51 h 66"/>
                  <a:gd name="T22" fmla="*/ 13 w 98"/>
                  <a:gd name="T23" fmla="*/ 55 h 66"/>
                  <a:gd name="T24" fmla="*/ 22 w 98"/>
                  <a:gd name="T25" fmla="*/ 50 h 66"/>
                  <a:gd name="T26" fmla="*/ 25 w 98"/>
                  <a:gd name="T27" fmla="*/ 48 h 66"/>
                  <a:gd name="T28" fmla="*/ 29 w 98"/>
                  <a:gd name="T29" fmla="*/ 48 h 66"/>
                  <a:gd name="T30" fmla="*/ 34 w 98"/>
                  <a:gd name="T31" fmla="*/ 48 h 66"/>
                  <a:gd name="T32" fmla="*/ 41 w 98"/>
                  <a:gd name="T33" fmla="*/ 47 h 66"/>
                  <a:gd name="T34" fmla="*/ 29 w 98"/>
                  <a:gd name="T35" fmla="*/ 52 h 66"/>
                  <a:gd name="T36" fmla="*/ 21 w 98"/>
                  <a:gd name="T37" fmla="*/ 61 h 66"/>
                  <a:gd name="T38" fmla="*/ 30 w 98"/>
                  <a:gd name="T39" fmla="*/ 66 h 66"/>
                  <a:gd name="T40" fmla="*/ 37 w 98"/>
                  <a:gd name="T41" fmla="*/ 64 h 66"/>
                  <a:gd name="T42" fmla="*/ 43 w 98"/>
                  <a:gd name="T43" fmla="*/ 58 h 66"/>
                  <a:gd name="T44" fmla="*/ 50 w 98"/>
                  <a:gd name="T45" fmla="*/ 53 h 66"/>
                  <a:gd name="T46" fmla="*/ 55 w 98"/>
                  <a:gd name="T47" fmla="*/ 48 h 66"/>
                  <a:gd name="T48" fmla="*/ 66 w 98"/>
                  <a:gd name="T49" fmla="*/ 47 h 66"/>
                  <a:gd name="T50" fmla="*/ 73 w 98"/>
                  <a:gd name="T51" fmla="*/ 44 h 66"/>
                  <a:gd name="T52" fmla="*/ 85 w 98"/>
                  <a:gd name="T53" fmla="*/ 38 h 66"/>
                  <a:gd name="T54" fmla="*/ 86 w 98"/>
                  <a:gd name="T55" fmla="*/ 18 h 66"/>
                  <a:gd name="T56" fmla="*/ 79 w 98"/>
                  <a:gd name="T57" fmla="*/ 23 h 66"/>
                  <a:gd name="T58" fmla="*/ 74 w 98"/>
                  <a:gd name="T59" fmla="*/ 19 h 66"/>
                  <a:gd name="T60" fmla="*/ 72 w 98"/>
                  <a:gd name="T61" fmla="*/ 16 h 66"/>
                  <a:gd name="T62" fmla="*/ 72 w 98"/>
                  <a:gd name="T63" fmla="*/ 11 h 66"/>
                  <a:gd name="T64" fmla="*/ 73 w 98"/>
                  <a:gd name="T65" fmla="*/ 2 h 66"/>
                  <a:gd name="T66" fmla="*/ 68 w 98"/>
                  <a:gd name="T67" fmla="*/ 5 h 66"/>
                  <a:gd name="T68" fmla="*/ 60 w 98"/>
                  <a:gd name="T69" fmla="*/ 11 h 66"/>
                  <a:gd name="T70" fmla="*/ 59 w 98"/>
                  <a:gd name="T71" fmla="*/ 18 h 66"/>
                  <a:gd name="T72" fmla="*/ 63 w 98"/>
                  <a:gd name="T73" fmla="*/ 19 h 66"/>
                  <a:gd name="T74" fmla="*/ 63 w 98"/>
                  <a:gd name="T75" fmla="*/ 24 h 66"/>
                  <a:gd name="T76" fmla="*/ 66 w 98"/>
                  <a:gd name="T77" fmla="*/ 31 h 66"/>
                  <a:gd name="T78" fmla="*/ 55 w 98"/>
                  <a:gd name="T79" fmla="*/ 33 h 66"/>
                  <a:gd name="T80" fmla="*/ 50 w 98"/>
                  <a:gd name="T81" fmla="*/ 32 h 66"/>
                  <a:gd name="T82" fmla="*/ 50 w 98"/>
                  <a:gd name="T83" fmla="*/ 29 h 66"/>
                  <a:gd name="T84" fmla="*/ 47 w 98"/>
                  <a:gd name="T85" fmla="*/ 27 h 66"/>
                  <a:gd name="T86" fmla="*/ 47 w 98"/>
                  <a:gd name="T87" fmla="*/ 22 h 66"/>
                  <a:gd name="T88" fmla="*/ 40 w 98"/>
                  <a:gd name="T89"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66">
                    <a:moveTo>
                      <a:pt x="40" y="21"/>
                    </a:moveTo>
                    <a:cubicBezTo>
                      <a:pt x="38" y="23"/>
                      <a:pt x="33" y="24"/>
                      <a:pt x="33" y="21"/>
                    </a:cubicBezTo>
                    <a:cubicBezTo>
                      <a:pt x="33" y="18"/>
                      <a:pt x="32" y="17"/>
                      <a:pt x="27" y="18"/>
                    </a:cubicBezTo>
                    <a:cubicBezTo>
                      <a:pt x="24" y="18"/>
                      <a:pt x="24" y="23"/>
                      <a:pt x="21" y="25"/>
                    </a:cubicBezTo>
                    <a:cubicBezTo>
                      <a:pt x="17" y="27"/>
                      <a:pt x="13" y="30"/>
                      <a:pt x="13" y="33"/>
                    </a:cubicBezTo>
                    <a:cubicBezTo>
                      <a:pt x="13" y="35"/>
                      <a:pt x="18" y="33"/>
                      <a:pt x="18" y="35"/>
                    </a:cubicBezTo>
                    <a:cubicBezTo>
                      <a:pt x="18" y="36"/>
                      <a:pt x="11" y="37"/>
                      <a:pt x="12" y="39"/>
                    </a:cubicBezTo>
                    <a:cubicBezTo>
                      <a:pt x="12" y="40"/>
                      <a:pt x="23" y="38"/>
                      <a:pt x="17" y="41"/>
                    </a:cubicBezTo>
                    <a:cubicBezTo>
                      <a:pt x="13" y="42"/>
                      <a:pt x="8" y="42"/>
                      <a:pt x="5" y="45"/>
                    </a:cubicBezTo>
                    <a:cubicBezTo>
                      <a:pt x="0" y="49"/>
                      <a:pt x="4" y="51"/>
                      <a:pt x="7" y="51"/>
                    </a:cubicBezTo>
                    <a:cubicBezTo>
                      <a:pt x="9" y="51"/>
                      <a:pt x="11" y="50"/>
                      <a:pt x="11" y="51"/>
                    </a:cubicBezTo>
                    <a:cubicBezTo>
                      <a:pt x="12" y="52"/>
                      <a:pt x="11" y="54"/>
                      <a:pt x="13" y="55"/>
                    </a:cubicBezTo>
                    <a:cubicBezTo>
                      <a:pt x="16" y="56"/>
                      <a:pt x="19" y="53"/>
                      <a:pt x="22" y="50"/>
                    </a:cubicBezTo>
                    <a:cubicBezTo>
                      <a:pt x="22" y="49"/>
                      <a:pt x="23" y="47"/>
                      <a:pt x="25" y="48"/>
                    </a:cubicBezTo>
                    <a:cubicBezTo>
                      <a:pt x="26" y="49"/>
                      <a:pt x="27" y="49"/>
                      <a:pt x="29" y="48"/>
                    </a:cubicBezTo>
                    <a:cubicBezTo>
                      <a:pt x="31" y="47"/>
                      <a:pt x="32" y="48"/>
                      <a:pt x="34" y="48"/>
                    </a:cubicBezTo>
                    <a:cubicBezTo>
                      <a:pt x="36" y="47"/>
                      <a:pt x="42" y="45"/>
                      <a:pt x="41" y="47"/>
                    </a:cubicBezTo>
                    <a:cubicBezTo>
                      <a:pt x="39" y="51"/>
                      <a:pt x="32" y="49"/>
                      <a:pt x="29" y="52"/>
                    </a:cubicBezTo>
                    <a:cubicBezTo>
                      <a:pt x="27" y="56"/>
                      <a:pt x="20" y="56"/>
                      <a:pt x="21" y="61"/>
                    </a:cubicBezTo>
                    <a:cubicBezTo>
                      <a:pt x="22" y="64"/>
                      <a:pt x="26" y="66"/>
                      <a:pt x="30" y="66"/>
                    </a:cubicBezTo>
                    <a:cubicBezTo>
                      <a:pt x="32" y="66"/>
                      <a:pt x="35" y="65"/>
                      <a:pt x="37" y="64"/>
                    </a:cubicBezTo>
                    <a:cubicBezTo>
                      <a:pt x="40" y="62"/>
                      <a:pt x="41" y="60"/>
                      <a:pt x="43" y="58"/>
                    </a:cubicBezTo>
                    <a:cubicBezTo>
                      <a:pt x="45" y="56"/>
                      <a:pt x="48" y="55"/>
                      <a:pt x="50" y="53"/>
                    </a:cubicBezTo>
                    <a:cubicBezTo>
                      <a:pt x="52" y="52"/>
                      <a:pt x="53" y="50"/>
                      <a:pt x="55" y="48"/>
                    </a:cubicBezTo>
                    <a:cubicBezTo>
                      <a:pt x="59" y="46"/>
                      <a:pt x="62" y="46"/>
                      <a:pt x="66" y="47"/>
                    </a:cubicBezTo>
                    <a:cubicBezTo>
                      <a:pt x="69" y="47"/>
                      <a:pt x="68" y="41"/>
                      <a:pt x="73" y="44"/>
                    </a:cubicBezTo>
                    <a:cubicBezTo>
                      <a:pt x="77" y="46"/>
                      <a:pt x="82" y="42"/>
                      <a:pt x="85" y="38"/>
                    </a:cubicBezTo>
                    <a:cubicBezTo>
                      <a:pt x="89" y="33"/>
                      <a:pt x="98" y="16"/>
                      <a:pt x="86" y="18"/>
                    </a:cubicBezTo>
                    <a:cubicBezTo>
                      <a:pt x="82" y="18"/>
                      <a:pt x="82" y="24"/>
                      <a:pt x="79" y="23"/>
                    </a:cubicBezTo>
                    <a:cubicBezTo>
                      <a:pt x="77" y="23"/>
                      <a:pt x="77" y="19"/>
                      <a:pt x="74" y="19"/>
                    </a:cubicBezTo>
                    <a:cubicBezTo>
                      <a:pt x="72" y="19"/>
                      <a:pt x="71" y="18"/>
                      <a:pt x="72" y="16"/>
                    </a:cubicBezTo>
                    <a:cubicBezTo>
                      <a:pt x="73" y="14"/>
                      <a:pt x="72" y="13"/>
                      <a:pt x="72" y="11"/>
                    </a:cubicBezTo>
                    <a:cubicBezTo>
                      <a:pt x="72" y="8"/>
                      <a:pt x="75" y="4"/>
                      <a:pt x="73" y="2"/>
                    </a:cubicBezTo>
                    <a:cubicBezTo>
                      <a:pt x="70" y="0"/>
                      <a:pt x="68" y="4"/>
                      <a:pt x="68" y="5"/>
                    </a:cubicBezTo>
                    <a:cubicBezTo>
                      <a:pt x="66" y="8"/>
                      <a:pt x="64" y="9"/>
                      <a:pt x="60" y="11"/>
                    </a:cubicBezTo>
                    <a:cubicBezTo>
                      <a:pt x="57" y="13"/>
                      <a:pt x="55" y="17"/>
                      <a:pt x="59" y="18"/>
                    </a:cubicBezTo>
                    <a:cubicBezTo>
                      <a:pt x="60" y="18"/>
                      <a:pt x="62" y="18"/>
                      <a:pt x="63" y="19"/>
                    </a:cubicBezTo>
                    <a:cubicBezTo>
                      <a:pt x="64" y="20"/>
                      <a:pt x="63" y="22"/>
                      <a:pt x="63" y="24"/>
                    </a:cubicBezTo>
                    <a:cubicBezTo>
                      <a:pt x="64" y="27"/>
                      <a:pt x="67" y="28"/>
                      <a:pt x="66" y="31"/>
                    </a:cubicBezTo>
                    <a:cubicBezTo>
                      <a:pt x="64" y="36"/>
                      <a:pt x="58" y="33"/>
                      <a:pt x="55" y="33"/>
                    </a:cubicBezTo>
                    <a:cubicBezTo>
                      <a:pt x="54" y="33"/>
                      <a:pt x="51" y="33"/>
                      <a:pt x="50" y="32"/>
                    </a:cubicBezTo>
                    <a:cubicBezTo>
                      <a:pt x="49" y="31"/>
                      <a:pt x="51" y="30"/>
                      <a:pt x="50" y="29"/>
                    </a:cubicBezTo>
                    <a:cubicBezTo>
                      <a:pt x="50" y="27"/>
                      <a:pt x="47" y="28"/>
                      <a:pt x="47" y="27"/>
                    </a:cubicBezTo>
                    <a:cubicBezTo>
                      <a:pt x="47" y="25"/>
                      <a:pt x="48" y="23"/>
                      <a:pt x="47" y="22"/>
                    </a:cubicBezTo>
                    <a:cubicBezTo>
                      <a:pt x="46" y="20"/>
                      <a:pt x="43" y="19"/>
                      <a:pt x="4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87"/>
              <p:cNvSpPr>
                <a:spLocks/>
              </p:cNvSpPr>
              <p:nvPr/>
            </p:nvSpPr>
            <p:spPr bwMode="auto">
              <a:xfrm>
                <a:off x="2967038" y="3863975"/>
                <a:ext cx="9525" cy="14288"/>
              </a:xfrm>
              <a:custGeom>
                <a:avLst/>
                <a:gdLst>
                  <a:gd name="T0" fmla="*/ 2 w 13"/>
                  <a:gd name="T1" fmla="*/ 15 h 19"/>
                  <a:gd name="T2" fmla="*/ 12 w 13"/>
                  <a:gd name="T3" fmla="*/ 14 h 19"/>
                  <a:gd name="T4" fmla="*/ 11 w 13"/>
                  <a:gd name="T5" fmla="*/ 10 h 19"/>
                  <a:gd name="T6" fmla="*/ 8 w 13"/>
                  <a:gd name="T7" fmla="*/ 4 h 19"/>
                  <a:gd name="T8" fmla="*/ 2 w 13"/>
                  <a:gd name="T9" fmla="*/ 5 h 19"/>
                  <a:gd name="T10" fmla="*/ 2 w 13"/>
                  <a:gd name="T11" fmla="*/ 8 h 19"/>
                  <a:gd name="T12" fmla="*/ 2 w 13"/>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2" y="15"/>
                    </a:moveTo>
                    <a:cubicBezTo>
                      <a:pt x="3" y="17"/>
                      <a:pt x="10" y="19"/>
                      <a:pt x="12" y="14"/>
                    </a:cubicBezTo>
                    <a:cubicBezTo>
                      <a:pt x="13" y="12"/>
                      <a:pt x="12" y="11"/>
                      <a:pt x="11" y="10"/>
                    </a:cubicBezTo>
                    <a:cubicBezTo>
                      <a:pt x="10" y="8"/>
                      <a:pt x="9" y="6"/>
                      <a:pt x="8" y="4"/>
                    </a:cubicBezTo>
                    <a:cubicBezTo>
                      <a:pt x="7" y="2"/>
                      <a:pt x="2" y="0"/>
                      <a:pt x="2" y="5"/>
                    </a:cubicBezTo>
                    <a:cubicBezTo>
                      <a:pt x="2" y="6"/>
                      <a:pt x="2" y="7"/>
                      <a:pt x="2" y="8"/>
                    </a:cubicBezTo>
                    <a:cubicBezTo>
                      <a:pt x="2" y="10"/>
                      <a:pt x="0" y="13"/>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8"/>
              <p:cNvSpPr>
                <a:spLocks/>
              </p:cNvSpPr>
              <p:nvPr/>
            </p:nvSpPr>
            <p:spPr bwMode="auto">
              <a:xfrm>
                <a:off x="3014663" y="3757613"/>
                <a:ext cx="188913" cy="155575"/>
              </a:xfrm>
              <a:custGeom>
                <a:avLst/>
                <a:gdLst>
                  <a:gd name="T0" fmla="*/ 26 w 250"/>
                  <a:gd name="T1" fmla="*/ 95 h 206"/>
                  <a:gd name="T2" fmla="*/ 34 w 250"/>
                  <a:gd name="T3" fmla="*/ 113 h 206"/>
                  <a:gd name="T4" fmla="*/ 53 w 250"/>
                  <a:gd name="T5" fmla="*/ 118 h 206"/>
                  <a:gd name="T6" fmla="*/ 73 w 250"/>
                  <a:gd name="T7" fmla="*/ 103 h 206"/>
                  <a:gd name="T8" fmla="*/ 93 w 250"/>
                  <a:gd name="T9" fmla="*/ 104 h 206"/>
                  <a:gd name="T10" fmla="*/ 80 w 250"/>
                  <a:gd name="T11" fmla="*/ 104 h 206"/>
                  <a:gd name="T12" fmla="*/ 83 w 250"/>
                  <a:gd name="T13" fmla="*/ 121 h 206"/>
                  <a:gd name="T14" fmla="*/ 97 w 250"/>
                  <a:gd name="T15" fmla="*/ 141 h 206"/>
                  <a:gd name="T16" fmla="*/ 62 w 250"/>
                  <a:gd name="T17" fmla="*/ 149 h 206"/>
                  <a:gd name="T18" fmla="*/ 29 w 250"/>
                  <a:gd name="T19" fmla="*/ 160 h 206"/>
                  <a:gd name="T20" fmla="*/ 4 w 250"/>
                  <a:gd name="T21" fmla="*/ 160 h 206"/>
                  <a:gd name="T22" fmla="*/ 33 w 250"/>
                  <a:gd name="T23" fmla="*/ 187 h 206"/>
                  <a:gd name="T24" fmla="*/ 59 w 250"/>
                  <a:gd name="T25" fmla="*/ 201 h 206"/>
                  <a:gd name="T26" fmla="*/ 123 w 250"/>
                  <a:gd name="T27" fmla="*/ 201 h 206"/>
                  <a:gd name="T28" fmla="*/ 115 w 250"/>
                  <a:gd name="T29" fmla="*/ 176 h 206"/>
                  <a:gd name="T30" fmla="*/ 62 w 250"/>
                  <a:gd name="T31" fmla="*/ 183 h 206"/>
                  <a:gd name="T32" fmla="*/ 60 w 250"/>
                  <a:gd name="T33" fmla="*/ 162 h 206"/>
                  <a:gd name="T34" fmla="*/ 98 w 250"/>
                  <a:gd name="T35" fmla="*/ 158 h 206"/>
                  <a:gd name="T36" fmla="*/ 133 w 250"/>
                  <a:gd name="T37" fmla="*/ 162 h 206"/>
                  <a:gd name="T38" fmla="*/ 120 w 250"/>
                  <a:gd name="T39" fmla="*/ 142 h 206"/>
                  <a:gd name="T40" fmla="*/ 140 w 250"/>
                  <a:gd name="T41" fmla="*/ 125 h 206"/>
                  <a:gd name="T42" fmla="*/ 161 w 250"/>
                  <a:gd name="T43" fmla="*/ 114 h 206"/>
                  <a:gd name="T44" fmla="*/ 163 w 250"/>
                  <a:gd name="T45" fmla="*/ 96 h 206"/>
                  <a:gd name="T46" fmla="*/ 178 w 250"/>
                  <a:gd name="T47" fmla="*/ 87 h 206"/>
                  <a:gd name="T48" fmla="*/ 195 w 250"/>
                  <a:gd name="T49" fmla="*/ 74 h 206"/>
                  <a:gd name="T50" fmla="*/ 213 w 250"/>
                  <a:gd name="T51" fmla="*/ 59 h 206"/>
                  <a:gd name="T52" fmla="*/ 209 w 250"/>
                  <a:gd name="T53" fmla="*/ 47 h 206"/>
                  <a:gd name="T54" fmla="*/ 223 w 250"/>
                  <a:gd name="T55" fmla="*/ 42 h 206"/>
                  <a:gd name="T56" fmla="*/ 243 w 250"/>
                  <a:gd name="T57" fmla="*/ 33 h 206"/>
                  <a:gd name="T58" fmla="*/ 233 w 250"/>
                  <a:gd name="T59" fmla="*/ 21 h 206"/>
                  <a:gd name="T60" fmla="*/ 216 w 250"/>
                  <a:gd name="T61" fmla="*/ 10 h 206"/>
                  <a:gd name="T62" fmla="*/ 199 w 250"/>
                  <a:gd name="T63" fmla="*/ 14 h 206"/>
                  <a:gd name="T64" fmla="*/ 175 w 250"/>
                  <a:gd name="T65" fmla="*/ 2 h 206"/>
                  <a:gd name="T66" fmla="*/ 158 w 250"/>
                  <a:gd name="T67" fmla="*/ 6 h 206"/>
                  <a:gd name="T68" fmla="*/ 147 w 250"/>
                  <a:gd name="T69" fmla="*/ 11 h 206"/>
                  <a:gd name="T70" fmla="*/ 134 w 250"/>
                  <a:gd name="T71" fmla="*/ 6 h 206"/>
                  <a:gd name="T72" fmla="*/ 112 w 250"/>
                  <a:gd name="T73" fmla="*/ 10 h 206"/>
                  <a:gd name="T74" fmla="*/ 109 w 250"/>
                  <a:gd name="T75" fmla="*/ 23 h 206"/>
                  <a:gd name="T76" fmla="*/ 95 w 250"/>
                  <a:gd name="T77" fmla="*/ 21 h 206"/>
                  <a:gd name="T78" fmla="*/ 87 w 250"/>
                  <a:gd name="T79" fmla="*/ 29 h 206"/>
                  <a:gd name="T80" fmla="*/ 62 w 250"/>
                  <a:gd name="T81" fmla="*/ 32 h 206"/>
                  <a:gd name="T82" fmla="*/ 57 w 250"/>
                  <a:gd name="T83" fmla="*/ 44 h 206"/>
                  <a:gd name="T84" fmla="*/ 63 w 250"/>
                  <a:gd name="T85" fmla="*/ 50 h 206"/>
                  <a:gd name="T86" fmla="*/ 89 w 250"/>
                  <a:gd name="T87" fmla="*/ 49 h 206"/>
                  <a:gd name="T88" fmla="*/ 78 w 250"/>
                  <a:gd name="T89" fmla="*/ 62 h 206"/>
                  <a:gd name="T90" fmla="*/ 85 w 250"/>
                  <a:gd name="T91" fmla="*/ 66 h 206"/>
                  <a:gd name="T92" fmla="*/ 127 w 250"/>
                  <a:gd name="T93" fmla="*/ 57 h 206"/>
                  <a:gd name="T94" fmla="*/ 131 w 250"/>
                  <a:gd name="T95" fmla="*/ 56 h 206"/>
                  <a:gd name="T96" fmla="*/ 123 w 250"/>
                  <a:gd name="T97" fmla="*/ 66 h 206"/>
                  <a:gd name="T98" fmla="*/ 117 w 250"/>
                  <a:gd name="T99" fmla="*/ 87 h 206"/>
                  <a:gd name="T100" fmla="*/ 84 w 250"/>
                  <a:gd name="T101" fmla="*/ 83 h 206"/>
                  <a:gd name="T102" fmla="*/ 75 w 250"/>
                  <a:gd name="T103" fmla="*/ 75 h 206"/>
                  <a:gd name="T104" fmla="*/ 66 w 250"/>
                  <a:gd name="T105" fmla="*/ 70 h 206"/>
                  <a:gd name="T106" fmla="*/ 46 w 250"/>
                  <a:gd name="T107" fmla="*/ 50 h 206"/>
                  <a:gd name="T108" fmla="*/ 32 w 250"/>
                  <a:gd name="T109" fmla="*/ 58 h 206"/>
                  <a:gd name="T110" fmla="*/ 24 w 250"/>
                  <a:gd name="T111"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 h="206">
                    <a:moveTo>
                      <a:pt x="20" y="89"/>
                    </a:moveTo>
                    <a:cubicBezTo>
                      <a:pt x="22" y="90"/>
                      <a:pt x="25" y="88"/>
                      <a:pt x="27" y="88"/>
                    </a:cubicBezTo>
                    <a:cubicBezTo>
                      <a:pt x="28" y="89"/>
                      <a:pt x="26" y="90"/>
                      <a:pt x="25" y="91"/>
                    </a:cubicBezTo>
                    <a:cubicBezTo>
                      <a:pt x="23" y="92"/>
                      <a:pt x="20" y="92"/>
                      <a:pt x="19" y="93"/>
                    </a:cubicBezTo>
                    <a:cubicBezTo>
                      <a:pt x="18" y="94"/>
                      <a:pt x="19" y="94"/>
                      <a:pt x="20" y="95"/>
                    </a:cubicBezTo>
                    <a:cubicBezTo>
                      <a:pt x="22" y="95"/>
                      <a:pt x="24" y="95"/>
                      <a:pt x="26" y="95"/>
                    </a:cubicBezTo>
                    <a:cubicBezTo>
                      <a:pt x="32" y="93"/>
                      <a:pt x="35" y="91"/>
                      <a:pt x="40" y="93"/>
                    </a:cubicBezTo>
                    <a:cubicBezTo>
                      <a:pt x="43" y="94"/>
                      <a:pt x="47" y="97"/>
                      <a:pt x="40" y="98"/>
                    </a:cubicBezTo>
                    <a:cubicBezTo>
                      <a:pt x="36" y="98"/>
                      <a:pt x="34" y="99"/>
                      <a:pt x="31" y="101"/>
                    </a:cubicBezTo>
                    <a:cubicBezTo>
                      <a:pt x="29" y="103"/>
                      <a:pt x="26" y="105"/>
                      <a:pt x="30" y="106"/>
                    </a:cubicBezTo>
                    <a:cubicBezTo>
                      <a:pt x="33" y="108"/>
                      <a:pt x="26" y="111"/>
                      <a:pt x="29" y="113"/>
                    </a:cubicBezTo>
                    <a:cubicBezTo>
                      <a:pt x="30" y="113"/>
                      <a:pt x="32" y="113"/>
                      <a:pt x="34" y="113"/>
                    </a:cubicBezTo>
                    <a:cubicBezTo>
                      <a:pt x="35" y="114"/>
                      <a:pt x="35" y="114"/>
                      <a:pt x="36" y="114"/>
                    </a:cubicBezTo>
                    <a:cubicBezTo>
                      <a:pt x="38" y="114"/>
                      <a:pt x="38" y="113"/>
                      <a:pt x="39" y="113"/>
                    </a:cubicBezTo>
                    <a:cubicBezTo>
                      <a:pt x="40" y="116"/>
                      <a:pt x="33" y="117"/>
                      <a:pt x="32" y="119"/>
                    </a:cubicBezTo>
                    <a:cubicBezTo>
                      <a:pt x="31" y="123"/>
                      <a:pt x="42" y="123"/>
                      <a:pt x="46" y="123"/>
                    </a:cubicBezTo>
                    <a:cubicBezTo>
                      <a:pt x="49" y="123"/>
                      <a:pt x="50" y="122"/>
                      <a:pt x="51" y="120"/>
                    </a:cubicBezTo>
                    <a:cubicBezTo>
                      <a:pt x="51" y="119"/>
                      <a:pt x="52" y="116"/>
                      <a:pt x="53" y="118"/>
                    </a:cubicBezTo>
                    <a:cubicBezTo>
                      <a:pt x="54" y="119"/>
                      <a:pt x="56" y="121"/>
                      <a:pt x="59" y="120"/>
                    </a:cubicBezTo>
                    <a:cubicBezTo>
                      <a:pt x="60" y="119"/>
                      <a:pt x="58" y="117"/>
                      <a:pt x="59" y="116"/>
                    </a:cubicBezTo>
                    <a:cubicBezTo>
                      <a:pt x="62" y="116"/>
                      <a:pt x="61" y="120"/>
                      <a:pt x="64" y="119"/>
                    </a:cubicBezTo>
                    <a:cubicBezTo>
                      <a:pt x="66" y="119"/>
                      <a:pt x="68" y="117"/>
                      <a:pt x="69" y="116"/>
                    </a:cubicBezTo>
                    <a:cubicBezTo>
                      <a:pt x="71" y="115"/>
                      <a:pt x="71" y="112"/>
                      <a:pt x="70" y="111"/>
                    </a:cubicBezTo>
                    <a:cubicBezTo>
                      <a:pt x="70" y="110"/>
                      <a:pt x="70" y="102"/>
                      <a:pt x="73" y="103"/>
                    </a:cubicBezTo>
                    <a:cubicBezTo>
                      <a:pt x="75" y="104"/>
                      <a:pt x="74" y="106"/>
                      <a:pt x="76" y="107"/>
                    </a:cubicBezTo>
                    <a:cubicBezTo>
                      <a:pt x="77" y="105"/>
                      <a:pt x="77" y="103"/>
                      <a:pt x="81" y="101"/>
                    </a:cubicBezTo>
                    <a:cubicBezTo>
                      <a:pt x="83" y="101"/>
                      <a:pt x="86" y="102"/>
                      <a:pt x="87" y="101"/>
                    </a:cubicBezTo>
                    <a:cubicBezTo>
                      <a:pt x="88" y="100"/>
                      <a:pt x="89" y="99"/>
                      <a:pt x="91" y="99"/>
                    </a:cubicBezTo>
                    <a:cubicBezTo>
                      <a:pt x="91" y="101"/>
                      <a:pt x="91" y="102"/>
                      <a:pt x="90" y="104"/>
                    </a:cubicBezTo>
                    <a:cubicBezTo>
                      <a:pt x="89" y="105"/>
                      <a:pt x="93" y="104"/>
                      <a:pt x="93" y="104"/>
                    </a:cubicBezTo>
                    <a:cubicBezTo>
                      <a:pt x="97" y="104"/>
                      <a:pt x="102" y="103"/>
                      <a:pt x="105" y="104"/>
                    </a:cubicBezTo>
                    <a:cubicBezTo>
                      <a:pt x="108" y="105"/>
                      <a:pt x="109" y="107"/>
                      <a:pt x="106" y="108"/>
                    </a:cubicBezTo>
                    <a:cubicBezTo>
                      <a:pt x="103" y="108"/>
                      <a:pt x="99" y="108"/>
                      <a:pt x="96" y="107"/>
                    </a:cubicBezTo>
                    <a:cubicBezTo>
                      <a:pt x="94" y="107"/>
                      <a:pt x="91" y="107"/>
                      <a:pt x="88" y="106"/>
                    </a:cubicBezTo>
                    <a:cubicBezTo>
                      <a:pt x="87" y="106"/>
                      <a:pt x="86" y="105"/>
                      <a:pt x="85" y="104"/>
                    </a:cubicBezTo>
                    <a:cubicBezTo>
                      <a:pt x="84" y="103"/>
                      <a:pt x="81" y="103"/>
                      <a:pt x="80" y="104"/>
                    </a:cubicBezTo>
                    <a:cubicBezTo>
                      <a:pt x="78" y="106"/>
                      <a:pt x="81" y="107"/>
                      <a:pt x="79" y="109"/>
                    </a:cubicBezTo>
                    <a:cubicBezTo>
                      <a:pt x="77" y="109"/>
                      <a:pt x="73" y="109"/>
                      <a:pt x="73" y="110"/>
                    </a:cubicBezTo>
                    <a:cubicBezTo>
                      <a:pt x="72" y="111"/>
                      <a:pt x="74" y="113"/>
                      <a:pt x="73" y="114"/>
                    </a:cubicBezTo>
                    <a:cubicBezTo>
                      <a:pt x="73" y="116"/>
                      <a:pt x="72" y="117"/>
                      <a:pt x="73" y="119"/>
                    </a:cubicBezTo>
                    <a:cubicBezTo>
                      <a:pt x="74" y="121"/>
                      <a:pt x="76" y="122"/>
                      <a:pt x="79" y="122"/>
                    </a:cubicBezTo>
                    <a:cubicBezTo>
                      <a:pt x="80" y="122"/>
                      <a:pt x="82" y="120"/>
                      <a:pt x="83" y="121"/>
                    </a:cubicBezTo>
                    <a:cubicBezTo>
                      <a:pt x="84" y="121"/>
                      <a:pt x="86" y="122"/>
                      <a:pt x="87" y="121"/>
                    </a:cubicBezTo>
                    <a:cubicBezTo>
                      <a:pt x="91" y="121"/>
                      <a:pt x="94" y="120"/>
                      <a:pt x="93" y="123"/>
                    </a:cubicBezTo>
                    <a:cubicBezTo>
                      <a:pt x="92" y="126"/>
                      <a:pt x="86" y="128"/>
                      <a:pt x="89" y="131"/>
                    </a:cubicBezTo>
                    <a:cubicBezTo>
                      <a:pt x="91" y="132"/>
                      <a:pt x="91" y="133"/>
                      <a:pt x="93" y="134"/>
                    </a:cubicBezTo>
                    <a:cubicBezTo>
                      <a:pt x="94" y="136"/>
                      <a:pt x="96" y="136"/>
                      <a:pt x="100" y="136"/>
                    </a:cubicBezTo>
                    <a:cubicBezTo>
                      <a:pt x="104" y="137"/>
                      <a:pt x="98" y="140"/>
                      <a:pt x="97" y="141"/>
                    </a:cubicBezTo>
                    <a:cubicBezTo>
                      <a:pt x="92" y="143"/>
                      <a:pt x="87" y="140"/>
                      <a:pt x="86" y="137"/>
                    </a:cubicBezTo>
                    <a:cubicBezTo>
                      <a:pt x="84" y="135"/>
                      <a:pt x="83" y="132"/>
                      <a:pt x="80" y="130"/>
                    </a:cubicBezTo>
                    <a:cubicBezTo>
                      <a:pt x="75" y="128"/>
                      <a:pt x="70" y="130"/>
                      <a:pt x="66" y="132"/>
                    </a:cubicBezTo>
                    <a:cubicBezTo>
                      <a:pt x="62" y="135"/>
                      <a:pt x="66" y="137"/>
                      <a:pt x="68" y="139"/>
                    </a:cubicBezTo>
                    <a:cubicBezTo>
                      <a:pt x="71" y="142"/>
                      <a:pt x="69" y="144"/>
                      <a:pt x="65" y="146"/>
                    </a:cubicBezTo>
                    <a:cubicBezTo>
                      <a:pt x="63" y="147"/>
                      <a:pt x="63" y="148"/>
                      <a:pt x="62" y="149"/>
                    </a:cubicBezTo>
                    <a:cubicBezTo>
                      <a:pt x="61" y="151"/>
                      <a:pt x="58" y="151"/>
                      <a:pt x="57" y="152"/>
                    </a:cubicBezTo>
                    <a:cubicBezTo>
                      <a:pt x="55" y="154"/>
                      <a:pt x="56" y="155"/>
                      <a:pt x="55" y="157"/>
                    </a:cubicBezTo>
                    <a:cubicBezTo>
                      <a:pt x="53" y="158"/>
                      <a:pt x="52" y="159"/>
                      <a:pt x="49" y="158"/>
                    </a:cubicBezTo>
                    <a:cubicBezTo>
                      <a:pt x="48" y="157"/>
                      <a:pt x="47" y="156"/>
                      <a:pt x="45" y="156"/>
                    </a:cubicBezTo>
                    <a:cubicBezTo>
                      <a:pt x="42" y="155"/>
                      <a:pt x="40" y="157"/>
                      <a:pt x="37" y="158"/>
                    </a:cubicBezTo>
                    <a:cubicBezTo>
                      <a:pt x="35" y="159"/>
                      <a:pt x="32" y="159"/>
                      <a:pt x="29" y="160"/>
                    </a:cubicBezTo>
                    <a:cubicBezTo>
                      <a:pt x="28" y="160"/>
                      <a:pt x="24" y="161"/>
                      <a:pt x="25" y="159"/>
                    </a:cubicBezTo>
                    <a:cubicBezTo>
                      <a:pt x="25" y="156"/>
                      <a:pt x="26" y="154"/>
                      <a:pt x="21" y="152"/>
                    </a:cubicBezTo>
                    <a:cubicBezTo>
                      <a:pt x="20" y="151"/>
                      <a:pt x="18" y="152"/>
                      <a:pt x="16" y="152"/>
                    </a:cubicBezTo>
                    <a:cubicBezTo>
                      <a:pt x="12" y="153"/>
                      <a:pt x="11" y="152"/>
                      <a:pt x="8" y="152"/>
                    </a:cubicBezTo>
                    <a:cubicBezTo>
                      <a:pt x="3" y="152"/>
                      <a:pt x="0" y="154"/>
                      <a:pt x="1" y="157"/>
                    </a:cubicBezTo>
                    <a:cubicBezTo>
                      <a:pt x="2" y="159"/>
                      <a:pt x="4" y="159"/>
                      <a:pt x="4" y="160"/>
                    </a:cubicBezTo>
                    <a:cubicBezTo>
                      <a:pt x="5" y="162"/>
                      <a:pt x="5" y="165"/>
                      <a:pt x="8" y="166"/>
                    </a:cubicBezTo>
                    <a:cubicBezTo>
                      <a:pt x="10" y="167"/>
                      <a:pt x="11" y="167"/>
                      <a:pt x="13" y="169"/>
                    </a:cubicBezTo>
                    <a:cubicBezTo>
                      <a:pt x="14" y="170"/>
                      <a:pt x="16" y="171"/>
                      <a:pt x="19" y="170"/>
                    </a:cubicBezTo>
                    <a:cubicBezTo>
                      <a:pt x="22" y="169"/>
                      <a:pt x="27" y="165"/>
                      <a:pt x="29" y="168"/>
                    </a:cubicBezTo>
                    <a:cubicBezTo>
                      <a:pt x="30" y="170"/>
                      <a:pt x="30" y="173"/>
                      <a:pt x="33" y="175"/>
                    </a:cubicBezTo>
                    <a:cubicBezTo>
                      <a:pt x="37" y="178"/>
                      <a:pt x="34" y="182"/>
                      <a:pt x="33" y="187"/>
                    </a:cubicBezTo>
                    <a:cubicBezTo>
                      <a:pt x="32" y="191"/>
                      <a:pt x="33" y="195"/>
                      <a:pt x="34" y="198"/>
                    </a:cubicBezTo>
                    <a:cubicBezTo>
                      <a:pt x="35" y="200"/>
                      <a:pt x="36" y="201"/>
                      <a:pt x="37" y="203"/>
                    </a:cubicBezTo>
                    <a:cubicBezTo>
                      <a:pt x="38" y="205"/>
                      <a:pt x="40" y="203"/>
                      <a:pt x="42" y="204"/>
                    </a:cubicBezTo>
                    <a:cubicBezTo>
                      <a:pt x="44" y="204"/>
                      <a:pt x="45" y="206"/>
                      <a:pt x="47" y="204"/>
                    </a:cubicBezTo>
                    <a:cubicBezTo>
                      <a:pt x="49" y="202"/>
                      <a:pt x="50" y="201"/>
                      <a:pt x="53" y="200"/>
                    </a:cubicBezTo>
                    <a:cubicBezTo>
                      <a:pt x="55" y="200"/>
                      <a:pt x="57" y="199"/>
                      <a:pt x="59" y="201"/>
                    </a:cubicBezTo>
                    <a:cubicBezTo>
                      <a:pt x="61" y="203"/>
                      <a:pt x="57" y="204"/>
                      <a:pt x="62" y="205"/>
                    </a:cubicBezTo>
                    <a:cubicBezTo>
                      <a:pt x="68" y="206"/>
                      <a:pt x="74" y="205"/>
                      <a:pt x="81" y="205"/>
                    </a:cubicBezTo>
                    <a:cubicBezTo>
                      <a:pt x="86" y="205"/>
                      <a:pt x="90" y="204"/>
                      <a:pt x="95" y="204"/>
                    </a:cubicBezTo>
                    <a:cubicBezTo>
                      <a:pt x="98" y="204"/>
                      <a:pt x="104" y="203"/>
                      <a:pt x="104" y="201"/>
                    </a:cubicBezTo>
                    <a:cubicBezTo>
                      <a:pt x="104" y="196"/>
                      <a:pt x="105" y="199"/>
                      <a:pt x="107" y="201"/>
                    </a:cubicBezTo>
                    <a:cubicBezTo>
                      <a:pt x="111" y="205"/>
                      <a:pt x="118" y="202"/>
                      <a:pt x="123" y="201"/>
                    </a:cubicBezTo>
                    <a:cubicBezTo>
                      <a:pt x="127" y="200"/>
                      <a:pt x="134" y="199"/>
                      <a:pt x="135" y="195"/>
                    </a:cubicBezTo>
                    <a:cubicBezTo>
                      <a:pt x="135" y="194"/>
                      <a:pt x="133" y="192"/>
                      <a:pt x="132" y="191"/>
                    </a:cubicBezTo>
                    <a:cubicBezTo>
                      <a:pt x="131" y="190"/>
                      <a:pt x="128" y="191"/>
                      <a:pt x="128" y="189"/>
                    </a:cubicBezTo>
                    <a:cubicBezTo>
                      <a:pt x="128" y="188"/>
                      <a:pt x="130" y="187"/>
                      <a:pt x="131" y="185"/>
                    </a:cubicBezTo>
                    <a:cubicBezTo>
                      <a:pt x="132" y="183"/>
                      <a:pt x="130" y="181"/>
                      <a:pt x="128" y="178"/>
                    </a:cubicBezTo>
                    <a:cubicBezTo>
                      <a:pt x="126" y="176"/>
                      <a:pt x="120" y="176"/>
                      <a:pt x="115" y="176"/>
                    </a:cubicBezTo>
                    <a:cubicBezTo>
                      <a:pt x="110" y="175"/>
                      <a:pt x="105" y="173"/>
                      <a:pt x="100" y="174"/>
                    </a:cubicBezTo>
                    <a:cubicBezTo>
                      <a:pt x="94" y="176"/>
                      <a:pt x="90" y="180"/>
                      <a:pt x="86" y="182"/>
                    </a:cubicBezTo>
                    <a:cubicBezTo>
                      <a:pt x="84" y="183"/>
                      <a:pt x="82" y="184"/>
                      <a:pt x="79" y="184"/>
                    </a:cubicBezTo>
                    <a:cubicBezTo>
                      <a:pt x="76" y="185"/>
                      <a:pt x="76" y="184"/>
                      <a:pt x="74" y="182"/>
                    </a:cubicBezTo>
                    <a:cubicBezTo>
                      <a:pt x="73" y="182"/>
                      <a:pt x="70" y="180"/>
                      <a:pt x="68" y="181"/>
                    </a:cubicBezTo>
                    <a:cubicBezTo>
                      <a:pt x="66" y="181"/>
                      <a:pt x="64" y="183"/>
                      <a:pt x="62" y="183"/>
                    </a:cubicBezTo>
                    <a:cubicBezTo>
                      <a:pt x="60" y="183"/>
                      <a:pt x="59" y="182"/>
                      <a:pt x="57" y="182"/>
                    </a:cubicBezTo>
                    <a:cubicBezTo>
                      <a:pt x="54" y="182"/>
                      <a:pt x="53" y="182"/>
                      <a:pt x="55" y="180"/>
                    </a:cubicBezTo>
                    <a:cubicBezTo>
                      <a:pt x="58" y="178"/>
                      <a:pt x="50" y="176"/>
                      <a:pt x="48" y="175"/>
                    </a:cubicBezTo>
                    <a:cubicBezTo>
                      <a:pt x="44" y="174"/>
                      <a:pt x="42" y="173"/>
                      <a:pt x="45" y="170"/>
                    </a:cubicBezTo>
                    <a:cubicBezTo>
                      <a:pt x="49" y="166"/>
                      <a:pt x="51" y="170"/>
                      <a:pt x="54" y="169"/>
                    </a:cubicBezTo>
                    <a:cubicBezTo>
                      <a:pt x="57" y="168"/>
                      <a:pt x="57" y="163"/>
                      <a:pt x="60" y="162"/>
                    </a:cubicBezTo>
                    <a:cubicBezTo>
                      <a:pt x="65" y="159"/>
                      <a:pt x="65" y="164"/>
                      <a:pt x="70" y="163"/>
                    </a:cubicBezTo>
                    <a:cubicBezTo>
                      <a:pt x="73" y="163"/>
                      <a:pt x="74" y="161"/>
                      <a:pt x="77" y="161"/>
                    </a:cubicBezTo>
                    <a:cubicBezTo>
                      <a:pt x="79" y="162"/>
                      <a:pt x="81" y="163"/>
                      <a:pt x="83" y="164"/>
                    </a:cubicBezTo>
                    <a:cubicBezTo>
                      <a:pt x="86" y="165"/>
                      <a:pt x="91" y="166"/>
                      <a:pt x="92" y="163"/>
                    </a:cubicBezTo>
                    <a:cubicBezTo>
                      <a:pt x="93" y="161"/>
                      <a:pt x="93" y="160"/>
                      <a:pt x="94" y="158"/>
                    </a:cubicBezTo>
                    <a:cubicBezTo>
                      <a:pt x="95" y="158"/>
                      <a:pt x="97" y="156"/>
                      <a:pt x="98" y="158"/>
                    </a:cubicBezTo>
                    <a:cubicBezTo>
                      <a:pt x="97" y="161"/>
                      <a:pt x="103" y="164"/>
                      <a:pt x="103" y="160"/>
                    </a:cubicBezTo>
                    <a:cubicBezTo>
                      <a:pt x="104" y="156"/>
                      <a:pt x="109" y="161"/>
                      <a:pt x="111" y="159"/>
                    </a:cubicBezTo>
                    <a:cubicBezTo>
                      <a:pt x="113" y="157"/>
                      <a:pt x="114" y="158"/>
                      <a:pt x="115" y="159"/>
                    </a:cubicBezTo>
                    <a:cubicBezTo>
                      <a:pt x="117" y="161"/>
                      <a:pt x="119" y="161"/>
                      <a:pt x="122" y="161"/>
                    </a:cubicBezTo>
                    <a:cubicBezTo>
                      <a:pt x="126" y="162"/>
                      <a:pt x="120" y="166"/>
                      <a:pt x="123" y="167"/>
                    </a:cubicBezTo>
                    <a:cubicBezTo>
                      <a:pt x="126" y="168"/>
                      <a:pt x="132" y="163"/>
                      <a:pt x="133" y="162"/>
                    </a:cubicBezTo>
                    <a:cubicBezTo>
                      <a:pt x="136" y="158"/>
                      <a:pt x="144" y="159"/>
                      <a:pt x="147" y="156"/>
                    </a:cubicBezTo>
                    <a:cubicBezTo>
                      <a:pt x="150" y="154"/>
                      <a:pt x="149" y="149"/>
                      <a:pt x="145" y="147"/>
                    </a:cubicBezTo>
                    <a:cubicBezTo>
                      <a:pt x="143" y="147"/>
                      <a:pt x="141" y="147"/>
                      <a:pt x="140" y="148"/>
                    </a:cubicBezTo>
                    <a:cubicBezTo>
                      <a:pt x="140" y="149"/>
                      <a:pt x="140" y="153"/>
                      <a:pt x="138" y="152"/>
                    </a:cubicBezTo>
                    <a:cubicBezTo>
                      <a:pt x="135" y="150"/>
                      <a:pt x="138" y="146"/>
                      <a:pt x="135" y="144"/>
                    </a:cubicBezTo>
                    <a:cubicBezTo>
                      <a:pt x="132" y="142"/>
                      <a:pt x="125" y="141"/>
                      <a:pt x="120" y="142"/>
                    </a:cubicBezTo>
                    <a:cubicBezTo>
                      <a:pt x="119" y="143"/>
                      <a:pt x="116" y="144"/>
                      <a:pt x="116" y="142"/>
                    </a:cubicBezTo>
                    <a:cubicBezTo>
                      <a:pt x="116" y="141"/>
                      <a:pt x="117" y="140"/>
                      <a:pt x="119" y="140"/>
                    </a:cubicBezTo>
                    <a:cubicBezTo>
                      <a:pt x="123" y="140"/>
                      <a:pt x="125" y="142"/>
                      <a:pt x="129" y="141"/>
                    </a:cubicBezTo>
                    <a:cubicBezTo>
                      <a:pt x="135" y="141"/>
                      <a:pt x="140" y="142"/>
                      <a:pt x="142" y="138"/>
                    </a:cubicBezTo>
                    <a:cubicBezTo>
                      <a:pt x="144" y="135"/>
                      <a:pt x="145" y="132"/>
                      <a:pt x="142" y="130"/>
                    </a:cubicBezTo>
                    <a:cubicBezTo>
                      <a:pt x="140" y="128"/>
                      <a:pt x="139" y="127"/>
                      <a:pt x="140" y="125"/>
                    </a:cubicBezTo>
                    <a:cubicBezTo>
                      <a:pt x="142" y="124"/>
                      <a:pt x="144" y="124"/>
                      <a:pt x="146" y="124"/>
                    </a:cubicBezTo>
                    <a:cubicBezTo>
                      <a:pt x="148" y="125"/>
                      <a:pt x="151" y="126"/>
                      <a:pt x="153" y="126"/>
                    </a:cubicBezTo>
                    <a:cubicBezTo>
                      <a:pt x="156" y="125"/>
                      <a:pt x="159" y="124"/>
                      <a:pt x="161" y="123"/>
                    </a:cubicBezTo>
                    <a:cubicBezTo>
                      <a:pt x="163" y="122"/>
                      <a:pt x="162" y="121"/>
                      <a:pt x="162" y="120"/>
                    </a:cubicBezTo>
                    <a:cubicBezTo>
                      <a:pt x="163" y="119"/>
                      <a:pt x="164" y="119"/>
                      <a:pt x="165" y="118"/>
                    </a:cubicBezTo>
                    <a:cubicBezTo>
                      <a:pt x="168" y="116"/>
                      <a:pt x="160" y="115"/>
                      <a:pt x="161" y="114"/>
                    </a:cubicBezTo>
                    <a:cubicBezTo>
                      <a:pt x="165" y="114"/>
                      <a:pt x="165" y="109"/>
                      <a:pt x="165" y="107"/>
                    </a:cubicBezTo>
                    <a:cubicBezTo>
                      <a:pt x="165" y="106"/>
                      <a:pt x="164" y="105"/>
                      <a:pt x="162" y="104"/>
                    </a:cubicBezTo>
                    <a:cubicBezTo>
                      <a:pt x="160" y="103"/>
                      <a:pt x="160" y="102"/>
                      <a:pt x="158" y="102"/>
                    </a:cubicBezTo>
                    <a:cubicBezTo>
                      <a:pt x="156" y="101"/>
                      <a:pt x="154" y="99"/>
                      <a:pt x="157" y="99"/>
                    </a:cubicBezTo>
                    <a:cubicBezTo>
                      <a:pt x="159" y="100"/>
                      <a:pt x="161" y="101"/>
                      <a:pt x="163" y="101"/>
                    </a:cubicBezTo>
                    <a:cubicBezTo>
                      <a:pt x="168" y="101"/>
                      <a:pt x="168" y="96"/>
                      <a:pt x="163" y="96"/>
                    </a:cubicBezTo>
                    <a:cubicBezTo>
                      <a:pt x="158" y="96"/>
                      <a:pt x="155" y="97"/>
                      <a:pt x="151" y="97"/>
                    </a:cubicBezTo>
                    <a:cubicBezTo>
                      <a:pt x="149" y="96"/>
                      <a:pt x="148" y="95"/>
                      <a:pt x="149" y="95"/>
                    </a:cubicBezTo>
                    <a:cubicBezTo>
                      <a:pt x="151" y="93"/>
                      <a:pt x="153" y="94"/>
                      <a:pt x="156" y="94"/>
                    </a:cubicBezTo>
                    <a:cubicBezTo>
                      <a:pt x="161" y="94"/>
                      <a:pt x="158" y="90"/>
                      <a:pt x="164" y="92"/>
                    </a:cubicBezTo>
                    <a:cubicBezTo>
                      <a:pt x="169" y="93"/>
                      <a:pt x="170" y="88"/>
                      <a:pt x="174" y="88"/>
                    </a:cubicBezTo>
                    <a:cubicBezTo>
                      <a:pt x="176" y="88"/>
                      <a:pt x="177" y="88"/>
                      <a:pt x="178" y="87"/>
                    </a:cubicBezTo>
                    <a:cubicBezTo>
                      <a:pt x="180" y="86"/>
                      <a:pt x="182" y="87"/>
                      <a:pt x="184" y="87"/>
                    </a:cubicBezTo>
                    <a:cubicBezTo>
                      <a:pt x="186" y="87"/>
                      <a:pt x="185" y="84"/>
                      <a:pt x="186" y="84"/>
                    </a:cubicBezTo>
                    <a:cubicBezTo>
                      <a:pt x="186" y="82"/>
                      <a:pt x="186" y="82"/>
                      <a:pt x="188" y="81"/>
                    </a:cubicBezTo>
                    <a:cubicBezTo>
                      <a:pt x="189" y="81"/>
                      <a:pt x="190" y="80"/>
                      <a:pt x="192" y="80"/>
                    </a:cubicBezTo>
                    <a:cubicBezTo>
                      <a:pt x="193" y="79"/>
                      <a:pt x="192" y="78"/>
                      <a:pt x="193" y="77"/>
                    </a:cubicBezTo>
                    <a:cubicBezTo>
                      <a:pt x="194" y="76"/>
                      <a:pt x="197" y="76"/>
                      <a:pt x="195" y="74"/>
                    </a:cubicBezTo>
                    <a:cubicBezTo>
                      <a:pt x="193" y="73"/>
                      <a:pt x="191" y="72"/>
                      <a:pt x="191" y="71"/>
                    </a:cubicBezTo>
                    <a:cubicBezTo>
                      <a:pt x="191" y="70"/>
                      <a:pt x="193" y="69"/>
                      <a:pt x="194" y="69"/>
                    </a:cubicBezTo>
                    <a:cubicBezTo>
                      <a:pt x="195" y="70"/>
                      <a:pt x="196" y="71"/>
                      <a:pt x="197" y="71"/>
                    </a:cubicBezTo>
                    <a:cubicBezTo>
                      <a:pt x="199" y="71"/>
                      <a:pt x="198" y="69"/>
                      <a:pt x="198" y="68"/>
                    </a:cubicBezTo>
                    <a:cubicBezTo>
                      <a:pt x="199" y="67"/>
                      <a:pt x="200" y="65"/>
                      <a:pt x="202" y="64"/>
                    </a:cubicBezTo>
                    <a:cubicBezTo>
                      <a:pt x="204" y="62"/>
                      <a:pt x="210" y="61"/>
                      <a:pt x="213" y="59"/>
                    </a:cubicBezTo>
                    <a:cubicBezTo>
                      <a:pt x="216" y="56"/>
                      <a:pt x="219" y="54"/>
                      <a:pt x="223" y="51"/>
                    </a:cubicBezTo>
                    <a:cubicBezTo>
                      <a:pt x="226" y="50"/>
                      <a:pt x="228" y="49"/>
                      <a:pt x="230" y="47"/>
                    </a:cubicBezTo>
                    <a:cubicBezTo>
                      <a:pt x="231" y="45"/>
                      <a:pt x="230" y="45"/>
                      <a:pt x="227" y="44"/>
                    </a:cubicBezTo>
                    <a:cubicBezTo>
                      <a:pt x="224" y="44"/>
                      <a:pt x="222" y="46"/>
                      <a:pt x="220" y="47"/>
                    </a:cubicBezTo>
                    <a:cubicBezTo>
                      <a:pt x="217" y="48"/>
                      <a:pt x="213" y="49"/>
                      <a:pt x="209" y="49"/>
                    </a:cubicBezTo>
                    <a:cubicBezTo>
                      <a:pt x="209" y="48"/>
                      <a:pt x="209" y="48"/>
                      <a:pt x="209" y="47"/>
                    </a:cubicBezTo>
                    <a:cubicBezTo>
                      <a:pt x="209" y="46"/>
                      <a:pt x="210" y="46"/>
                      <a:pt x="210" y="45"/>
                    </a:cubicBezTo>
                    <a:cubicBezTo>
                      <a:pt x="210" y="44"/>
                      <a:pt x="208" y="44"/>
                      <a:pt x="206" y="44"/>
                    </a:cubicBezTo>
                    <a:cubicBezTo>
                      <a:pt x="205" y="44"/>
                      <a:pt x="203" y="43"/>
                      <a:pt x="202" y="43"/>
                    </a:cubicBezTo>
                    <a:cubicBezTo>
                      <a:pt x="202" y="42"/>
                      <a:pt x="208" y="42"/>
                      <a:pt x="208" y="42"/>
                    </a:cubicBezTo>
                    <a:cubicBezTo>
                      <a:pt x="211" y="42"/>
                      <a:pt x="214" y="42"/>
                      <a:pt x="217" y="42"/>
                    </a:cubicBezTo>
                    <a:cubicBezTo>
                      <a:pt x="219" y="42"/>
                      <a:pt x="222" y="43"/>
                      <a:pt x="223" y="42"/>
                    </a:cubicBezTo>
                    <a:cubicBezTo>
                      <a:pt x="223" y="41"/>
                      <a:pt x="223" y="40"/>
                      <a:pt x="223" y="40"/>
                    </a:cubicBezTo>
                    <a:cubicBezTo>
                      <a:pt x="224" y="39"/>
                      <a:pt x="227" y="40"/>
                      <a:pt x="229" y="40"/>
                    </a:cubicBezTo>
                    <a:cubicBezTo>
                      <a:pt x="231" y="39"/>
                      <a:pt x="231" y="38"/>
                      <a:pt x="233" y="38"/>
                    </a:cubicBezTo>
                    <a:cubicBezTo>
                      <a:pt x="235" y="37"/>
                      <a:pt x="237" y="36"/>
                      <a:pt x="238" y="35"/>
                    </a:cubicBezTo>
                    <a:cubicBezTo>
                      <a:pt x="239" y="35"/>
                      <a:pt x="240" y="34"/>
                      <a:pt x="241" y="34"/>
                    </a:cubicBezTo>
                    <a:cubicBezTo>
                      <a:pt x="241" y="34"/>
                      <a:pt x="242" y="34"/>
                      <a:pt x="243" y="33"/>
                    </a:cubicBezTo>
                    <a:cubicBezTo>
                      <a:pt x="243" y="33"/>
                      <a:pt x="244" y="32"/>
                      <a:pt x="244" y="32"/>
                    </a:cubicBezTo>
                    <a:cubicBezTo>
                      <a:pt x="246" y="31"/>
                      <a:pt x="246" y="31"/>
                      <a:pt x="248" y="30"/>
                    </a:cubicBezTo>
                    <a:cubicBezTo>
                      <a:pt x="250" y="30"/>
                      <a:pt x="247" y="27"/>
                      <a:pt x="247" y="27"/>
                    </a:cubicBezTo>
                    <a:cubicBezTo>
                      <a:pt x="246" y="25"/>
                      <a:pt x="245" y="25"/>
                      <a:pt x="243" y="24"/>
                    </a:cubicBezTo>
                    <a:cubicBezTo>
                      <a:pt x="241" y="23"/>
                      <a:pt x="241" y="22"/>
                      <a:pt x="238" y="22"/>
                    </a:cubicBezTo>
                    <a:cubicBezTo>
                      <a:pt x="237" y="22"/>
                      <a:pt x="235" y="22"/>
                      <a:pt x="233" y="21"/>
                    </a:cubicBezTo>
                    <a:cubicBezTo>
                      <a:pt x="232" y="20"/>
                      <a:pt x="232" y="20"/>
                      <a:pt x="232" y="19"/>
                    </a:cubicBezTo>
                    <a:cubicBezTo>
                      <a:pt x="232" y="17"/>
                      <a:pt x="230" y="16"/>
                      <a:pt x="228" y="15"/>
                    </a:cubicBezTo>
                    <a:cubicBezTo>
                      <a:pt x="225" y="13"/>
                      <a:pt x="231" y="12"/>
                      <a:pt x="227" y="11"/>
                    </a:cubicBezTo>
                    <a:cubicBezTo>
                      <a:pt x="225" y="11"/>
                      <a:pt x="224" y="11"/>
                      <a:pt x="223" y="12"/>
                    </a:cubicBezTo>
                    <a:cubicBezTo>
                      <a:pt x="222" y="13"/>
                      <a:pt x="221" y="11"/>
                      <a:pt x="221" y="11"/>
                    </a:cubicBezTo>
                    <a:cubicBezTo>
                      <a:pt x="220" y="9"/>
                      <a:pt x="215" y="8"/>
                      <a:pt x="216" y="10"/>
                    </a:cubicBezTo>
                    <a:cubicBezTo>
                      <a:pt x="216" y="11"/>
                      <a:pt x="218" y="14"/>
                      <a:pt x="215" y="12"/>
                    </a:cubicBezTo>
                    <a:cubicBezTo>
                      <a:pt x="212" y="10"/>
                      <a:pt x="210" y="10"/>
                      <a:pt x="209" y="12"/>
                    </a:cubicBezTo>
                    <a:cubicBezTo>
                      <a:pt x="208" y="14"/>
                      <a:pt x="204" y="13"/>
                      <a:pt x="203" y="15"/>
                    </a:cubicBezTo>
                    <a:cubicBezTo>
                      <a:pt x="202" y="15"/>
                      <a:pt x="203" y="15"/>
                      <a:pt x="201" y="15"/>
                    </a:cubicBezTo>
                    <a:cubicBezTo>
                      <a:pt x="200" y="15"/>
                      <a:pt x="199" y="16"/>
                      <a:pt x="198" y="15"/>
                    </a:cubicBezTo>
                    <a:cubicBezTo>
                      <a:pt x="197" y="14"/>
                      <a:pt x="198" y="14"/>
                      <a:pt x="199" y="14"/>
                    </a:cubicBezTo>
                    <a:cubicBezTo>
                      <a:pt x="201" y="13"/>
                      <a:pt x="201" y="13"/>
                      <a:pt x="202" y="12"/>
                    </a:cubicBezTo>
                    <a:cubicBezTo>
                      <a:pt x="204" y="11"/>
                      <a:pt x="209" y="9"/>
                      <a:pt x="205" y="8"/>
                    </a:cubicBezTo>
                    <a:cubicBezTo>
                      <a:pt x="203" y="7"/>
                      <a:pt x="200" y="6"/>
                      <a:pt x="197" y="6"/>
                    </a:cubicBezTo>
                    <a:cubicBezTo>
                      <a:pt x="195" y="6"/>
                      <a:pt x="194" y="5"/>
                      <a:pt x="192" y="5"/>
                    </a:cubicBezTo>
                    <a:cubicBezTo>
                      <a:pt x="189" y="4"/>
                      <a:pt x="186" y="5"/>
                      <a:pt x="184" y="4"/>
                    </a:cubicBezTo>
                    <a:cubicBezTo>
                      <a:pt x="183" y="3"/>
                      <a:pt x="176" y="0"/>
                      <a:pt x="175" y="2"/>
                    </a:cubicBezTo>
                    <a:cubicBezTo>
                      <a:pt x="175" y="2"/>
                      <a:pt x="176" y="4"/>
                      <a:pt x="175" y="4"/>
                    </a:cubicBezTo>
                    <a:cubicBezTo>
                      <a:pt x="174" y="4"/>
                      <a:pt x="173" y="3"/>
                      <a:pt x="172" y="3"/>
                    </a:cubicBezTo>
                    <a:cubicBezTo>
                      <a:pt x="170" y="2"/>
                      <a:pt x="168" y="2"/>
                      <a:pt x="166" y="3"/>
                    </a:cubicBezTo>
                    <a:cubicBezTo>
                      <a:pt x="163" y="4"/>
                      <a:pt x="160" y="5"/>
                      <a:pt x="162" y="7"/>
                    </a:cubicBezTo>
                    <a:cubicBezTo>
                      <a:pt x="162" y="7"/>
                      <a:pt x="166" y="10"/>
                      <a:pt x="166" y="10"/>
                    </a:cubicBezTo>
                    <a:cubicBezTo>
                      <a:pt x="164" y="11"/>
                      <a:pt x="158" y="7"/>
                      <a:pt x="158" y="6"/>
                    </a:cubicBezTo>
                    <a:cubicBezTo>
                      <a:pt x="156" y="4"/>
                      <a:pt x="152" y="3"/>
                      <a:pt x="148" y="3"/>
                    </a:cubicBezTo>
                    <a:cubicBezTo>
                      <a:pt x="146" y="3"/>
                      <a:pt x="143" y="4"/>
                      <a:pt x="141" y="4"/>
                    </a:cubicBezTo>
                    <a:cubicBezTo>
                      <a:pt x="140" y="4"/>
                      <a:pt x="137" y="3"/>
                      <a:pt x="136" y="4"/>
                    </a:cubicBezTo>
                    <a:cubicBezTo>
                      <a:pt x="136" y="5"/>
                      <a:pt x="137" y="6"/>
                      <a:pt x="138" y="7"/>
                    </a:cubicBezTo>
                    <a:cubicBezTo>
                      <a:pt x="140" y="7"/>
                      <a:pt x="140" y="8"/>
                      <a:pt x="142" y="9"/>
                    </a:cubicBezTo>
                    <a:cubicBezTo>
                      <a:pt x="144" y="10"/>
                      <a:pt x="146" y="10"/>
                      <a:pt x="147" y="11"/>
                    </a:cubicBezTo>
                    <a:cubicBezTo>
                      <a:pt x="149" y="12"/>
                      <a:pt x="150" y="14"/>
                      <a:pt x="150" y="15"/>
                    </a:cubicBezTo>
                    <a:cubicBezTo>
                      <a:pt x="150" y="16"/>
                      <a:pt x="151" y="17"/>
                      <a:pt x="149" y="17"/>
                    </a:cubicBezTo>
                    <a:cubicBezTo>
                      <a:pt x="147" y="17"/>
                      <a:pt x="147" y="16"/>
                      <a:pt x="146" y="15"/>
                    </a:cubicBezTo>
                    <a:cubicBezTo>
                      <a:pt x="145" y="12"/>
                      <a:pt x="141" y="11"/>
                      <a:pt x="138" y="8"/>
                    </a:cubicBezTo>
                    <a:cubicBezTo>
                      <a:pt x="137" y="8"/>
                      <a:pt x="137" y="7"/>
                      <a:pt x="136" y="6"/>
                    </a:cubicBezTo>
                    <a:cubicBezTo>
                      <a:pt x="135" y="6"/>
                      <a:pt x="135" y="6"/>
                      <a:pt x="134" y="6"/>
                    </a:cubicBezTo>
                    <a:cubicBezTo>
                      <a:pt x="133" y="6"/>
                      <a:pt x="133" y="6"/>
                      <a:pt x="132" y="7"/>
                    </a:cubicBezTo>
                    <a:cubicBezTo>
                      <a:pt x="130" y="8"/>
                      <a:pt x="127" y="6"/>
                      <a:pt x="125" y="5"/>
                    </a:cubicBezTo>
                    <a:cubicBezTo>
                      <a:pt x="122" y="5"/>
                      <a:pt x="119" y="5"/>
                      <a:pt x="118" y="6"/>
                    </a:cubicBezTo>
                    <a:cubicBezTo>
                      <a:pt x="117" y="8"/>
                      <a:pt x="119" y="8"/>
                      <a:pt x="119" y="10"/>
                    </a:cubicBezTo>
                    <a:cubicBezTo>
                      <a:pt x="120" y="11"/>
                      <a:pt x="114" y="8"/>
                      <a:pt x="114" y="8"/>
                    </a:cubicBezTo>
                    <a:cubicBezTo>
                      <a:pt x="110" y="7"/>
                      <a:pt x="111" y="9"/>
                      <a:pt x="112" y="10"/>
                    </a:cubicBezTo>
                    <a:cubicBezTo>
                      <a:pt x="113" y="11"/>
                      <a:pt x="115" y="16"/>
                      <a:pt x="115" y="16"/>
                    </a:cubicBezTo>
                    <a:cubicBezTo>
                      <a:pt x="112" y="17"/>
                      <a:pt x="110" y="14"/>
                      <a:pt x="108" y="13"/>
                    </a:cubicBezTo>
                    <a:cubicBezTo>
                      <a:pt x="107" y="13"/>
                      <a:pt x="106" y="14"/>
                      <a:pt x="107" y="14"/>
                    </a:cubicBezTo>
                    <a:cubicBezTo>
                      <a:pt x="107" y="15"/>
                      <a:pt x="107" y="15"/>
                      <a:pt x="106" y="16"/>
                    </a:cubicBezTo>
                    <a:cubicBezTo>
                      <a:pt x="106" y="17"/>
                      <a:pt x="104" y="17"/>
                      <a:pt x="104" y="18"/>
                    </a:cubicBezTo>
                    <a:cubicBezTo>
                      <a:pt x="104" y="19"/>
                      <a:pt x="106" y="22"/>
                      <a:pt x="109" y="23"/>
                    </a:cubicBezTo>
                    <a:cubicBezTo>
                      <a:pt x="110" y="24"/>
                      <a:pt x="112" y="25"/>
                      <a:pt x="113" y="26"/>
                    </a:cubicBezTo>
                    <a:cubicBezTo>
                      <a:pt x="114" y="26"/>
                      <a:pt x="118" y="28"/>
                      <a:pt x="114" y="28"/>
                    </a:cubicBezTo>
                    <a:cubicBezTo>
                      <a:pt x="112" y="28"/>
                      <a:pt x="109" y="27"/>
                      <a:pt x="107" y="26"/>
                    </a:cubicBezTo>
                    <a:cubicBezTo>
                      <a:pt x="106" y="25"/>
                      <a:pt x="105" y="24"/>
                      <a:pt x="103" y="23"/>
                    </a:cubicBezTo>
                    <a:cubicBezTo>
                      <a:pt x="102" y="23"/>
                      <a:pt x="101" y="24"/>
                      <a:pt x="100" y="24"/>
                    </a:cubicBezTo>
                    <a:cubicBezTo>
                      <a:pt x="98" y="23"/>
                      <a:pt x="97" y="22"/>
                      <a:pt x="95" y="21"/>
                    </a:cubicBezTo>
                    <a:cubicBezTo>
                      <a:pt x="94" y="21"/>
                      <a:pt x="93" y="19"/>
                      <a:pt x="92" y="19"/>
                    </a:cubicBezTo>
                    <a:cubicBezTo>
                      <a:pt x="90" y="18"/>
                      <a:pt x="87" y="18"/>
                      <a:pt x="85" y="18"/>
                    </a:cubicBezTo>
                    <a:cubicBezTo>
                      <a:pt x="79" y="19"/>
                      <a:pt x="83" y="20"/>
                      <a:pt x="85" y="22"/>
                    </a:cubicBezTo>
                    <a:cubicBezTo>
                      <a:pt x="85" y="22"/>
                      <a:pt x="86" y="24"/>
                      <a:pt x="84" y="24"/>
                    </a:cubicBezTo>
                    <a:cubicBezTo>
                      <a:pt x="83" y="24"/>
                      <a:pt x="81" y="24"/>
                      <a:pt x="81" y="25"/>
                    </a:cubicBezTo>
                    <a:cubicBezTo>
                      <a:pt x="80" y="27"/>
                      <a:pt x="86" y="27"/>
                      <a:pt x="87" y="29"/>
                    </a:cubicBezTo>
                    <a:cubicBezTo>
                      <a:pt x="89" y="30"/>
                      <a:pt x="86" y="30"/>
                      <a:pt x="84" y="30"/>
                    </a:cubicBezTo>
                    <a:cubicBezTo>
                      <a:pt x="83" y="29"/>
                      <a:pt x="82" y="29"/>
                      <a:pt x="81" y="29"/>
                    </a:cubicBezTo>
                    <a:cubicBezTo>
                      <a:pt x="79" y="29"/>
                      <a:pt x="79" y="30"/>
                      <a:pt x="77" y="29"/>
                    </a:cubicBezTo>
                    <a:cubicBezTo>
                      <a:pt x="76" y="29"/>
                      <a:pt x="75" y="28"/>
                      <a:pt x="73" y="28"/>
                    </a:cubicBezTo>
                    <a:cubicBezTo>
                      <a:pt x="71" y="28"/>
                      <a:pt x="69" y="29"/>
                      <a:pt x="68" y="30"/>
                    </a:cubicBezTo>
                    <a:cubicBezTo>
                      <a:pt x="65" y="30"/>
                      <a:pt x="64" y="31"/>
                      <a:pt x="62" y="32"/>
                    </a:cubicBezTo>
                    <a:cubicBezTo>
                      <a:pt x="62" y="33"/>
                      <a:pt x="61" y="35"/>
                      <a:pt x="59" y="34"/>
                    </a:cubicBezTo>
                    <a:cubicBezTo>
                      <a:pt x="57" y="34"/>
                      <a:pt x="52" y="35"/>
                      <a:pt x="52" y="37"/>
                    </a:cubicBezTo>
                    <a:cubicBezTo>
                      <a:pt x="52" y="38"/>
                      <a:pt x="50" y="39"/>
                      <a:pt x="49" y="39"/>
                    </a:cubicBezTo>
                    <a:cubicBezTo>
                      <a:pt x="48" y="40"/>
                      <a:pt x="48" y="42"/>
                      <a:pt x="50" y="42"/>
                    </a:cubicBezTo>
                    <a:cubicBezTo>
                      <a:pt x="53" y="42"/>
                      <a:pt x="56" y="41"/>
                      <a:pt x="58" y="41"/>
                    </a:cubicBezTo>
                    <a:cubicBezTo>
                      <a:pt x="63" y="40"/>
                      <a:pt x="58" y="43"/>
                      <a:pt x="57" y="44"/>
                    </a:cubicBezTo>
                    <a:cubicBezTo>
                      <a:pt x="57" y="44"/>
                      <a:pt x="56" y="46"/>
                      <a:pt x="58" y="46"/>
                    </a:cubicBezTo>
                    <a:cubicBezTo>
                      <a:pt x="60" y="46"/>
                      <a:pt x="62" y="45"/>
                      <a:pt x="64" y="44"/>
                    </a:cubicBezTo>
                    <a:cubicBezTo>
                      <a:pt x="65" y="44"/>
                      <a:pt x="68" y="42"/>
                      <a:pt x="71" y="42"/>
                    </a:cubicBezTo>
                    <a:cubicBezTo>
                      <a:pt x="69" y="44"/>
                      <a:pt x="67" y="45"/>
                      <a:pt x="64" y="46"/>
                    </a:cubicBezTo>
                    <a:cubicBezTo>
                      <a:pt x="63" y="46"/>
                      <a:pt x="62" y="47"/>
                      <a:pt x="62" y="48"/>
                    </a:cubicBezTo>
                    <a:cubicBezTo>
                      <a:pt x="62" y="49"/>
                      <a:pt x="64" y="49"/>
                      <a:pt x="63" y="50"/>
                    </a:cubicBezTo>
                    <a:cubicBezTo>
                      <a:pt x="63" y="51"/>
                      <a:pt x="62" y="51"/>
                      <a:pt x="61" y="51"/>
                    </a:cubicBezTo>
                    <a:cubicBezTo>
                      <a:pt x="60" y="52"/>
                      <a:pt x="60" y="52"/>
                      <a:pt x="59" y="53"/>
                    </a:cubicBezTo>
                    <a:cubicBezTo>
                      <a:pt x="57" y="55"/>
                      <a:pt x="60" y="56"/>
                      <a:pt x="63" y="56"/>
                    </a:cubicBezTo>
                    <a:cubicBezTo>
                      <a:pt x="66" y="57"/>
                      <a:pt x="68" y="55"/>
                      <a:pt x="71" y="55"/>
                    </a:cubicBezTo>
                    <a:cubicBezTo>
                      <a:pt x="75" y="54"/>
                      <a:pt x="78" y="54"/>
                      <a:pt x="81" y="53"/>
                    </a:cubicBezTo>
                    <a:cubicBezTo>
                      <a:pt x="84" y="52"/>
                      <a:pt x="87" y="51"/>
                      <a:pt x="89" y="49"/>
                    </a:cubicBezTo>
                    <a:cubicBezTo>
                      <a:pt x="90" y="49"/>
                      <a:pt x="91" y="48"/>
                      <a:pt x="93" y="48"/>
                    </a:cubicBezTo>
                    <a:cubicBezTo>
                      <a:pt x="94" y="48"/>
                      <a:pt x="94" y="49"/>
                      <a:pt x="93" y="49"/>
                    </a:cubicBezTo>
                    <a:cubicBezTo>
                      <a:pt x="89" y="51"/>
                      <a:pt x="87" y="53"/>
                      <a:pt x="83" y="55"/>
                    </a:cubicBezTo>
                    <a:cubicBezTo>
                      <a:pt x="78" y="56"/>
                      <a:pt x="73" y="55"/>
                      <a:pt x="68" y="57"/>
                    </a:cubicBezTo>
                    <a:cubicBezTo>
                      <a:pt x="64" y="58"/>
                      <a:pt x="63" y="59"/>
                      <a:pt x="67" y="60"/>
                    </a:cubicBezTo>
                    <a:cubicBezTo>
                      <a:pt x="69" y="61"/>
                      <a:pt x="75" y="64"/>
                      <a:pt x="78" y="62"/>
                    </a:cubicBezTo>
                    <a:cubicBezTo>
                      <a:pt x="80" y="60"/>
                      <a:pt x="81" y="58"/>
                      <a:pt x="84" y="57"/>
                    </a:cubicBezTo>
                    <a:cubicBezTo>
                      <a:pt x="89" y="55"/>
                      <a:pt x="93" y="53"/>
                      <a:pt x="99" y="53"/>
                    </a:cubicBezTo>
                    <a:cubicBezTo>
                      <a:pt x="101" y="53"/>
                      <a:pt x="108" y="52"/>
                      <a:pt x="103" y="54"/>
                    </a:cubicBezTo>
                    <a:cubicBezTo>
                      <a:pt x="98" y="55"/>
                      <a:pt x="93" y="56"/>
                      <a:pt x="89" y="58"/>
                    </a:cubicBezTo>
                    <a:cubicBezTo>
                      <a:pt x="87" y="59"/>
                      <a:pt x="85" y="60"/>
                      <a:pt x="85" y="62"/>
                    </a:cubicBezTo>
                    <a:cubicBezTo>
                      <a:pt x="85" y="63"/>
                      <a:pt x="83" y="65"/>
                      <a:pt x="85" y="66"/>
                    </a:cubicBezTo>
                    <a:cubicBezTo>
                      <a:pt x="87" y="68"/>
                      <a:pt x="94" y="67"/>
                      <a:pt x="96" y="66"/>
                    </a:cubicBezTo>
                    <a:cubicBezTo>
                      <a:pt x="97" y="65"/>
                      <a:pt x="101" y="61"/>
                      <a:pt x="103" y="62"/>
                    </a:cubicBezTo>
                    <a:cubicBezTo>
                      <a:pt x="105" y="63"/>
                      <a:pt x="101" y="65"/>
                      <a:pt x="104" y="66"/>
                    </a:cubicBezTo>
                    <a:cubicBezTo>
                      <a:pt x="107" y="66"/>
                      <a:pt x="109" y="65"/>
                      <a:pt x="111" y="64"/>
                    </a:cubicBezTo>
                    <a:cubicBezTo>
                      <a:pt x="116" y="63"/>
                      <a:pt x="122" y="63"/>
                      <a:pt x="124" y="60"/>
                    </a:cubicBezTo>
                    <a:cubicBezTo>
                      <a:pt x="124" y="59"/>
                      <a:pt x="126" y="58"/>
                      <a:pt x="127" y="57"/>
                    </a:cubicBezTo>
                    <a:cubicBezTo>
                      <a:pt x="128" y="56"/>
                      <a:pt x="127" y="55"/>
                      <a:pt x="127" y="54"/>
                    </a:cubicBezTo>
                    <a:cubicBezTo>
                      <a:pt x="127" y="50"/>
                      <a:pt x="129" y="48"/>
                      <a:pt x="133" y="46"/>
                    </a:cubicBezTo>
                    <a:cubicBezTo>
                      <a:pt x="135" y="45"/>
                      <a:pt x="138" y="43"/>
                      <a:pt x="141" y="43"/>
                    </a:cubicBezTo>
                    <a:cubicBezTo>
                      <a:pt x="143" y="43"/>
                      <a:pt x="143" y="44"/>
                      <a:pt x="143" y="44"/>
                    </a:cubicBezTo>
                    <a:cubicBezTo>
                      <a:pt x="142" y="46"/>
                      <a:pt x="140" y="46"/>
                      <a:pt x="138" y="47"/>
                    </a:cubicBezTo>
                    <a:cubicBezTo>
                      <a:pt x="136" y="48"/>
                      <a:pt x="127" y="55"/>
                      <a:pt x="131" y="56"/>
                    </a:cubicBezTo>
                    <a:cubicBezTo>
                      <a:pt x="134" y="56"/>
                      <a:pt x="137" y="56"/>
                      <a:pt x="139" y="56"/>
                    </a:cubicBezTo>
                    <a:cubicBezTo>
                      <a:pt x="142" y="56"/>
                      <a:pt x="147" y="56"/>
                      <a:pt x="149" y="57"/>
                    </a:cubicBezTo>
                    <a:cubicBezTo>
                      <a:pt x="152" y="58"/>
                      <a:pt x="145" y="59"/>
                      <a:pt x="144" y="59"/>
                    </a:cubicBezTo>
                    <a:cubicBezTo>
                      <a:pt x="139" y="58"/>
                      <a:pt x="136" y="59"/>
                      <a:pt x="131" y="61"/>
                    </a:cubicBezTo>
                    <a:cubicBezTo>
                      <a:pt x="130" y="62"/>
                      <a:pt x="128" y="62"/>
                      <a:pt x="127" y="63"/>
                    </a:cubicBezTo>
                    <a:cubicBezTo>
                      <a:pt x="126" y="64"/>
                      <a:pt x="124" y="65"/>
                      <a:pt x="123" y="66"/>
                    </a:cubicBezTo>
                    <a:cubicBezTo>
                      <a:pt x="121" y="67"/>
                      <a:pt x="118" y="67"/>
                      <a:pt x="116" y="67"/>
                    </a:cubicBezTo>
                    <a:cubicBezTo>
                      <a:pt x="113" y="68"/>
                      <a:pt x="111" y="69"/>
                      <a:pt x="109" y="70"/>
                    </a:cubicBezTo>
                    <a:cubicBezTo>
                      <a:pt x="103" y="72"/>
                      <a:pt x="107" y="74"/>
                      <a:pt x="109" y="76"/>
                    </a:cubicBezTo>
                    <a:cubicBezTo>
                      <a:pt x="110" y="78"/>
                      <a:pt x="112" y="79"/>
                      <a:pt x="113" y="81"/>
                    </a:cubicBezTo>
                    <a:cubicBezTo>
                      <a:pt x="114" y="82"/>
                      <a:pt x="114" y="84"/>
                      <a:pt x="116" y="85"/>
                    </a:cubicBezTo>
                    <a:cubicBezTo>
                      <a:pt x="119" y="86"/>
                      <a:pt x="123" y="88"/>
                      <a:pt x="117" y="87"/>
                    </a:cubicBezTo>
                    <a:cubicBezTo>
                      <a:pt x="115" y="87"/>
                      <a:pt x="114" y="85"/>
                      <a:pt x="112" y="85"/>
                    </a:cubicBezTo>
                    <a:cubicBezTo>
                      <a:pt x="109" y="83"/>
                      <a:pt x="110" y="82"/>
                      <a:pt x="108" y="80"/>
                    </a:cubicBezTo>
                    <a:cubicBezTo>
                      <a:pt x="106" y="78"/>
                      <a:pt x="104" y="75"/>
                      <a:pt x="100" y="73"/>
                    </a:cubicBezTo>
                    <a:cubicBezTo>
                      <a:pt x="95" y="71"/>
                      <a:pt x="89" y="71"/>
                      <a:pt x="84" y="71"/>
                    </a:cubicBezTo>
                    <a:cubicBezTo>
                      <a:pt x="80" y="70"/>
                      <a:pt x="81" y="76"/>
                      <a:pt x="81" y="77"/>
                    </a:cubicBezTo>
                    <a:cubicBezTo>
                      <a:pt x="81" y="79"/>
                      <a:pt x="80" y="82"/>
                      <a:pt x="84" y="83"/>
                    </a:cubicBezTo>
                    <a:cubicBezTo>
                      <a:pt x="86" y="83"/>
                      <a:pt x="87" y="85"/>
                      <a:pt x="88" y="86"/>
                    </a:cubicBezTo>
                    <a:cubicBezTo>
                      <a:pt x="88" y="87"/>
                      <a:pt x="90" y="88"/>
                      <a:pt x="91" y="89"/>
                    </a:cubicBezTo>
                    <a:cubicBezTo>
                      <a:pt x="94" y="91"/>
                      <a:pt x="88" y="89"/>
                      <a:pt x="87" y="88"/>
                    </a:cubicBezTo>
                    <a:cubicBezTo>
                      <a:pt x="84" y="87"/>
                      <a:pt x="80" y="88"/>
                      <a:pt x="77" y="87"/>
                    </a:cubicBezTo>
                    <a:cubicBezTo>
                      <a:pt x="74" y="87"/>
                      <a:pt x="76" y="80"/>
                      <a:pt x="76" y="78"/>
                    </a:cubicBezTo>
                    <a:cubicBezTo>
                      <a:pt x="76" y="77"/>
                      <a:pt x="73" y="77"/>
                      <a:pt x="75" y="75"/>
                    </a:cubicBezTo>
                    <a:cubicBezTo>
                      <a:pt x="76" y="74"/>
                      <a:pt x="75" y="73"/>
                      <a:pt x="75" y="71"/>
                    </a:cubicBezTo>
                    <a:cubicBezTo>
                      <a:pt x="75" y="70"/>
                      <a:pt x="71" y="67"/>
                      <a:pt x="68" y="70"/>
                    </a:cubicBezTo>
                    <a:cubicBezTo>
                      <a:pt x="67" y="72"/>
                      <a:pt x="68" y="74"/>
                      <a:pt x="70" y="75"/>
                    </a:cubicBezTo>
                    <a:cubicBezTo>
                      <a:pt x="71" y="77"/>
                      <a:pt x="70" y="79"/>
                      <a:pt x="67" y="77"/>
                    </a:cubicBezTo>
                    <a:cubicBezTo>
                      <a:pt x="66" y="76"/>
                      <a:pt x="64" y="75"/>
                      <a:pt x="64" y="74"/>
                    </a:cubicBezTo>
                    <a:cubicBezTo>
                      <a:pt x="64" y="72"/>
                      <a:pt x="66" y="71"/>
                      <a:pt x="66" y="70"/>
                    </a:cubicBezTo>
                    <a:cubicBezTo>
                      <a:pt x="67" y="68"/>
                      <a:pt x="65" y="67"/>
                      <a:pt x="64" y="67"/>
                    </a:cubicBezTo>
                    <a:cubicBezTo>
                      <a:pt x="63" y="67"/>
                      <a:pt x="62" y="67"/>
                      <a:pt x="60" y="67"/>
                    </a:cubicBezTo>
                    <a:cubicBezTo>
                      <a:pt x="59" y="66"/>
                      <a:pt x="57" y="67"/>
                      <a:pt x="56" y="67"/>
                    </a:cubicBezTo>
                    <a:cubicBezTo>
                      <a:pt x="53" y="67"/>
                      <a:pt x="53" y="63"/>
                      <a:pt x="52" y="62"/>
                    </a:cubicBezTo>
                    <a:cubicBezTo>
                      <a:pt x="51" y="60"/>
                      <a:pt x="48" y="59"/>
                      <a:pt x="47" y="57"/>
                    </a:cubicBezTo>
                    <a:cubicBezTo>
                      <a:pt x="47" y="54"/>
                      <a:pt x="49" y="52"/>
                      <a:pt x="46" y="50"/>
                    </a:cubicBezTo>
                    <a:cubicBezTo>
                      <a:pt x="43" y="48"/>
                      <a:pt x="41" y="48"/>
                      <a:pt x="36" y="49"/>
                    </a:cubicBezTo>
                    <a:cubicBezTo>
                      <a:pt x="34" y="49"/>
                      <a:pt x="31" y="49"/>
                      <a:pt x="30" y="50"/>
                    </a:cubicBezTo>
                    <a:cubicBezTo>
                      <a:pt x="28" y="51"/>
                      <a:pt x="27" y="53"/>
                      <a:pt x="29" y="53"/>
                    </a:cubicBezTo>
                    <a:cubicBezTo>
                      <a:pt x="31" y="54"/>
                      <a:pt x="42" y="52"/>
                      <a:pt x="40" y="55"/>
                    </a:cubicBezTo>
                    <a:cubicBezTo>
                      <a:pt x="39" y="55"/>
                      <a:pt x="36" y="55"/>
                      <a:pt x="35" y="56"/>
                    </a:cubicBezTo>
                    <a:cubicBezTo>
                      <a:pt x="35" y="57"/>
                      <a:pt x="36" y="59"/>
                      <a:pt x="32" y="58"/>
                    </a:cubicBezTo>
                    <a:cubicBezTo>
                      <a:pt x="27" y="57"/>
                      <a:pt x="22" y="63"/>
                      <a:pt x="25" y="65"/>
                    </a:cubicBezTo>
                    <a:cubicBezTo>
                      <a:pt x="27" y="65"/>
                      <a:pt x="29" y="66"/>
                      <a:pt x="28" y="67"/>
                    </a:cubicBezTo>
                    <a:cubicBezTo>
                      <a:pt x="27" y="69"/>
                      <a:pt x="24" y="67"/>
                      <a:pt x="22" y="67"/>
                    </a:cubicBezTo>
                    <a:cubicBezTo>
                      <a:pt x="19" y="67"/>
                      <a:pt x="19" y="70"/>
                      <a:pt x="20" y="71"/>
                    </a:cubicBezTo>
                    <a:cubicBezTo>
                      <a:pt x="21" y="73"/>
                      <a:pt x="18" y="74"/>
                      <a:pt x="21" y="75"/>
                    </a:cubicBezTo>
                    <a:cubicBezTo>
                      <a:pt x="22" y="75"/>
                      <a:pt x="25" y="76"/>
                      <a:pt x="24" y="77"/>
                    </a:cubicBezTo>
                    <a:cubicBezTo>
                      <a:pt x="24" y="78"/>
                      <a:pt x="20" y="78"/>
                      <a:pt x="19" y="78"/>
                    </a:cubicBezTo>
                    <a:cubicBezTo>
                      <a:pt x="16" y="79"/>
                      <a:pt x="17" y="81"/>
                      <a:pt x="17" y="82"/>
                    </a:cubicBezTo>
                    <a:cubicBezTo>
                      <a:pt x="17" y="84"/>
                      <a:pt x="14" y="85"/>
                      <a:pt x="15" y="87"/>
                    </a:cubicBezTo>
                    <a:cubicBezTo>
                      <a:pt x="15" y="88"/>
                      <a:pt x="18" y="89"/>
                      <a:pt x="20"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89"/>
              <p:cNvSpPr>
                <a:spLocks/>
              </p:cNvSpPr>
              <p:nvPr/>
            </p:nvSpPr>
            <p:spPr bwMode="auto">
              <a:xfrm>
                <a:off x="3406776" y="3875088"/>
                <a:ext cx="4763" cy="7938"/>
              </a:xfrm>
              <a:custGeom>
                <a:avLst/>
                <a:gdLst>
                  <a:gd name="T0" fmla="*/ 0 w 7"/>
                  <a:gd name="T1" fmla="*/ 2 h 11"/>
                  <a:gd name="T2" fmla="*/ 4 w 7"/>
                  <a:gd name="T3" fmla="*/ 8 h 11"/>
                  <a:gd name="T4" fmla="*/ 4 w 7"/>
                  <a:gd name="T5" fmla="*/ 3 h 11"/>
                  <a:gd name="T6" fmla="*/ 0 w 7"/>
                  <a:gd name="T7" fmla="*/ 2 h 11"/>
                </a:gdLst>
                <a:ahLst/>
                <a:cxnLst>
                  <a:cxn ang="0">
                    <a:pos x="T0" y="T1"/>
                  </a:cxn>
                  <a:cxn ang="0">
                    <a:pos x="T2" y="T3"/>
                  </a:cxn>
                  <a:cxn ang="0">
                    <a:pos x="T4" y="T5"/>
                  </a:cxn>
                  <a:cxn ang="0">
                    <a:pos x="T6" y="T7"/>
                  </a:cxn>
                </a:cxnLst>
                <a:rect l="0" t="0" r="r" b="b"/>
                <a:pathLst>
                  <a:path w="7" h="11">
                    <a:moveTo>
                      <a:pt x="0" y="2"/>
                    </a:moveTo>
                    <a:cubicBezTo>
                      <a:pt x="0" y="4"/>
                      <a:pt x="1" y="6"/>
                      <a:pt x="4" y="8"/>
                    </a:cubicBezTo>
                    <a:cubicBezTo>
                      <a:pt x="7" y="11"/>
                      <a:pt x="5" y="4"/>
                      <a:pt x="4" y="3"/>
                    </a:cubicBezTo>
                    <a:cubicBezTo>
                      <a:pt x="3" y="2"/>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90"/>
              <p:cNvSpPr>
                <a:spLocks/>
              </p:cNvSpPr>
              <p:nvPr/>
            </p:nvSpPr>
            <p:spPr bwMode="auto">
              <a:xfrm>
                <a:off x="2982913" y="3878263"/>
                <a:ext cx="31750" cy="31750"/>
              </a:xfrm>
              <a:custGeom>
                <a:avLst/>
                <a:gdLst>
                  <a:gd name="T0" fmla="*/ 23 w 41"/>
                  <a:gd name="T1" fmla="*/ 1 h 42"/>
                  <a:gd name="T2" fmla="*/ 10 w 41"/>
                  <a:gd name="T3" fmla="*/ 3 h 42"/>
                  <a:gd name="T4" fmla="*/ 14 w 41"/>
                  <a:gd name="T5" fmla="*/ 6 h 42"/>
                  <a:gd name="T6" fmla="*/ 7 w 41"/>
                  <a:gd name="T7" fmla="*/ 10 h 42"/>
                  <a:gd name="T8" fmla="*/ 10 w 41"/>
                  <a:gd name="T9" fmla="*/ 15 h 42"/>
                  <a:gd name="T10" fmla="*/ 2 w 41"/>
                  <a:gd name="T11" fmla="*/ 21 h 42"/>
                  <a:gd name="T12" fmla="*/ 0 w 41"/>
                  <a:gd name="T13" fmla="*/ 29 h 42"/>
                  <a:gd name="T14" fmla="*/ 9 w 41"/>
                  <a:gd name="T15" fmla="*/ 27 h 42"/>
                  <a:gd name="T16" fmla="*/ 18 w 41"/>
                  <a:gd name="T17" fmla="*/ 25 h 42"/>
                  <a:gd name="T18" fmla="*/ 10 w 41"/>
                  <a:gd name="T19" fmla="*/ 32 h 42"/>
                  <a:gd name="T20" fmla="*/ 10 w 41"/>
                  <a:gd name="T21" fmla="*/ 36 h 42"/>
                  <a:gd name="T22" fmla="*/ 14 w 41"/>
                  <a:gd name="T23" fmla="*/ 40 h 42"/>
                  <a:gd name="T24" fmla="*/ 27 w 41"/>
                  <a:gd name="T25" fmla="*/ 37 h 42"/>
                  <a:gd name="T26" fmla="*/ 31 w 41"/>
                  <a:gd name="T27" fmla="*/ 33 h 42"/>
                  <a:gd name="T28" fmla="*/ 34 w 41"/>
                  <a:gd name="T29" fmla="*/ 28 h 42"/>
                  <a:gd name="T30" fmla="*/ 40 w 41"/>
                  <a:gd name="T31" fmla="*/ 24 h 42"/>
                  <a:gd name="T32" fmla="*/ 36 w 41"/>
                  <a:gd name="T33" fmla="*/ 15 h 42"/>
                  <a:gd name="T34" fmla="*/ 34 w 41"/>
                  <a:gd name="T35" fmla="*/ 4 h 42"/>
                  <a:gd name="T36" fmla="*/ 29 w 41"/>
                  <a:gd name="T37" fmla="*/ 2 h 42"/>
                  <a:gd name="T38" fmla="*/ 23 w 41"/>
                  <a:gd name="T39"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 h="42">
                    <a:moveTo>
                      <a:pt x="23" y="1"/>
                    </a:moveTo>
                    <a:cubicBezTo>
                      <a:pt x="19" y="1"/>
                      <a:pt x="14" y="0"/>
                      <a:pt x="10" y="3"/>
                    </a:cubicBezTo>
                    <a:cubicBezTo>
                      <a:pt x="5" y="6"/>
                      <a:pt x="12" y="6"/>
                      <a:pt x="14" y="6"/>
                    </a:cubicBezTo>
                    <a:cubicBezTo>
                      <a:pt x="19" y="8"/>
                      <a:pt x="7" y="10"/>
                      <a:pt x="7" y="10"/>
                    </a:cubicBezTo>
                    <a:cubicBezTo>
                      <a:pt x="2" y="13"/>
                      <a:pt x="10" y="14"/>
                      <a:pt x="10" y="15"/>
                    </a:cubicBezTo>
                    <a:cubicBezTo>
                      <a:pt x="10" y="18"/>
                      <a:pt x="4" y="18"/>
                      <a:pt x="2" y="21"/>
                    </a:cubicBezTo>
                    <a:cubicBezTo>
                      <a:pt x="0" y="23"/>
                      <a:pt x="0" y="27"/>
                      <a:pt x="0" y="29"/>
                    </a:cubicBezTo>
                    <a:cubicBezTo>
                      <a:pt x="0" y="32"/>
                      <a:pt x="7" y="29"/>
                      <a:pt x="9" y="27"/>
                    </a:cubicBezTo>
                    <a:cubicBezTo>
                      <a:pt x="11" y="27"/>
                      <a:pt x="17" y="24"/>
                      <a:pt x="18" y="25"/>
                    </a:cubicBezTo>
                    <a:cubicBezTo>
                      <a:pt x="19" y="27"/>
                      <a:pt x="11" y="31"/>
                      <a:pt x="10" y="32"/>
                    </a:cubicBezTo>
                    <a:cubicBezTo>
                      <a:pt x="9" y="34"/>
                      <a:pt x="9" y="35"/>
                      <a:pt x="10" y="36"/>
                    </a:cubicBezTo>
                    <a:cubicBezTo>
                      <a:pt x="11" y="37"/>
                      <a:pt x="13" y="39"/>
                      <a:pt x="14" y="40"/>
                    </a:cubicBezTo>
                    <a:cubicBezTo>
                      <a:pt x="18" y="42"/>
                      <a:pt x="24" y="40"/>
                      <a:pt x="27" y="37"/>
                    </a:cubicBezTo>
                    <a:cubicBezTo>
                      <a:pt x="28" y="36"/>
                      <a:pt x="30" y="35"/>
                      <a:pt x="31" y="33"/>
                    </a:cubicBezTo>
                    <a:cubicBezTo>
                      <a:pt x="32" y="32"/>
                      <a:pt x="32" y="30"/>
                      <a:pt x="34" y="28"/>
                    </a:cubicBezTo>
                    <a:cubicBezTo>
                      <a:pt x="36" y="26"/>
                      <a:pt x="41" y="27"/>
                      <a:pt x="40" y="24"/>
                    </a:cubicBezTo>
                    <a:cubicBezTo>
                      <a:pt x="38" y="20"/>
                      <a:pt x="35" y="19"/>
                      <a:pt x="36" y="15"/>
                    </a:cubicBezTo>
                    <a:cubicBezTo>
                      <a:pt x="36" y="11"/>
                      <a:pt x="38" y="7"/>
                      <a:pt x="34" y="4"/>
                    </a:cubicBezTo>
                    <a:cubicBezTo>
                      <a:pt x="33" y="3"/>
                      <a:pt x="31" y="3"/>
                      <a:pt x="29" y="2"/>
                    </a:cubicBezTo>
                    <a:cubicBezTo>
                      <a:pt x="27" y="2"/>
                      <a:pt x="26" y="1"/>
                      <a:pt x="2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91"/>
              <p:cNvSpPr>
                <a:spLocks/>
              </p:cNvSpPr>
              <p:nvPr/>
            </p:nvSpPr>
            <p:spPr bwMode="auto">
              <a:xfrm>
                <a:off x="3151188" y="3768725"/>
                <a:ext cx="280988" cy="377825"/>
              </a:xfrm>
              <a:custGeom>
                <a:avLst/>
                <a:gdLst>
                  <a:gd name="T0" fmla="*/ 66 w 372"/>
                  <a:gd name="T1" fmla="*/ 43 h 500"/>
                  <a:gd name="T2" fmla="*/ 33 w 372"/>
                  <a:gd name="T3" fmla="*/ 60 h 500"/>
                  <a:gd name="T4" fmla="*/ 51 w 372"/>
                  <a:gd name="T5" fmla="*/ 71 h 500"/>
                  <a:gd name="T6" fmla="*/ 25 w 372"/>
                  <a:gd name="T7" fmla="*/ 90 h 500"/>
                  <a:gd name="T8" fmla="*/ 22 w 372"/>
                  <a:gd name="T9" fmla="*/ 122 h 500"/>
                  <a:gd name="T10" fmla="*/ 37 w 372"/>
                  <a:gd name="T11" fmla="*/ 128 h 500"/>
                  <a:gd name="T12" fmla="*/ 31 w 372"/>
                  <a:gd name="T13" fmla="*/ 147 h 500"/>
                  <a:gd name="T14" fmla="*/ 71 w 372"/>
                  <a:gd name="T15" fmla="*/ 158 h 500"/>
                  <a:gd name="T16" fmla="*/ 120 w 372"/>
                  <a:gd name="T17" fmla="*/ 186 h 500"/>
                  <a:gd name="T18" fmla="*/ 149 w 372"/>
                  <a:gd name="T19" fmla="*/ 233 h 500"/>
                  <a:gd name="T20" fmla="*/ 162 w 372"/>
                  <a:gd name="T21" fmla="*/ 262 h 500"/>
                  <a:gd name="T22" fmla="*/ 170 w 372"/>
                  <a:gd name="T23" fmla="*/ 282 h 500"/>
                  <a:gd name="T24" fmla="*/ 180 w 372"/>
                  <a:gd name="T25" fmla="*/ 313 h 500"/>
                  <a:gd name="T26" fmla="*/ 191 w 372"/>
                  <a:gd name="T27" fmla="*/ 334 h 500"/>
                  <a:gd name="T28" fmla="*/ 175 w 372"/>
                  <a:gd name="T29" fmla="*/ 348 h 500"/>
                  <a:gd name="T30" fmla="*/ 190 w 372"/>
                  <a:gd name="T31" fmla="*/ 394 h 500"/>
                  <a:gd name="T32" fmla="*/ 220 w 372"/>
                  <a:gd name="T33" fmla="*/ 468 h 500"/>
                  <a:gd name="T34" fmla="*/ 252 w 372"/>
                  <a:gd name="T35" fmla="*/ 496 h 500"/>
                  <a:gd name="T36" fmla="*/ 271 w 372"/>
                  <a:gd name="T37" fmla="*/ 446 h 500"/>
                  <a:gd name="T38" fmla="*/ 275 w 372"/>
                  <a:gd name="T39" fmla="*/ 405 h 500"/>
                  <a:gd name="T40" fmla="*/ 295 w 372"/>
                  <a:gd name="T41" fmla="*/ 396 h 500"/>
                  <a:gd name="T42" fmla="*/ 320 w 372"/>
                  <a:gd name="T43" fmla="*/ 364 h 500"/>
                  <a:gd name="T44" fmla="*/ 358 w 372"/>
                  <a:gd name="T45" fmla="*/ 346 h 500"/>
                  <a:gd name="T46" fmla="*/ 346 w 372"/>
                  <a:gd name="T47" fmla="*/ 319 h 500"/>
                  <a:gd name="T48" fmla="*/ 334 w 372"/>
                  <a:gd name="T49" fmla="*/ 294 h 500"/>
                  <a:gd name="T50" fmla="*/ 365 w 372"/>
                  <a:gd name="T51" fmla="*/ 325 h 500"/>
                  <a:gd name="T52" fmla="*/ 353 w 372"/>
                  <a:gd name="T53" fmla="*/ 289 h 500"/>
                  <a:gd name="T54" fmla="*/ 343 w 372"/>
                  <a:gd name="T55" fmla="*/ 260 h 500"/>
                  <a:gd name="T56" fmla="*/ 356 w 372"/>
                  <a:gd name="T57" fmla="*/ 247 h 500"/>
                  <a:gd name="T58" fmla="*/ 352 w 372"/>
                  <a:gd name="T59" fmla="*/ 226 h 500"/>
                  <a:gd name="T60" fmla="*/ 340 w 372"/>
                  <a:gd name="T61" fmla="*/ 200 h 500"/>
                  <a:gd name="T62" fmla="*/ 355 w 372"/>
                  <a:gd name="T63" fmla="*/ 193 h 500"/>
                  <a:gd name="T64" fmla="*/ 335 w 372"/>
                  <a:gd name="T65" fmla="*/ 168 h 500"/>
                  <a:gd name="T66" fmla="*/ 332 w 372"/>
                  <a:gd name="T67" fmla="*/ 142 h 500"/>
                  <a:gd name="T68" fmla="*/ 326 w 372"/>
                  <a:gd name="T69" fmla="*/ 120 h 500"/>
                  <a:gd name="T70" fmla="*/ 321 w 372"/>
                  <a:gd name="T71" fmla="*/ 108 h 500"/>
                  <a:gd name="T72" fmla="*/ 337 w 372"/>
                  <a:gd name="T73" fmla="*/ 105 h 500"/>
                  <a:gd name="T74" fmla="*/ 320 w 372"/>
                  <a:gd name="T75" fmla="*/ 75 h 500"/>
                  <a:gd name="T76" fmla="*/ 311 w 372"/>
                  <a:gd name="T77" fmla="*/ 79 h 500"/>
                  <a:gd name="T78" fmla="*/ 299 w 372"/>
                  <a:gd name="T79" fmla="*/ 85 h 500"/>
                  <a:gd name="T80" fmla="*/ 294 w 372"/>
                  <a:gd name="T81" fmla="*/ 83 h 500"/>
                  <a:gd name="T82" fmla="*/ 268 w 372"/>
                  <a:gd name="T83" fmla="*/ 67 h 500"/>
                  <a:gd name="T84" fmla="*/ 230 w 372"/>
                  <a:gd name="T85" fmla="*/ 52 h 500"/>
                  <a:gd name="T86" fmla="*/ 279 w 372"/>
                  <a:gd name="T87" fmla="*/ 54 h 500"/>
                  <a:gd name="T88" fmla="*/ 261 w 372"/>
                  <a:gd name="T89" fmla="*/ 35 h 500"/>
                  <a:gd name="T90" fmla="*/ 211 w 372"/>
                  <a:gd name="T91" fmla="*/ 21 h 500"/>
                  <a:gd name="T92" fmla="*/ 248 w 372"/>
                  <a:gd name="T93" fmla="*/ 23 h 500"/>
                  <a:gd name="T94" fmla="*/ 209 w 372"/>
                  <a:gd name="T95" fmla="*/ 4 h 500"/>
                  <a:gd name="T96" fmla="*/ 185 w 372"/>
                  <a:gd name="T97" fmla="*/ 7 h 500"/>
                  <a:gd name="T98" fmla="*/ 170 w 372"/>
                  <a:gd name="T99" fmla="*/ 9 h 500"/>
                  <a:gd name="T100" fmla="*/ 157 w 372"/>
                  <a:gd name="T101" fmla="*/ 6 h 500"/>
                  <a:gd name="T102" fmla="*/ 154 w 372"/>
                  <a:gd name="T103" fmla="*/ 13 h 500"/>
                  <a:gd name="T104" fmla="*/ 151 w 372"/>
                  <a:gd name="T105" fmla="*/ 14 h 500"/>
                  <a:gd name="T106" fmla="*/ 164 w 372"/>
                  <a:gd name="T107" fmla="*/ 40 h 500"/>
                  <a:gd name="T108" fmla="*/ 132 w 372"/>
                  <a:gd name="T109" fmla="*/ 29 h 500"/>
                  <a:gd name="T110" fmla="*/ 116 w 372"/>
                  <a:gd name="T111" fmla="*/ 23 h 500"/>
                  <a:gd name="T112" fmla="*/ 111 w 372"/>
                  <a:gd name="T113" fmla="*/ 23 h 500"/>
                  <a:gd name="T114" fmla="*/ 78 w 372"/>
                  <a:gd name="T115" fmla="*/ 25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500">
                    <a:moveTo>
                      <a:pt x="91" y="36"/>
                    </a:moveTo>
                    <a:cubicBezTo>
                      <a:pt x="89" y="35"/>
                      <a:pt x="88" y="33"/>
                      <a:pt x="86" y="32"/>
                    </a:cubicBezTo>
                    <a:cubicBezTo>
                      <a:pt x="84" y="31"/>
                      <a:pt x="83" y="30"/>
                      <a:pt x="81" y="29"/>
                    </a:cubicBezTo>
                    <a:cubicBezTo>
                      <a:pt x="76" y="28"/>
                      <a:pt x="75" y="25"/>
                      <a:pt x="72" y="23"/>
                    </a:cubicBezTo>
                    <a:cubicBezTo>
                      <a:pt x="69" y="22"/>
                      <a:pt x="66" y="23"/>
                      <a:pt x="64" y="24"/>
                    </a:cubicBezTo>
                    <a:cubicBezTo>
                      <a:pt x="62" y="26"/>
                      <a:pt x="66" y="29"/>
                      <a:pt x="68" y="31"/>
                    </a:cubicBezTo>
                    <a:cubicBezTo>
                      <a:pt x="71" y="33"/>
                      <a:pt x="70" y="35"/>
                      <a:pt x="69" y="37"/>
                    </a:cubicBezTo>
                    <a:cubicBezTo>
                      <a:pt x="68" y="39"/>
                      <a:pt x="71" y="44"/>
                      <a:pt x="66" y="43"/>
                    </a:cubicBezTo>
                    <a:cubicBezTo>
                      <a:pt x="62" y="43"/>
                      <a:pt x="59" y="39"/>
                      <a:pt x="54" y="40"/>
                    </a:cubicBezTo>
                    <a:cubicBezTo>
                      <a:pt x="53" y="40"/>
                      <a:pt x="52" y="41"/>
                      <a:pt x="51" y="42"/>
                    </a:cubicBezTo>
                    <a:cubicBezTo>
                      <a:pt x="49" y="43"/>
                      <a:pt x="48" y="43"/>
                      <a:pt x="47" y="45"/>
                    </a:cubicBezTo>
                    <a:cubicBezTo>
                      <a:pt x="45" y="47"/>
                      <a:pt x="46" y="50"/>
                      <a:pt x="42" y="51"/>
                    </a:cubicBezTo>
                    <a:cubicBezTo>
                      <a:pt x="41" y="51"/>
                      <a:pt x="40" y="50"/>
                      <a:pt x="38" y="50"/>
                    </a:cubicBezTo>
                    <a:cubicBezTo>
                      <a:pt x="37" y="49"/>
                      <a:pt x="38" y="53"/>
                      <a:pt x="38" y="53"/>
                    </a:cubicBezTo>
                    <a:cubicBezTo>
                      <a:pt x="38" y="54"/>
                      <a:pt x="35" y="55"/>
                      <a:pt x="35" y="56"/>
                    </a:cubicBezTo>
                    <a:cubicBezTo>
                      <a:pt x="33" y="57"/>
                      <a:pt x="33" y="59"/>
                      <a:pt x="33" y="60"/>
                    </a:cubicBezTo>
                    <a:cubicBezTo>
                      <a:pt x="33" y="61"/>
                      <a:pt x="33" y="62"/>
                      <a:pt x="34" y="64"/>
                    </a:cubicBezTo>
                    <a:cubicBezTo>
                      <a:pt x="35" y="65"/>
                      <a:pt x="38" y="64"/>
                      <a:pt x="40" y="65"/>
                    </a:cubicBezTo>
                    <a:cubicBezTo>
                      <a:pt x="42" y="66"/>
                      <a:pt x="44" y="67"/>
                      <a:pt x="46" y="67"/>
                    </a:cubicBezTo>
                    <a:cubicBezTo>
                      <a:pt x="47" y="67"/>
                      <a:pt x="46" y="66"/>
                      <a:pt x="47" y="66"/>
                    </a:cubicBezTo>
                    <a:cubicBezTo>
                      <a:pt x="49" y="66"/>
                      <a:pt x="51" y="66"/>
                      <a:pt x="52" y="67"/>
                    </a:cubicBezTo>
                    <a:cubicBezTo>
                      <a:pt x="53" y="67"/>
                      <a:pt x="52" y="68"/>
                      <a:pt x="51" y="68"/>
                    </a:cubicBezTo>
                    <a:cubicBezTo>
                      <a:pt x="51" y="68"/>
                      <a:pt x="52" y="69"/>
                      <a:pt x="53" y="69"/>
                    </a:cubicBezTo>
                    <a:cubicBezTo>
                      <a:pt x="56" y="71"/>
                      <a:pt x="53" y="71"/>
                      <a:pt x="51" y="71"/>
                    </a:cubicBezTo>
                    <a:cubicBezTo>
                      <a:pt x="46" y="72"/>
                      <a:pt x="52" y="74"/>
                      <a:pt x="53" y="76"/>
                    </a:cubicBezTo>
                    <a:cubicBezTo>
                      <a:pt x="56" y="78"/>
                      <a:pt x="54" y="81"/>
                      <a:pt x="51" y="82"/>
                    </a:cubicBezTo>
                    <a:cubicBezTo>
                      <a:pt x="47" y="83"/>
                      <a:pt x="47" y="87"/>
                      <a:pt x="43" y="87"/>
                    </a:cubicBezTo>
                    <a:cubicBezTo>
                      <a:pt x="42" y="87"/>
                      <a:pt x="41" y="87"/>
                      <a:pt x="40" y="87"/>
                    </a:cubicBezTo>
                    <a:cubicBezTo>
                      <a:pt x="39" y="86"/>
                      <a:pt x="39" y="86"/>
                      <a:pt x="38" y="86"/>
                    </a:cubicBezTo>
                    <a:cubicBezTo>
                      <a:pt x="37" y="86"/>
                      <a:pt x="36" y="87"/>
                      <a:pt x="35" y="87"/>
                    </a:cubicBezTo>
                    <a:cubicBezTo>
                      <a:pt x="34" y="88"/>
                      <a:pt x="31" y="87"/>
                      <a:pt x="29" y="87"/>
                    </a:cubicBezTo>
                    <a:cubicBezTo>
                      <a:pt x="26" y="87"/>
                      <a:pt x="27" y="89"/>
                      <a:pt x="25" y="90"/>
                    </a:cubicBezTo>
                    <a:cubicBezTo>
                      <a:pt x="23" y="91"/>
                      <a:pt x="22" y="92"/>
                      <a:pt x="21" y="92"/>
                    </a:cubicBezTo>
                    <a:cubicBezTo>
                      <a:pt x="19" y="93"/>
                      <a:pt x="16" y="94"/>
                      <a:pt x="14" y="94"/>
                    </a:cubicBezTo>
                    <a:cubicBezTo>
                      <a:pt x="10" y="96"/>
                      <a:pt x="5" y="96"/>
                      <a:pt x="1" y="99"/>
                    </a:cubicBezTo>
                    <a:cubicBezTo>
                      <a:pt x="0" y="99"/>
                      <a:pt x="0" y="102"/>
                      <a:pt x="0" y="103"/>
                    </a:cubicBezTo>
                    <a:cubicBezTo>
                      <a:pt x="0" y="105"/>
                      <a:pt x="1" y="106"/>
                      <a:pt x="2" y="108"/>
                    </a:cubicBezTo>
                    <a:cubicBezTo>
                      <a:pt x="4" y="111"/>
                      <a:pt x="5" y="113"/>
                      <a:pt x="10" y="115"/>
                    </a:cubicBezTo>
                    <a:cubicBezTo>
                      <a:pt x="14" y="116"/>
                      <a:pt x="21" y="115"/>
                      <a:pt x="23" y="119"/>
                    </a:cubicBezTo>
                    <a:cubicBezTo>
                      <a:pt x="23" y="120"/>
                      <a:pt x="22" y="121"/>
                      <a:pt x="22" y="122"/>
                    </a:cubicBezTo>
                    <a:cubicBezTo>
                      <a:pt x="22" y="124"/>
                      <a:pt x="26" y="124"/>
                      <a:pt x="28" y="125"/>
                    </a:cubicBezTo>
                    <a:cubicBezTo>
                      <a:pt x="30" y="125"/>
                      <a:pt x="32" y="125"/>
                      <a:pt x="33" y="124"/>
                    </a:cubicBezTo>
                    <a:cubicBezTo>
                      <a:pt x="33" y="123"/>
                      <a:pt x="34" y="122"/>
                      <a:pt x="35" y="122"/>
                    </a:cubicBezTo>
                    <a:cubicBezTo>
                      <a:pt x="37" y="121"/>
                      <a:pt x="39" y="122"/>
                      <a:pt x="40" y="123"/>
                    </a:cubicBezTo>
                    <a:cubicBezTo>
                      <a:pt x="43" y="124"/>
                      <a:pt x="43" y="121"/>
                      <a:pt x="44" y="120"/>
                    </a:cubicBezTo>
                    <a:cubicBezTo>
                      <a:pt x="46" y="118"/>
                      <a:pt x="52" y="122"/>
                      <a:pt x="53" y="124"/>
                    </a:cubicBezTo>
                    <a:cubicBezTo>
                      <a:pt x="56" y="129"/>
                      <a:pt x="48" y="125"/>
                      <a:pt x="48" y="128"/>
                    </a:cubicBezTo>
                    <a:cubicBezTo>
                      <a:pt x="49" y="132"/>
                      <a:pt x="39" y="127"/>
                      <a:pt x="37" y="128"/>
                    </a:cubicBezTo>
                    <a:cubicBezTo>
                      <a:pt x="34" y="128"/>
                      <a:pt x="33" y="132"/>
                      <a:pt x="29" y="131"/>
                    </a:cubicBezTo>
                    <a:cubicBezTo>
                      <a:pt x="28" y="130"/>
                      <a:pt x="25" y="128"/>
                      <a:pt x="24" y="129"/>
                    </a:cubicBezTo>
                    <a:cubicBezTo>
                      <a:pt x="22" y="130"/>
                      <a:pt x="20" y="129"/>
                      <a:pt x="18" y="130"/>
                    </a:cubicBezTo>
                    <a:cubicBezTo>
                      <a:pt x="14" y="131"/>
                      <a:pt x="12" y="135"/>
                      <a:pt x="15" y="137"/>
                    </a:cubicBezTo>
                    <a:cubicBezTo>
                      <a:pt x="18" y="139"/>
                      <a:pt x="22" y="138"/>
                      <a:pt x="25" y="140"/>
                    </a:cubicBezTo>
                    <a:cubicBezTo>
                      <a:pt x="27" y="141"/>
                      <a:pt x="29" y="143"/>
                      <a:pt x="32" y="143"/>
                    </a:cubicBezTo>
                    <a:cubicBezTo>
                      <a:pt x="33" y="142"/>
                      <a:pt x="38" y="142"/>
                      <a:pt x="39" y="144"/>
                    </a:cubicBezTo>
                    <a:cubicBezTo>
                      <a:pt x="41" y="147"/>
                      <a:pt x="34" y="147"/>
                      <a:pt x="31" y="147"/>
                    </a:cubicBezTo>
                    <a:cubicBezTo>
                      <a:pt x="29" y="148"/>
                      <a:pt x="22" y="150"/>
                      <a:pt x="27" y="151"/>
                    </a:cubicBezTo>
                    <a:cubicBezTo>
                      <a:pt x="29" y="152"/>
                      <a:pt x="32" y="152"/>
                      <a:pt x="34" y="153"/>
                    </a:cubicBezTo>
                    <a:cubicBezTo>
                      <a:pt x="36" y="154"/>
                      <a:pt x="36" y="156"/>
                      <a:pt x="39" y="157"/>
                    </a:cubicBezTo>
                    <a:cubicBezTo>
                      <a:pt x="41" y="158"/>
                      <a:pt x="44" y="158"/>
                      <a:pt x="46" y="159"/>
                    </a:cubicBezTo>
                    <a:cubicBezTo>
                      <a:pt x="49" y="159"/>
                      <a:pt x="51" y="161"/>
                      <a:pt x="54" y="161"/>
                    </a:cubicBezTo>
                    <a:cubicBezTo>
                      <a:pt x="54" y="160"/>
                      <a:pt x="53" y="155"/>
                      <a:pt x="56" y="156"/>
                    </a:cubicBezTo>
                    <a:cubicBezTo>
                      <a:pt x="58" y="157"/>
                      <a:pt x="60" y="159"/>
                      <a:pt x="62" y="159"/>
                    </a:cubicBezTo>
                    <a:cubicBezTo>
                      <a:pt x="62" y="155"/>
                      <a:pt x="66" y="156"/>
                      <a:pt x="71" y="158"/>
                    </a:cubicBezTo>
                    <a:cubicBezTo>
                      <a:pt x="72" y="158"/>
                      <a:pt x="77" y="160"/>
                      <a:pt x="77" y="158"/>
                    </a:cubicBezTo>
                    <a:cubicBezTo>
                      <a:pt x="76" y="157"/>
                      <a:pt x="74" y="155"/>
                      <a:pt x="75" y="154"/>
                    </a:cubicBezTo>
                    <a:cubicBezTo>
                      <a:pt x="76" y="154"/>
                      <a:pt x="80" y="156"/>
                      <a:pt x="82" y="156"/>
                    </a:cubicBezTo>
                    <a:cubicBezTo>
                      <a:pt x="84" y="157"/>
                      <a:pt x="87" y="159"/>
                      <a:pt x="89" y="160"/>
                    </a:cubicBezTo>
                    <a:cubicBezTo>
                      <a:pt x="92" y="161"/>
                      <a:pt x="95" y="161"/>
                      <a:pt x="97" y="163"/>
                    </a:cubicBezTo>
                    <a:cubicBezTo>
                      <a:pt x="101" y="164"/>
                      <a:pt x="104" y="166"/>
                      <a:pt x="108" y="168"/>
                    </a:cubicBezTo>
                    <a:cubicBezTo>
                      <a:pt x="113" y="170"/>
                      <a:pt x="116" y="176"/>
                      <a:pt x="118" y="180"/>
                    </a:cubicBezTo>
                    <a:cubicBezTo>
                      <a:pt x="118" y="182"/>
                      <a:pt x="119" y="184"/>
                      <a:pt x="120" y="186"/>
                    </a:cubicBezTo>
                    <a:cubicBezTo>
                      <a:pt x="122" y="188"/>
                      <a:pt x="125" y="190"/>
                      <a:pt x="126" y="192"/>
                    </a:cubicBezTo>
                    <a:cubicBezTo>
                      <a:pt x="127" y="193"/>
                      <a:pt x="129" y="196"/>
                      <a:pt x="130" y="197"/>
                    </a:cubicBezTo>
                    <a:cubicBezTo>
                      <a:pt x="133" y="198"/>
                      <a:pt x="134" y="199"/>
                      <a:pt x="134" y="201"/>
                    </a:cubicBezTo>
                    <a:cubicBezTo>
                      <a:pt x="136" y="203"/>
                      <a:pt x="136" y="205"/>
                      <a:pt x="137" y="208"/>
                    </a:cubicBezTo>
                    <a:cubicBezTo>
                      <a:pt x="138" y="210"/>
                      <a:pt x="139" y="213"/>
                      <a:pt x="138" y="216"/>
                    </a:cubicBezTo>
                    <a:cubicBezTo>
                      <a:pt x="138" y="218"/>
                      <a:pt x="136" y="219"/>
                      <a:pt x="140" y="220"/>
                    </a:cubicBezTo>
                    <a:cubicBezTo>
                      <a:pt x="142" y="221"/>
                      <a:pt x="145" y="223"/>
                      <a:pt x="146" y="226"/>
                    </a:cubicBezTo>
                    <a:cubicBezTo>
                      <a:pt x="147" y="228"/>
                      <a:pt x="143" y="232"/>
                      <a:pt x="149" y="233"/>
                    </a:cubicBezTo>
                    <a:cubicBezTo>
                      <a:pt x="152" y="234"/>
                      <a:pt x="153" y="235"/>
                      <a:pt x="151" y="238"/>
                    </a:cubicBezTo>
                    <a:cubicBezTo>
                      <a:pt x="150" y="239"/>
                      <a:pt x="148" y="239"/>
                      <a:pt x="147" y="241"/>
                    </a:cubicBezTo>
                    <a:cubicBezTo>
                      <a:pt x="147" y="242"/>
                      <a:pt x="150" y="245"/>
                      <a:pt x="151" y="246"/>
                    </a:cubicBezTo>
                    <a:cubicBezTo>
                      <a:pt x="153" y="250"/>
                      <a:pt x="147" y="249"/>
                      <a:pt x="149" y="254"/>
                    </a:cubicBezTo>
                    <a:cubicBezTo>
                      <a:pt x="149" y="256"/>
                      <a:pt x="151" y="257"/>
                      <a:pt x="151" y="260"/>
                    </a:cubicBezTo>
                    <a:cubicBezTo>
                      <a:pt x="152" y="262"/>
                      <a:pt x="150" y="264"/>
                      <a:pt x="153" y="266"/>
                    </a:cubicBezTo>
                    <a:cubicBezTo>
                      <a:pt x="157" y="270"/>
                      <a:pt x="161" y="270"/>
                      <a:pt x="161" y="266"/>
                    </a:cubicBezTo>
                    <a:cubicBezTo>
                      <a:pt x="161" y="264"/>
                      <a:pt x="160" y="262"/>
                      <a:pt x="162" y="262"/>
                    </a:cubicBezTo>
                    <a:cubicBezTo>
                      <a:pt x="163" y="261"/>
                      <a:pt x="166" y="261"/>
                      <a:pt x="168" y="262"/>
                    </a:cubicBezTo>
                    <a:cubicBezTo>
                      <a:pt x="171" y="263"/>
                      <a:pt x="168" y="266"/>
                      <a:pt x="169" y="268"/>
                    </a:cubicBezTo>
                    <a:cubicBezTo>
                      <a:pt x="169" y="270"/>
                      <a:pt x="173" y="269"/>
                      <a:pt x="174" y="269"/>
                    </a:cubicBezTo>
                    <a:cubicBezTo>
                      <a:pt x="177" y="270"/>
                      <a:pt x="177" y="272"/>
                      <a:pt x="177" y="274"/>
                    </a:cubicBezTo>
                    <a:cubicBezTo>
                      <a:pt x="178" y="276"/>
                      <a:pt x="179" y="277"/>
                      <a:pt x="182" y="278"/>
                    </a:cubicBezTo>
                    <a:cubicBezTo>
                      <a:pt x="184" y="279"/>
                      <a:pt x="185" y="281"/>
                      <a:pt x="186" y="284"/>
                    </a:cubicBezTo>
                    <a:cubicBezTo>
                      <a:pt x="188" y="291"/>
                      <a:pt x="182" y="286"/>
                      <a:pt x="178" y="285"/>
                    </a:cubicBezTo>
                    <a:cubicBezTo>
                      <a:pt x="175" y="284"/>
                      <a:pt x="173" y="284"/>
                      <a:pt x="170" y="282"/>
                    </a:cubicBezTo>
                    <a:cubicBezTo>
                      <a:pt x="168" y="281"/>
                      <a:pt x="166" y="279"/>
                      <a:pt x="164" y="279"/>
                    </a:cubicBezTo>
                    <a:cubicBezTo>
                      <a:pt x="158" y="278"/>
                      <a:pt x="164" y="287"/>
                      <a:pt x="164" y="290"/>
                    </a:cubicBezTo>
                    <a:cubicBezTo>
                      <a:pt x="164" y="292"/>
                      <a:pt x="162" y="293"/>
                      <a:pt x="161" y="294"/>
                    </a:cubicBezTo>
                    <a:cubicBezTo>
                      <a:pt x="160" y="296"/>
                      <a:pt x="160" y="299"/>
                      <a:pt x="160" y="301"/>
                    </a:cubicBezTo>
                    <a:cubicBezTo>
                      <a:pt x="160" y="303"/>
                      <a:pt x="161" y="307"/>
                      <a:pt x="164" y="307"/>
                    </a:cubicBezTo>
                    <a:cubicBezTo>
                      <a:pt x="168" y="308"/>
                      <a:pt x="165" y="310"/>
                      <a:pt x="167" y="312"/>
                    </a:cubicBezTo>
                    <a:cubicBezTo>
                      <a:pt x="169" y="315"/>
                      <a:pt x="170" y="314"/>
                      <a:pt x="173" y="313"/>
                    </a:cubicBezTo>
                    <a:cubicBezTo>
                      <a:pt x="175" y="313"/>
                      <a:pt x="178" y="313"/>
                      <a:pt x="180" y="313"/>
                    </a:cubicBezTo>
                    <a:cubicBezTo>
                      <a:pt x="186" y="312"/>
                      <a:pt x="182" y="307"/>
                      <a:pt x="179" y="304"/>
                    </a:cubicBezTo>
                    <a:cubicBezTo>
                      <a:pt x="173" y="299"/>
                      <a:pt x="182" y="300"/>
                      <a:pt x="184" y="300"/>
                    </a:cubicBezTo>
                    <a:cubicBezTo>
                      <a:pt x="189" y="298"/>
                      <a:pt x="193" y="303"/>
                      <a:pt x="193" y="307"/>
                    </a:cubicBezTo>
                    <a:cubicBezTo>
                      <a:pt x="194" y="310"/>
                      <a:pt x="193" y="313"/>
                      <a:pt x="192" y="315"/>
                    </a:cubicBezTo>
                    <a:cubicBezTo>
                      <a:pt x="192" y="317"/>
                      <a:pt x="192" y="321"/>
                      <a:pt x="190" y="322"/>
                    </a:cubicBezTo>
                    <a:cubicBezTo>
                      <a:pt x="186" y="323"/>
                      <a:pt x="193" y="330"/>
                      <a:pt x="187" y="330"/>
                    </a:cubicBezTo>
                    <a:cubicBezTo>
                      <a:pt x="185" y="330"/>
                      <a:pt x="178" y="331"/>
                      <a:pt x="181" y="335"/>
                    </a:cubicBezTo>
                    <a:cubicBezTo>
                      <a:pt x="183" y="337"/>
                      <a:pt x="188" y="333"/>
                      <a:pt x="191" y="334"/>
                    </a:cubicBezTo>
                    <a:cubicBezTo>
                      <a:pt x="193" y="335"/>
                      <a:pt x="192" y="338"/>
                      <a:pt x="194" y="339"/>
                    </a:cubicBezTo>
                    <a:cubicBezTo>
                      <a:pt x="195" y="340"/>
                      <a:pt x="196" y="340"/>
                      <a:pt x="197" y="341"/>
                    </a:cubicBezTo>
                    <a:cubicBezTo>
                      <a:pt x="198" y="343"/>
                      <a:pt x="199" y="344"/>
                      <a:pt x="197" y="344"/>
                    </a:cubicBezTo>
                    <a:cubicBezTo>
                      <a:pt x="195" y="344"/>
                      <a:pt x="194" y="341"/>
                      <a:pt x="192" y="340"/>
                    </a:cubicBezTo>
                    <a:cubicBezTo>
                      <a:pt x="189" y="340"/>
                      <a:pt x="186" y="341"/>
                      <a:pt x="184" y="339"/>
                    </a:cubicBezTo>
                    <a:cubicBezTo>
                      <a:pt x="181" y="338"/>
                      <a:pt x="180" y="338"/>
                      <a:pt x="178" y="340"/>
                    </a:cubicBezTo>
                    <a:cubicBezTo>
                      <a:pt x="177" y="341"/>
                      <a:pt x="175" y="341"/>
                      <a:pt x="173" y="343"/>
                    </a:cubicBezTo>
                    <a:cubicBezTo>
                      <a:pt x="171" y="344"/>
                      <a:pt x="173" y="347"/>
                      <a:pt x="175" y="348"/>
                    </a:cubicBezTo>
                    <a:cubicBezTo>
                      <a:pt x="176" y="350"/>
                      <a:pt x="175" y="352"/>
                      <a:pt x="177" y="354"/>
                    </a:cubicBezTo>
                    <a:cubicBezTo>
                      <a:pt x="178" y="356"/>
                      <a:pt x="177" y="357"/>
                      <a:pt x="175" y="357"/>
                    </a:cubicBezTo>
                    <a:cubicBezTo>
                      <a:pt x="173" y="356"/>
                      <a:pt x="174" y="358"/>
                      <a:pt x="175" y="359"/>
                    </a:cubicBezTo>
                    <a:cubicBezTo>
                      <a:pt x="176" y="361"/>
                      <a:pt x="179" y="363"/>
                      <a:pt x="182" y="363"/>
                    </a:cubicBezTo>
                    <a:cubicBezTo>
                      <a:pt x="182" y="365"/>
                      <a:pt x="180" y="366"/>
                      <a:pt x="180" y="368"/>
                    </a:cubicBezTo>
                    <a:cubicBezTo>
                      <a:pt x="179" y="371"/>
                      <a:pt x="178" y="373"/>
                      <a:pt x="180" y="376"/>
                    </a:cubicBezTo>
                    <a:cubicBezTo>
                      <a:pt x="182" y="379"/>
                      <a:pt x="184" y="382"/>
                      <a:pt x="186" y="385"/>
                    </a:cubicBezTo>
                    <a:cubicBezTo>
                      <a:pt x="189" y="388"/>
                      <a:pt x="189" y="390"/>
                      <a:pt x="190" y="394"/>
                    </a:cubicBezTo>
                    <a:cubicBezTo>
                      <a:pt x="191" y="397"/>
                      <a:pt x="192" y="401"/>
                      <a:pt x="193" y="405"/>
                    </a:cubicBezTo>
                    <a:cubicBezTo>
                      <a:pt x="193" y="408"/>
                      <a:pt x="192" y="411"/>
                      <a:pt x="193" y="414"/>
                    </a:cubicBezTo>
                    <a:cubicBezTo>
                      <a:pt x="195" y="416"/>
                      <a:pt x="196" y="413"/>
                      <a:pt x="197" y="412"/>
                    </a:cubicBezTo>
                    <a:cubicBezTo>
                      <a:pt x="198" y="410"/>
                      <a:pt x="199" y="407"/>
                      <a:pt x="202" y="407"/>
                    </a:cubicBezTo>
                    <a:cubicBezTo>
                      <a:pt x="207" y="408"/>
                      <a:pt x="200" y="417"/>
                      <a:pt x="200" y="420"/>
                    </a:cubicBezTo>
                    <a:cubicBezTo>
                      <a:pt x="199" y="428"/>
                      <a:pt x="205" y="433"/>
                      <a:pt x="208" y="440"/>
                    </a:cubicBezTo>
                    <a:cubicBezTo>
                      <a:pt x="211" y="444"/>
                      <a:pt x="211" y="450"/>
                      <a:pt x="213" y="455"/>
                    </a:cubicBezTo>
                    <a:cubicBezTo>
                      <a:pt x="215" y="460"/>
                      <a:pt x="219" y="463"/>
                      <a:pt x="220" y="468"/>
                    </a:cubicBezTo>
                    <a:cubicBezTo>
                      <a:pt x="221" y="470"/>
                      <a:pt x="223" y="472"/>
                      <a:pt x="225" y="473"/>
                    </a:cubicBezTo>
                    <a:cubicBezTo>
                      <a:pt x="227" y="474"/>
                      <a:pt x="230" y="475"/>
                      <a:pt x="230" y="478"/>
                    </a:cubicBezTo>
                    <a:cubicBezTo>
                      <a:pt x="230" y="478"/>
                      <a:pt x="230" y="485"/>
                      <a:pt x="231" y="483"/>
                    </a:cubicBezTo>
                    <a:cubicBezTo>
                      <a:pt x="233" y="481"/>
                      <a:pt x="232" y="478"/>
                      <a:pt x="236" y="479"/>
                    </a:cubicBezTo>
                    <a:cubicBezTo>
                      <a:pt x="238" y="479"/>
                      <a:pt x="241" y="479"/>
                      <a:pt x="242" y="481"/>
                    </a:cubicBezTo>
                    <a:cubicBezTo>
                      <a:pt x="243" y="484"/>
                      <a:pt x="243" y="485"/>
                      <a:pt x="245" y="486"/>
                    </a:cubicBezTo>
                    <a:cubicBezTo>
                      <a:pt x="246" y="487"/>
                      <a:pt x="250" y="487"/>
                      <a:pt x="250" y="489"/>
                    </a:cubicBezTo>
                    <a:cubicBezTo>
                      <a:pt x="251" y="492"/>
                      <a:pt x="249" y="494"/>
                      <a:pt x="252" y="496"/>
                    </a:cubicBezTo>
                    <a:cubicBezTo>
                      <a:pt x="254" y="499"/>
                      <a:pt x="255" y="495"/>
                      <a:pt x="256" y="494"/>
                    </a:cubicBezTo>
                    <a:cubicBezTo>
                      <a:pt x="258" y="492"/>
                      <a:pt x="260" y="493"/>
                      <a:pt x="262" y="495"/>
                    </a:cubicBezTo>
                    <a:cubicBezTo>
                      <a:pt x="267" y="500"/>
                      <a:pt x="265" y="485"/>
                      <a:pt x="265" y="482"/>
                    </a:cubicBezTo>
                    <a:cubicBezTo>
                      <a:pt x="265" y="479"/>
                      <a:pt x="265" y="476"/>
                      <a:pt x="267" y="474"/>
                    </a:cubicBezTo>
                    <a:cubicBezTo>
                      <a:pt x="268" y="471"/>
                      <a:pt x="270" y="470"/>
                      <a:pt x="269" y="467"/>
                    </a:cubicBezTo>
                    <a:cubicBezTo>
                      <a:pt x="268" y="464"/>
                      <a:pt x="268" y="461"/>
                      <a:pt x="267" y="458"/>
                    </a:cubicBezTo>
                    <a:cubicBezTo>
                      <a:pt x="267" y="455"/>
                      <a:pt x="264" y="453"/>
                      <a:pt x="265" y="450"/>
                    </a:cubicBezTo>
                    <a:cubicBezTo>
                      <a:pt x="266" y="447"/>
                      <a:pt x="272" y="450"/>
                      <a:pt x="271" y="446"/>
                    </a:cubicBezTo>
                    <a:cubicBezTo>
                      <a:pt x="271" y="443"/>
                      <a:pt x="271" y="440"/>
                      <a:pt x="272" y="439"/>
                    </a:cubicBezTo>
                    <a:cubicBezTo>
                      <a:pt x="274" y="438"/>
                      <a:pt x="275" y="436"/>
                      <a:pt x="276" y="433"/>
                    </a:cubicBezTo>
                    <a:cubicBezTo>
                      <a:pt x="276" y="430"/>
                      <a:pt x="277" y="427"/>
                      <a:pt x="274" y="425"/>
                    </a:cubicBezTo>
                    <a:cubicBezTo>
                      <a:pt x="273" y="423"/>
                      <a:pt x="272" y="420"/>
                      <a:pt x="274" y="419"/>
                    </a:cubicBezTo>
                    <a:cubicBezTo>
                      <a:pt x="279" y="418"/>
                      <a:pt x="274" y="415"/>
                      <a:pt x="272" y="414"/>
                    </a:cubicBezTo>
                    <a:cubicBezTo>
                      <a:pt x="268" y="410"/>
                      <a:pt x="272" y="408"/>
                      <a:pt x="274" y="408"/>
                    </a:cubicBezTo>
                    <a:cubicBezTo>
                      <a:pt x="275" y="408"/>
                      <a:pt x="277" y="409"/>
                      <a:pt x="278" y="408"/>
                    </a:cubicBezTo>
                    <a:cubicBezTo>
                      <a:pt x="278" y="407"/>
                      <a:pt x="276" y="405"/>
                      <a:pt x="275" y="405"/>
                    </a:cubicBezTo>
                    <a:cubicBezTo>
                      <a:pt x="274" y="404"/>
                      <a:pt x="277" y="404"/>
                      <a:pt x="277" y="403"/>
                    </a:cubicBezTo>
                    <a:cubicBezTo>
                      <a:pt x="278" y="402"/>
                      <a:pt x="277" y="400"/>
                      <a:pt x="278" y="399"/>
                    </a:cubicBezTo>
                    <a:cubicBezTo>
                      <a:pt x="279" y="397"/>
                      <a:pt x="281" y="397"/>
                      <a:pt x="283" y="397"/>
                    </a:cubicBezTo>
                    <a:cubicBezTo>
                      <a:pt x="284" y="397"/>
                      <a:pt x="285" y="395"/>
                      <a:pt x="286" y="395"/>
                    </a:cubicBezTo>
                    <a:cubicBezTo>
                      <a:pt x="290" y="394"/>
                      <a:pt x="288" y="392"/>
                      <a:pt x="289" y="388"/>
                    </a:cubicBezTo>
                    <a:cubicBezTo>
                      <a:pt x="289" y="387"/>
                      <a:pt x="292" y="386"/>
                      <a:pt x="292" y="388"/>
                    </a:cubicBezTo>
                    <a:cubicBezTo>
                      <a:pt x="292" y="390"/>
                      <a:pt x="291" y="391"/>
                      <a:pt x="291" y="392"/>
                    </a:cubicBezTo>
                    <a:cubicBezTo>
                      <a:pt x="290" y="394"/>
                      <a:pt x="293" y="396"/>
                      <a:pt x="295" y="396"/>
                    </a:cubicBezTo>
                    <a:cubicBezTo>
                      <a:pt x="297" y="397"/>
                      <a:pt x="296" y="394"/>
                      <a:pt x="298" y="393"/>
                    </a:cubicBezTo>
                    <a:cubicBezTo>
                      <a:pt x="299" y="392"/>
                      <a:pt x="301" y="395"/>
                      <a:pt x="302" y="394"/>
                    </a:cubicBezTo>
                    <a:cubicBezTo>
                      <a:pt x="304" y="393"/>
                      <a:pt x="305" y="392"/>
                      <a:pt x="306" y="391"/>
                    </a:cubicBezTo>
                    <a:cubicBezTo>
                      <a:pt x="306" y="388"/>
                      <a:pt x="307" y="387"/>
                      <a:pt x="309" y="386"/>
                    </a:cubicBezTo>
                    <a:cubicBezTo>
                      <a:pt x="310" y="385"/>
                      <a:pt x="312" y="385"/>
                      <a:pt x="312" y="382"/>
                    </a:cubicBezTo>
                    <a:cubicBezTo>
                      <a:pt x="312" y="379"/>
                      <a:pt x="314" y="375"/>
                      <a:pt x="313" y="371"/>
                    </a:cubicBezTo>
                    <a:cubicBezTo>
                      <a:pt x="313" y="368"/>
                      <a:pt x="312" y="367"/>
                      <a:pt x="315" y="366"/>
                    </a:cubicBezTo>
                    <a:cubicBezTo>
                      <a:pt x="317" y="366"/>
                      <a:pt x="319" y="365"/>
                      <a:pt x="320" y="364"/>
                    </a:cubicBezTo>
                    <a:cubicBezTo>
                      <a:pt x="323" y="362"/>
                      <a:pt x="323" y="362"/>
                      <a:pt x="321" y="359"/>
                    </a:cubicBezTo>
                    <a:cubicBezTo>
                      <a:pt x="320" y="357"/>
                      <a:pt x="319" y="356"/>
                      <a:pt x="320" y="353"/>
                    </a:cubicBezTo>
                    <a:cubicBezTo>
                      <a:pt x="322" y="354"/>
                      <a:pt x="323" y="356"/>
                      <a:pt x="325" y="358"/>
                    </a:cubicBezTo>
                    <a:cubicBezTo>
                      <a:pt x="327" y="361"/>
                      <a:pt x="330" y="361"/>
                      <a:pt x="332" y="360"/>
                    </a:cubicBezTo>
                    <a:cubicBezTo>
                      <a:pt x="333" y="359"/>
                      <a:pt x="334" y="358"/>
                      <a:pt x="335" y="358"/>
                    </a:cubicBezTo>
                    <a:cubicBezTo>
                      <a:pt x="336" y="357"/>
                      <a:pt x="338" y="357"/>
                      <a:pt x="339" y="357"/>
                    </a:cubicBezTo>
                    <a:cubicBezTo>
                      <a:pt x="342" y="356"/>
                      <a:pt x="346" y="355"/>
                      <a:pt x="349" y="356"/>
                    </a:cubicBezTo>
                    <a:cubicBezTo>
                      <a:pt x="354" y="357"/>
                      <a:pt x="355" y="349"/>
                      <a:pt x="358" y="346"/>
                    </a:cubicBezTo>
                    <a:cubicBezTo>
                      <a:pt x="359" y="345"/>
                      <a:pt x="362" y="346"/>
                      <a:pt x="363" y="344"/>
                    </a:cubicBezTo>
                    <a:cubicBezTo>
                      <a:pt x="364" y="341"/>
                      <a:pt x="364" y="340"/>
                      <a:pt x="366" y="339"/>
                    </a:cubicBezTo>
                    <a:cubicBezTo>
                      <a:pt x="368" y="338"/>
                      <a:pt x="370" y="337"/>
                      <a:pt x="370" y="335"/>
                    </a:cubicBezTo>
                    <a:cubicBezTo>
                      <a:pt x="370" y="332"/>
                      <a:pt x="367" y="331"/>
                      <a:pt x="365" y="329"/>
                    </a:cubicBezTo>
                    <a:cubicBezTo>
                      <a:pt x="363" y="328"/>
                      <a:pt x="362" y="327"/>
                      <a:pt x="361" y="327"/>
                    </a:cubicBezTo>
                    <a:cubicBezTo>
                      <a:pt x="359" y="326"/>
                      <a:pt x="357" y="324"/>
                      <a:pt x="355" y="323"/>
                    </a:cubicBezTo>
                    <a:cubicBezTo>
                      <a:pt x="353" y="322"/>
                      <a:pt x="351" y="325"/>
                      <a:pt x="348" y="322"/>
                    </a:cubicBezTo>
                    <a:cubicBezTo>
                      <a:pt x="347" y="321"/>
                      <a:pt x="347" y="320"/>
                      <a:pt x="346" y="319"/>
                    </a:cubicBezTo>
                    <a:cubicBezTo>
                      <a:pt x="346" y="319"/>
                      <a:pt x="343" y="317"/>
                      <a:pt x="344" y="316"/>
                    </a:cubicBezTo>
                    <a:cubicBezTo>
                      <a:pt x="345" y="316"/>
                      <a:pt x="350" y="317"/>
                      <a:pt x="346" y="314"/>
                    </a:cubicBezTo>
                    <a:cubicBezTo>
                      <a:pt x="345" y="313"/>
                      <a:pt x="341" y="311"/>
                      <a:pt x="340" y="309"/>
                    </a:cubicBezTo>
                    <a:cubicBezTo>
                      <a:pt x="340" y="308"/>
                      <a:pt x="343" y="310"/>
                      <a:pt x="343" y="310"/>
                    </a:cubicBezTo>
                    <a:cubicBezTo>
                      <a:pt x="345" y="310"/>
                      <a:pt x="345" y="310"/>
                      <a:pt x="346" y="309"/>
                    </a:cubicBezTo>
                    <a:cubicBezTo>
                      <a:pt x="347" y="308"/>
                      <a:pt x="350" y="308"/>
                      <a:pt x="348" y="305"/>
                    </a:cubicBezTo>
                    <a:cubicBezTo>
                      <a:pt x="346" y="302"/>
                      <a:pt x="343" y="302"/>
                      <a:pt x="341" y="301"/>
                    </a:cubicBezTo>
                    <a:cubicBezTo>
                      <a:pt x="338" y="299"/>
                      <a:pt x="336" y="296"/>
                      <a:pt x="334" y="294"/>
                    </a:cubicBezTo>
                    <a:cubicBezTo>
                      <a:pt x="331" y="293"/>
                      <a:pt x="327" y="290"/>
                      <a:pt x="327" y="287"/>
                    </a:cubicBezTo>
                    <a:cubicBezTo>
                      <a:pt x="328" y="287"/>
                      <a:pt x="329" y="288"/>
                      <a:pt x="330" y="289"/>
                    </a:cubicBezTo>
                    <a:cubicBezTo>
                      <a:pt x="330" y="290"/>
                      <a:pt x="331" y="290"/>
                      <a:pt x="332" y="291"/>
                    </a:cubicBezTo>
                    <a:cubicBezTo>
                      <a:pt x="334" y="292"/>
                      <a:pt x="336" y="293"/>
                      <a:pt x="338" y="295"/>
                    </a:cubicBezTo>
                    <a:cubicBezTo>
                      <a:pt x="340" y="297"/>
                      <a:pt x="342" y="299"/>
                      <a:pt x="343" y="300"/>
                    </a:cubicBezTo>
                    <a:cubicBezTo>
                      <a:pt x="345" y="302"/>
                      <a:pt x="347" y="302"/>
                      <a:pt x="349" y="303"/>
                    </a:cubicBezTo>
                    <a:cubicBezTo>
                      <a:pt x="353" y="305"/>
                      <a:pt x="354" y="312"/>
                      <a:pt x="355" y="315"/>
                    </a:cubicBezTo>
                    <a:cubicBezTo>
                      <a:pt x="356" y="318"/>
                      <a:pt x="364" y="329"/>
                      <a:pt x="365" y="325"/>
                    </a:cubicBezTo>
                    <a:cubicBezTo>
                      <a:pt x="366" y="323"/>
                      <a:pt x="366" y="321"/>
                      <a:pt x="368" y="324"/>
                    </a:cubicBezTo>
                    <a:cubicBezTo>
                      <a:pt x="369" y="325"/>
                      <a:pt x="369" y="326"/>
                      <a:pt x="370" y="327"/>
                    </a:cubicBezTo>
                    <a:cubicBezTo>
                      <a:pt x="370" y="327"/>
                      <a:pt x="372" y="330"/>
                      <a:pt x="372" y="329"/>
                    </a:cubicBezTo>
                    <a:cubicBezTo>
                      <a:pt x="372" y="326"/>
                      <a:pt x="370" y="323"/>
                      <a:pt x="370" y="320"/>
                    </a:cubicBezTo>
                    <a:cubicBezTo>
                      <a:pt x="370" y="318"/>
                      <a:pt x="370" y="316"/>
                      <a:pt x="369" y="313"/>
                    </a:cubicBezTo>
                    <a:cubicBezTo>
                      <a:pt x="369" y="311"/>
                      <a:pt x="367" y="309"/>
                      <a:pt x="367" y="307"/>
                    </a:cubicBezTo>
                    <a:cubicBezTo>
                      <a:pt x="366" y="301"/>
                      <a:pt x="363" y="299"/>
                      <a:pt x="359" y="295"/>
                    </a:cubicBezTo>
                    <a:cubicBezTo>
                      <a:pt x="357" y="293"/>
                      <a:pt x="355" y="291"/>
                      <a:pt x="353" y="289"/>
                    </a:cubicBezTo>
                    <a:cubicBezTo>
                      <a:pt x="352" y="287"/>
                      <a:pt x="350" y="286"/>
                      <a:pt x="348" y="284"/>
                    </a:cubicBezTo>
                    <a:cubicBezTo>
                      <a:pt x="347" y="283"/>
                      <a:pt x="346" y="281"/>
                      <a:pt x="346" y="279"/>
                    </a:cubicBezTo>
                    <a:cubicBezTo>
                      <a:pt x="345" y="277"/>
                      <a:pt x="343" y="277"/>
                      <a:pt x="341" y="276"/>
                    </a:cubicBezTo>
                    <a:cubicBezTo>
                      <a:pt x="339" y="276"/>
                      <a:pt x="339" y="274"/>
                      <a:pt x="340" y="273"/>
                    </a:cubicBezTo>
                    <a:cubicBezTo>
                      <a:pt x="341" y="273"/>
                      <a:pt x="343" y="273"/>
                      <a:pt x="343" y="272"/>
                    </a:cubicBezTo>
                    <a:cubicBezTo>
                      <a:pt x="346" y="270"/>
                      <a:pt x="339" y="268"/>
                      <a:pt x="338" y="266"/>
                    </a:cubicBezTo>
                    <a:cubicBezTo>
                      <a:pt x="337" y="263"/>
                      <a:pt x="341" y="263"/>
                      <a:pt x="342" y="262"/>
                    </a:cubicBezTo>
                    <a:cubicBezTo>
                      <a:pt x="342" y="261"/>
                      <a:pt x="341" y="259"/>
                      <a:pt x="343" y="260"/>
                    </a:cubicBezTo>
                    <a:cubicBezTo>
                      <a:pt x="345" y="262"/>
                      <a:pt x="348" y="264"/>
                      <a:pt x="350" y="266"/>
                    </a:cubicBezTo>
                    <a:cubicBezTo>
                      <a:pt x="353" y="269"/>
                      <a:pt x="358" y="271"/>
                      <a:pt x="360" y="270"/>
                    </a:cubicBezTo>
                    <a:cubicBezTo>
                      <a:pt x="361" y="269"/>
                      <a:pt x="361" y="267"/>
                      <a:pt x="362" y="266"/>
                    </a:cubicBezTo>
                    <a:cubicBezTo>
                      <a:pt x="363" y="265"/>
                      <a:pt x="364" y="264"/>
                      <a:pt x="363" y="261"/>
                    </a:cubicBezTo>
                    <a:cubicBezTo>
                      <a:pt x="362" y="260"/>
                      <a:pt x="360" y="258"/>
                      <a:pt x="359" y="257"/>
                    </a:cubicBezTo>
                    <a:cubicBezTo>
                      <a:pt x="357" y="256"/>
                      <a:pt x="354" y="255"/>
                      <a:pt x="353" y="253"/>
                    </a:cubicBezTo>
                    <a:cubicBezTo>
                      <a:pt x="352" y="252"/>
                      <a:pt x="352" y="250"/>
                      <a:pt x="352" y="249"/>
                    </a:cubicBezTo>
                    <a:cubicBezTo>
                      <a:pt x="352" y="247"/>
                      <a:pt x="354" y="247"/>
                      <a:pt x="356" y="247"/>
                    </a:cubicBezTo>
                    <a:cubicBezTo>
                      <a:pt x="358" y="248"/>
                      <a:pt x="359" y="249"/>
                      <a:pt x="361" y="250"/>
                    </a:cubicBezTo>
                    <a:cubicBezTo>
                      <a:pt x="363" y="251"/>
                      <a:pt x="365" y="252"/>
                      <a:pt x="365" y="251"/>
                    </a:cubicBezTo>
                    <a:cubicBezTo>
                      <a:pt x="366" y="249"/>
                      <a:pt x="363" y="244"/>
                      <a:pt x="361" y="243"/>
                    </a:cubicBezTo>
                    <a:cubicBezTo>
                      <a:pt x="359" y="243"/>
                      <a:pt x="358" y="243"/>
                      <a:pt x="356" y="241"/>
                    </a:cubicBezTo>
                    <a:cubicBezTo>
                      <a:pt x="355" y="239"/>
                      <a:pt x="355" y="238"/>
                      <a:pt x="354" y="236"/>
                    </a:cubicBezTo>
                    <a:cubicBezTo>
                      <a:pt x="351" y="231"/>
                      <a:pt x="359" y="236"/>
                      <a:pt x="356" y="232"/>
                    </a:cubicBezTo>
                    <a:cubicBezTo>
                      <a:pt x="354" y="229"/>
                      <a:pt x="352" y="229"/>
                      <a:pt x="349" y="226"/>
                    </a:cubicBezTo>
                    <a:cubicBezTo>
                      <a:pt x="348" y="224"/>
                      <a:pt x="351" y="226"/>
                      <a:pt x="352" y="226"/>
                    </a:cubicBezTo>
                    <a:cubicBezTo>
                      <a:pt x="353" y="228"/>
                      <a:pt x="355" y="230"/>
                      <a:pt x="357" y="231"/>
                    </a:cubicBezTo>
                    <a:cubicBezTo>
                      <a:pt x="360" y="234"/>
                      <a:pt x="358" y="229"/>
                      <a:pt x="358" y="227"/>
                    </a:cubicBezTo>
                    <a:cubicBezTo>
                      <a:pt x="357" y="225"/>
                      <a:pt x="357" y="222"/>
                      <a:pt x="356" y="219"/>
                    </a:cubicBezTo>
                    <a:cubicBezTo>
                      <a:pt x="354" y="217"/>
                      <a:pt x="350" y="216"/>
                      <a:pt x="350" y="214"/>
                    </a:cubicBezTo>
                    <a:cubicBezTo>
                      <a:pt x="350" y="213"/>
                      <a:pt x="352" y="213"/>
                      <a:pt x="352" y="212"/>
                    </a:cubicBezTo>
                    <a:cubicBezTo>
                      <a:pt x="353" y="212"/>
                      <a:pt x="351" y="210"/>
                      <a:pt x="350" y="208"/>
                    </a:cubicBezTo>
                    <a:cubicBezTo>
                      <a:pt x="347" y="204"/>
                      <a:pt x="345" y="206"/>
                      <a:pt x="342" y="203"/>
                    </a:cubicBezTo>
                    <a:cubicBezTo>
                      <a:pt x="341" y="202"/>
                      <a:pt x="342" y="200"/>
                      <a:pt x="340" y="200"/>
                    </a:cubicBezTo>
                    <a:cubicBezTo>
                      <a:pt x="338" y="199"/>
                      <a:pt x="337" y="199"/>
                      <a:pt x="337" y="197"/>
                    </a:cubicBezTo>
                    <a:cubicBezTo>
                      <a:pt x="335" y="195"/>
                      <a:pt x="335" y="193"/>
                      <a:pt x="338" y="195"/>
                    </a:cubicBezTo>
                    <a:cubicBezTo>
                      <a:pt x="340" y="196"/>
                      <a:pt x="341" y="197"/>
                      <a:pt x="342" y="196"/>
                    </a:cubicBezTo>
                    <a:cubicBezTo>
                      <a:pt x="343" y="195"/>
                      <a:pt x="341" y="193"/>
                      <a:pt x="342" y="192"/>
                    </a:cubicBezTo>
                    <a:cubicBezTo>
                      <a:pt x="343" y="192"/>
                      <a:pt x="345" y="192"/>
                      <a:pt x="347" y="194"/>
                    </a:cubicBezTo>
                    <a:cubicBezTo>
                      <a:pt x="348" y="196"/>
                      <a:pt x="350" y="197"/>
                      <a:pt x="352" y="197"/>
                    </a:cubicBezTo>
                    <a:cubicBezTo>
                      <a:pt x="353" y="198"/>
                      <a:pt x="355" y="199"/>
                      <a:pt x="355" y="198"/>
                    </a:cubicBezTo>
                    <a:cubicBezTo>
                      <a:pt x="356" y="197"/>
                      <a:pt x="355" y="194"/>
                      <a:pt x="355" y="193"/>
                    </a:cubicBezTo>
                    <a:cubicBezTo>
                      <a:pt x="354" y="191"/>
                      <a:pt x="353" y="189"/>
                      <a:pt x="351" y="188"/>
                    </a:cubicBezTo>
                    <a:cubicBezTo>
                      <a:pt x="349" y="186"/>
                      <a:pt x="349" y="187"/>
                      <a:pt x="347" y="186"/>
                    </a:cubicBezTo>
                    <a:cubicBezTo>
                      <a:pt x="346" y="186"/>
                      <a:pt x="346" y="185"/>
                      <a:pt x="345" y="184"/>
                    </a:cubicBezTo>
                    <a:cubicBezTo>
                      <a:pt x="344" y="184"/>
                      <a:pt x="343" y="183"/>
                      <a:pt x="342" y="183"/>
                    </a:cubicBezTo>
                    <a:cubicBezTo>
                      <a:pt x="341" y="182"/>
                      <a:pt x="338" y="180"/>
                      <a:pt x="338" y="179"/>
                    </a:cubicBezTo>
                    <a:cubicBezTo>
                      <a:pt x="339" y="177"/>
                      <a:pt x="346" y="180"/>
                      <a:pt x="343" y="176"/>
                    </a:cubicBezTo>
                    <a:cubicBezTo>
                      <a:pt x="342" y="175"/>
                      <a:pt x="341" y="174"/>
                      <a:pt x="340" y="173"/>
                    </a:cubicBezTo>
                    <a:cubicBezTo>
                      <a:pt x="338" y="172"/>
                      <a:pt x="337" y="169"/>
                      <a:pt x="335" y="168"/>
                    </a:cubicBezTo>
                    <a:cubicBezTo>
                      <a:pt x="333" y="167"/>
                      <a:pt x="334" y="174"/>
                      <a:pt x="331" y="170"/>
                    </a:cubicBezTo>
                    <a:cubicBezTo>
                      <a:pt x="330" y="169"/>
                      <a:pt x="330" y="167"/>
                      <a:pt x="330" y="166"/>
                    </a:cubicBezTo>
                    <a:cubicBezTo>
                      <a:pt x="330" y="164"/>
                      <a:pt x="331" y="163"/>
                      <a:pt x="330" y="161"/>
                    </a:cubicBezTo>
                    <a:cubicBezTo>
                      <a:pt x="329" y="157"/>
                      <a:pt x="327" y="154"/>
                      <a:pt x="327" y="151"/>
                    </a:cubicBezTo>
                    <a:cubicBezTo>
                      <a:pt x="327" y="149"/>
                      <a:pt x="327" y="148"/>
                      <a:pt x="329" y="148"/>
                    </a:cubicBezTo>
                    <a:cubicBezTo>
                      <a:pt x="331" y="148"/>
                      <a:pt x="332" y="148"/>
                      <a:pt x="331" y="147"/>
                    </a:cubicBezTo>
                    <a:cubicBezTo>
                      <a:pt x="331" y="146"/>
                      <a:pt x="330" y="144"/>
                      <a:pt x="330" y="143"/>
                    </a:cubicBezTo>
                    <a:cubicBezTo>
                      <a:pt x="330" y="142"/>
                      <a:pt x="331" y="142"/>
                      <a:pt x="332" y="142"/>
                    </a:cubicBezTo>
                    <a:cubicBezTo>
                      <a:pt x="333" y="141"/>
                      <a:pt x="334" y="141"/>
                      <a:pt x="333" y="139"/>
                    </a:cubicBezTo>
                    <a:cubicBezTo>
                      <a:pt x="332" y="138"/>
                      <a:pt x="331" y="138"/>
                      <a:pt x="331" y="137"/>
                    </a:cubicBezTo>
                    <a:cubicBezTo>
                      <a:pt x="330" y="137"/>
                      <a:pt x="329" y="136"/>
                      <a:pt x="328" y="135"/>
                    </a:cubicBezTo>
                    <a:cubicBezTo>
                      <a:pt x="327" y="133"/>
                      <a:pt x="325" y="127"/>
                      <a:pt x="328" y="128"/>
                    </a:cubicBezTo>
                    <a:cubicBezTo>
                      <a:pt x="329" y="128"/>
                      <a:pt x="330" y="129"/>
                      <a:pt x="332" y="129"/>
                    </a:cubicBezTo>
                    <a:cubicBezTo>
                      <a:pt x="333" y="130"/>
                      <a:pt x="333" y="127"/>
                      <a:pt x="333" y="127"/>
                    </a:cubicBezTo>
                    <a:cubicBezTo>
                      <a:pt x="333" y="125"/>
                      <a:pt x="335" y="122"/>
                      <a:pt x="331" y="120"/>
                    </a:cubicBezTo>
                    <a:cubicBezTo>
                      <a:pt x="329" y="120"/>
                      <a:pt x="328" y="120"/>
                      <a:pt x="326" y="120"/>
                    </a:cubicBezTo>
                    <a:cubicBezTo>
                      <a:pt x="325" y="119"/>
                      <a:pt x="323" y="118"/>
                      <a:pt x="323" y="119"/>
                    </a:cubicBezTo>
                    <a:cubicBezTo>
                      <a:pt x="323" y="120"/>
                      <a:pt x="325" y="126"/>
                      <a:pt x="322" y="124"/>
                    </a:cubicBezTo>
                    <a:cubicBezTo>
                      <a:pt x="319" y="123"/>
                      <a:pt x="318" y="118"/>
                      <a:pt x="318" y="116"/>
                    </a:cubicBezTo>
                    <a:cubicBezTo>
                      <a:pt x="317" y="114"/>
                      <a:pt x="318" y="112"/>
                      <a:pt x="322" y="114"/>
                    </a:cubicBezTo>
                    <a:cubicBezTo>
                      <a:pt x="324" y="115"/>
                      <a:pt x="332" y="120"/>
                      <a:pt x="333" y="119"/>
                    </a:cubicBezTo>
                    <a:cubicBezTo>
                      <a:pt x="335" y="118"/>
                      <a:pt x="336" y="116"/>
                      <a:pt x="335" y="114"/>
                    </a:cubicBezTo>
                    <a:cubicBezTo>
                      <a:pt x="333" y="110"/>
                      <a:pt x="327" y="108"/>
                      <a:pt x="324" y="107"/>
                    </a:cubicBezTo>
                    <a:cubicBezTo>
                      <a:pt x="323" y="106"/>
                      <a:pt x="323" y="108"/>
                      <a:pt x="321" y="108"/>
                    </a:cubicBezTo>
                    <a:cubicBezTo>
                      <a:pt x="320" y="107"/>
                      <a:pt x="319" y="107"/>
                      <a:pt x="317" y="105"/>
                    </a:cubicBezTo>
                    <a:cubicBezTo>
                      <a:pt x="315" y="102"/>
                      <a:pt x="320" y="105"/>
                      <a:pt x="321" y="105"/>
                    </a:cubicBezTo>
                    <a:cubicBezTo>
                      <a:pt x="323" y="105"/>
                      <a:pt x="320" y="101"/>
                      <a:pt x="321" y="101"/>
                    </a:cubicBezTo>
                    <a:cubicBezTo>
                      <a:pt x="323" y="102"/>
                      <a:pt x="324" y="103"/>
                      <a:pt x="326" y="104"/>
                    </a:cubicBezTo>
                    <a:cubicBezTo>
                      <a:pt x="327" y="105"/>
                      <a:pt x="329" y="105"/>
                      <a:pt x="330" y="106"/>
                    </a:cubicBezTo>
                    <a:cubicBezTo>
                      <a:pt x="331" y="106"/>
                      <a:pt x="333" y="108"/>
                      <a:pt x="334" y="107"/>
                    </a:cubicBezTo>
                    <a:cubicBezTo>
                      <a:pt x="335" y="107"/>
                      <a:pt x="334" y="105"/>
                      <a:pt x="335" y="105"/>
                    </a:cubicBezTo>
                    <a:cubicBezTo>
                      <a:pt x="335" y="105"/>
                      <a:pt x="337" y="105"/>
                      <a:pt x="337" y="105"/>
                    </a:cubicBezTo>
                    <a:cubicBezTo>
                      <a:pt x="338" y="103"/>
                      <a:pt x="335" y="102"/>
                      <a:pt x="335" y="100"/>
                    </a:cubicBezTo>
                    <a:cubicBezTo>
                      <a:pt x="335" y="99"/>
                      <a:pt x="336" y="99"/>
                      <a:pt x="337" y="99"/>
                    </a:cubicBezTo>
                    <a:cubicBezTo>
                      <a:pt x="338" y="100"/>
                      <a:pt x="339" y="100"/>
                      <a:pt x="339" y="99"/>
                    </a:cubicBezTo>
                    <a:cubicBezTo>
                      <a:pt x="339" y="96"/>
                      <a:pt x="342" y="95"/>
                      <a:pt x="342" y="93"/>
                    </a:cubicBezTo>
                    <a:cubicBezTo>
                      <a:pt x="344" y="91"/>
                      <a:pt x="338" y="87"/>
                      <a:pt x="335" y="85"/>
                    </a:cubicBezTo>
                    <a:cubicBezTo>
                      <a:pt x="333" y="83"/>
                      <a:pt x="331" y="82"/>
                      <a:pt x="329" y="80"/>
                    </a:cubicBezTo>
                    <a:cubicBezTo>
                      <a:pt x="328" y="79"/>
                      <a:pt x="326" y="77"/>
                      <a:pt x="324" y="76"/>
                    </a:cubicBezTo>
                    <a:cubicBezTo>
                      <a:pt x="322" y="75"/>
                      <a:pt x="321" y="75"/>
                      <a:pt x="320" y="75"/>
                    </a:cubicBezTo>
                    <a:cubicBezTo>
                      <a:pt x="319" y="75"/>
                      <a:pt x="319" y="76"/>
                      <a:pt x="318" y="76"/>
                    </a:cubicBezTo>
                    <a:cubicBezTo>
                      <a:pt x="318" y="76"/>
                      <a:pt x="317" y="75"/>
                      <a:pt x="316" y="76"/>
                    </a:cubicBezTo>
                    <a:cubicBezTo>
                      <a:pt x="315" y="76"/>
                      <a:pt x="314" y="76"/>
                      <a:pt x="314" y="77"/>
                    </a:cubicBezTo>
                    <a:cubicBezTo>
                      <a:pt x="315" y="78"/>
                      <a:pt x="315" y="79"/>
                      <a:pt x="315" y="80"/>
                    </a:cubicBezTo>
                    <a:cubicBezTo>
                      <a:pt x="315" y="81"/>
                      <a:pt x="309" y="75"/>
                      <a:pt x="308" y="74"/>
                    </a:cubicBezTo>
                    <a:cubicBezTo>
                      <a:pt x="307" y="73"/>
                      <a:pt x="305" y="72"/>
                      <a:pt x="305" y="73"/>
                    </a:cubicBezTo>
                    <a:cubicBezTo>
                      <a:pt x="303" y="73"/>
                      <a:pt x="306" y="74"/>
                      <a:pt x="307" y="75"/>
                    </a:cubicBezTo>
                    <a:cubicBezTo>
                      <a:pt x="308" y="76"/>
                      <a:pt x="309" y="77"/>
                      <a:pt x="311" y="79"/>
                    </a:cubicBezTo>
                    <a:cubicBezTo>
                      <a:pt x="312" y="80"/>
                      <a:pt x="314" y="81"/>
                      <a:pt x="315" y="82"/>
                    </a:cubicBezTo>
                    <a:cubicBezTo>
                      <a:pt x="317" y="85"/>
                      <a:pt x="314" y="85"/>
                      <a:pt x="311" y="83"/>
                    </a:cubicBezTo>
                    <a:cubicBezTo>
                      <a:pt x="310" y="82"/>
                      <a:pt x="308" y="80"/>
                      <a:pt x="308" y="80"/>
                    </a:cubicBezTo>
                    <a:cubicBezTo>
                      <a:pt x="306" y="80"/>
                      <a:pt x="306" y="80"/>
                      <a:pt x="304" y="78"/>
                    </a:cubicBezTo>
                    <a:cubicBezTo>
                      <a:pt x="303" y="77"/>
                      <a:pt x="302" y="76"/>
                      <a:pt x="301" y="75"/>
                    </a:cubicBezTo>
                    <a:cubicBezTo>
                      <a:pt x="300" y="74"/>
                      <a:pt x="297" y="73"/>
                      <a:pt x="299" y="75"/>
                    </a:cubicBezTo>
                    <a:cubicBezTo>
                      <a:pt x="302" y="78"/>
                      <a:pt x="301" y="79"/>
                      <a:pt x="300" y="81"/>
                    </a:cubicBezTo>
                    <a:cubicBezTo>
                      <a:pt x="300" y="83"/>
                      <a:pt x="299" y="83"/>
                      <a:pt x="299" y="85"/>
                    </a:cubicBezTo>
                    <a:cubicBezTo>
                      <a:pt x="299" y="86"/>
                      <a:pt x="299" y="87"/>
                      <a:pt x="299" y="89"/>
                    </a:cubicBezTo>
                    <a:cubicBezTo>
                      <a:pt x="299" y="90"/>
                      <a:pt x="298" y="90"/>
                      <a:pt x="297" y="91"/>
                    </a:cubicBezTo>
                    <a:cubicBezTo>
                      <a:pt x="296" y="91"/>
                      <a:pt x="296" y="93"/>
                      <a:pt x="296" y="94"/>
                    </a:cubicBezTo>
                    <a:cubicBezTo>
                      <a:pt x="295" y="94"/>
                      <a:pt x="294" y="96"/>
                      <a:pt x="293" y="96"/>
                    </a:cubicBezTo>
                    <a:cubicBezTo>
                      <a:pt x="293" y="96"/>
                      <a:pt x="292" y="94"/>
                      <a:pt x="292" y="94"/>
                    </a:cubicBezTo>
                    <a:cubicBezTo>
                      <a:pt x="292" y="93"/>
                      <a:pt x="292" y="91"/>
                      <a:pt x="293" y="90"/>
                    </a:cubicBezTo>
                    <a:cubicBezTo>
                      <a:pt x="294" y="89"/>
                      <a:pt x="294" y="88"/>
                      <a:pt x="294" y="86"/>
                    </a:cubicBezTo>
                    <a:cubicBezTo>
                      <a:pt x="294" y="85"/>
                      <a:pt x="293" y="84"/>
                      <a:pt x="294" y="83"/>
                    </a:cubicBezTo>
                    <a:cubicBezTo>
                      <a:pt x="294" y="81"/>
                      <a:pt x="294" y="81"/>
                      <a:pt x="294" y="79"/>
                    </a:cubicBezTo>
                    <a:cubicBezTo>
                      <a:pt x="292" y="76"/>
                      <a:pt x="291" y="72"/>
                      <a:pt x="290" y="69"/>
                    </a:cubicBezTo>
                    <a:cubicBezTo>
                      <a:pt x="290" y="68"/>
                      <a:pt x="289" y="65"/>
                      <a:pt x="287" y="63"/>
                    </a:cubicBezTo>
                    <a:cubicBezTo>
                      <a:pt x="284" y="61"/>
                      <a:pt x="280" y="61"/>
                      <a:pt x="280" y="63"/>
                    </a:cubicBezTo>
                    <a:cubicBezTo>
                      <a:pt x="279" y="65"/>
                      <a:pt x="282" y="68"/>
                      <a:pt x="279" y="69"/>
                    </a:cubicBezTo>
                    <a:cubicBezTo>
                      <a:pt x="277" y="70"/>
                      <a:pt x="273" y="69"/>
                      <a:pt x="271" y="70"/>
                    </a:cubicBezTo>
                    <a:cubicBezTo>
                      <a:pt x="271" y="70"/>
                      <a:pt x="267" y="73"/>
                      <a:pt x="265" y="71"/>
                    </a:cubicBezTo>
                    <a:cubicBezTo>
                      <a:pt x="264" y="69"/>
                      <a:pt x="267" y="67"/>
                      <a:pt x="268" y="67"/>
                    </a:cubicBezTo>
                    <a:cubicBezTo>
                      <a:pt x="271" y="66"/>
                      <a:pt x="274" y="67"/>
                      <a:pt x="273" y="64"/>
                    </a:cubicBezTo>
                    <a:cubicBezTo>
                      <a:pt x="272" y="61"/>
                      <a:pt x="271" y="60"/>
                      <a:pt x="268" y="59"/>
                    </a:cubicBezTo>
                    <a:cubicBezTo>
                      <a:pt x="264" y="58"/>
                      <a:pt x="261" y="57"/>
                      <a:pt x="257" y="55"/>
                    </a:cubicBezTo>
                    <a:cubicBezTo>
                      <a:pt x="252" y="54"/>
                      <a:pt x="250" y="54"/>
                      <a:pt x="247" y="55"/>
                    </a:cubicBezTo>
                    <a:cubicBezTo>
                      <a:pt x="246" y="56"/>
                      <a:pt x="244" y="56"/>
                      <a:pt x="242" y="55"/>
                    </a:cubicBezTo>
                    <a:cubicBezTo>
                      <a:pt x="240" y="55"/>
                      <a:pt x="237" y="54"/>
                      <a:pt x="236" y="55"/>
                    </a:cubicBezTo>
                    <a:cubicBezTo>
                      <a:pt x="236" y="56"/>
                      <a:pt x="235" y="59"/>
                      <a:pt x="232" y="57"/>
                    </a:cubicBezTo>
                    <a:cubicBezTo>
                      <a:pt x="230" y="56"/>
                      <a:pt x="230" y="52"/>
                      <a:pt x="230" y="52"/>
                    </a:cubicBezTo>
                    <a:cubicBezTo>
                      <a:pt x="230" y="51"/>
                      <a:pt x="232" y="51"/>
                      <a:pt x="234" y="51"/>
                    </a:cubicBezTo>
                    <a:cubicBezTo>
                      <a:pt x="235" y="51"/>
                      <a:pt x="237" y="51"/>
                      <a:pt x="239" y="51"/>
                    </a:cubicBezTo>
                    <a:cubicBezTo>
                      <a:pt x="243" y="52"/>
                      <a:pt x="243" y="49"/>
                      <a:pt x="248" y="51"/>
                    </a:cubicBezTo>
                    <a:cubicBezTo>
                      <a:pt x="250" y="51"/>
                      <a:pt x="251" y="51"/>
                      <a:pt x="253" y="51"/>
                    </a:cubicBezTo>
                    <a:cubicBezTo>
                      <a:pt x="255" y="52"/>
                      <a:pt x="258" y="52"/>
                      <a:pt x="260" y="53"/>
                    </a:cubicBezTo>
                    <a:cubicBezTo>
                      <a:pt x="265" y="55"/>
                      <a:pt x="267" y="55"/>
                      <a:pt x="271" y="55"/>
                    </a:cubicBezTo>
                    <a:cubicBezTo>
                      <a:pt x="273" y="56"/>
                      <a:pt x="274" y="54"/>
                      <a:pt x="276" y="54"/>
                    </a:cubicBezTo>
                    <a:cubicBezTo>
                      <a:pt x="277" y="54"/>
                      <a:pt x="278" y="54"/>
                      <a:pt x="279" y="54"/>
                    </a:cubicBezTo>
                    <a:cubicBezTo>
                      <a:pt x="280" y="54"/>
                      <a:pt x="280" y="54"/>
                      <a:pt x="281" y="53"/>
                    </a:cubicBezTo>
                    <a:cubicBezTo>
                      <a:pt x="281" y="52"/>
                      <a:pt x="282" y="51"/>
                      <a:pt x="283" y="51"/>
                    </a:cubicBezTo>
                    <a:cubicBezTo>
                      <a:pt x="283" y="50"/>
                      <a:pt x="284" y="50"/>
                      <a:pt x="284" y="49"/>
                    </a:cubicBezTo>
                    <a:cubicBezTo>
                      <a:pt x="284" y="48"/>
                      <a:pt x="281" y="46"/>
                      <a:pt x="280" y="44"/>
                    </a:cubicBezTo>
                    <a:cubicBezTo>
                      <a:pt x="279" y="43"/>
                      <a:pt x="277" y="41"/>
                      <a:pt x="275" y="40"/>
                    </a:cubicBezTo>
                    <a:cubicBezTo>
                      <a:pt x="273" y="40"/>
                      <a:pt x="271" y="39"/>
                      <a:pt x="270" y="37"/>
                    </a:cubicBezTo>
                    <a:cubicBezTo>
                      <a:pt x="267" y="35"/>
                      <a:pt x="267" y="35"/>
                      <a:pt x="266" y="36"/>
                    </a:cubicBezTo>
                    <a:cubicBezTo>
                      <a:pt x="265" y="37"/>
                      <a:pt x="261" y="37"/>
                      <a:pt x="261" y="35"/>
                    </a:cubicBezTo>
                    <a:cubicBezTo>
                      <a:pt x="260" y="33"/>
                      <a:pt x="262" y="32"/>
                      <a:pt x="261" y="30"/>
                    </a:cubicBezTo>
                    <a:cubicBezTo>
                      <a:pt x="260" y="29"/>
                      <a:pt x="259" y="27"/>
                      <a:pt x="257" y="27"/>
                    </a:cubicBezTo>
                    <a:cubicBezTo>
                      <a:pt x="255" y="26"/>
                      <a:pt x="253" y="26"/>
                      <a:pt x="252" y="26"/>
                    </a:cubicBezTo>
                    <a:cubicBezTo>
                      <a:pt x="251" y="26"/>
                      <a:pt x="250" y="27"/>
                      <a:pt x="249" y="27"/>
                    </a:cubicBezTo>
                    <a:cubicBezTo>
                      <a:pt x="247" y="26"/>
                      <a:pt x="242" y="25"/>
                      <a:pt x="240" y="24"/>
                    </a:cubicBezTo>
                    <a:cubicBezTo>
                      <a:pt x="236" y="22"/>
                      <a:pt x="232" y="21"/>
                      <a:pt x="229" y="22"/>
                    </a:cubicBezTo>
                    <a:cubicBezTo>
                      <a:pt x="227" y="22"/>
                      <a:pt x="224" y="22"/>
                      <a:pt x="221" y="22"/>
                    </a:cubicBezTo>
                    <a:cubicBezTo>
                      <a:pt x="218" y="22"/>
                      <a:pt x="214" y="20"/>
                      <a:pt x="211" y="21"/>
                    </a:cubicBezTo>
                    <a:cubicBezTo>
                      <a:pt x="210" y="21"/>
                      <a:pt x="208" y="22"/>
                      <a:pt x="206" y="21"/>
                    </a:cubicBezTo>
                    <a:cubicBezTo>
                      <a:pt x="205" y="20"/>
                      <a:pt x="209" y="20"/>
                      <a:pt x="211" y="20"/>
                    </a:cubicBezTo>
                    <a:cubicBezTo>
                      <a:pt x="212" y="20"/>
                      <a:pt x="213" y="20"/>
                      <a:pt x="215" y="20"/>
                    </a:cubicBezTo>
                    <a:cubicBezTo>
                      <a:pt x="218" y="21"/>
                      <a:pt x="219" y="20"/>
                      <a:pt x="221" y="20"/>
                    </a:cubicBezTo>
                    <a:cubicBezTo>
                      <a:pt x="222" y="20"/>
                      <a:pt x="224" y="21"/>
                      <a:pt x="226" y="20"/>
                    </a:cubicBezTo>
                    <a:cubicBezTo>
                      <a:pt x="227" y="20"/>
                      <a:pt x="227" y="19"/>
                      <a:pt x="229" y="20"/>
                    </a:cubicBezTo>
                    <a:cubicBezTo>
                      <a:pt x="234" y="21"/>
                      <a:pt x="239" y="22"/>
                      <a:pt x="244" y="23"/>
                    </a:cubicBezTo>
                    <a:cubicBezTo>
                      <a:pt x="246" y="24"/>
                      <a:pt x="247" y="23"/>
                      <a:pt x="248" y="23"/>
                    </a:cubicBezTo>
                    <a:cubicBezTo>
                      <a:pt x="249" y="23"/>
                      <a:pt x="251" y="23"/>
                      <a:pt x="251" y="23"/>
                    </a:cubicBezTo>
                    <a:cubicBezTo>
                      <a:pt x="253" y="22"/>
                      <a:pt x="253" y="20"/>
                      <a:pt x="249" y="18"/>
                    </a:cubicBezTo>
                    <a:cubicBezTo>
                      <a:pt x="247" y="17"/>
                      <a:pt x="243" y="15"/>
                      <a:pt x="240" y="14"/>
                    </a:cubicBezTo>
                    <a:cubicBezTo>
                      <a:pt x="239" y="14"/>
                      <a:pt x="238" y="14"/>
                      <a:pt x="236" y="14"/>
                    </a:cubicBezTo>
                    <a:cubicBezTo>
                      <a:pt x="234" y="13"/>
                      <a:pt x="234" y="11"/>
                      <a:pt x="232" y="10"/>
                    </a:cubicBezTo>
                    <a:cubicBezTo>
                      <a:pt x="228" y="8"/>
                      <a:pt x="224" y="6"/>
                      <a:pt x="220" y="6"/>
                    </a:cubicBezTo>
                    <a:cubicBezTo>
                      <a:pt x="218" y="5"/>
                      <a:pt x="215" y="5"/>
                      <a:pt x="213" y="4"/>
                    </a:cubicBezTo>
                    <a:cubicBezTo>
                      <a:pt x="211" y="3"/>
                      <a:pt x="210" y="3"/>
                      <a:pt x="209" y="4"/>
                    </a:cubicBezTo>
                    <a:cubicBezTo>
                      <a:pt x="206" y="4"/>
                      <a:pt x="204" y="2"/>
                      <a:pt x="201" y="1"/>
                    </a:cubicBezTo>
                    <a:cubicBezTo>
                      <a:pt x="199" y="1"/>
                      <a:pt x="199" y="2"/>
                      <a:pt x="197" y="2"/>
                    </a:cubicBezTo>
                    <a:cubicBezTo>
                      <a:pt x="196" y="2"/>
                      <a:pt x="193" y="1"/>
                      <a:pt x="192" y="1"/>
                    </a:cubicBezTo>
                    <a:cubicBezTo>
                      <a:pt x="192" y="1"/>
                      <a:pt x="194" y="4"/>
                      <a:pt x="194" y="5"/>
                    </a:cubicBezTo>
                    <a:cubicBezTo>
                      <a:pt x="194" y="7"/>
                      <a:pt x="190" y="3"/>
                      <a:pt x="190" y="3"/>
                    </a:cubicBezTo>
                    <a:cubicBezTo>
                      <a:pt x="188" y="1"/>
                      <a:pt x="186" y="0"/>
                      <a:pt x="185" y="1"/>
                    </a:cubicBezTo>
                    <a:cubicBezTo>
                      <a:pt x="184" y="2"/>
                      <a:pt x="180" y="1"/>
                      <a:pt x="182" y="4"/>
                    </a:cubicBezTo>
                    <a:cubicBezTo>
                      <a:pt x="182" y="5"/>
                      <a:pt x="184" y="6"/>
                      <a:pt x="185" y="7"/>
                    </a:cubicBezTo>
                    <a:cubicBezTo>
                      <a:pt x="187" y="8"/>
                      <a:pt x="189" y="8"/>
                      <a:pt x="191" y="10"/>
                    </a:cubicBezTo>
                    <a:cubicBezTo>
                      <a:pt x="194" y="13"/>
                      <a:pt x="185" y="10"/>
                      <a:pt x="188" y="13"/>
                    </a:cubicBezTo>
                    <a:cubicBezTo>
                      <a:pt x="192" y="16"/>
                      <a:pt x="187" y="14"/>
                      <a:pt x="185" y="14"/>
                    </a:cubicBezTo>
                    <a:cubicBezTo>
                      <a:pt x="184" y="15"/>
                      <a:pt x="187" y="17"/>
                      <a:pt x="187" y="17"/>
                    </a:cubicBezTo>
                    <a:cubicBezTo>
                      <a:pt x="188" y="18"/>
                      <a:pt x="190" y="20"/>
                      <a:pt x="188" y="19"/>
                    </a:cubicBezTo>
                    <a:cubicBezTo>
                      <a:pt x="186" y="18"/>
                      <a:pt x="186" y="17"/>
                      <a:pt x="184" y="16"/>
                    </a:cubicBezTo>
                    <a:cubicBezTo>
                      <a:pt x="182" y="14"/>
                      <a:pt x="179" y="14"/>
                      <a:pt x="176" y="12"/>
                    </a:cubicBezTo>
                    <a:cubicBezTo>
                      <a:pt x="174" y="11"/>
                      <a:pt x="172" y="10"/>
                      <a:pt x="170" y="9"/>
                    </a:cubicBezTo>
                    <a:cubicBezTo>
                      <a:pt x="168" y="7"/>
                      <a:pt x="168" y="6"/>
                      <a:pt x="167" y="5"/>
                    </a:cubicBezTo>
                    <a:cubicBezTo>
                      <a:pt x="166" y="4"/>
                      <a:pt x="165" y="3"/>
                      <a:pt x="163" y="2"/>
                    </a:cubicBezTo>
                    <a:cubicBezTo>
                      <a:pt x="161" y="2"/>
                      <a:pt x="160" y="2"/>
                      <a:pt x="160" y="3"/>
                    </a:cubicBezTo>
                    <a:cubicBezTo>
                      <a:pt x="161" y="3"/>
                      <a:pt x="162" y="5"/>
                      <a:pt x="161" y="5"/>
                    </a:cubicBezTo>
                    <a:cubicBezTo>
                      <a:pt x="161" y="5"/>
                      <a:pt x="156" y="3"/>
                      <a:pt x="157" y="4"/>
                    </a:cubicBezTo>
                    <a:cubicBezTo>
                      <a:pt x="157" y="4"/>
                      <a:pt x="158" y="4"/>
                      <a:pt x="158" y="5"/>
                    </a:cubicBezTo>
                    <a:cubicBezTo>
                      <a:pt x="159" y="5"/>
                      <a:pt x="159" y="6"/>
                      <a:pt x="160" y="6"/>
                    </a:cubicBezTo>
                    <a:cubicBezTo>
                      <a:pt x="160" y="7"/>
                      <a:pt x="158" y="6"/>
                      <a:pt x="157" y="6"/>
                    </a:cubicBezTo>
                    <a:cubicBezTo>
                      <a:pt x="156" y="6"/>
                      <a:pt x="145" y="2"/>
                      <a:pt x="149" y="5"/>
                    </a:cubicBezTo>
                    <a:cubicBezTo>
                      <a:pt x="150" y="6"/>
                      <a:pt x="152" y="8"/>
                      <a:pt x="149" y="8"/>
                    </a:cubicBezTo>
                    <a:cubicBezTo>
                      <a:pt x="148" y="8"/>
                      <a:pt x="146" y="5"/>
                      <a:pt x="145" y="5"/>
                    </a:cubicBezTo>
                    <a:cubicBezTo>
                      <a:pt x="143" y="4"/>
                      <a:pt x="141" y="4"/>
                      <a:pt x="142" y="5"/>
                    </a:cubicBezTo>
                    <a:cubicBezTo>
                      <a:pt x="142" y="6"/>
                      <a:pt x="145" y="7"/>
                      <a:pt x="145" y="8"/>
                    </a:cubicBezTo>
                    <a:cubicBezTo>
                      <a:pt x="145" y="9"/>
                      <a:pt x="143" y="9"/>
                      <a:pt x="144" y="10"/>
                    </a:cubicBezTo>
                    <a:cubicBezTo>
                      <a:pt x="145" y="12"/>
                      <a:pt x="148" y="11"/>
                      <a:pt x="149" y="11"/>
                    </a:cubicBezTo>
                    <a:cubicBezTo>
                      <a:pt x="151" y="11"/>
                      <a:pt x="152" y="12"/>
                      <a:pt x="154" y="13"/>
                    </a:cubicBezTo>
                    <a:cubicBezTo>
                      <a:pt x="157" y="13"/>
                      <a:pt x="161" y="14"/>
                      <a:pt x="164" y="14"/>
                    </a:cubicBezTo>
                    <a:cubicBezTo>
                      <a:pt x="167" y="15"/>
                      <a:pt x="169" y="16"/>
                      <a:pt x="172" y="17"/>
                    </a:cubicBezTo>
                    <a:cubicBezTo>
                      <a:pt x="174" y="18"/>
                      <a:pt x="177" y="19"/>
                      <a:pt x="180" y="20"/>
                    </a:cubicBezTo>
                    <a:cubicBezTo>
                      <a:pt x="184" y="23"/>
                      <a:pt x="184" y="24"/>
                      <a:pt x="184" y="27"/>
                    </a:cubicBezTo>
                    <a:cubicBezTo>
                      <a:pt x="182" y="27"/>
                      <a:pt x="180" y="24"/>
                      <a:pt x="178" y="23"/>
                    </a:cubicBezTo>
                    <a:cubicBezTo>
                      <a:pt x="176" y="21"/>
                      <a:pt x="173" y="20"/>
                      <a:pt x="170" y="19"/>
                    </a:cubicBezTo>
                    <a:cubicBezTo>
                      <a:pt x="168" y="18"/>
                      <a:pt x="164" y="15"/>
                      <a:pt x="161" y="16"/>
                    </a:cubicBezTo>
                    <a:cubicBezTo>
                      <a:pt x="158" y="16"/>
                      <a:pt x="154" y="14"/>
                      <a:pt x="151" y="14"/>
                    </a:cubicBezTo>
                    <a:cubicBezTo>
                      <a:pt x="151" y="15"/>
                      <a:pt x="155" y="18"/>
                      <a:pt x="156" y="20"/>
                    </a:cubicBezTo>
                    <a:cubicBezTo>
                      <a:pt x="159" y="22"/>
                      <a:pt x="163" y="24"/>
                      <a:pt x="163" y="27"/>
                    </a:cubicBezTo>
                    <a:cubicBezTo>
                      <a:pt x="163" y="28"/>
                      <a:pt x="162" y="28"/>
                      <a:pt x="160" y="27"/>
                    </a:cubicBezTo>
                    <a:cubicBezTo>
                      <a:pt x="159" y="27"/>
                      <a:pt x="158" y="27"/>
                      <a:pt x="159" y="28"/>
                    </a:cubicBezTo>
                    <a:cubicBezTo>
                      <a:pt x="160" y="30"/>
                      <a:pt x="160" y="30"/>
                      <a:pt x="160" y="32"/>
                    </a:cubicBezTo>
                    <a:cubicBezTo>
                      <a:pt x="161" y="33"/>
                      <a:pt x="160" y="35"/>
                      <a:pt x="162" y="37"/>
                    </a:cubicBezTo>
                    <a:cubicBezTo>
                      <a:pt x="163" y="37"/>
                      <a:pt x="164" y="38"/>
                      <a:pt x="165" y="39"/>
                    </a:cubicBezTo>
                    <a:cubicBezTo>
                      <a:pt x="165" y="40"/>
                      <a:pt x="166" y="41"/>
                      <a:pt x="164" y="40"/>
                    </a:cubicBezTo>
                    <a:cubicBezTo>
                      <a:pt x="162" y="39"/>
                      <a:pt x="160" y="38"/>
                      <a:pt x="159" y="37"/>
                    </a:cubicBezTo>
                    <a:cubicBezTo>
                      <a:pt x="157" y="35"/>
                      <a:pt x="157" y="34"/>
                      <a:pt x="155" y="32"/>
                    </a:cubicBezTo>
                    <a:cubicBezTo>
                      <a:pt x="151" y="30"/>
                      <a:pt x="147" y="27"/>
                      <a:pt x="143" y="25"/>
                    </a:cubicBezTo>
                    <a:cubicBezTo>
                      <a:pt x="141" y="24"/>
                      <a:pt x="139" y="23"/>
                      <a:pt x="137" y="22"/>
                    </a:cubicBezTo>
                    <a:cubicBezTo>
                      <a:pt x="135" y="21"/>
                      <a:pt x="134" y="19"/>
                      <a:pt x="132" y="18"/>
                    </a:cubicBezTo>
                    <a:cubicBezTo>
                      <a:pt x="130" y="17"/>
                      <a:pt x="125" y="16"/>
                      <a:pt x="123" y="16"/>
                    </a:cubicBezTo>
                    <a:cubicBezTo>
                      <a:pt x="118" y="16"/>
                      <a:pt x="123" y="19"/>
                      <a:pt x="124" y="21"/>
                    </a:cubicBezTo>
                    <a:cubicBezTo>
                      <a:pt x="126" y="23"/>
                      <a:pt x="128" y="27"/>
                      <a:pt x="132" y="29"/>
                    </a:cubicBezTo>
                    <a:cubicBezTo>
                      <a:pt x="133" y="30"/>
                      <a:pt x="136" y="30"/>
                      <a:pt x="136" y="32"/>
                    </a:cubicBezTo>
                    <a:cubicBezTo>
                      <a:pt x="137" y="33"/>
                      <a:pt x="135" y="33"/>
                      <a:pt x="133" y="32"/>
                    </a:cubicBezTo>
                    <a:cubicBezTo>
                      <a:pt x="130" y="31"/>
                      <a:pt x="125" y="31"/>
                      <a:pt x="129" y="33"/>
                    </a:cubicBezTo>
                    <a:cubicBezTo>
                      <a:pt x="129" y="34"/>
                      <a:pt x="131" y="35"/>
                      <a:pt x="129" y="35"/>
                    </a:cubicBezTo>
                    <a:cubicBezTo>
                      <a:pt x="128" y="35"/>
                      <a:pt x="126" y="34"/>
                      <a:pt x="125" y="33"/>
                    </a:cubicBezTo>
                    <a:cubicBezTo>
                      <a:pt x="123" y="32"/>
                      <a:pt x="122" y="30"/>
                      <a:pt x="122" y="28"/>
                    </a:cubicBezTo>
                    <a:cubicBezTo>
                      <a:pt x="122" y="28"/>
                      <a:pt x="122" y="27"/>
                      <a:pt x="120" y="26"/>
                    </a:cubicBezTo>
                    <a:cubicBezTo>
                      <a:pt x="118" y="25"/>
                      <a:pt x="117" y="24"/>
                      <a:pt x="116" y="23"/>
                    </a:cubicBezTo>
                    <a:cubicBezTo>
                      <a:pt x="115" y="21"/>
                      <a:pt x="111" y="18"/>
                      <a:pt x="112" y="21"/>
                    </a:cubicBezTo>
                    <a:cubicBezTo>
                      <a:pt x="112" y="22"/>
                      <a:pt x="113" y="23"/>
                      <a:pt x="114" y="24"/>
                    </a:cubicBezTo>
                    <a:cubicBezTo>
                      <a:pt x="116" y="26"/>
                      <a:pt x="115" y="26"/>
                      <a:pt x="114" y="27"/>
                    </a:cubicBezTo>
                    <a:cubicBezTo>
                      <a:pt x="113" y="29"/>
                      <a:pt x="116" y="33"/>
                      <a:pt x="115" y="35"/>
                    </a:cubicBezTo>
                    <a:cubicBezTo>
                      <a:pt x="115" y="35"/>
                      <a:pt x="114" y="37"/>
                      <a:pt x="113" y="37"/>
                    </a:cubicBezTo>
                    <a:cubicBezTo>
                      <a:pt x="112" y="37"/>
                      <a:pt x="112" y="34"/>
                      <a:pt x="112" y="34"/>
                    </a:cubicBezTo>
                    <a:cubicBezTo>
                      <a:pt x="112" y="31"/>
                      <a:pt x="111" y="29"/>
                      <a:pt x="111" y="26"/>
                    </a:cubicBezTo>
                    <a:cubicBezTo>
                      <a:pt x="111" y="25"/>
                      <a:pt x="111" y="24"/>
                      <a:pt x="111" y="23"/>
                    </a:cubicBezTo>
                    <a:cubicBezTo>
                      <a:pt x="111" y="22"/>
                      <a:pt x="109" y="22"/>
                      <a:pt x="108" y="21"/>
                    </a:cubicBezTo>
                    <a:cubicBezTo>
                      <a:pt x="105" y="19"/>
                      <a:pt x="106" y="17"/>
                      <a:pt x="101" y="17"/>
                    </a:cubicBezTo>
                    <a:cubicBezTo>
                      <a:pt x="99" y="17"/>
                      <a:pt x="98" y="18"/>
                      <a:pt x="97" y="18"/>
                    </a:cubicBezTo>
                    <a:cubicBezTo>
                      <a:pt x="96" y="19"/>
                      <a:pt x="95" y="19"/>
                      <a:pt x="92" y="19"/>
                    </a:cubicBezTo>
                    <a:cubicBezTo>
                      <a:pt x="90" y="19"/>
                      <a:pt x="89" y="20"/>
                      <a:pt x="88" y="20"/>
                    </a:cubicBezTo>
                    <a:cubicBezTo>
                      <a:pt x="86" y="21"/>
                      <a:pt x="83" y="21"/>
                      <a:pt x="81" y="21"/>
                    </a:cubicBezTo>
                    <a:cubicBezTo>
                      <a:pt x="79" y="21"/>
                      <a:pt x="76" y="21"/>
                      <a:pt x="75" y="21"/>
                    </a:cubicBezTo>
                    <a:cubicBezTo>
                      <a:pt x="74" y="22"/>
                      <a:pt x="77" y="24"/>
                      <a:pt x="78" y="25"/>
                    </a:cubicBezTo>
                    <a:cubicBezTo>
                      <a:pt x="81" y="27"/>
                      <a:pt x="85" y="30"/>
                      <a:pt x="89" y="32"/>
                    </a:cubicBezTo>
                    <a:cubicBezTo>
                      <a:pt x="91" y="33"/>
                      <a:pt x="93" y="34"/>
                      <a:pt x="94" y="36"/>
                    </a:cubicBezTo>
                    <a:cubicBezTo>
                      <a:pt x="95" y="38"/>
                      <a:pt x="93" y="37"/>
                      <a:pt x="9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92"/>
              <p:cNvSpPr>
                <a:spLocks/>
              </p:cNvSpPr>
              <p:nvPr/>
            </p:nvSpPr>
            <p:spPr bwMode="auto">
              <a:xfrm>
                <a:off x="2846388" y="3932238"/>
                <a:ext cx="58738" cy="63500"/>
              </a:xfrm>
              <a:custGeom>
                <a:avLst/>
                <a:gdLst>
                  <a:gd name="T0" fmla="*/ 4 w 78"/>
                  <a:gd name="T1" fmla="*/ 59 h 83"/>
                  <a:gd name="T2" fmla="*/ 3 w 78"/>
                  <a:gd name="T3" fmla="*/ 65 h 83"/>
                  <a:gd name="T4" fmla="*/ 11 w 78"/>
                  <a:gd name="T5" fmla="*/ 73 h 83"/>
                  <a:gd name="T6" fmla="*/ 13 w 78"/>
                  <a:gd name="T7" fmla="*/ 79 h 83"/>
                  <a:gd name="T8" fmla="*/ 16 w 78"/>
                  <a:gd name="T9" fmla="*/ 82 h 83"/>
                  <a:gd name="T10" fmla="*/ 23 w 78"/>
                  <a:gd name="T11" fmla="*/ 74 h 83"/>
                  <a:gd name="T12" fmla="*/ 35 w 78"/>
                  <a:gd name="T13" fmla="*/ 65 h 83"/>
                  <a:gd name="T14" fmla="*/ 41 w 78"/>
                  <a:gd name="T15" fmla="*/ 50 h 83"/>
                  <a:gd name="T16" fmla="*/ 46 w 78"/>
                  <a:gd name="T17" fmla="*/ 46 h 83"/>
                  <a:gd name="T18" fmla="*/ 51 w 78"/>
                  <a:gd name="T19" fmla="*/ 39 h 83"/>
                  <a:gd name="T20" fmla="*/ 58 w 78"/>
                  <a:gd name="T21" fmla="*/ 34 h 83"/>
                  <a:gd name="T22" fmla="*/ 62 w 78"/>
                  <a:gd name="T23" fmla="*/ 29 h 83"/>
                  <a:gd name="T24" fmla="*/ 71 w 78"/>
                  <a:gd name="T25" fmla="*/ 24 h 83"/>
                  <a:gd name="T26" fmla="*/ 77 w 78"/>
                  <a:gd name="T27" fmla="*/ 18 h 83"/>
                  <a:gd name="T28" fmla="*/ 74 w 78"/>
                  <a:gd name="T29" fmla="*/ 12 h 83"/>
                  <a:gd name="T30" fmla="*/ 59 w 78"/>
                  <a:gd name="T31" fmla="*/ 7 h 83"/>
                  <a:gd name="T32" fmla="*/ 55 w 78"/>
                  <a:gd name="T33" fmla="*/ 10 h 83"/>
                  <a:gd name="T34" fmla="*/ 50 w 78"/>
                  <a:gd name="T35" fmla="*/ 8 h 83"/>
                  <a:gd name="T36" fmla="*/ 45 w 78"/>
                  <a:gd name="T37" fmla="*/ 6 h 83"/>
                  <a:gd name="T38" fmla="*/ 42 w 78"/>
                  <a:gd name="T39" fmla="*/ 2 h 83"/>
                  <a:gd name="T40" fmla="*/ 37 w 78"/>
                  <a:gd name="T41" fmla="*/ 5 h 83"/>
                  <a:gd name="T42" fmla="*/ 31 w 78"/>
                  <a:gd name="T43" fmla="*/ 7 h 83"/>
                  <a:gd name="T44" fmla="*/ 25 w 78"/>
                  <a:gd name="T45" fmla="*/ 10 h 83"/>
                  <a:gd name="T46" fmla="*/ 20 w 78"/>
                  <a:gd name="T47" fmla="*/ 13 h 83"/>
                  <a:gd name="T48" fmla="*/ 18 w 78"/>
                  <a:gd name="T49" fmla="*/ 18 h 83"/>
                  <a:gd name="T50" fmla="*/ 21 w 78"/>
                  <a:gd name="T51" fmla="*/ 23 h 83"/>
                  <a:gd name="T52" fmla="*/ 18 w 78"/>
                  <a:gd name="T53" fmla="*/ 29 h 83"/>
                  <a:gd name="T54" fmla="*/ 14 w 78"/>
                  <a:gd name="T55" fmla="*/ 27 h 83"/>
                  <a:gd name="T56" fmla="*/ 13 w 78"/>
                  <a:gd name="T57" fmla="*/ 37 h 83"/>
                  <a:gd name="T58" fmla="*/ 9 w 78"/>
                  <a:gd name="T59" fmla="*/ 49 h 83"/>
                  <a:gd name="T60" fmla="*/ 4 w 78"/>
                  <a:gd name="T6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83">
                    <a:moveTo>
                      <a:pt x="4" y="59"/>
                    </a:moveTo>
                    <a:cubicBezTo>
                      <a:pt x="2" y="61"/>
                      <a:pt x="0" y="65"/>
                      <a:pt x="3" y="65"/>
                    </a:cubicBezTo>
                    <a:cubicBezTo>
                      <a:pt x="8" y="66"/>
                      <a:pt x="8" y="70"/>
                      <a:pt x="11" y="73"/>
                    </a:cubicBezTo>
                    <a:cubicBezTo>
                      <a:pt x="12" y="75"/>
                      <a:pt x="13" y="77"/>
                      <a:pt x="13" y="79"/>
                    </a:cubicBezTo>
                    <a:cubicBezTo>
                      <a:pt x="13" y="80"/>
                      <a:pt x="13" y="83"/>
                      <a:pt x="16" y="82"/>
                    </a:cubicBezTo>
                    <a:cubicBezTo>
                      <a:pt x="18" y="79"/>
                      <a:pt x="20" y="76"/>
                      <a:pt x="23" y="74"/>
                    </a:cubicBezTo>
                    <a:cubicBezTo>
                      <a:pt x="28" y="71"/>
                      <a:pt x="32" y="71"/>
                      <a:pt x="35" y="65"/>
                    </a:cubicBezTo>
                    <a:cubicBezTo>
                      <a:pt x="37" y="60"/>
                      <a:pt x="36" y="53"/>
                      <a:pt x="41" y="50"/>
                    </a:cubicBezTo>
                    <a:cubicBezTo>
                      <a:pt x="43" y="49"/>
                      <a:pt x="45" y="48"/>
                      <a:pt x="46" y="46"/>
                    </a:cubicBezTo>
                    <a:cubicBezTo>
                      <a:pt x="48" y="44"/>
                      <a:pt x="49" y="41"/>
                      <a:pt x="51" y="39"/>
                    </a:cubicBezTo>
                    <a:cubicBezTo>
                      <a:pt x="53" y="37"/>
                      <a:pt x="55" y="35"/>
                      <a:pt x="58" y="34"/>
                    </a:cubicBezTo>
                    <a:cubicBezTo>
                      <a:pt x="59" y="32"/>
                      <a:pt x="60" y="30"/>
                      <a:pt x="62" y="29"/>
                    </a:cubicBezTo>
                    <a:cubicBezTo>
                      <a:pt x="64" y="27"/>
                      <a:pt x="68" y="25"/>
                      <a:pt x="71" y="24"/>
                    </a:cubicBezTo>
                    <a:cubicBezTo>
                      <a:pt x="73" y="22"/>
                      <a:pt x="76" y="21"/>
                      <a:pt x="77" y="18"/>
                    </a:cubicBezTo>
                    <a:cubicBezTo>
                      <a:pt x="78" y="16"/>
                      <a:pt x="75" y="14"/>
                      <a:pt x="74" y="12"/>
                    </a:cubicBezTo>
                    <a:cubicBezTo>
                      <a:pt x="72" y="10"/>
                      <a:pt x="66" y="0"/>
                      <a:pt x="59" y="7"/>
                    </a:cubicBezTo>
                    <a:cubicBezTo>
                      <a:pt x="58" y="8"/>
                      <a:pt x="57" y="10"/>
                      <a:pt x="55" y="10"/>
                    </a:cubicBezTo>
                    <a:cubicBezTo>
                      <a:pt x="53" y="10"/>
                      <a:pt x="52" y="9"/>
                      <a:pt x="50" y="8"/>
                    </a:cubicBezTo>
                    <a:cubicBezTo>
                      <a:pt x="48" y="7"/>
                      <a:pt x="47" y="7"/>
                      <a:pt x="45" y="6"/>
                    </a:cubicBezTo>
                    <a:cubicBezTo>
                      <a:pt x="44" y="5"/>
                      <a:pt x="44" y="2"/>
                      <a:pt x="42" y="2"/>
                    </a:cubicBezTo>
                    <a:cubicBezTo>
                      <a:pt x="40" y="2"/>
                      <a:pt x="38" y="3"/>
                      <a:pt x="37" y="5"/>
                    </a:cubicBezTo>
                    <a:cubicBezTo>
                      <a:pt x="35" y="7"/>
                      <a:pt x="32" y="7"/>
                      <a:pt x="31" y="7"/>
                    </a:cubicBezTo>
                    <a:cubicBezTo>
                      <a:pt x="29" y="8"/>
                      <a:pt x="27" y="9"/>
                      <a:pt x="25" y="10"/>
                    </a:cubicBezTo>
                    <a:cubicBezTo>
                      <a:pt x="23" y="11"/>
                      <a:pt x="22" y="12"/>
                      <a:pt x="20" y="13"/>
                    </a:cubicBezTo>
                    <a:cubicBezTo>
                      <a:pt x="18" y="15"/>
                      <a:pt x="19" y="16"/>
                      <a:pt x="18" y="18"/>
                    </a:cubicBezTo>
                    <a:cubicBezTo>
                      <a:pt x="17" y="21"/>
                      <a:pt x="20" y="21"/>
                      <a:pt x="21" y="23"/>
                    </a:cubicBezTo>
                    <a:cubicBezTo>
                      <a:pt x="21" y="24"/>
                      <a:pt x="20" y="27"/>
                      <a:pt x="18" y="29"/>
                    </a:cubicBezTo>
                    <a:cubicBezTo>
                      <a:pt x="17" y="30"/>
                      <a:pt x="15" y="27"/>
                      <a:pt x="14" y="27"/>
                    </a:cubicBezTo>
                    <a:cubicBezTo>
                      <a:pt x="12" y="31"/>
                      <a:pt x="13" y="34"/>
                      <a:pt x="13" y="37"/>
                    </a:cubicBezTo>
                    <a:cubicBezTo>
                      <a:pt x="13" y="41"/>
                      <a:pt x="11" y="45"/>
                      <a:pt x="9" y="49"/>
                    </a:cubicBezTo>
                    <a:cubicBezTo>
                      <a:pt x="8" y="53"/>
                      <a:pt x="7" y="56"/>
                      <a:pt x="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93"/>
              <p:cNvSpPr>
                <a:spLocks noEditPoints="1"/>
              </p:cNvSpPr>
              <p:nvPr/>
            </p:nvSpPr>
            <p:spPr bwMode="auto">
              <a:xfrm>
                <a:off x="2678113" y="3956050"/>
                <a:ext cx="619125" cy="385763"/>
              </a:xfrm>
              <a:custGeom>
                <a:avLst/>
                <a:gdLst>
                  <a:gd name="T0" fmla="*/ 5 w 819"/>
                  <a:gd name="T1" fmla="*/ 203 h 509"/>
                  <a:gd name="T2" fmla="*/ 483 w 819"/>
                  <a:gd name="T3" fmla="*/ 442 h 509"/>
                  <a:gd name="T4" fmla="*/ 520 w 819"/>
                  <a:gd name="T5" fmla="*/ 433 h 509"/>
                  <a:gd name="T6" fmla="*/ 547 w 819"/>
                  <a:gd name="T7" fmla="*/ 466 h 509"/>
                  <a:gd name="T8" fmla="*/ 615 w 819"/>
                  <a:gd name="T9" fmla="*/ 495 h 509"/>
                  <a:gd name="T10" fmla="*/ 687 w 819"/>
                  <a:gd name="T11" fmla="*/ 482 h 509"/>
                  <a:gd name="T12" fmla="*/ 713 w 819"/>
                  <a:gd name="T13" fmla="*/ 489 h 509"/>
                  <a:gd name="T14" fmla="*/ 738 w 819"/>
                  <a:gd name="T15" fmla="*/ 458 h 509"/>
                  <a:gd name="T16" fmla="*/ 685 w 819"/>
                  <a:gd name="T17" fmla="*/ 430 h 509"/>
                  <a:gd name="T18" fmla="*/ 719 w 819"/>
                  <a:gd name="T19" fmla="*/ 401 h 509"/>
                  <a:gd name="T20" fmla="*/ 773 w 819"/>
                  <a:gd name="T21" fmla="*/ 419 h 509"/>
                  <a:gd name="T22" fmla="*/ 792 w 819"/>
                  <a:gd name="T23" fmla="*/ 435 h 509"/>
                  <a:gd name="T24" fmla="*/ 809 w 819"/>
                  <a:gd name="T25" fmla="*/ 430 h 509"/>
                  <a:gd name="T26" fmla="*/ 808 w 819"/>
                  <a:gd name="T27" fmla="*/ 418 h 509"/>
                  <a:gd name="T28" fmla="*/ 797 w 819"/>
                  <a:gd name="T29" fmla="*/ 375 h 509"/>
                  <a:gd name="T30" fmla="*/ 776 w 819"/>
                  <a:gd name="T31" fmla="*/ 330 h 509"/>
                  <a:gd name="T32" fmla="*/ 745 w 819"/>
                  <a:gd name="T33" fmla="*/ 282 h 509"/>
                  <a:gd name="T34" fmla="*/ 714 w 819"/>
                  <a:gd name="T35" fmla="*/ 248 h 509"/>
                  <a:gd name="T36" fmla="*/ 681 w 819"/>
                  <a:gd name="T37" fmla="*/ 256 h 509"/>
                  <a:gd name="T38" fmla="*/ 666 w 819"/>
                  <a:gd name="T39" fmla="*/ 219 h 509"/>
                  <a:gd name="T40" fmla="*/ 623 w 819"/>
                  <a:gd name="T41" fmla="*/ 196 h 509"/>
                  <a:gd name="T42" fmla="*/ 598 w 819"/>
                  <a:gd name="T43" fmla="*/ 226 h 509"/>
                  <a:gd name="T44" fmla="*/ 611 w 819"/>
                  <a:gd name="T45" fmla="*/ 311 h 509"/>
                  <a:gd name="T46" fmla="*/ 584 w 819"/>
                  <a:gd name="T47" fmla="*/ 380 h 509"/>
                  <a:gd name="T48" fmla="*/ 552 w 819"/>
                  <a:gd name="T49" fmla="*/ 342 h 509"/>
                  <a:gd name="T50" fmla="*/ 492 w 819"/>
                  <a:gd name="T51" fmla="*/ 294 h 509"/>
                  <a:gd name="T52" fmla="*/ 441 w 819"/>
                  <a:gd name="T53" fmla="*/ 260 h 509"/>
                  <a:gd name="T54" fmla="*/ 472 w 819"/>
                  <a:gd name="T55" fmla="*/ 176 h 509"/>
                  <a:gd name="T56" fmla="*/ 501 w 819"/>
                  <a:gd name="T57" fmla="*/ 136 h 509"/>
                  <a:gd name="T58" fmla="*/ 518 w 819"/>
                  <a:gd name="T59" fmla="*/ 112 h 509"/>
                  <a:gd name="T60" fmla="*/ 563 w 819"/>
                  <a:gd name="T61" fmla="*/ 88 h 509"/>
                  <a:gd name="T62" fmla="*/ 564 w 819"/>
                  <a:gd name="T63" fmla="*/ 54 h 509"/>
                  <a:gd name="T64" fmla="*/ 528 w 819"/>
                  <a:gd name="T65" fmla="*/ 49 h 509"/>
                  <a:gd name="T66" fmla="*/ 511 w 819"/>
                  <a:gd name="T67" fmla="*/ 95 h 509"/>
                  <a:gd name="T68" fmla="*/ 492 w 819"/>
                  <a:gd name="T69" fmla="*/ 56 h 509"/>
                  <a:gd name="T70" fmla="*/ 466 w 819"/>
                  <a:gd name="T71" fmla="*/ 45 h 509"/>
                  <a:gd name="T72" fmla="*/ 454 w 819"/>
                  <a:gd name="T73" fmla="*/ 5 h 509"/>
                  <a:gd name="T74" fmla="*/ 432 w 819"/>
                  <a:gd name="T75" fmla="*/ 33 h 509"/>
                  <a:gd name="T76" fmla="*/ 440 w 819"/>
                  <a:gd name="T77" fmla="*/ 85 h 509"/>
                  <a:gd name="T78" fmla="*/ 410 w 819"/>
                  <a:gd name="T79" fmla="*/ 90 h 509"/>
                  <a:gd name="T80" fmla="*/ 347 w 819"/>
                  <a:gd name="T81" fmla="*/ 88 h 509"/>
                  <a:gd name="T82" fmla="*/ 282 w 819"/>
                  <a:gd name="T83" fmla="*/ 97 h 509"/>
                  <a:gd name="T84" fmla="*/ 251 w 819"/>
                  <a:gd name="T85" fmla="*/ 73 h 509"/>
                  <a:gd name="T86" fmla="*/ 218 w 819"/>
                  <a:gd name="T87" fmla="*/ 75 h 509"/>
                  <a:gd name="T88" fmla="*/ 186 w 819"/>
                  <a:gd name="T89" fmla="*/ 76 h 509"/>
                  <a:gd name="T90" fmla="*/ 153 w 819"/>
                  <a:gd name="T91" fmla="*/ 101 h 509"/>
                  <a:gd name="T92" fmla="*/ 128 w 819"/>
                  <a:gd name="T93" fmla="*/ 97 h 509"/>
                  <a:gd name="T94" fmla="*/ 81 w 819"/>
                  <a:gd name="T95" fmla="*/ 98 h 509"/>
                  <a:gd name="T96" fmla="*/ 65 w 819"/>
                  <a:gd name="T97" fmla="*/ 95 h 509"/>
                  <a:gd name="T98" fmla="*/ 48 w 819"/>
                  <a:gd name="T99" fmla="*/ 98 h 509"/>
                  <a:gd name="T100" fmla="*/ 23 w 819"/>
                  <a:gd name="T101" fmla="*/ 136 h 509"/>
                  <a:gd name="T102" fmla="*/ 21 w 819"/>
                  <a:gd name="T103" fmla="*/ 161 h 509"/>
                  <a:gd name="T104" fmla="*/ 500 w 819"/>
                  <a:gd name="T105" fmla="*/ 404 h 509"/>
                  <a:gd name="T106" fmla="*/ 411 w 819"/>
                  <a:gd name="T107" fmla="*/ 375 h 509"/>
                  <a:gd name="T108" fmla="*/ 396 w 819"/>
                  <a:gd name="T109" fmla="*/ 382 h 509"/>
                  <a:gd name="T110" fmla="*/ 304 w 819"/>
                  <a:gd name="T111" fmla="*/ 268 h 509"/>
                  <a:gd name="T112" fmla="*/ 282 w 819"/>
                  <a:gd name="T113" fmla="*/ 206 h 509"/>
                  <a:gd name="T114" fmla="*/ 301 w 819"/>
                  <a:gd name="T115" fmla="*/ 211 h 509"/>
                  <a:gd name="T116" fmla="*/ 247 w 819"/>
                  <a:gd name="T117" fmla="*/ 228 h 509"/>
                  <a:gd name="T118" fmla="*/ 251 w 819"/>
                  <a:gd name="T119" fmla="*/ 124 h 509"/>
                  <a:gd name="T120" fmla="*/ 251 w 819"/>
                  <a:gd name="T121" fmla="*/ 145 h 509"/>
                  <a:gd name="T122" fmla="*/ 224 w 819"/>
                  <a:gd name="T123" fmla="*/ 162 h 509"/>
                  <a:gd name="T124" fmla="*/ 221 w 819"/>
                  <a:gd name="T125" fmla="*/ 13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9" h="509">
                    <a:moveTo>
                      <a:pt x="19" y="176"/>
                    </a:moveTo>
                    <a:cubicBezTo>
                      <a:pt x="18" y="173"/>
                      <a:pt x="12" y="180"/>
                      <a:pt x="11" y="182"/>
                    </a:cubicBezTo>
                    <a:cubicBezTo>
                      <a:pt x="9" y="184"/>
                      <a:pt x="8" y="186"/>
                      <a:pt x="6" y="187"/>
                    </a:cubicBezTo>
                    <a:cubicBezTo>
                      <a:pt x="5" y="188"/>
                      <a:pt x="3" y="189"/>
                      <a:pt x="2" y="190"/>
                    </a:cubicBezTo>
                    <a:cubicBezTo>
                      <a:pt x="0" y="195"/>
                      <a:pt x="3" y="197"/>
                      <a:pt x="5" y="198"/>
                    </a:cubicBezTo>
                    <a:cubicBezTo>
                      <a:pt x="6" y="198"/>
                      <a:pt x="7" y="198"/>
                      <a:pt x="6" y="200"/>
                    </a:cubicBezTo>
                    <a:cubicBezTo>
                      <a:pt x="6" y="201"/>
                      <a:pt x="5" y="202"/>
                      <a:pt x="5" y="203"/>
                    </a:cubicBezTo>
                    <a:cubicBezTo>
                      <a:pt x="11" y="202"/>
                      <a:pt x="18" y="201"/>
                      <a:pt x="25" y="201"/>
                    </a:cubicBezTo>
                    <a:cubicBezTo>
                      <a:pt x="25" y="201"/>
                      <a:pt x="26" y="201"/>
                      <a:pt x="26" y="200"/>
                    </a:cubicBezTo>
                    <a:cubicBezTo>
                      <a:pt x="27" y="199"/>
                      <a:pt x="27" y="200"/>
                      <a:pt x="27" y="201"/>
                    </a:cubicBezTo>
                    <a:cubicBezTo>
                      <a:pt x="29" y="201"/>
                      <a:pt x="31" y="201"/>
                      <a:pt x="34" y="201"/>
                    </a:cubicBezTo>
                    <a:cubicBezTo>
                      <a:pt x="81" y="204"/>
                      <a:pt x="130" y="229"/>
                      <a:pt x="191" y="268"/>
                    </a:cubicBezTo>
                    <a:cubicBezTo>
                      <a:pt x="253" y="307"/>
                      <a:pt x="328" y="361"/>
                      <a:pt x="415" y="408"/>
                    </a:cubicBezTo>
                    <a:cubicBezTo>
                      <a:pt x="437" y="420"/>
                      <a:pt x="460" y="431"/>
                      <a:pt x="483" y="442"/>
                    </a:cubicBezTo>
                    <a:cubicBezTo>
                      <a:pt x="484" y="442"/>
                      <a:pt x="484" y="442"/>
                      <a:pt x="484" y="442"/>
                    </a:cubicBezTo>
                    <a:cubicBezTo>
                      <a:pt x="487" y="440"/>
                      <a:pt x="488" y="438"/>
                      <a:pt x="491" y="437"/>
                    </a:cubicBezTo>
                    <a:cubicBezTo>
                      <a:pt x="493" y="436"/>
                      <a:pt x="495" y="435"/>
                      <a:pt x="498" y="434"/>
                    </a:cubicBezTo>
                    <a:cubicBezTo>
                      <a:pt x="502" y="431"/>
                      <a:pt x="500" y="424"/>
                      <a:pt x="506" y="425"/>
                    </a:cubicBezTo>
                    <a:cubicBezTo>
                      <a:pt x="508" y="425"/>
                      <a:pt x="510" y="426"/>
                      <a:pt x="511" y="428"/>
                    </a:cubicBezTo>
                    <a:cubicBezTo>
                      <a:pt x="512" y="430"/>
                      <a:pt x="513" y="431"/>
                      <a:pt x="513" y="429"/>
                    </a:cubicBezTo>
                    <a:cubicBezTo>
                      <a:pt x="515" y="424"/>
                      <a:pt x="519" y="430"/>
                      <a:pt x="520" y="433"/>
                    </a:cubicBezTo>
                    <a:cubicBezTo>
                      <a:pt x="522" y="438"/>
                      <a:pt x="521" y="439"/>
                      <a:pt x="527" y="439"/>
                    </a:cubicBezTo>
                    <a:cubicBezTo>
                      <a:pt x="533" y="439"/>
                      <a:pt x="534" y="442"/>
                      <a:pt x="536" y="447"/>
                    </a:cubicBezTo>
                    <a:cubicBezTo>
                      <a:pt x="539" y="457"/>
                      <a:pt x="527" y="454"/>
                      <a:pt x="521" y="454"/>
                    </a:cubicBezTo>
                    <a:cubicBezTo>
                      <a:pt x="518" y="453"/>
                      <a:pt x="516" y="455"/>
                      <a:pt x="514" y="456"/>
                    </a:cubicBezTo>
                    <a:cubicBezTo>
                      <a:pt x="521" y="459"/>
                      <a:pt x="528" y="462"/>
                      <a:pt x="534" y="465"/>
                    </a:cubicBezTo>
                    <a:cubicBezTo>
                      <a:pt x="536" y="464"/>
                      <a:pt x="537" y="463"/>
                      <a:pt x="538" y="462"/>
                    </a:cubicBezTo>
                    <a:cubicBezTo>
                      <a:pt x="540" y="464"/>
                      <a:pt x="544" y="464"/>
                      <a:pt x="547" y="466"/>
                    </a:cubicBezTo>
                    <a:cubicBezTo>
                      <a:pt x="549" y="467"/>
                      <a:pt x="552" y="470"/>
                      <a:pt x="555" y="472"/>
                    </a:cubicBezTo>
                    <a:cubicBezTo>
                      <a:pt x="560" y="475"/>
                      <a:pt x="559" y="470"/>
                      <a:pt x="561" y="467"/>
                    </a:cubicBezTo>
                    <a:cubicBezTo>
                      <a:pt x="564" y="464"/>
                      <a:pt x="572" y="465"/>
                      <a:pt x="575" y="467"/>
                    </a:cubicBezTo>
                    <a:cubicBezTo>
                      <a:pt x="579" y="471"/>
                      <a:pt x="580" y="477"/>
                      <a:pt x="578" y="482"/>
                    </a:cubicBezTo>
                    <a:cubicBezTo>
                      <a:pt x="585" y="485"/>
                      <a:pt x="592" y="487"/>
                      <a:pt x="600" y="490"/>
                    </a:cubicBezTo>
                    <a:cubicBezTo>
                      <a:pt x="605" y="487"/>
                      <a:pt x="614" y="483"/>
                      <a:pt x="615" y="492"/>
                    </a:cubicBezTo>
                    <a:cubicBezTo>
                      <a:pt x="615" y="493"/>
                      <a:pt x="615" y="494"/>
                      <a:pt x="615" y="495"/>
                    </a:cubicBezTo>
                    <a:cubicBezTo>
                      <a:pt x="630" y="500"/>
                      <a:pt x="646" y="505"/>
                      <a:pt x="661" y="509"/>
                    </a:cubicBezTo>
                    <a:cubicBezTo>
                      <a:pt x="660" y="508"/>
                      <a:pt x="662" y="506"/>
                      <a:pt x="662" y="504"/>
                    </a:cubicBezTo>
                    <a:cubicBezTo>
                      <a:pt x="663" y="502"/>
                      <a:pt x="664" y="502"/>
                      <a:pt x="666" y="502"/>
                    </a:cubicBezTo>
                    <a:cubicBezTo>
                      <a:pt x="670" y="502"/>
                      <a:pt x="668" y="500"/>
                      <a:pt x="669" y="497"/>
                    </a:cubicBezTo>
                    <a:cubicBezTo>
                      <a:pt x="669" y="495"/>
                      <a:pt x="671" y="493"/>
                      <a:pt x="672" y="491"/>
                    </a:cubicBezTo>
                    <a:cubicBezTo>
                      <a:pt x="673" y="488"/>
                      <a:pt x="675" y="491"/>
                      <a:pt x="677" y="491"/>
                    </a:cubicBezTo>
                    <a:cubicBezTo>
                      <a:pt x="680" y="493"/>
                      <a:pt x="683" y="483"/>
                      <a:pt x="687" y="482"/>
                    </a:cubicBezTo>
                    <a:cubicBezTo>
                      <a:pt x="689" y="482"/>
                      <a:pt x="705" y="480"/>
                      <a:pt x="705" y="477"/>
                    </a:cubicBezTo>
                    <a:cubicBezTo>
                      <a:pt x="704" y="472"/>
                      <a:pt x="710" y="472"/>
                      <a:pt x="713" y="470"/>
                    </a:cubicBezTo>
                    <a:cubicBezTo>
                      <a:pt x="716" y="468"/>
                      <a:pt x="718" y="466"/>
                      <a:pt x="721" y="464"/>
                    </a:cubicBezTo>
                    <a:cubicBezTo>
                      <a:pt x="722" y="464"/>
                      <a:pt x="725" y="469"/>
                      <a:pt x="725" y="470"/>
                    </a:cubicBezTo>
                    <a:cubicBezTo>
                      <a:pt x="723" y="472"/>
                      <a:pt x="720" y="473"/>
                      <a:pt x="718" y="474"/>
                    </a:cubicBezTo>
                    <a:cubicBezTo>
                      <a:pt x="715" y="476"/>
                      <a:pt x="713" y="478"/>
                      <a:pt x="712" y="481"/>
                    </a:cubicBezTo>
                    <a:cubicBezTo>
                      <a:pt x="710" y="484"/>
                      <a:pt x="711" y="487"/>
                      <a:pt x="713" y="489"/>
                    </a:cubicBezTo>
                    <a:cubicBezTo>
                      <a:pt x="714" y="491"/>
                      <a:pt x="714" y="494"/>
                      <a:pt x="716" y="494"/>
                    </a:cubicBezTo>
                    <a:cubicBezTo>
                      <a:pt x="720" y="495"/>
                      <a:pt x="724" y="486"/>
                      <a:pt x="726" y="484"/>
                    </a:cubicBezTo>
                    <a:cubicBezTo>
                      <a:pt x="727" y="482"/>
                      <a:pt x="728" y="480"/>
                      <a:pt x="730" y="478"/>
                    </a:cubicBezTo>
                    <a:cubicBezTo>
                      <a:pt x="732" y="475"/>
                      <a:pt x="738" y="476"/>
                      <a:pt x="742" y="475"/>
                    </a:cubicBezTo>
                    <a:cubicBezTo>
                      <a:pt x="744" y="474"/>
                      <a:pt x="757" y="469"/>
                      <a:pt x="755" y="465"/>
                    </a:cubicBezTo>
                    <a:cubicBezTo>
                      <a:pt x="753" y="462"/>
                      <a:pt x="748" y="465"/>
                      <a:pt x="747" y="461"/>
                    </a:cubicBezTo>
                    <a:cubicBezTo>
                      <a:pt x="746" y="457"/>
                      <a:pt x="742" y="458"/>
                      <a:pt x="738" y="458"/>
                    </a:cubicBezTo>
                    <a:cubicBezTo>
                      <a:pt x="735" y="458"/>
                      <a:pt x="731" y="454"/>
                      <a:pt x="728" y="452"/>
                    </a:cubicBezTo>
                    <a:cubicBezTo>
                      <a:pt x="723" y="450"/>
                      <a:pt x="723" y="444"/>
                      <a:pt x="724" y="439"/>
                    </a:cubicBezTo>
                    <a:cubicBezTo>
                      <a:pt x="727" y="432"/>
                      <a:pt x="735" y="420"/>
                      <a:pt x="725" y="416"/>
                    </a:cubicBezTo>
                    <a:cubicBezTo>
                      <a:pt x="720" y="414"/>
                      <a:pt x="715" y="412"/>
                      <a:pt x="711" y="414"/>
                    </a:cubicBezTo>
                    <a:cubicBezTo>
                      <a:pt x="706" y="415"/>
                      <a:pt x="702" y="417"/>
                      <a:pt x="698" y="419"/>
                    </a:cubicBezTo>
                    <a:cubicBezTo>
                      <a:pt x="696" y="421"/>
                      <a:pt x="694" y="422"/>
                      <a:pt x="693" y="424"/>
                    </a:cubicBezTo>
                    <a:cubicBezTo>
                      <a:pt x="690" y="426"/>
                      <a:pt x="687" y="428"/>
                      <a:pt x="685" y="430"/>
                    </a:cubicBezTo>
                    <a:cubicBezTo>
                      <a:pt x="684" y="432"/>
                      <a:pt x="684" y="440"/>
                      <a:pt x="682" y="441"/>
                    </a:cubicBezTo>
                    <a:cubicBezTo>
                      <a:pt x="682" y="438"/>
                      <a:pt x="681" y="436"/>
                      <a:pt x="681" y="433"/>
                    </a:cubicBezTo>
                    <a:cubicBezTo>
                      <a:pt x="680" y="430"/>
                      <a:pt x="682" y="428"/>
                      <a:pt x="683" y="426"/>
                    </a:cubicBezTo>
                    <a:cubicBezTo>
                      <a:pt x="687" y="420"/>
                      <a:pt x="691" y="418"/>
                      <a:pt x="697" y="414"/>
                    </a:cubicBezTo>
                    <a:cubicBezTo>
                      <a:pt x="699" y="413"/>
                      <a:pt x="702" y="411"/>
                      <a:pt x="704" y="409"/>
                    </a:cubicBezTo>
                    <a:cubicBezTo>
                      <a:pt x="706" y="407"/>
                      <a:pt x="707" y="404"/>
                      <a:pt x="710" y="402"/>
                    </a:cubicBezTo>
                    <a:cubicBezTo>
                      <a:pt x="712" y="401"/>
                      <a:pt x="717" y="401"/>
                      <a:pt x="719" y="401"/>
                    </a:cubicBezTo>
                    <a:cubicBezTo>
                      <a:pt x="722" y="400"/>
                      <a:pt x="724" y="402"/>
                      <a:pt x="725" y="405"/>
                    </a:cubicBezTo>
                    <a:cubicBezTo>
                      <a:pt x="727" y="410"/>
                      <a:pt x="728" y="416"/>
                      <a:pt x="733" y="418"/>
                    </a:cubicBezTo>
                    <a:cubicBezTo>
                      <a:pt x="737" y="419"/>
                      <a:pt x="744" y="416"/>
                      <a:pt x="748" y="415"/>
                    </a:cubicBezTo>
                    <a:cubicBezTo>
                      <a:pt x="750" y="414"/>
                      <a:pt x="752" y="413"/>
                      <a:pt x="753" y="411"/>
                    </a:cubicBezTo>
                    <a:cubicBezTo>
                      <a:pt x="755" y="408"/>
                      <a:pt x="755" y="406"/>
                      <a:pt x="758" y="404"/>
                    </a:cubicBezTo>
                    <a:cubicBezTo>
                      <a:pt x="765" y="401"/>
                      <a:pt x="771" y="405"/>
                      <a:pt x="775" y="409"/>
                    </a:cubicBezTo>
                    <a:cubicBezTo>
                      <a:pt x="772" y="412"/>
                      <a:pt x="776" y="417"/>
                      <a:pt x="773" y="419"/>
                    </a:cubicBezTo>
                    <a:cubicBezTo>
                      <a:pt x="773" y="420"/>
                      <a:pt x="762" y="420"/>
                      <a:pt x="766" y="424"/>
                    </a:cubicBezTo>
                    <a:cubicBezTo>
                      <a:pt x="767" y="424"/>
                      <a:pt x="770" y="424"/>
                      <a:pt x="770" y="426"/>
                    </a:cubicBezTo>
                    <a:cubicBezTo>
                      <a:pt x="770" y="428"/>
                      <a:pt x="768" y="429"/>
                      <a:pt x="767" y="430"/>
                    </a:cubicBezTo>
                    <a:cubicBezTo>
                      <a:pt x="764" y="433"/>
                      <a:pt x="761" y="438"/>
                      <a:pt x="768" y="437"/>
                    </a:cubicBezTo>
                    <a:cubicBezTo>
                      <a:pt x="771" y="437"/>
                      <a:pt x="773" y="435"/>
                      <a:pt x="776" y="434"/>
                    </a:cubicBezTo>
                    <a:cubicBezTo>
                      <a:pt x="779" y="433"/>
                      <a:pt x="782" y="434"/>
                      <a:pt x="785" y="433"/>
                    </a:cubicBezTo>
                    <a:cubicBezTo>
                      <a:pt x="788" y="433"/>
                      <a:pt x="790" y="432"/>
                      <a:pt x="792" y="435"/>
                    </a:cubicBezTo>
                    <a:cubicBezTo>
                      <a:pt x="793" y="437"/>
                      <a:pt x="796" y="439"/>
                      <a:pt x="794" y="442"/>
                    </a:cubicBezTo>
                    <a:cubicBezTo>
                      <a:pt x="792" y="445"/>
                      <a:pt x="790" y="442"/>
                      <a:pt x="788" y="442"/>
                    </a:cubicBezTo>
                    <a:cubicBezTo>
                      <a:pt x="786" y="443"/>
                      <a:pt x="789" y="446"/>
                      <a:pt x="790" y="446"/>
                    </a:cubicBezTo>
                    <a:cubicBezTo>
                      <a:pt x="793" y="447"/>
                      <a:pt x="795" y="446"/>
                      <a:pt x="796" y="443"/>
                    </a:cubicBezTo>
                    <a:cubicBezTo>
                      <a:pt x="797" y="440"/>
                      <a:pt x="799" y="439"/>
                      <a:pt x="802" y="438"/>
                    </a:cubicBezTo>
                    <a:cubicBezTo>
                      <a:pt x="804" y="437"/>
                      <a:pt x="807" y="436"/>
                      <a:pt x="807" y="434"/>
                    </a:cubicBezTo>
                    <a:cubicBezTo>
                      <a:pt x="807" y="432"/>
                      <a:pt x="807" y="429"/>
                      <a:pt x="809" y="430"/>
                    </a:cubicBezTo>
                    <a:cubicBezTo>
                      <a:pt x="812" y="432"/>
                      <a:pt x="806" y="442"/>
                      <a:pt x="807" y="445"/>
                    </a:cubicBezTo>
                    <a:cubicBezTo>
                      <a:pt x="808" y="446"/>
                      <a:pt x="811" y="449"/>
                      <a:pt x="813" y="448"/>
                    </a:cubicBezTo>
                    <a:cubicBezTo>
                      <a:pt x="815" y="446"/>
                      <a:pt x="815" y="442"/>
                      <a:pt x="816" y="439"/>
                    </a:cubicBezTo>
                    <a:cubicBezTo>
                      <a:pt x="817" y="437"/>
                      <a:pt x="819" y="434"/>
                      <a:pt x="818" y="431"/>
                    </a:cubicBezTo>
                    <a:cubicBezTo>
                      <a:pt x="816" y="427"/>
                      <a:pt x="814" y="426"/>
                      <a:pt x="815" y="421"/>
                    </a:cubicBezTo>
                    <a:cubicBezTo>
                      <a:pt x="815" y="419"/>
                      <a:pt x="814" y="409"/>
                      <a:pt x="811" y="408"/>
                    </a:cubicBezTo>
                    <a:cubicBezTo>
                      <a:pt x="805" y="407"/>
                      <a:pt x="811" y="415"/>
                      <a:pt x="808" y="418"/>
                    </a:cubicBezTo>
                    <a:cubicBezTo>
                      <a:pt x="802" y="422"/>
                      <a:pt x="801" y="414"/>
                      <a:pt x="799" y="411"/>
                    </a:cubicBezTo>
                    <a:cubicBezTo>
                      <a:pt x="797" y="408"/>
                      <a:pt x="796" y="410"/>
                      <a:pt x="794" y="412"/>
                    </a:cubicBezTo>
                    <a:cubicBezTo>
                      <a:pt x="790" y="415"/>
                      <a:pt x="788" y="410"/>
                      <a:pt x="787" y="408"/>
                    </a:cubicBezTo>
                    <a:cubicBezTo>
                      <a:pt x="786" y="404"/>
                      <a:pt x="787" y="402"/>
                      <a:pt x="787" y="398"/>
                    </a:cubicBezTo>
                    <a:cubicBezTo>
                      <a:pt x="788" y="395"/>
                      <a:pt x="791" y="397"/>
                      <a:pt x="793" y="397"/>
                    </a:cubicBezTo>
                    <a:cubicBezTo>
                      <a:pt x="793" y="392"/>
                      <a:pt x="803" y="390"/>
                      <a:pt x="800" y="384"/>
                    </a:cubicBezTo>
                    <a:cubicBezTo>
                      <a:pt x="798" y="381"/>
                      <a:pt x="799" y="377"/>
                      <a:pt x="797" y="375"/>
                    </a:cubicBezTo>
                    <a:cubicBezTo>
                      <a:pt x="796" y="373"/>
                      <a:pt x="793" y="370"/>
                      <a:pt x="795" y="368"/>
                    </a:cubicBezTo>
                    <a:cubicBezTo>
                      <a:pt x="797" y="366"/>
                      <a:pt x="798" y="366"/>
                      <a:pt x="799" y="363"/>
                    </a:cubicBezTo>
                    <a:cubicBezTo>
                      <a:pt x="799" y="360"/>
                      <a:pt x="799" y="357"/>
                      <a:pt x="797" y="354"/>
                    </a:cubicBezTo>
                    <a:cubicBezTo>
                      <a:pt x="794" y="351"/>
                      <a:pt x="790" y="350"/>
                      <a:pt x="786" y="348"/>
                    </a:cubicBezTo>
                    <a:cubicBezTo>
                      <a:pt x="780" y="345"/>
                      <a:pt x="788" y="343"/>
                      <a:pt x="785" y="338"/>
                    </a:cubicBezTo>
                    <a:cubicBezTo>
                      <a:pt x="785" y="336"/>
                      <a:pt x="783" y="333"/>
                      <a:pt x="782" y="332"/>
                    </a:cubicBezTo>
                    <a:cubicBezTo>
                      <a:pt x="780" y="331"/>
                      <a:pt x="778" y="331"/>
                      <a:pt x="776" y="330"/>
                    </a:cubicBezTo>
                    <a:cubicBezTo>
                      <a:pt x="774" y="330"/>
                      <a:pt x="773" y="327"/>
                      <a:pt x="773" y="325"/>
                    </a:cubicBezTo>
                    <a:cubicBezTo>
                      <a:pt x="772" y="322"/>
                      <a:pt x="769" y="323"/>
                      <a:pt x="767" y="322"/>
                    </a:cubicBezTo>
                    <a:cubicBezTo>
                      <a:pt x="765" y="321"/>
                      <a:pt x="764" y="319"/>
                      <a:pt x="761" y="319"/>
                    </a:cubicBezTo>
                    <a:cubicBezTo>
                      <a:pt x="759" y="319"/>
                      <a:pt x="757" y="317"/>
                      <a:pt x="755" y="315"/>
                    </a:cubicBezTo>
                    <a:cubicBezTo>
                      <a:pt x="752" y="311"/>
                      <a:pt x="748" y="304"/>
                      <a:pt x="747" y="299"/>
                    </a:cubicBezTo>
                    <a:cubicBezTo>
                      <a:pt x="747" y="296"/>
                      <a:pt x="750" y="293"/>
                      <a:pt x="749" y="290"/>
                    </a:cubicBezTo>
                    <a:cubicBezTo>
                      <a:pt x="748" y="287"/>
                      <a:pt x="746" y="284"/>
                      <a:pt x="745" y="282"/>
                    </a:cubicBezTo>
                    <a:cubicBezTo>
                      <a:pt x="743" y="278"/>
                      <a:pt x="742" y="275"/>
                      <a:pt x="740" y="271"/>
                    </a:cubicBezTo>
                    <a:cubicBezTo>
                      <a:pt x="737" y="267"/>
                      <a:pt x="735" y="264"/>
                      <a:pt x="733" y="259"/>
                    </a:cubicBezTo>
                    <a:cubicBezTo>
                      <a:pt x="731" y="252"/>
                      <a:pt x="726" y="246"/>
                      <a:pt x="723" y="239"/>
                    </a:cubicBezTo>
                    <a:cubicBezTo>
                      <a:pt x="721" y="234"/>
                      <a:pt x="724" y="230"/>
                      <a:pt x="724" y="226"/>
                    </a:cubicBezTo>
                    <a:cubicBezTo>
                      <a:pt x="723" y="222"/>
                      <a:pt x="718" y="222"/>
                      <a:pt x="719" y="227"/>
                    </a:cubicBezTo>
                    <a:cubicBezTo>
                      <a:pt x="722" y="233"/>
                      <a:pt x="721" y="234"/>
                      <a:pt x="716" y="238"/>
                    </a:cubicBezTo>
                    <a:cubicBezTo>
                      <a:pt x="711" y="241"/>
                      <a:pt x="716" y="244"/>
                      <a:pt x="714" y="248"/>
                    </a:cubicBezTo>
                    <a:cubicBezTo>
                      <a:pt x="713" y="252"/>
                      <a:pt x="714" y="258"/>
                      <a:pt x="711" y="261"/>
                    </a:cubicBezTo>
                    <a:cubicBezTo>
                      <a:pt x="710" y="262"/>
                      <a:pt x="708" y="261"/>
                      <a:pt x="707" y="263"/>
                    </a:cubicBezTo>
                    <a:cubicBezTo>
                      <a:pt x="706" y="264"/>
                      <a:pt x="705" y="266"/>
                      <a:pt x="704" y="267"/>
                    </a:cubicBezTo>
                    <a:cubicBezTo>
                      <a:pt x="702" y="271"/>
                      <a:pt x="699" y="274"/>
                      <a:pt x="695" y="270"/>
                    </a:cubicBezTo>
                    <a:cubicBezTo>
                      <a:pt x="693" y="268"/>
                      <a:pt x="692" y="262"/>
                      <a:pt x="689" y="262"/>
                    </a:cubicBezTo>
                    <a:cubicBezTo>
                      <a:pt x="687" y="262"/>
                      <a:pt x="684" y="264"/>
                      <a:pt x="682" y="262"/>
                    </a:cubicBezTo>
                    <a:cubicBezTo>
                      <a:pt x="681" y="261"/>
                      <a:pt x="682" y="258"/>
                      <a:pt x="681" y="256"/>
                    </a:cubicBezTo>
                    <a:cubicBezTo>
                      <a:pt x="681" y="254"/>
                      <a:pt x="679" y="252"/>
                      <a:pt x="677" y="251"/>
                    </a:cubicBezTo>
                    <a:cubicBezTo>
                      <a:pt x="676" y="250"/>
                      <a:pt x="676" y="247"/>
                      <a:pt x="677" y="246"/>
                    </a:cubicBezTo>
                    <a:cubicBezTo>
                      <a:pt x="677" y="243"/>
                      <a:pt x="677" y="241"/>
                      <a:pt x="677" y="238"/>
                    </a:cubicBezTo>
                    <a:cubicBezTo>
                      <a:pt x="677" y="235"/>
                      <a:pt x="675" y="233"/>
                      <a:pt x="675" y="230"/>
                    </a:cubicBezTo>
                    <a:cubicBezTo>
                      <a:pt x="674" y="228"/>
                      <a:pt x="682" y="220"/>
                      <a:pt x="678" y="219"/>
                    </a:cubicBezTo>
                    <a:cubicBezTo>
                      <a:pt x="675" y="218"/>
                      <a:pt x="676" y="222"/>
                      <a:pt x="674" y="221"/>
                    </a:cubicBezTo>
                    <a:cubicBezTo>
                      <a:pt x="671" y="220"/>
                      <a:pt x="668" y="220"/>
                      <a:pt x="666" y="219"/>
                    </a:cubicBezTo>
                    <a:cubicBezTo>
                      <a:pt x="665" y="218"/>
                      <a:pt x="664" y="216"/>
                      <a:pt x="663" y="216"/>
                    </a:cubicBezTo>
                    <a:cubicBezTo>
                      <a:pt x="661" y="215"/>
                      <a:pt x="659" y="215"/>
                      <a:pt x="658" y="214"/>
                    </a:cubicBezTo>
                    <a:cubicBezTo>
                      <a:pt x="656" y="214"/>
                      <a:pt x="654" y="211"/>
                      <a:pt x="653" y="209"/>
                    </a:cubicBezTo>
                    <a:cubicBezTo>
                      <a:pt x="651" y="206"/>
                      <a:pt x="648" y="204"/>
                      <a:pt x="645" y="201"/>
                    </a:cubicBezTo>
                    <a:cubicBezTo>
                      <a:pt x="644" y="200"/>
                      <a:pt x="637" y="191"/>
                      <a:pt x="635" y="191"/>
                    </a:cubicBezTo>
                    <a:cubicBezTo>
                      <a:pt x="634" y="191"/>
                      <a:pt x="632" y="194"/>
                      <a:pt x="631" y="195"/>
                    </a:cubicBezTo>
                    <a:cubicBezTo>
                      <a:pt x="629" y="196"/>
                      <a:pt x="625" y="196"/>
                      <a:pt x="623" y="196"/>
                    </a:cubicBezTo>
                    <a:cubicBezTo>
                      <a:pt x="618" y="196"/>
                      <a:pt x="614" y="192"/>
                      <a:pt x="609" y="192"/>
                    </a:cubicBezTo>
                    <a:cubicBezTo>
                      <a:pt x="607" y="191"/>
                      <a:pt x="605" y="192"/>
                      <a:pt x="603" y="190"/>
                    </a:cubicBezTo>
                    <a:cubicBezTo>
                      <a:pt x="602" y="189"/>
                      <a:pt x="600" y="185"/>
                      <a:pt x="599" y="187"/>
                    </a:cubicBezTo>
                    <a:cubicBezTo>
                      <a:pt x="596" y="189"/>
                      <a:pt x="596" y="193"/>
                      <a:pt x="595" y="195"/>
                    </a:cubicBezTo>
                    <a:cubicBezTo>
                      <a:pt x="594" y="199"/>
                      <a:pt x="592" y="200"/>
                      <a:pt x="594" y="203"/>
                    </a:cubicBezTo>
                    <a:cubicBezTo>
                      <a:pt x="598" y="209"/>
                      <a:pt x="598" y="214"/>
                      <a:pt x="594" y="220"/>
                    </a:cubicBezTo>
                    <a:cubicBezTo>
                      <a:pt x="588" y="226"/>
                      <a:pt x="595" y="223"/>
                      <a:pt x="598" y="226"/>
                    </a:cubicBezTo>
                    <a:cubicBezTo>
                      <a:pt x="600" y="228"/>
                      <a:pt x="599" y="231"/>
                      <a:pt x="600" y="234"/>
                    </a:cubicBezTo>
                    <a:cubicBezTo>
                      <a:pt x="601" y="237"/>
                      <a:pt x="603" y="238"/>
                      <a:pt x="601" y="242"/>
                    </a:cubicBezTo>
                    <a:cubicBezTo>
                      <a:pt x="600" y="244"/>
                      <a:pt x="598" y="248"/>
                      <a:pt x="596" y="249"/>
                    </a:cubicBezTo>
                    <a:cubicBezTo>
                      <a:pt x="593" y="250"/>
                      <a:pt x="592" y="253"/>
                      <a:pt x="592" y="256"/>
                    </a:cubicBezTo>
                    <a:cubicBezTo>
                      <a:pt x="592" y="264"/>
                      <a:pt x="599" y="268"/>
                      <a:pt x="603" y="274"/>
                    </a:cubicBezTo>
                    <a:cubicBezTo>
                      <a:pt x="606" y="280"/>
                      <a:pt x="608" y="287"/>
                      <a:pt x="609" y="294"/>
                    </a:cubicBezTo>
                    <a:cubicBezTo>
                      <a:pt x="610" y="299"/>
                      <a:pt x="612" y="306"/>
                      <a:pt x="611" y="311"/>
                    </a:cubicBezTo>
                    <a:cubicBezTo>
                      <a:pt x="610" y="313"/>
                      <a:pt x="607" y="315"/>
                      <a:pt x="606" y="317"/>
                    </a:cubicBezTo>
                    <a:cubicBezTo>
                      <a:pt x="604" y="320"/>
                      <a:pt x="602" y="322"/>
                      <a:pt x="599" y="324"/>
                    </a:cubicBezTo>
                    <a:cubicBezTo>
                      <a:pt x="596" y="325"/>
                      <a:pt x="592" y="327"/>
                      <a:pt x="589" y="328"/>
                    </a:cubicBezTo>
                    <a:cubicBezTo>
                      <a:pt x="586" y="329"/>
                      <a:pt x="579" y="329"/>
                      <a:pt x="583" y="333"/>
                    </a:cubicBezTo>
                    <a:cubicBezTo>
                      <a:pt x="588" y="340"/>
                      <a:pt x="588" y="345"/>
                      <a:pt x="589" y="352"/>
                    </a:cubicBezTo>
                    <a:cubicBezTo>
                      <a:pt x="590" y="359"/>
                      <a:pt x="596" y="367"/>
                      <a:pt x="591" y="374"/>
                    </a:cubicBezTo>
                    <a:cubicBezTo>
                      <a:pt x="589" y="378"/>
                      <a:pt x="583" y="373"/>
                      <a:pt x="584" y="380"/>
                    </a:cubicBezTo>
                    <a:cubicBezTo>
                      <a:pt x="584" y="387"/>
                      <a:pt x="581" y="389"/>
                      <a:pt x="575" y="385"/>
                    </a:cubicBezTo>
                    <a:cubicBezTo>
                      <a:pt x="568" y="382"/>
                      <a:pt x="574" y="372"/>
                      <a:pt x="574" y="367"/>
                    </a:cubicBezTo>
                    <a:cubicBezTo>
                      <a:pt x="574" y="362"/>
                      <a:pt x="573" y="354"/>
                      <a:pt x="566" y="356"/>
                    </a:cubicBezTo>
                    <a:cubicBezTo>
                      <a:pt x="566" y="358"/>
                      <a:pt x="568" y="359"/>
                      <a:pt x="567" y="361"/>
                    </a:cubicBezTo>
                    <a:cubicBezTo>
                      <a:pt x="566" y="363"/>
                      <a:pt x="561" y="362"/>
                      <a:pt x="560" y="362"/>
                    </a:cubicBezTo>
                    <a:cubicBezTo>
                      <a:pt x="553" y="360"/>
                      <a:pt x="555" y="353"/>
                      <a:pt x="554" y="348"/>
                    </a:cubicBezTo>
                    <a:cubicBezTo>
                      <a:pt x="554" y="346"/>
                      <a:pt x="551" y="344"/>
                      <a:pt x="552" y="342"/>
                    </a:cubicBezTo>
                    <a:cubicBezTo>
                      <a:pt x="552" y="338"/>
                      <a:pt x="555" y="337"/>
                      <a:pt x="557" y="334"/>
                    </a:cubicBezTo>
                    <a:cubicBezTo>
                      <a:pt x="558" y="331"/>
                      <a:pt x="556" y="327"/>
                      <a:pt x="555" y="324"/>
                    </a:cubicBezTo>
                    <a:cubicBezTo>
                      <a:pt x="553" y="322"/>
                      <a:pt x="548" y="323"/>
                      <a:pt x="545" y="323"/>
                    </a:cubicBezTo>
                    <a:cubicBezTo>
                      <a:pt x="537" y="323"/>
                      <a:pt x="531" y="322"/>
                      <a:pt x="523" y="317"/>
                    </a:cubicBezTo>
                    <a:cubicBezTo>
                      <a:pt x="520" y="315"/>
                      <a:pt x="516" y="313"/>
                      <a:pt x="513" y="311"/>
                    </a:cubicBezTo>
                    <a:cubicBezTo>
                      <a:pt x="509" y="309"/>
                      <a:pt x="505" y="308"/>
                      <a:pt x="503" y="304"/>
                    </a:cubicBezTo>
                    <a:cubicBezTo>
                      <a:pt x="499" y="299"/>
                      <a:pt x="500" y="294"/>
                      <a:pt x="492" y="294"/>
                    </a:cubicBezTo>
                    <a:cubicBezTo>
                      <a:pt x="488" y="295"/>
                      <a:pt x="485" y="296"/>
                      <a:pt x="482" y="295"/>
                    </a:cubicBezTo>
                    <a:cubicBezTo>
                      <a:pt x="479" y="295"/>
                      <a:pt x="476" y="292"/>
                      <a:pt x="474" y="291"/>
                    </a:cubicBezTo>
                    <a:cubicBezTo>
                      <a:pt x="468" y="288"/>
                      <a:pt x="467" y="293"/>
                      <a:pt x="462" y="294"/>
                    </a:cubicBezTo>
                    <a:cubicBezTo>
                      <a:pt x="459" y="295"/>
                      <a:pt x="459" y="292"/>
                      <a:pt x="459" y="290"/>
                    </a:cubicBezTo>
                    <a:cubicBezTo>
                      <a:pt x="459" y="286"/>
                      <a:pt x="458" y="284"/>
                      <a:pt x="456" y="280"/>
                    </a:cubicBezTo>
                    <a:cubicBezTo>
                      <a:pt x="454" y="276"/>
                      <a:pt x="457" y="270"/>
                      <a:pt x="454" y="265"/>
                    </a:cubicBezTo>
                    <a:cubicBezTo>
                      <a:pt x="451" y="261"/>
                      <a:pt x="444" y="265"/>
                      <a:pt x="441" y="260"/>
                    </a:cubicBezTo>
                    <a:cubicBezTo>
                      <a:pt x="437" y="256"/>
                      <a:pt x="439" y="244"/>
                      <a:pt x="439" y="238"/>
                    </a:cubicBezTo>
                    <a:cubicBezTo>
                      <a:pt x="439" y="230"/>
                      <a:pt x="444" y="225"/>
                      <a:pt x="447" y="218"/>
                    </a:cubicBezTo>
                    <a:cubicBezTo>
                      <a:pt x="450" y="211"/>
                      <a:pt x="452" y="206"/>
                      <a:pt x="457" y="201"/>
                    </a:cubicBezTo>
                    <a:cubicBezTo>
                      <a:pt x="459" y="199"/>
                      <a:pt x="461" y="197"/>
                      <a:pt x="462" y="194"/>
                    </a:cubicBezTo>
                    <a:cubicBezTo>
                      <a:pt x="463" y="193"/>
                      <a:pt x="462" y="190"/>
                      <a:pt x="464" y="189"/>
                    </a:cubicBezTo>
                    <a:cubicBezTo>
                      <a:pt x="467" y="187"/>
                      <a:pt x="472" y="186"/>
                      <a:pt x="475" y="184"/>
                    </a:cubicBezTo>
                    <a:cubicBezTo>
                      <a:pt x="481" y="181"/>
                      <a:pt x="475" y="177"/>
                      <a:pt x="472" y="176"/>
                    </a:cubicBezTo>
                    <a:cubicBezTo>
                      <a:pt x="471" y="176"/>
                      <a:pt x="459" y="173"/>
                      <a:pt x="463" y="171"/>
                    </a:cubicBezTo>
                    <a:cubicBezTo>
                      <a:pt x="465" y="168"/>
                      <a:pt x="474" y="172"/>
                      <a:pt x="478" y="172"/>
                    </a:cubicBezTo>
                    <a:cubicBezTo>
                      <a:pt x="485" y="172"/>
                      <a:pt x="480" y="167"/>
                      <a:pt x="482" y="163"/>
                    </a:cubicBezTo>
                    <a:cubicBezTo>
                      <a:pt x="484" y="158"/>
                      <a:pt x="492" y="164"/>
                      <a:pt x="496" y="161"/>
                    </a:cubicBezTo>
                    <a:cubicBezTo>
                      <a:pt x="501" y="157"/>
                      <a:pt x="503" y="149"/>
                      <a:pt x="508" y="144"/>
                    </a:cubicBezTo>
                    <a:cubicBezTo>
                      <a:pt x="510" y="143"/>
                      <a:pt x="511" y="141"/>
                      <a:pt x="510" y="139"/>
                    </a:cubicBezTo>
                    <a:cubicBezTo>
                      <a:pt x="509" y="134"/>
                      <a:pt x="504" y="137"/>
                      <a:pt x="501" y="136"/>
                    </a:cubicBezTo>
                    <a:cubicBezTo>
                      <a:pt x="497" y="136"/>
                      <a:pt x="494" y="137"/>
                      <a:pt x="492" y="134"/>
                    </a:cubicBezTo>
                    <a:cubicBezTo>
                      <a:pt x="491" y="132"/>
                      <a:pt x="491" y="130"/>
                      <a:pt x="487" y="130"/>
                    </a:cubicBezTo>
                    <a:cubicBezTo>
                      <a:pt x="479" y="128"/>
                      <a:pt x="486" y="120"/>
                      <a:pt x="492" y="122"/>
                    </a:cubicBezTo>
                    <a:cubicBezTo>
                      <a:pt x="497" y="124"/>
                      <a:pt x="499" y="130"/>
                      <a:pt x="505" y="132"/>
                    </a:cubicBezTo>
                    <a:cubicBezTo>
                      <a:pt x="508" y="133"/>
                      <a:pt x="511" y="132"/>
                      <a:pt x="513" y="130"/>
                    </a:cubicBezTo>
                    <a:cubicBezTo>
                      <a:pt x="516" y="128"/>
                      <a:pt x="519" y="125"/>
                      <a:pt x="520" y="122"/>
                    </a:cubicBezTo>
                    <a:cubicBezTo>
                      <a:pt x="522" y="119"/>
                      <a:pt x="514" y="113"/>
                      <a:pt x="518" y="112"/>
                    </a:cubicBezTo>
                    <a:cubicBezTo>
                      <a:pt x="525" y="110"/>
                      <a:pt x="526" y="117"/>
                      <a:pt x="531" y="118"/>
                    </a:cubicBezTo>
                    <a:cubicBezTo>
                      <a:pt x="536" y="120"/>
                      <a:pt x="533" y="113"/>
                      <a:pt x="532" y="111"/>
                    </a:cubicBezTo>
                    <a:cubicBezTo>
                      <a:pt x="532" y="109"/>
                      <a:pt x="530" y="108"/>
                      <a:pt x="530" y="106"/>
                    </a:cubicBezTo>
                    <a:cubicBezTo>
                      <a:pt x="529" y="103"/>
                      <a:pt x="531" y="101"/>
                      <a:pt x="534" y="103"/>
                    </a:cubicBezTo>
                    <a:cubicBezTo>
                      <a:pt x="538" y="106"/>
                      <a:pt x="538" y="110"/>
                      <a:pt x="542" y="113"/>
                    </a:cubicBezTo>
                    <a:cubicBezTo>
                      <a:pt x="546" y="117"/>
                      <a:pt x="553" y="107"/>
                      <a:pt x="555" y="105"/>
                    </a:cubicBezTo>
                    <a:cubicBezTo>
                      <a:pt x="559" y="100"/>
                      <a:pt x="564" y="95"/>
                      <a:pt x="563" y="88"/>
                    </a:cubicBezTo>
                    <a:cubicBezTo>
                      <a:pt x="562" y="86"/>
                      <a:pt x="558" y="84"/>
                      <a:pt x="559" y="82"/>
                    </a:cubicBezTo>
                    <a:cubicBezTo>
                      <a:pt x="559" y="80"/>
                      <a:pt x="562" y="78"/>
                      <a:pt x="559" y="76"/>
                    </a:cubicBezTo>
                    <a:cubicBezTo>
                      <a:pt x="555" y="73"/>
                      <a:pt x="552" y="72"/>
                      <a:pt x="559" y="70"/>
                    </a:cubicBezTo>
                    <a:cubicBezTo>
                      <a:pt x="561" y="70"/>
                      <a:pt x="564" y="68"/>
                      <a:pt x="565" y="66"/>
                    </a:cubicBezTo>
                    <a:cubicBezTo>
                      <a:pt x="566" y="64"/>
                      <a:pt x="563" y="61"/>
                      <a:pt x="561" y="61"/>
                    </a:cubicBezTo>
                    <a:cubicBezTo>
                      <a:pt x="559" y="58"/>
                      <a:pt x="564" y="59"/>
                      <a:pt x="566" y="58"/>
                    </a:cubicBezTo>
                    <a:cubicBezTo>
                      <a:pt x="567" y="57"/>
                      <a:pt x="565" y="55"/>
                      <a:pt x="564" y="54"/>
                    </a:cubicBezTo>
                    <a:cubicBezTo>
                      <a:pt x="564" y="53"/>
                      <a:pt x="562" y="53"/>
                      <a:pt x="561" y="52"/>
                    </a:cubicBezTo>
                    <a:cubicBezTo>
                      <a:pt x="560" y="51"/>
                      <a:pt x="560" y="50"/>
                      <a:pt x="558" y="49"/>
                    </a:cubicBezTo>
                    <a:cubicBezTo>
                      <a:pt x="557" y="49"/>
                      <a:pt x="556" y="48"/>
                      <a:pt x="555" y="47"/>
                    </a:cubicBezTo>
                    <a:cubicBezTo>
                      <a:pt x="554" y="46"/>
                      <a:pt x="554" y="45"/>
                      <a:pt x="553" y="44"/>
                    </a:cubicBezTo>
                    <a:cubicBezTo>
                      <a:pt x="551" y="43"/>
                      <a:pt x="548" y="43"/>
                      <a:pt x="545" y="43"/>
                    </a:cubicBezTo>
                    <a:cubicBezTo>
                      <a:pt x="541" y="42"/>
                      <a:pt x="532" y="40"/>
                      <a:pt x="529" y="42"/>
                    </a:cubicBezTo>
                    <a:cubicBezTo>
                      <a:pt x="527" y="43"/>
                      <a:pt x="527" y="47"/>
                      <a:pt x="528" y="49"/>
                    </a:cubicBezTo>
                    <a:cubicBezTo>
                      <a:pt x="529" y="51"/>
                      <a:pt x="532" y="53"/>
                      <a:pt x="533" y="55"/>
                    </a:cubicBezTo>
                    <a:cubicBezTo>
                      <a:pt x="534" y="58"/>
                      <a:pt x="532" y="60"/>
                      <a:pt x="529" y="60"/>
                    </a:cubicBezTo>
                    <a:cubicBezTo>
                      <a:pt x="525" y="60"/>
                      <a:pt x="524" y="63"/>
                      <a:pt x="524" y="66"/>
                    </a:cubicBezTo>
                    <a:cubicBezTo>
                      <a:pt x="524" y="69"/>
                      <a:pt x="529" y="77"/>
                      <a:pt x="522" y="77"/>
                    </a:cubicBezTo>
                    <a:cubicBezTo>
                      <a:pt x="518" y="77"/>
                      <a:pt x="513" y="76"/>
                      <a:pt x="512" y="82"/>
                    </a:cubicBezTo>
                    <a:cubicBezTo>
                      <a:pt x="511" y="86"/>
                      <a:pt x="515" y="88"/>
                      <a:pt x="514" y="92"/>
                    </a:cubicBezTo>
                    <a:cubicBezTo>
                      <a:pt x="514" y="93"/>
                      <a:pt x="513" y="95"/>
                      <a:pt x="511" y="95"/>
                    </a:cubicBezTo>
                    <a:cubicBezTo>
                      <a:pt x="510" y="95"/>
                      <a:pt x="509" y="94"/>
                      <a:pt x="508" y="93"/>
                    </a:cubicBezTo>
                    <a:cubicBezTo>
                      <a:pt x="508" y="91"/>
                      <a:pt x="506" y="91"/>
                      <a:pt x="505" y="90"/>
                    </a:cubicBezTo>
                    <a:cubicBezTo>
                      <a:pt x="501" y="87"/>
                      <a:pt x="500" y="79"/>
                      <a:pt x="504" y="75"/>
                    </a:cubicBezTo>
                    <a:cubicBezTo>
                      <a:pt x="506" y="73"/>
                      <a:pt x="508" y="73"/>
                      <a:pt x="509" y="70"/>
                    </a:cubicBezTo>
                    <a:cubicBezTo>
                      <a:pt x="509" y="67"/>
                      <a:pt x="508" y="65"/>
                      <a:pt x="505" y="63"/>
                    </a:cubicBezTo>
                    <a:cubicBezTo>
                      <a:pt x="502" y="61"/>
                      <a:pt x="501" y="58"/>
                      <a:pt x="500" y="55"/>
                    </a:cubicBezTo>
                    <a:cubicBezTo>
                      <a:pt x="498" y="53"/>
                      <a:pt x="494" y="55"/>
                      <a:pt x="492" y="56"/>
                    </a:cubicBezTo>
                    <a:cubicBezTo>
                      <a:pt x="485" y="61"/>
                      <a:pt x="487" y="68"/>
                      <a:pt x="485" y="74"/>
                    </a:cubicBezTo>
                    <a:cubicBezTo>
                      <a:pt x="482" y="74"/>
                      <a:pt x="481" y="66"/>
                      <a:pt x="481" y="65"/>
                    </a:cubicBezTo>
                    <a:cubicBezTo>
                      <a:pt x="481" y="64"/>
                      <a:pt x="480" y="62"/>
                      <a:pt x="480" y="61"/>
                    </a:cubicBezTo>
                    <a:cubicBezTo>
                      <a:pt x="480" y="58"/>
                      <a:pt x="483" y="55"/>
                      <a:pt x="482" y="52"/>
                    </a:cubicBezTo>
                    <a:cubicBezTo>
                      <a:pt x="481" y="50"/>
                      <a:pt x="478" y="51"/>
                      <a:pt x="477" y="49"/>
                    </a:cubicBezTo>
                    <a:cubicBezTo>
                      <a:pt x="474" y="47"/>
                      <a:pt x="473" y="49"/>
                      <a:pt x="470" y="49"/>
                    </a:cubicBezTo>
                    <a:cubicBezTo>
                      <a:pt x="468" y="50"/>
                      <a:pt x="466" y="47"/>
                      <a:pt x="466" y="45"/>
                    </a:cubicBezTo>
                    <a:cubicBezTo>
                      <a:pt x="466" y="44"/>
                      <a:pt x="468" y="43"/>
                      <a:pt x="468" y="42"/>
                    </a:cubicBezTo>
                    <a:cubicBezTo>
                      <a:pt x="468" y="40"/>
                      <a:pt x="466" y="39"/>
                      <a:pt x="467" y="37"/>
                    </a:cubicBezTo>
                    <a:cubicBezTo>
                      <a:pt x="470" y="36"/>
                      <a:pt x="476" y="39"/>
                      <a:pt x="474" y="33"/>
                    </a:cubicBezTo>
                    <a:cubicBezTo>
                      <a:pt x="473" y="31"/>
                      <a:pt x="471" y="29"/>
                      <a:pt x="470" y="28"/>
                    </a:cubicBezTo>
                    <a:cubicBezTo>
                      <a:pt x="467" y="25"/>
                      <a:pt x="467" y="23"/>
                      <a:pt x="467" y="20"/>
                    </a:cubicBezTo>
                    <a:cubicBezTo>
                      <a:pt x="466" y="17"/>
                      <a:pt x="462" y="15"/>
                      <a:pt x="462" y="11"/>
                    </a:cubicBezTo>
                    <a:cubicBezTo>
                      <a:pt x="461" y="6"/>
                      <a:pt x="460" y="4"/>
                      <a:pt x="454" y="5"/>
                    </a:cubicBezTo>
                    <a:cubicBezTo>
                      <a:pt x="451" y="5"/>
                      <a:pt x="452" y="3"/>
                      <a:pt x="451" y="2"/>
                    </a:cubicBezTo>
                    <a:cubicBezTo>
                      <a:pt x="449" y="0"/>
                      <a:pt x="446" y="3"/>
                      <a:pt x="445" y="4"/>
                    </a:cubicBezTo>
                    <a:cubicBezTo>
                      <a:pt x="443" y="6"/>
                      <a:pt x="444" y="12"/>
                      <a:pt x="441" y="13"/>
                    </a:cubicBezTo>
                    <a:cubicBezTo>
                      <a:pt x="439" y="14"/>
                      <a:pt x="437" y="14"/>
                      <a:pt x="436" y="16"/>
                    </a:cubicBezTo>
                    <a:cubicBezTo>
                      <a:pt x="435" y="19"/>
                      <a:pt x="435" y="21"/>
                      <a:pt x="436" y="24"/>
                    </a:cubicBezTo>
                    <a:cubicBezTo>
                      <a:pt x="437" y="25"/>
                      <a:pt x="439" y="27"/>
                      <a:pt x="437" y="29"/>
                    </a:cubicBezTo>
                    <a:cubicBezTo>
                      <a:pt x="436" y="31"/>
                      <a:pt x="433" y="31"/>
                      <a:pt x="432" y="33"/>
                    </a:cubicBezTo>
                    <a:cubicBezTo>
                      <a:pt x="430" y="38"/>
                      <a:pt x="436" y="41"/>
                      <a:pt x="438" y="44"/>
                    </a:cubicBezTo>
                    <a:cubicBezTo>
                      <a:pt x="441" y="49"/>
                      <a:pt x="447" y="50"/>
                      <a:pt x="453" y="51"/>
                    </a:cubicBezTo>
                    <a:cubicBezTo>
                      <a:pt x="454" y="52"/>
                      <a:pt x="457" y="54"/>
                      <a:pt x="456" y="55"/>
                    </a:cubicBezTo>
                    <a:cubicBezTo>
                      <a:pt x="455" y="57"/>
                      <a:pt x="452" y="58"/>
                      <a:pt x="451" y="59"/>
                    </a:cubicBezTo>
                    <a:cubicBezTo>
                      <a:pt x="448" y="60"/>
                      <a:pt x="447" y="62"/>
                      <a:pt x="447" y="64"/>
                    </a:cubicBezTo>
                    <a:cubicBezTo>
                      <a:pt x="447" y="67"/>
                      <a:pt x="449" y="68"/>
                      <a:pt x="452" y="68"/>
                    </a:cubicBezTo>
                    <a:cubicBezTo>
                      <a:pt x="462" y="70"/>
                      <a:pt x="441" y="82"/>
                      <a:pt x="440" y="85"/>
                    </a:cubicBezTo>
                    <a:cubicBezTo>
                      <a:pt x="437" y="90"/>
                      <a:pt x="444" y="93"/>
                      <a:pt x="441" y="99"/>
                    </a:cubicBezTo>
                    <a:cubicBezTo>
                      <a:pt x="437" y="104"/>
                      <a:pt x="430" y="97"/>
                      <a:pt x="433" y="92"/>
                    </a:cubicBezTo>
                    <a:cubicBezTo>
                      <a:pt x="434" y="90"/>
                      <a:pt x="435" y="88"/>
                      <a:pt x="434" y="86"/>
                    </a:cubicBezTo>
                    <a:cubicBezTo>
                      <a:pt x="432" y="84"/>
                      <a:pt x="432" y="83"/>
                      <a:pt x="431" y="81"/>
                    </a:cubicBezTo>
                    <a:cubicBezTo>
                      <a:pt x="430" y="78"/>
                      <a:pt x="427" y="80"/>
                      <a:pt x="425" y="80"/>
                    </a:cubicBezTo>
                    <a:cubicBezTo>
                      <a:pt x="421" y="81"/>
                      <a:pt x="416" y="80"/>
                      <a:pt x="414" y="84"/>
                    </a:cubicBezTo>
                    <a:cubicBezTo>
                      <a:pt x="413" y="86"/>
                      <a:pt x="414" y="89"/>
                      <a:pt x="410" y="90"/>
                    </a:cubicBezTo>
                    <a:cubicBezTo>
                      <a:pt x="409" y="91"/>
                      <a:pt x="406" y="90"/>
                      <a:pt x="404" y="90"/>
                    </a:cubicBezTo>
                    <a:cubicBezTo>
                      <a:pt x="397" y="88"/>
                      <a:pt x="390" y="92"/>
                      <a:pt x="383" y="93"/>
                    </a:cubicBezTo>
                    <a:cubicBezTo>
                      <a:pt x="381" y="93"/>
                      <a:pt x="378" y="92"/>
                      <a:pt x="377" y="90"/>
                    </a:cubicBezTo>
                    <a:cubicBezTo>
                      <a:pt x="376" y="89"/>
                      <a:pt x="376" y="86"/>
                      <a:pt x="374" y="85"/>
                    </a:cubicBezTo>
                    <a:cubicBezTo>
                      <a:pt x="373" y="83"/>
                      <a:pt x="369" y="89"/>
                      <a:pt x="367" y="88"/>
                    </a:cubicBezTo>
                    <a:cubicBezTo>
                      <a:pt x="363" y="88"/>
                      <a:pt x="363" y="82"/>
                      <a:pt x="359" y="82"/>
                    </a:cubicBezTo>
                    <a:cubicBezTo>
                      <a:pt x="357" y="81"/>
                      <a:pt x="348" y="85"/>
                      <a:pt x="347" y="88"/>
                    </a:cubicBezTo>
                    <a:cubicBezTo>
                      <a:pt x="346" y="90"/>
                      <a:pt x="343" y="90"/>
                      <a:pt x="342" y="92"/>
                    </a:cubicBezTo>
                    <a:cubicBezTo>
                      <a:pt x="340" y="94"/>
                      <a:pt x="337" y="95"/>
                      <a:pt x="336" y="97"/>
                    </a:cubicBezTo>
                    <a:cubicBezTo>
                      <a:pt x="335" y="99"/>
                      <a:pt x="338" y="107"/>
                      <a:pt x="333" y="104"/>
                    </a:cubicBezTo>
                    <a:cubicBezTo>
                      <a:pt x="329" y="101"/>
                      <a:pt x="325" y="98"/>
                      <a:pt x="320" y="97"/>
                    </a:cubicBezTo>
                    <a:cubicBezTo>
                      <a:pt x="313" y="97"/>
                      <a:pt x="308" y="101"/>
                      <a:pt x="303" y="104"/>
                    </a:cubicBezTo>
                    <a:cubicBezTo>
                      <a:pt x="296" y="107"/>
                      <a:pt x="294" y="101"/>
                      <a:pt x="288" y="102"/>
                    </a:cubicBezTo>
                    <a:cubicBezTo>
                      <a:pt x="285" y="103"/>
                      <a:pt x="281" y="102"/>
                      <a:pt x="282" y="97"/>
                    </a:cubicBezTo>
                    <a:cubicBezTo>
                      <a:pt x="284" y="93"/>
                      <a:pt x="288" y="94"/>
                      <a:pt x="291" y="93"/>
                    </a:cubicBezTo>
                    <a:cubicBezTo>
                      <a:pt x="297" y="91"/>
                      <a:pt x="289" y="84"/>
                      <a:pt x="288" y="83"/>
                    </a:cubicBezTo>
                    <a:cubicBezTo>
                      <a:pt x="286" y="82"/>
                      <a:pt x="285" y="80"/>
                      <a:pt x="283" y="81"/>
                    </a:cubicBezTo>
                    <a:cubicBezTo>
                      <a:pt x="280" y="81"/>
                      <a:pt x="277" y="83"/>
                      <a:pt x="275" y="84"/>
                    </a:cubicBezTo>
                    <a:cubicBezTo>
                      <a:pt x="269" y="84"/>
                      <a:pt x="265" y="80"/>
                      <a:pt x="262" y="77"/>
                    </a:cubicBezTo>
                    <a:cubicBezTo>
                      <a:pt x="260" y="76"/>
                      <a:pt x="259" y="75"/>
                      <a:pt x="256" y="75"/>
                    </a:cubicBezTo>
                    <a:cubicBezTo>
                      <a:pt x="254" y="75"/>
                      <a:pt x="252" y="75"/>
                      <a:pt x="251" y="73"/>
                    </a:cubicBezTo>
                    <a:cubicBezTo>
                      <a:pt x="249" y="73"/>
                      <a:pt x="247" y="71"/>
                      <a:pt x="245" y="70"/>
                    </a:cubicBezTo>
                    <a:cubicBezTo>
                      <a:pt x="243" y="69"/>
                      <a:pt x="240" y="70"/>
                      <a:pt x="237" y="71"/>
                    </a:cubicBezTo>
                    <a:cubicBezTo>
                      <a:pt x="235" y="72"/>
                      <a:pt x="234" y="73"/>
                      <a:pt x="233" y="75"/>
                    </a:cubicBezTo>
                    <a:cubicBezTo>
                      <a:pt x="232" y="77"/>
                      <a:pt x="230" y="78"/>
                      <a:pt x="229" y="80"/>
                    </a:cubicBezTo>
                    <a:cubicBezTo>
                      <a:pt x="226" y="82"/>
                      <a:pt x="222" y="84"/>
                      <a:pt x="224" y="78"/>
                    </a:cubicBezTo>
                    <a:cubicBezTo>
                      <a:pt x="226" y="74"/>
                      <a:pt x="228" y="71"/>
                      <a:pt x="225" y="69"/>
                    </a:cubicBezTo>
                    <a:cubicBezTo>
                      <a:pt x="220" y="66"/>
                      <a:pt x="220" y="75"/>
                      <a:pt x="218" y="75"/>
                    </a:cubicBezTo>
                    <a:cubicBezTo>
                      <a:pt x="219" y="77"/>
                      <a:pt x="216" y="82"/>
                      <a:pt x="214" y="83"/>
                    </a:cubicBezTo>
                    <a:cubicBezTo>
                      <a:pt x="212" y="85"/>
                      <a:pt x="209" y="76"/>
                      <a:pt x="209" y="74"/>
                    </a:cubicBezTo>
                    <a:cubicBezTo>
                      <a:pt x="208" y="70"/>
                      <a:pt x="208" y="64"/>
                      <a:pt x="205" y="62"/>
                    </a:cubicBezTo>
                    <a:cubicBezTo>
                      <a:pt x="200" y="59"/>
                      <a:pt x="202" y="69"/>
                      <a:pt x="200" y="72"/>
                    </a:cubicBezTo>
                    <a:cubicBezTo>
                      <a:pt x="200" y="74"/>
                      <a:pt x="192" y="84"/>
                      <a:pt x="192" y="79"/>
                    </a:cubicBezTo>
                    <a:cubicBezTo>
                      <a:pt x="192" y="78"/>
                      <a:pt x="193" y="75"/>
                      <a:pt x="191" y="75"/>
                    </a:cubicBezTo>
                    <a:cubicBezTo>
                      <a:pt x="190" y="74"/>
                      <a:pt x="188" y="74"/>
                      <a:pt x="186" y="76"/>
                    </a:cubicBezTo>
                    <a:cubicBezTo>
                      <a:pt x="183" y="80"/>
                      <a:pt x="183" y="83"/>
                      <a:pt x="179" y="83"/>
                    </a:cubicBezTo>
                    <a:cubicBezTo>
                      <a:pt x="178" y="84"/>
                      <a:pt x="176" y="84"/>
                      <a:pt x="175" y="85"/>
                    </a:cubicBezTo>
                    <a:cubicBezTo>
                      <a:pt x="173" y="87"/>
                      <a:pt x="174" y="88"/>
                      <a:pt x="173" y="89"/>
                    </a:cubicBezTo>
                    <a:cubicBezTo>
                      <a:pt x="172" y="90"/>
                      <a:pt x="170" y="92"/>
                      <a:pt x="169" y="92"/>
                    </a:cubicBezTo>
                    <a:cubicBezTo>
                      <a:pt x="168" y="92"/>
                      <a:pt x="168" y="90"/>
                      <a:pt x="168" y="90"/>
                    </a:cubicBezTo>
                    <a:cubicBezTo>
                      <a:pt x="167" y="85"/>
                      <a:pt x="164" y="90"/>
                      <a:pt x="162" y="93"/>
                    </a:cubicBezTo>
                    <a:cubicBezTo>
                      <a:pt x="161" y="94"/>
                      <a:pt x="152" y="99"/>
                      <a:pt x="153" y="101"/>
                    </a:cubicBezTo>
                    <a:cubicBezTo>
                      <a:pt x="154" y="102"/>
                      <a:pt x="156" y="102"/>
                      <a:pt x="156" y="104"/>
                    </a:cubicBezTo>
                    <a:cubicBezTo>
                      <a:pt x="156" y="104"/>
                      <a:pt x="155" y="108"/>
                      <a:pt x="155" y="108"/>
                    </a:cubicBezTo>
                    <a:cubicBezTo>
                      <a:pt x="152" y="107"/>
                      <a:pt x="151" y="107"/>
                      <a:pt x="148" y="107"/>
                    </a:cubicBezTo>
                    <a:cubicBezTo>
                      <a:pt x="146" y="107"/>
                      <a:pt x="145" y="106"/>
                      <a:pt x="145" y="104"/>
                    </a:cubicBezTo>
                    <a:cubicBezTo>
                      <a:pt x="143" y="102"/>
                      <a:pt x="140" y="99"/>
                      <a:pt x="137" y="99"/>
                    </a:cubicBezTo>
                    <a:cubicBezTo>
                      <a:pt x="136" y="100"/>
                      <a:pt x="135" y="98"/>
                      <a:pt x="134" y="98"/>
                    </a:cubicBezTo>
                    <a:cubicBezTo>
                      <a:pt x="132" y="97"/>
                      <a:pt x="130" y="98"/>
                      <a:pt x="128" y="97"/>
                    </a:cubicBezTo>
                    <a:cubicBezTo>
                      <a:pt x="127" y="97"/>
                      <a:pt x="125" y="96"/>
                      <a:pt x="124" y="95"/>
                    </a:cubicBezTo>
                    <a:cubicBezTo>
                      <a:pt x="123" y="94"/>
                      <a:pt x="121" y="92"/>
                      <a:pt x="119" y="93"/>
                    </a:cubicBezTo>
                    <a:cubicBezTo>
                      <a:pt x="116" y="93"/>
                      <a:pt x="112" y="96"/>
                      <a:pt x="109" y="96"/>
                    </a:cubicBezTo>
                    <a:cubicBezTo>
                      <a:pt x="106" y="96"/>
                      <a:pt x="105" y="93"/>
                      <a:pt x="102" y="95"/>
                    </a:cubicBezTo>
                    <a:cubicBezTo>
                      <a:pt x="98" y="97"/>
                      <a:pt x="96" y="95"/>
                      <a:pt x="93" y="94"/>
                    </a:cubicBezTo>
                    <a:cubicBezTo>
                      <a:pt x="91" y="92"/>
                      <a:pt x="88" y="90"/>
                      <a:pt x="85" y="95"/>
                    </a:cubicBezTo>
                    <a:cubicBezTo>
                      <a:pt x="84" y="97"/>
                      <a:pt x="82" y="99"/>
                      <a:pt x="81" y="98"/>
                    </a:cubicBezTo>
                    <a:cubicBezTo>
                      <a:pt x="81" y="97"/>
                      <a:pt x="81" y="95"/>
                      <a:pt x="79" y="95"/>
                    </a:cubicBezTo>
                    <a:cubicBezTo>
                      <a:pt x="78" y="96"/>
                      <a:pt x="78" y="95"/>
                      <a:pt x="77" y="94"/>
                    </a:cubicBezTo>
                    <a:cubicBezTo>
                      <a:pt x="77" y="93"/>
                      <a:pt x="77" y="92"/>
                      <a:pt x="77" y="92"/>
                    </a:cubicBezTo>
                    <a:cubicBezTo>
                      <a:pt x="77" y="91"/>
                      <a:pt x="75" y="91"/>
                      <a:pt x="74" y="91"/>
                    </a:cubicBezTo>
                    <a:cubicBezTo>
                      <a:pt x="72" y="92"/>
                      <a:pt x="69" y="97"/>
                      <a:pt x="69" y="91"/>
                    </a:cubicBezTo>
                    <a:cubicBezTo>
                      <a:pt x="69" y="89"/>
                      <a:pt x="67" y="86"/>
                      <a:pt x="66" y="91"/>
                    </a:cubicBezTo>
                    <a:cubicBezTo>
                      <a:pt x="65" y="92"/>
                      <a:pt x="65" y="94"/>
                      <a:pt x="65" y="95"/>
                    </a:cubicBezTo>
                    <a:cubicBezTo>
                      <a:pt x="65" y="96"/>
                      <a:pt x="66" y="96"/>
                      <a:pt x="66" y="98"/>
                    </a:cubicBezTo>
                    <a:cubicBezTo>
                      <a:pt x="66" y="99"/>
                      <a:pt x="64" y="99"/>
                      <a:pt x="64" y="99"/>
                    </a:cubicBezTo>
                    <a:cubicBezTo>
                      <a:pt x="63" y="98"/>
                      <a:pt x="63" y="97"/>
                      <a:pt x="62" y="96"/>
                    </a:cubicBezTo>
                    <a:cubicBezTo>
                      <a:pt x="61" y="93"/>
                      <a:pt x="66" y="88"/>
                      <a:pt x="62" y="87"/>
                    </a:cubicBezTo>
                    <a:cubicBezTo>
                      <a:pt x="60" y="87"/>
                      <a:pt x="57" y="94"/>
                      <a:pt x="55" y="96"/>
                    </a:cubicBezTo>
                    <a:cubicBezTo>
                      <a:pt x="53" y="97"/>
                      <a:pt x="52" y="98"/>
                      <a:pt x="51" y="99"/>
                    </a:cubicBezTo>
                    <a:cubicBezTo>
                      <a:pt x="49" y="100"/>
                      <a:pt x="49" y="99"/>
                      <a:pt x="48" y="98"/>
                    </a:cubicBezTo>
                    <a:cubicBezTo>
                      <a:pt x="47" y="97"/>
                      <a:pt x="44" y="103"/>
                      <a:pt x="43" y="105"/>
                    </a:cubicBezTo>
                    <a:cubicBezTo>
                      <a:pt x="42" y="106"/>
                      <a:pt x="41" y="107"/>
                      <a:pt x="40" y="108"/>
                    </a:cubicBezTo>
                    <a:cubicBezTo>
                      <a:pt x="39" y="109"/>
                      <a:pt x="38" y="109"/>
                      <a:pt x="37" y="109"/>
                    </a:cubicBezTo>
                    <a:cubicBezTo>
                      <a:pt x="36" y="110"/>
                      <a:pt x="35" y="115"/>
                      <a:pt x="34" y="116"/>
                    </a:cubicBezTo>
                    <a:cubicBezTo>
                      <a:pt x="33" y="118"/>
                      <a:pt x="32" y="119"/>
                      <a:pt x="31" y="120"/>
                    </a:cubicBezTo>
                    <a:cubicBezTo>
                      <a:pt x="30" y="122"/>
                      <a:pt x="31" y="124"/>
                      <a:pt x="30" y="126"/>
                    </a:cubicBezTo>
                    <a:cubicBezTo>
                      <a:pt x="29" y="130"/>
                      <a:pt x="26" y="134"/>
                      <a:pt x="23" y="136"/>
                    </a:cubicBezTo>
                    <a:cubicBezTo>
                      <a:pt x="21" y="139"/>
                      <a:pt x="19" y="137"/>
                      <a:pt x="17" y="139"/>
                    </a:cubicBezTo>
                    <a:cubicBezTo>
                      <a:pt x="16" y="141"/>
                      <a:pt x="15" y="143"/>
                      <a:pt x="15" y="144"/>
                    </a:cubicBezTo>
                    <a:cubicBezTo>
                      <a:pt x="14" y="147"/>
                      <a:pt x="14" y="148"/>
                      <a:pt x="12" y="149"/>
                    </a:cubicBezTo>
                    <a:cubicBezTo>
                      <a:pt x="11" y="149"/>
                      <a:pt x="12" y="150"/>
                      <a:pt x="13" y="150"/>
                    </a:cubicBezTo>
                    <a:cubicBezTo>
                      <a:pt x="14" y="151"/>
                      <a:pt x="15" y="151"/>
                      <a:pt x="16" y="152"/>
                    </a:cubicBezTo>
                    <a:cubicBezTo>
                      <a:pt x="17" y="152"/>
                      <a:pt x="18" y="154"/>
                      <a:pt x="19" y="156"/>
                    </a:cubicBezTo>
                    <a:cubicBezTo>
                      <a:pt x="20" y="157"/>
                      <a:pt x="21" y="158"/>
                      <a:pt x="21" y="161"/>
                    </a:cubicBezTo>
                    <a:cubicBezTo>
                      <a:pt x="20" y="165"/>
                      <a:pt x="18" y="170"/>
                      <a:pt x="22" y="169"/>
                    </a:cubicBezTo>
                    <a:cubicBezTo>
                      <a:pt x="23" y="168"/>
                      <a:pt x="28" y="171"/>
                      <a:pt x="26" y="174"/>
                    </a:cubicBezTo>
                    <a:cubicBezTo>
                      <a:pt x="24" y="178"/>
                      <a:pt x="28" y="175"/>
                      <a:pt x="28" y="178"/>
                    </a:cubicBezTo>
                    <a:cubicBezTo>
                      <a:pt x="27" y="182"/>
                      <a:pt x="23" y="181"/>
                      <a:pt x="21" y="181"/>
                    </a:cubicBezTo>
                    <a:cubicBezTo>
                      <a:pt x="21" y="181"/>
                      <a:pt x="18" y="181"/>
                      <a:pt x="18" y="180"/>
                    </a:cubicBezTo>
                    <a:cubicBezTo>
                      <a:pt x="18" y="179"/>
                      <a:pt x="20" y="177"/>
                      <a:pt x="19" y="176"/>
                    </a:cubicBezTo>
                    <a:close/>
                    <a:moveTo>
                      <a:pt x="500" y="404"/>
                    </a:moveTo>
                    <a:cubicBezTo>
                      <a:pt x="503" y="406"/>
                      <a:pt x="504" y="411"/>
                      <a:pt x="502" y="414"/>
                    </a:cubicBezTo>
                    <a:cubicBezTo>
                      <a:pt x="500" y="416"/>
                      <a:pt x="492" y="414"/>
                      <a:pt x="493" y="411"/>
                    </a:cubicBezTo>
                    <a:cubicBezTo>
                      <a:pt x="493" y="409"/>
                      <a:pt x="498" y="403"/>
                      <a:pt x="500" y="404"/>
                    </a:cubicBezTo>
                    <a:close/>
                    <a:moveTo>
                      <a:pt x="411" y="350"/>
                    </a:moveTo>
                    <a:cubicBezTo>
                      <a:pt x="419" y="352"/>
                      <a:pt x="416" y="366"/>
                      <a:pt x="418" y="372"/>
                    </a:cubicBezTo>
                    <a:cubicBezTo>
                      <a:pt x="419" y="374"/>
                      <a:pt x="423" y="381"/>
                      <a:pt x="421" y="383"/>
                    </a:cubicBezTo>
                    <a:cubicBezTo>
                      <a:pt x="420" y="384"/>
                      <a:pt x="412" y="376"/>
                      <a:pt x="411" y="375"/>
                    </a:cubicBezTo>
                    <a:cubicBezTo>
                      <a:pt x="408" y="372"/>
                      <a:pt x="405" y="368"/>
                      <a:pt x="405" y="364"/>
                    </a:cubicBezTo>
                    <a:cubicBezTo>
                      <a:pt x="405" y="360"/>
                      <a:pt x="405" y="361"/>
                      <a:pt x="402" y="359"/>
                    </a:cubicBezTo>
                    <a:cubicBezTo>
                      <a:pt x="400" y="358"/>
                      <a:pt x="399" y="356"/>
                      <a:pt x="399" y="354"/>
                    </a:cubicBezTo>
                    <a:cubicBezTo>
                      <a:pt x="398" y="347"/>
                      <a:pt x="408" y="350"/>
                      <a:pt x="411" y="350"/>
                    </a:cubicBezTo>
                    <a:close/>
                    <a:moveTo>
                      <a:pt x="396" y="365"/>
                    </a:moveTo>
                    <a:cubicBezTo>
                      <a:pt x="397" y="368"/>
                      <a:pt x="396" y="371"/>
                      <a:pt x="396" y="374"/>
                    </a:cubicBezTo>
                    <a:cubicBezTo>
                      <a:pt x="396" y="376"/>
                      <a:pt x="397" y="380"/>
                      <a:pt x="396" y="382"/>
                    </a:cubicBezTo>
                    <a:cubicBezTo>
                      <a:pt x="395" y="384"/>
                      <a:pt x="393" y="375"/>
                      <a:pt x="393" y="374"/>
                    </a:cubicBezTo>
                    <a:cubicBezTo>
                      <a:pt x="392" y="372"/>
                      <a:pt x="392" y="369"/>
                      <a:pt x="391" y="368"/>
                    </a:cubicBezTo>
                    <a:cubicBezTo>
                      <a:pt x="388" y="366"/>
                      <a:pt x="385" y="366"/>
                      <a:pt x="385" y="363"/>
                    </a:cubicBezTo>
                    <a:cubicBezTo>
                      <a:pt x="383" y="357"/>
                      <a:pt x="395" y="361"/>
                      <a:pt x="396" y="365"/>
                    </a:cubicBezTo>
                    <a:close/>
                    <a:moveTo>
                      <a:pt x="319" y="261"/>
                    </a:moveTo>
                    <a:cubicBezTo>
                      <a:pt x="317" y="265"/>
                      <a:pt x="311" y="262"/>
                      <a:pt x="308" y="266"/>
                    </a:cubicBezTo>
                    <a:cubicBezTo>
                      <a:pt x="307" y="268"/>
                      <a:pt x="303" y="274"/>
                      <a:pt x="304" y="268"/>
                    </a:cubicBezTo>
                    <a:cubicBezTo>
                      <a:pt x="305" y="262"/>
                      <a:pt x="311" y="260"/>
                      <a:pt x="314" y="254"/>
                    </a:cubicBezTo>
                    <a:cubicBezTo>
                      <a:pt x="317" y="247"/>
                      <a:pt x="322" y="256"/>
                      <a:pt x="319" y="261"/>
                    </a:cubicBezTo>
                    <a:close/>
                    <a:moveTo>
                      <a:pt x="267" y="229"/>
                    </a:moveTo>
                    <a:cubicBezTo>
                      <a:pt x="269" y="227"/>
                      <a:pt x="269" y="225"/>
                      <a:pt x="271" y="223"/>
                    </a:cubicBezTo>
                    <a:cubicBezTo>
                      <a:pt x="273" y="221"/>
                      <a:pt x="275" y="219"/>
                      <a:pt x="276" y="217"/>
                    </a:cubicBezTo>
                    <a:cubicBezTo>
                      <a:pt x="279" y="214"/>
                      <a:pt x="280" y="213"/>
                      <a:pt x="278" y="210"/>
                    </a:cubicBezTo>
                    <a:cubicBezTo>
                      <a:pt x="276" y="206"/>
                      <a:pt x="280" y="204"/>
                      <a:pt x="282" y="206"/>
                    </a:cubicBezTo>
                    <a:cubicBezTo>
                      <a:pt x="284" y="208"/>
                      <a:pt x="285" y="212"/>
                      <a:pt x="288" y="213"/>
                    </a:cubicBezTo>
                    <a:cubicBezTo>
                      <a:pt x="291" y="213"/>
                      <a:pt x="296" y="209"/>
                      <a:pt x="298" y="206"/>
                    </a:cubicBezTo>
                    <a:cubicBezTo>
                      <a:pt x="300" y="202"/>
                      <a:pt x="303" y="200"/>
                      <a:pt x="307" y="199"/>
                    </a:cubicBezTo>
                    <a:cubicBezTo>
                      <a:pt x="308" y="198"/>
                      <a:pt x="320" y="193"/>
                      <a:pt x="320" y="196"/>
                    </a:cubicBezTo>
                    <a:cubicBezTo>
                      <a:pt x="320" y="199"/>
                      <a:pt x="315" y="202"/>
                      <a:pt x="312" y="202"/>
                    </a:cubicBezTo>
                    <a:cubicBezTo>
                      <a:pt x="310" y="203"/>
                      <a:pt x="308" y="204"/>
                      <a:pt x="306" y="205"/>
                    </a:cubicBezTo>
                    <a:cubicBezTo>
                      <a:pt x="304" y="207"/>
                      <a:pt x="303" y="209"/>
                      <a:pt x="301" y="211"/>
                    </a:cubicBezTo>
                    <a:cubicBezTo>
                      <a:pt x="300" y="212"/>
                      <a:pt x="297" y="212"/>
                      <a:pt x="297" y="214"/>
                    </a:cubicBezTo>
                    <a:cubicBezTo>
                      <a:pt x="297" y="217"/>
                      <a:pt x="296" y="218"/>
                      <a:pt x="294" y="219"/>
                    </a:cubicBezTo>
                    <a:cubicBezTo>
                      <a:pt x="290" y="223"/>
                      <a:pt x="286" y="225"/>
                      <a:pt x="282" y="228"/>
                    </a:cubicBezTo>
                    <a:cubicBezTo>
                      <a:pt x="278" y="230"/>
                      <a:pt x="275" y="233"/>
                      <a:pt x="270" y="233"/>
                    </a:cubicBezTo>
                    <a:cubicBezTo>
                      <a:pt x="265" y="233"/>
                      <a:pt x="262" y="232"/>
                      <a:pt x="258" y="229"/>
                    </a:cubicBezTo>
                    <a:cubicBezTo>
                      <a:pt x="256" y="228"/>
                      <a:pt x="255" y="228"/>
                      <a:pt x="253" y="228"/>
                    </a:cubicBezTo>
                    <a:cubicBezTo>
                      <a:pt x="251" y="228"/>
                      <a:pt x="249" y="230"/>
                      <a:pt x="247" y="228"/>
                    </a:cubicBezTo>
                    <a:cubicBezTo>
                      <a:pt x="243" y="225"/>
                      <a:pt x="252" y="226"/>
                      <a:pt x="253" y="226"/>
                    </a:cubicBezTo>
                    <a:cubicBezTo>
                      <a:pt x="257" y="227"/>
                      <a:pt x="262" y="232"/>
                      <a:pt x="267" y="229"/>
                    </a:cubicBezTo>
                    <a:close/>
                    <a:moveTo>
                      <a:pt x="221" y="139"/>
                    </a:moveTo>
                    <a:cubicBezTo>
                      <a:pt x="224" y="137"/>
                      <a:pt x="228" y="136"/>
                      <a:pt x="232" y="135"/>
                    </a:cubicBezTo>
                    <a:cubicBezTo>
                      <a:pt x="234" y="133"/>
                      <a:pt x="237" y="132"/>
                      <a:pt x="239" y="130"/>
                    </a:cubicBezTo>
                    <a:cubicBezTo>
                      <a:pt x="241" y="129"/>
                      <a:pt x="244" y="126"/>
                      <a:pt x="246" y="125"/>
                    </a:cubicBezTo>
                    <a:cubicBezTo>
                      <a:pt x="248" y="124"/>
                      <a:pt x="250" y="123"/>
                      <a:pt x="251" y="124"/>
                    </a:cubicBezTo>
                    <a:cubicBezTo>
                      <a:pt x="253" y="124"/>
                      <a:pt x="249" y="126"/>
                      <a:pt x="248" y="127"/>
                    </a:cubicBezTo>
                    <a:cubicBezTo>
                      <a:pt x="244" y="130"/>
                      <a:pt x="244" y="136"/>
                      <a:pt x="249" y="136"/>
                    </a:cubicBezTo>
                    <a:cubicBezTo>
                      <a:pt x="251" y="135"/>
                      <a:pt x="253" y="136"/>
                      <a:pt x="255" y="134"/>
                    </a:cubicBezTo>
                    <a:cubicBezTo>
                      <a:pt x="256" y="133"/>
                      <a:pt x="257" y="131"/>
                      <a:pt x="259" y="130"/>
                    </a:cubicBezTo>
                    <a:cubicBezTo>
                      <a:pt x="260" y="129"/>
                      <a:pt x="263" y="129"/>
                      <a:pt x="263" y="131"/>
                    </a:cubicBezTo>
                    <a:cubicBezTo>
                      <a:pt x="263" y="134"/>
                      <a:pt x="260" y="134"/>
                      <a:pt x="259" y="137"/>
                    </a:cubicBezTo>
                    <a:cubicBezTo>
                      <a:pt x="258" y="141"/>
                      <a:pt x="255" y="147"/>
                      <a:pt x="251" y="145"/>
                    </a:cubicBezTo>
                    <a:cubicBezTo>
                      <a:pt x="249" y="143"/>
                      <a:pt x="249" y="146"/>
                      <a:pt x="248" y="147"/>
                    </a:cubicBezTo>
                    <a:cubicBezTo>
                      <a:pt x="248" y="150"/>
                      <a:pt x="247" y="153"/>
                      <a:pt x="245" y="155"/>
                    </a:cubicBezTo>
                    <a:cubicBezTo>
                      <a:pt x="244" y="156"/>
                      <a:pt x="236" y="164"/>
                      <a:pt x="236" y="160"/>
                    </a:cubicBezTo>
                    <a:cubicBezTo>
                      <a:pt x="237" y="158"/>
                      <a:pt x="239" y="155"/>
                      <a:pt x="239" y="153"/>
                    </a:cubicBezTo>
                    <a:cubicBezTo>
                      <a:pt x="240" y="152"/>
                      <a:pt x="239" y="151"/>
                      <a:pt x="238" y="151"/>
                    </a:cubicBezTo>
                    <a:cubicBezTo>
                      <a:pt x="236" y="152"/>
                      <a:pt x="235" y="155"/>
                      <a:pt x="234" y="157"/>
                    </a:cubicBezTo>
                    <a:cubicBezTo>
                      <a:pt x="232" y="160"/>
                      <a:pt x="226" y="165"/>
                      <a:pt x="224" y="162"/>
                    </a:cubicBezTo>
                    <a:cubicBezTo>
                      <a:pt x="220" y="158"/>
                      <a:pt x="225" y="154"/>
                      <a:pt x="229" y="151"/>
                    </a:cubicBezTo>
                    <a:cubicBezTo>
                      <a:pt x="232" y="149"/>
                      <a:pt x="235" y="147"/>
                      <a:pt x="234" y="142"/>
                    </a:cubicBezTo>
                    <a:cubicBezTo>
                      <a:pt x="234" y="140"/>
                      <a:pt x="231" y="139"/>
                      <a:pt x="230" y="139"/>
                    </a:cubicBezTo>
                    <a:cubicBezTo>
                      <a:pt x="228" y="139"/>
                      <a:pt x="225" y="141"/>
                      <a:pt x="222" y="142"/>
                    </a:cubicBezTo>
                    <a:cubicBezTo>
                      <a:pt x="220" y="142"/>
                      <a:pt x="217" y="143"/>
                      <a:pt x="215" y="145"/>
                    </a:cubicBezTo>
                    <a:cubicBezTo>
                      <a:pt x="214" y="146"/>
                      <a:pt x="211" y="147"/>
                      <a:pt x="211" y="145"/>
                    </a:cubicBezTo>
                    <a:cubicBezTo>
                      <a:pt x="211" y="140"/>
                      <a:pt x="219" y="142"/>
                      <a:pt x="221"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94"/>
              <p:cNvSpPr>
                <a:spLocks/>
              </p:cNvSpPr>
              <p:nvPr/>
            </p:nvSpPr>
            <p:spPr bwMode="auto">
              <a:xfrm>
                <a:off x="2930526" y="3851275"/>
                <a:ext cx="23813" cy="12700"/>
              </a:xfrm>
              <a:custGeom>
                <a:avLst/>
                <a:gdLst>
                  <a:gd name="T0" fmla="*/ 8 w 30"/>
                  <a:gd name="T1" fmla="*/ 13 h 18"/>
                  <a:gd name="T2" fmla="*/ 15 w 30"/>
                  <a:gd name="T3" fmla="*/ 13 h 18"/>
                  <a:gd name="T4" fmla="*/ 17 w 30"/>
                  <a:gd name="T5" fmla="*/ 12 h 18"/>
                  <a:gd name="T6" fmla="*/ 20 w 30"/>
                  <a:gd name="T7" fmla="*/ 12 h 18"/>
                  <a:gd name="T8" fmla="*/ 27 w 30"/>
                  <a:gd name="T9" fmla="*/ 11 h 18"/>
                  <a:gd name="T10" fmla="*/ 26 w 30"/>
                  <a:gd name="T11" fmla="*/ 5 h 18"/>
                  <a:gd name="T12" fmla="*/ 10 w 30"/>
                  <a:gd name="T13" fmla="*/ 8 h 18"/>
                  <a:gd name="T14" fmla="*/ 2 w 30"/>
                  <a:gd name="T15" fmla="*/ 14 h 18"/>
                  <a:gd name="T16" fmla="*/ 8 w 30"/>
                  <a:gd name="T1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8" y="13"/>
                    </a:moveTo>
                    <a:cubicBezTo>
                      <a:pt x="10" y="12"/>
                      <a:pt x="13" y="13"/>
                      <a:pt x="15" y="13"/>
                    </a:cubicBezTo>
                    <a:cubicBezTo>
                      <a:pt x="16" y="13"/>
                      <a:pt x="16" y="12"/>
                      <a:pt x="17" y="12"/>
                    </a:cubicBezTo>
                    <a:cubicBezTo>
                      <a:pt x="18" y="11"/>
                      <a:pt x="19" y="12"/>
                      <a:pt x="20" y="12"/>
                    </a:cubicBezTo>
                    <a:cubicBezTo>
                      <a:pt x="22" y="12"/>
                      <a:pt x="24" y="13"/>
                      <a:pt x="27" y="11"/>
                    </a:cubicBezTo>
                    <a:cubicBezTo>
                      <a:pt x="30" y="9"/>
                      <a:pt x="27" y="6"/>
                      <a:pt x="26" y="5"/>
                    </a:cubicBezTo>
                    <a:cubicBezTo>
                      <a:pt x="24" y="0"/>
                      <a:pt x="16" y="6"/>
                      <a:pt x="10" y="8"/>
                    </a:cubicBezTo>
                    <a:cubicBezTo>
                      <a:pt x="7" y="9"/>
                      <a:pt x="3" y="11"/>
                      <a:pt x="2" y="14"/>
                    </a:cubicBezTo>
                    <a:cubicBezTo>
                      <a:pt x="0" y="18"/>
                      <a:pt x="6" y="15"/>
                      <a:pt x="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95"/>
              <p:cNvSpPr>
                <a:spLocks/>
              </p:cNvSpPr>
              <p:nvPr/>
            </p:nvSpPr>
            <p:spPr bwMode="auto">
              <a:xfrm>
                <a:off x="2932113" y="3862388"/>
                <a:ext cx="19050" cy="17463"/>
              </a:xfrm>
              <a:custGeom>
                <a:avLst/>
                <a:gdLst>
                  <a:gd name="T0" fmla="*/ 13 w 25"/>
                  <a:gd name="T1" fmla="*/ 19 h 23"/>
                  <a:gd name="T2" fmla="*/ 19 w 25"/>
                  <a:gd name="T3" fmla="*/ 12 h 23"/>
                  <a:gd name="T4" fmla="*/ 18 w 25"/>
                  <a:gd name="T5" fmla="*/ 7 h 23"/>
                  <a:gd name="T6" fmla="*/ 24 w 25"/>
                  <a:gd name="T7" fmla="*/ 5 h 23"/>
                  <a:gd name="T8" fmla="*/ 25 w 25"/>
                  <a:gd name="T9" fmla="*/ 2 h 23"/>
                  <a:gd name="T10" fmla="*/ 19 w 25"/>
                  <a:gd name="T11" fmla="*/ 3 h 23"/>
                  <a:gd name="T12" fmla="*/ 13 w 25"/>
                  <a:gd name="T13" fmla="*/ 4 h 23"/>
                  <a:gd name="T14" fmla="*/ 8 w 25"/>
                  <a:gd name="T15" fmla="*/ 6 h 23"/>
                  <a:gd name="T16" fmla="*/ 0 w 25"/>
                  <a:gd name="T17" fmla="*/ 14 h 23"/>
                  <a:gd name="T18" fmla="*/ 13 w 25"/>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19"/>
                    </a:moveTo>
                    <a:cubicBezTo>
                      <a:pt x="16" y="17"/>
                      <a:pt x="19" y="15"/>
                      <a:pt x="19" y="12"/>
                    </a:cubicBezTo>
                    <a:cubicBezTo>
                      <a:pt x="19" y="11"/>
                      <a:pt x="14" y="9"/>
                      <a:pt x="18" y="7"/>
                    </a:cubicBezTo>
                    <a:cubicBezTo>
                      <a:pt x="20" y="6"/>
                      <a:pt x="22" y="7"/>
                      <a:pt x="24" y="5"/>
                    </a:cubicBezTo>
                    <a:cubicBezTo>
                      <a:pt x="25" y="5"/>
                      <a:pt x="25" y="3"/>
                      <a:pt x="25" y="2"/>
                    </a:cubicBezTo>
                    <a:cubicBezTo>
                      <a:pt x="25" y="0"/>
                      <a:pt x="20" y="2"/>
                      <a:pt x="19" y="3"/>
                    </a:cubicBezTo>
                    <a:cubicBezTo>
                      <a:pt x="17" y="4"/>
                      <a:pt x="15" y="3"/>
                      <a:pt x="13" y="4"/>
                    </a:cubicBezTo>
                    <a:cubicBezTo>
                      <a:pt x="11" y="5"/>
                      <a:pt x="10" y="6"/>
                      <a:pt x="8" y="6"/>
                    </a:cubicBezTo>
                    <a:cubicBezTo>
                      <a:pt x="4" y="8"/>
                      <a:pt x="1" y="11"/>
                      <a:pt x="0" y="14"/>
                    </a:cubicBezTo>
                    <a:cubicBezTo>
                      <a:pt x="0" y="19"/>
                      <a:pt x="5" y="23"/>
                      <a:pt x="1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96"/>
              <p:cNvSpPr>
                <a:spLocks/>
              </p:cNvSpPr>
              <p:nvPr/>
            </p:nvSpPr>
            <p:spPr bwMode="auto">
              <a:xfrm>
                <a:off x="2876551" y="3876675"/>
                <a:ext cx="44450" cy="36513"/>
              </a:xfrm>
              <a:custGeom>
                <a:avLst/>
                <a:gdLst>
                  <a:gd name="T0" fmla="*/ 1 w 59"/>
                  <a:gd name="T1" fmla="*/ 49 h 49"/>
                  <a:gd name="T2" fmla="*/ 7 w 59"/>
                  <a:gd name="T3" fmla="*/ 49 h 49"/>
                  <a:gd name="T4" fmla="*/ 14 w 59"/>
                  <a:gd name="T5" fmla="*/ 46 h 49"/>
                  <a:gd name="T6" fmla="*/ 18 w 59"/>
                  <a:gd name="T7" fmla="*/ 48 h 49"/>
                  <a:gd name="T8" fmla="*/ 25 w 59"/>
                  <a:gd name="T9" fmla="*/ 40 h 49"/>
                  <a:gd name="T10" fmla="*/ 29 w 59"/>
                  <a:gd name="T11" fmla="*/ 32 h 49"/>
                  <a:gd name="T12" fmla="*/ 35 w 59"/>
                  <a:gd name="T13" fmla="*/ 30 h 49"/>
                  <a:gd name="T14" fmla="*/ 39 w 59"/>
                  <a:gd name="T15" fmla="*/ 34 h 49"/>
                  <a:gd name="T16" fmla="*/ 43 w 59"/>
                  <a:gd name="T17" fmla="*/ 29 h 49"/>
                  <a:gd name="T18" fmla="*/ 48 w 59"/>
                  <a:gd name="T19" fmla="*/ 23 h 49"/>
                  <a:gd name="T20" fmla="*/ 51 w 59"/>
                  <a:gd name="T21" fmla="*/ 17 h 49"/>
                  <a:gd name="T22" fmla="*/ 53 w 59"/>
                  <a:gd name="T23" fmla="*/ 11 h 49"/>
                  <a:gd name="T24" fmla="*/ 55 w 59"/>
                  <a:gd name="T25" fmla="*/ 7 h 49"/>
                  <a:gd name="T26" fmla="*/ 55 w 59"/>
                  <a:gd name="T27" fmla="*/ 4 h 49"/>
                  <a:gd name="T28" fmla="*/ 57 w 59"/>
                  <a:gd name="T29" fmla="*/ 0 h 49"/>
                  <a:gd name="T30" fmla="*/ 51 w 59"/>
                  <a:gd name="T31" fmla="*/ 4 h 49"/>
                  <a:gd name="T32" fmla="*/ 45 w 59"/>
                  <a:gd name="T33" fmla="*/ 8 h 49"/>
                  <a:gd name="T34" fmla="*/ 35 w 59"/>
                  <a:gd name="T35" fmla="*/ 12 h 49"/>
                  <a:gd name="T36" fmla="*/ 25 w 59"/>
                  <a:gd name="T37" fmla="*/ 20 h 49"/>
                  <a:gd name="T38" fmla="*/ 16 w 59"/>
                  <a:gd name="T39" fmla="*/ 29 h 49"/>
                  <a:gd name="T40" fmla="*/ 10 w 59"/>
                  <a:gd name="T41" fmla="*/ 35 h 49"/>
                  <a:gd name="T42" fmla="*/ 2 w 59"/>
                  <a:gd name="T43" fmla="*/ 40 h 49"/>
                  <a:gd name="T44" fmla="*/ 3 w 59"/>
                  <a:gd name="T45" fmla="*/ 43 h 49"/>
                  <a:gd name="T46" fmla="*/ 2 w 59"/>
                  <a:gd name="T47" fmla="*/ 45 h 49"/>
                  <a:gd name="T48" fmla="*/ 1 w 59"/>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49">
                    <a:moveTo>
                      <a:pt x="1" y="49"/>
                    </a:moveTo>
                    <a:cubicBezTo>
                      <a:pt x="4" y="48"/>
                      <a:pt x="6" y="46"/>
                      <a:pt x="7" y="49"/>
                    </a:cubicBezTo>
                    <a:cubicBezTo>
                      <a:pt x="10" y="49"/>
                      <a:pt x="11" y="44"/>
                      <a:pt x="14" y="46"/>
                    </a:cubicBezTo>
                    <a:cubicBezTo>
                      <a:pt x="15" y="46"/>
                      <a:pt x="16" y="49"/>
                      <a:pt x="18" y="48"/>
                    </a:cubicBezTo>
                    <a:cubicBezTo>
                      <a:pt x="21" y="47"/>
                      <a:pt x="24" y="42"/>
                      <a:pt x="25" y="40"/>
                    </a:cubicBezTo>
                    <a:cubicBezTo>
                      <a:pt x="27" y="37"/>
                      <a:pt x="26" y="35"/>
                      <a:pt x="29" y="32"/>
                    </a:cubicBezTo>
                    <a:cubicBezTo>
                      <a:pt x="30" y="31"/>
                      <a:pt x="35" y="27"/>
                      <a:pt x="35" y="30"/>
                    </a:cubicBezTo>
                    <a:cubicBezTo>
                      <a:pt x="35" y="32"/>
                      <a:pt x="38" y="37"/>
                      <a:pt x="39" y="34"/>
                    </a:cubicBezTo>
                    <a:cubicBezTo>
                      <a:pt x="41" y="33"/>
                      <a:pt x="42" y="31"/>
                      <a:pt x="43" y="29"/>
                    </a:cubicBezTo>
                    <a:cubicBezTo>
                      <a:pt x="44" y="27"/>
                      <a:pt x="46" y="25"/>
                      <a:pt x="48" y="23"/>
                    </a:cubicBezTo>
                    <a:cubicBezTo>
                      <a:pt x="50" y="22"/>
                      <a:pt x="51" y="19"/>
                      <a:pt x="51" y="17"/>
                    </a:cubicBezTo>
                    <a:cubicBezTo>
                      <a:pt x="51" y="15"/>
                      <a:pt x="50" y="13"/>
                      <a:pt x="53" y="11"/>
                    </a:cubicBezTo>
                    <a:cubicBezTo>
                      <a:pt x="56" y="9"/>
                      <a:pt x="57" y="9"/>
                      <a:pt x="55" y="7"/>
                    </a:cubicBezTo>
                    <a:cubicBezTo>
                      <a:pt x="55" y="6"/>
                      <a:pt x="53" y="6"/>
                      <a:pt x="55" y="4"/>
                    </a:cubicBezTo>
                    <a:cubicBezTo>
                      <a:pt x="55" y="4"/>
                      <a:pt x="59" y="0"/>
                      <a:pt x="57" y="0"/>
                    </a:cubicBezTo>
                    <a:cubicBezTo>
                      <a:pt x="55" y="0"/>
                      <a:pt x="52" y="3"/>
                      <a:pt x="51" y="4"/>
                    </a:cubicBezTo>
                    <a:cubicBezTo>
                      <a:pt x="49" y="5"/>
                      <a:pt x="47" y="7"/>
                      <a:pt x="45" y="8"/>
                    </a:cubicBezTo>
                    <a:cubicBezTo>
                      <a:pt x="42" y="10"/>
                      <a:pt x="38" y="10"/>
                      <a:pt x="35" y="12"/>
                    </a:cubicBezTo>
                    <a:cubicBezTo>
                      <a:pt x="32" y="15"/>
                      <a:pt x="28" y="18"/>
                      <a:pt x="25" y="20"/>
                    </a:cubicBezTo>
                    <a:cubicBezTo>
                      <a:pt x="21" y="23"/>
                      <a:pt x="19" y="25"/>
                      <a:pt x="16" y="29"/>
                    </a:cubicBezTo>
                    <a:cubicBezTo>
                      <a:pt x="15" y="31"/>
                      <a:pt x="13" y="33"/>
                      <a:pt x="10" y="35"/>
                    </a:cubicBezTo>
                    <a:cubicBezTo>
                      <a:pt x="8" y="36"/>
                      <a:pt x="3" y="37"/>
                      <a:pt x="2" y="40"/>
                    </a:cubicBezTo>
                    <a:cubicBezTo>
                      <a:pt x="2" y="41"/>
                      <a:pt x="3" y="42"/>
                      <a:pt x="3" y="43"/>
                    </a:cubicBezTo>
                    <a:cubicBezTo>
                      <a:pt x="3" y="43"/>
                      <a:pt x="3" y="44"/>
                      <a:pt x="2" y="45"/>
                    </a:cubicBezTo>
                    <a:cubicBezTo>
                      <a:pt x="2" y="46"/>
                      <a:pt x="0" y="49"/>
                      <a:pt x="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97"/>
              <p:cNvSpPr>
                <a:spLocks/>
              </p:cNvSpPr>
              <p:nvPr/>
            </p:nvSpPr>
            <p:spPr bwMode="auto">
              <a:xfrm>
                <a:off x="3124201" y="4075113"/>
                <a:ext cx="9525" cy="4763"/>
              </a:xfrm>
              <a:custGeom>
                <a:avLst/>
                <a:gdLst>
                  <a:gd name="T0" fmla="*/ 8 w 12"/>
                  <a:gd name="T1" fmla="*/ 3 h 7"/>
                  <a:gd name="T2" fmla="*/ 5 w 12"/>
                  <a:gd name="T3" fmla="*/ 7 h 7"/>
                  <a:gd name="T4" fmla="*/ 8 w 12"/>
                  <a:gd name="T5" fmla="*/ 3 h 7"/>
                </a:gdLst>
                <a:ahLst/>
                <a:cxnLst>
                  <a:cxn ang="0">
                    <a:pos x="T0" y="T1"/>
                  </a:cxn>
                  <a:cxn ang="0">
                    <a:pos x="T2" y="T3"/>
                  </a:cxn>
                  <a:cxn ang="0">
                    <a:pos x="T4" y="T5"/>
                  </a:cxn>
                </a:cxnLst>
                <a:rect l="0" t="0" r="r" b="b"/>
                <a:pathLst>
                  <a:path w="12" h="7">
                    <a:moveTo>
                      <a:pt x="8" y="3"/>
                    </a:moveTo>
                    <a:cubicBezTo>
                      <a:pt x="4" y="0"/>
                      <a:pt x="0" y="5"/>
                      <a:pt x="5" y="7"/>
                    </a:cubicBezTo>
                    <a:cubicBezTo>
                      <a:pt x="7" y="7"/>
                      <a:pt x="12" y="5"/>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98"/>
              <p:cNvSpPr>
                <a:spLocks/>
              </p:cNvSpPr>
              <p:nvPr/>
            </p:nvSpPr>
            <p:spPr bwMode="auto">
              <a:xfrm>
                <a:off x="3216276" y="4111625"/>
                <a:ext cx="6350" cy="4763"/>
              </a:xfrm>
              <a:custGeom>
                <a:avLst/>
                <a:gdLst>
                  <a:gd name="T0" fmla="*/ 2 w 9"/>
                  <a:gd name="T1" fmla="*/ 4 h 7"/>
                  <a:gd name="T2" fmla="*/ 6 w 9"/>
                  <a:gd name="T3" fmla="*/ 1 h 7"/>
                  <a:gd name="T4" fmla="*/ 2 w 9"/>
                  <a:gd name="T5" fmla="*/ 4 h 7"/>
                </a:gdLst>
                <a:ahLst/>
                <a:cxnLst>
                  <a:cxn ang="0">
                    <a:pos x="T0" y="T1"/>
                  </a:cxn>
                  <a:cxn ang="0">
                    <a:pos x="T2" y="T3"/>
                  </a:cxn>
                  <a:cxn ang="0">
                    <a:pos x="T4" y="T5"/>
                  </a:cxn>
                </a:cxnLst>
                <a:rect l="0" t="0" r="r" b="b"/>
                <a:pathLst>
                  <a:path w="9" h="7">
                    <a:moveTo>
                      <a:pt x="2" y="4"/>
                    </a:moveTo>
                    <a:cubicBezTo>
                      <a:pt x="4" y="7"/>
                      <a:pt x="9" y="3"/>
                      <a:pt x="6" y="1"/>
                    </a:cubicBezTo>
                    <a:cubicBezTo>
                      <a:pt x="4" y="0"/>
                      <a:pt x="0"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99"/>
              <p:cNvSpPr>
                <a:spLocks/>
              </p:cNvSpPr>
              <p:nvPr/>
            </p:nvSpPr>
            <p:spPr bwMode="auto">
              <a:xfrm>
                <a:off x="3219451" y="4102100"/>
                <a:ext cx="6350" cy="4763"/>
              </a:xfrm>
              <a:custGeom>
                <a:avLst/>
                <a:gdLst>
                  <a:gd name="T0" fmla="*/ 3 w 7"/>
                  <a:gd name="T1" fmla="*/ 0 h 5"/>
                  <a:gd name="T2" fmla="*/ 5 w 7"/>
                  <a:gd name="T3" fmla="*/ 5 h 5"/>
                  <a:gd name="T4" fmla="*/ 5 w 7"/>
                  <a:gd name="T5" fmla="*/ 0 h 5"/>
                  <a:gd name="T6" fmla="*/ 3 w 7"/>
                  <a:gd name="T7" fmla="*/ 0 h 5"/>
                </a:gdLst>
                <a:ahLst/>
                <a:cxnLst>
                  <a:cxn ang="0">
                    <a:pos x="T0" y="T1"/>
                  </a:cxn>
                  <a:cxn ang="0">
                    <a:pos x="T2" y="T3"/>
                  </a:cxn>
                  <a:cxn ang="0">
                    <a:pos x="T4" y="T5"/>
                  </a:cxn>
                  <a:cxn ang="0">
                    <a:pos x="T6" y="T7"/>
                  </a:cxn>
                </a:cxnLst>
                <a:rect l="0" t="0" r="r" b="b"/>
                <a:pathLst>
                  <a:path w="7" h="5">
                    <a:moveTo>
                      <a:pt x="3" y="0"/>
                    </a:moveTo>
                    <a:cubicBezTo>
                      <a:pt x="0" y="0"/>
                      <a:pt x="2" y="5"/>
                      <a:pt x="5" y="5"/>
                    </a:cubicBezTo>
                    <a:cubicBezTo>
                      <a:pt x="7" y="5"/>
                      <a:pt x="7" y="0"/>
                      <a:pt x="5" y="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00"/>
              <p:cNvSpPr>
                <a:spLocks/>
              </p:cNvSpPr>
              <p:nvPr/>
            </p:nvSpPr>
            <p:spPr bwMode="auto">
              <a:xfrm>
                <a:off x="3048001" y="3922713"/>
                <a:ext cx="193675" cy="188913"/>
              </a:xfrm>
              <a:custGeom>
                <a:avLst/>
                <a:gdLst>
                  <a:gd name="T0" fmla="*/ 247 w 256"/>
                  <a:gd name="T1" fmla="*/ 167 h 250"/>
                  <a:gd name="T2" fmla="*/ 231 w 256"/>
                  <a:gd name="T3" fmla="*/ 143 h 250"/>
                  <a:gd name="T4" fmla="*/ 200 w 256"/>
                  <a:gd name="T5" fmla="*/ 119 h 250"/>
                  <a:gd name="T6" fmla="*/ 187 w 256"/>
                  <a:gd name="T7" fmla="*/ 101 h 250"/>
                  <a:gd name="T8" fmla="*/ 194 w 256"/>
                  <a:gd name="T9" fmla="*/ 93 h 250"/>
                  <a:gd name="T10" fmla="*/ 184 w 256"/>
                  <a:gd name="T11" fmla="*/ 80 h 250"/>
                  <a:gd name="T12" fmla="*/ 178 w 256"/>
                  <a:gd name="T13" fmla="*/ 80 h 250"/>
                  <a:gd name="T14" fmla="*/ 166 w 256"/>
                  <a:gd name="T15" fmla="*/ 65 h 250"/>
                  <a:gd name="T16" fmla="*/ 153 w 256"/>
                  <a:gd name="T17" fmla="*/ 62 h 250"/>
                  <a:gd name="T18" fmla="*/ 157 w 256"/>
                  <a:gd name="T19" fmla="*/ 50 h 250"/>
                  <a:gd name="T20" fmla="*/ 139 w 256"/>
                  <a:gd name="T21" fmla="*/ 45 h 250"/>
                  <a:gd name="T22" fmla="*/ 129 w 256"/>
                  <a:gd name="T23" fmla="*/ 38 h 250"/>
                  <a:gd name="T24" fmla="*/ 120 w 256"/>
                  <a:gd name="T25" fmla="*/ 27 h 250"/>
                  <a:gd name="T26" fmla="*/ 103 w 256"/>
                  <a:gd name="T27" fmla="*/ 5 h 250"/>
                  <a:gd name="T28" fmla="*/ 82 w 256"/>
                  <a:gd name="T29" fmla="*/ 12 h 250"/>
                  <a:gd name="T30" fmla="*/ 103 w 256"/>
                  <a:gd name="T31" fmla="*/ 24 h 250"/>
                  <a:gd name="T32" fmla="*/ 99 w 256"/>
                  <a:gd name="T33" fmla="*/ 34 h 250"/>
                  <a:gd name="T34" fmla="*/ 89 w 256"/>
                  <a:gd name="T35" fmla="*/ 36 h 250"/>
                  <a:gd name="T36" fmla="*/ 75 w 256"/>
                  <a:gd name="T37" fmla="*/ 38 h 250"/>
                  <a:gd name="T38" fmla="*/ 63 w 256"/>
                  <a:gd name="T39" fmla="*/ 3 h 250"/>
                  <a:gd name="T40" fmla="*/ 46 w 256"/>
                  <a:gd name="T41" fmla="*/ 9 h 250"/>
                  <a:gd name="T42" fmla="*/ 40 w 256"/>
                  <a:gd name="T43" fmla="*/ 20 h 250"/>
                  <a:gd name="T44" fmla="*/ 42 w 256"/>
                  <a:gd name="T45" fmla="*/ 45 h 250"/>
                  <a:gd name="T46" fmla="*/ 32 w 256"/>
                  <a:gd name="T47" fmla="*/ 38 h 250"/>
                  <a:gd name="T48" fmla="*/ 34 w 256"/>
                  <a:gd name="T49" fmla="*/ 17 h 250"/>
                  <a:gd name="T50" fmla="*/ 41 w 256"/>
                  <a:gd name="T51" fmla="*/ 0 h 250"/>
                  <a:gd name="T52" fmla="*/ 9 w 256"/>
                  <a:gd name="T53" fmla="*/ 17 h 250"/>
                  <a:gd name="T54" fmla="*/ 1 w 256"/>
                  <a:gd name="T55" fmla="*/ 53 h 250"/>
                  <a:gd name="T56" fmla="*/ 10 w 256"/>
                  <a:gd name="T57" fmla="*/ 61 h 250"/>
                  <a:gd name="T58" fmla="*/ 20 w 256"/>
                  <a:gd name="T59" fmla="*/ 78 h 250"/>
                  <a:gd name="T60" fmla="*/ 58 w 256"/>
                  <a:gd name="T61" fmla="*/ 84 h 250"/>
                  <a:gd name="T62" fmla="*/ 92 w 256"/>
                  <a:gd name="T63" fmla="*/ 85 h 250"/>
                  <a:gd name="T64" fmla="*/ 104 w 256"/>
                  <a:gd name="T65" fmla="*/ 74 h 250"/>
                  <a:gd name="T66" fmla="*/ 112 w 256"/>
                  <a:gd name="T67" fmla="*/ 89 h 250"/>
                  <a:gd name="T68" fmla="*/ 117 w 256"/>
                  <a:gd name="T69" fmla="*/ 99 h 250"/>
                  <a:gd name="T70" fmla="*/ 120 w 256"/>
                  <a:gd name="T71" fmla="*/ 105 h 250"/>
                  <a:gd name="T72" fmla="*/ 140 w 256"/>
                  <a:gd name="T73" fmla="*/ 115 h 250"/>
                  <a:gd name="T74" fmla="*/ 154 w 256"/>
                  <a:gd name="T75" fmla="*/ 142 h 250"/>
                  <a:gd name="T76" fmla="*/ 166 w 256"/>
                  <a:gd name="T77" fmla="*/ 149 h 250"/>
                  <a:gd name="T78" fmla="*/ 183 w 256"/>
                  <a:gd name="T79" fmla="*/ 158 h 250"/>
                  <a:gd name="T80" fmla="*/ 156 w 256"/>
                  <a:gd name="T81" fmla="*/ 155 h 250"/>
                  <a:gd name="T82" fmla="*/ 145 w 256"/>
                  <a:gd name="T83" fmla="*/ 172 h 250"/>
                  <a:gd name="T84" fmla="*/ 110 w 256"/>
                  <a:gd name="T85" fmla="*/ 180 h 250"/>
                  <a:gd name="T86" fmla="*/ 120 w 256"/>
                  <a:gd name="T87" fmla="*/ 202 h 250"/>
                  <a:gd name="T88" fmla="*/ 141 w 256"/>
                  <a:gd name="T89" fmla="*/ 198 h 250"/>
                  <a:gd name="T90" fmla="*/ 160 w 256"/>
                  <a:gd name="T91" fmla="*/ 212 h 250"/>
                  <a:gd name="T92" fmla="*/ 179 w 256"/>
                  <a:gd name="T93" fmla="*/ 231 h 250"/>
                  <a:gd name="T94" fmla="*/ 204 w 256"/>
                  <a:gd name="T95" fmla="*/ 245 h 250"/>
                  <a:gd name="T96" fmla="*/ 202 w 256"/>
                  <a:gd name="T97" fmla="*/ 228 h 250"/>
                  <a:gd name="T98" fmla="*/ 230 w 256"/>
                  <a:gd name="T99" fmla="*/ 234 h 250"/>
                  <a:gd name="T100" fmla="*/ 222 w 256"/>
                  <a:gd name="T101" fmla="*/ 203 h 250"/>
                  <a:gd name="T102" fmla="*/ 203 w 256"/>
                  <a:gd name="T103" fmla="*/ 179 h 250"/>
                  <a:gd name="T104" fmla="*/ 205 w 256"/>
                  <a:gd name="T105" fmla="*/ 159 h 250"/>
                  <a:gd name="T106" fmla="*/ 220 w 256"/>
                  <a:gd name="T107" fmla="*/ 178 h 250"/>
                  <a:gd name="T108" fmla="*/ 242 w 256"/>
                  <a:gd name="T109" fmla="*/ 17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0">
                    <a:moveTo>
                      <a:pt x="242" y="179"/>
                    </a:moveTo>
                    <a:cubicBezTo>
                      <a:pt x="244" y="180"/>
                      <a:pt x="244" y="176"/>
                      <a:pt x="244" y="175"/>
                    </a:cubicBezTo>
                    <a:cubicBezTo>
                      <a:pt x="245" y="172"/>
                      <a:pt x="246" y="170"/>
                      <a:pt x="247" y="167"/>
                    </a:cubicBezTo>
                    <a:cubicBezTo>
                      <a:pt x="250" y="163"/>
                      <a:pt x="256" y="158"/>
                      <a:pt x="253" y="152"/>
                    </a:cubicBezTo>
                    <a:cubicBezTo>
                      <a:pt x="249" y="145"/>
                      <a:pt x="244" y="150"/>
                      <a:pt x="239" y="150"/>
                    </a:cubicBezTo>
                    <a:cubicBezTo>
                      <a:pt x="236" y="150"/>
                      <a:pt x="235" y="144"/>
                      <a:pt x="231" y="143"/>
                    </a:cubicBezTo>
                    <a:cubicBezTo>
                      <a:pt x="227" y="142"/>
                      <a:pt x="229" y="137"/>
                      <a:pt x="226" y="134"/>
                    </a:cubicBezTo>
                    <a:cubicBezTo>
                      <a:pt x="220" y="130"/>
                      <a:pt x="212" y="131"/>
                      <a:pt x="207" y="126"/>
                    </a:cubicBezTo>
                    <a:cubicBezTo>
                      <a:pt x="205" y="124"/>
                      <a:pt x="203" y="121"/>
                      <a:pt x="200" y="119"/>
                    </a:cubicBezTo>
                    <a:cubicBezTo>
                      <a:pt x="198" y="118"/>
                      <a:pt x="196" y="117"/>
                      <a:pt x="194" y="116"/>
                    </a:cubicBezTo>
                    <a:cubicBezTo>
                      <a:pt x="191" y="114"/>
                      <a:pt x="191" y="111"/>
                      <a:pt x="191" y="109"/>
                    </a:cubicBezTo>
                    <a:cubicBezTo>
                      <a:pt x="191" y="105"/>
                      <a:pt x="189" y="104"/>
                      <a:pt x="187" y="101"/>
                    </a:cubicBezTo>
                    <a:cubicBezTo>
                      <a:pt x="186" y="98"/>
                      <a:pt x="191" y="98"/>
                      <a:pt x="193" y="98"/>
                    </a:cubicBezTo>
                    <a:cubicBezTo>
                      <a:pt x="195" y="98"/>
                      <a:pt x="203" y="100"/>
                      <a:pt x="203" y="99"/>
                    </a:cubicBezTo>
                    <a:cubicBezTo>
                      <a:pt x="205" y="95"/>
                      <a:pt x="196" y="95"/>
                      <a:pt x="194" y="93"/>
                    </a:cubicBezTo>
                    <a:cubicBezTo>
                      <a:pt x="192" y="91"/>
                      <a:pt x="192" y="89"/>
                      <a:pt x="195" y="88"/>
                    </a:cubicBezTo>
                    <a:cubicBezTo>
                      <a:pt x="197" y="88"/>
                      <a:pt x="197" y="86"/>
                      <a:pt x="197" y="84"/>
                    </a:cubicBezTo>
                    <a:cubicBezTo>
                      <a:pt x="195" y="80"/>
                      <a:pt x="188" y="77"/>
                      <a:pt x="184" y="80"/>
                    </a:cubicBezTo>
                    <a:cubicBezTo>
                      <a:pt x="181" y="82"/>
                      <a:pt x="180" y="89"/>
                      <a:pt x="175" y="88"/>
                    </a:cubicBezTo>
                    <a:cubicBezTo>
                      <a:pt x="173" y="88"/>
                      <a:pt x="173" y="86"/>
                      <a:pt x="173" y="84"/>
                    </a:cubicBezTo>
                    <a:cubicBezTo>
                      <a:pt x="173" y="82"/>
                      <a:pt x="175" y="81"/>
                      <a:pt x="178" y="80"/>
                    </a:cubicBezTo>
                    <a:cubicBezTo>
                      <a:pt x="183" y="78"/>
                      <a:pt x="186" y="74"/>
                      <a:pt x="184" y="69"/>
                    </a:cubicBezTo>
                    <a:cubicBezTo>
                      <a:pt x="179" y="68"/>
                      <a:pt x="175" y="67"/>
                      <a:pt x="171" y="68"/>
                    </a:cubicBezTo>
                    <a:cubicBezTo>
                      <a:pt x="167" y="70"/>
                      <a:pt x="166" y="67"/>
                      <a:pt x="166" y="65"/>
                    </a:cubicBezTo>
                    <a:cubicBezTo>
                      <a:pt x="165" y="61"/>
                      <a:pt x="158" y="64"/>
                      <a:pt x="156" y="65"/>
                    </a:cubicBezTo>
                    <a:cubicBezTo>
                      <a:pt x="156" y="65"/>
                      <a:pt x="153" y="66"/>
                      <a:pt x="152" y="65"/>
                    </a:cubicBezTo>
                    <a:cubicBezTo>
                      <a:pt x="152" y="64"/>
                      <a:pt x="152" y="62"/>
                      <a:pt x="153" y="62"/>
                    </a:cubicBezTo>
                    <a:cubicBezTo>
                      <a:pt x="154" y="61"/>
                      <a:pt x="155" y="60"/>
                      <a:pt x="157" y="60"/>
                    </a:cubicBezTo>
                    <a:cubicBezTo>
                      <a:pt x="159" y="60"/>
                      <a:pt x="161" y="59"/>
                      <a:pt x="162" y="58"/>
                    </a:cubicBezTo>
                    <a:cubicBezTo>
                      <a:pt x="163" y="55"/>
                      <a:pt x="160" y="51"/>
                      <a:pt x="157" y="50"/>
                    </a:cubicBezTo>
                    <a:cubicBezTo>
                      <a:pt x="154" y="48"/>
                      <a:pt x="149" y="48"/>
                      <a:pt x="146" y="49"/>
                    </a:cubicBezTo>
                    <a:cubicBezTo>
                      <a:pt x="142" y="50"/>
                      <a:pt x="142" y="52"/>
                      <a:pt x="141" y="55"/>
                    </a:cubicBezTo>
                    <a:cubicBezTo>
                      <a:pt x="136" y="55"/>
                      <a:pt x="146" y="45"/>
                      <a:pt x="139" y="45"/>
                    </a:cubicBezTo>
                    <a:cubicBezTo>
                      <a:pt x="136" y="46"/>
                      <a:pt x="134" y="47"/>
                      <a:pt x="132" y="49"/>
                    </a:cubicBezTo>
                    <a:cubicBezTo>
                      <a:pt x="129" y="52"/>
                      <a:pt x="128" y="45"/>
                      <a:pt x="130" y="44"/>
                    </a:cubicBezTo>
                    <a:cubicBezTo>
                      <a:pt x="133" y="42"/>
                      <a:pt x="134" y="39"/>
                      <a:pt x="129" y="38"/>
                    </a:cubicBezTo>
                    <a:cubicBezTo>
                      <a:pt x="123" y="36"/>
                      <a:pt x="128" y="33"/>
                      <a:pt x="127" y="30"/>
                    </a:cubicBezTo>
                    <a:cubicBezTo>
                      <a:pt x="127" y="29"/>
                      <a:pt x="127" y="27"/>
                      <a:pt x="125" y="26"/>
                    </a:cubicBezTo>
                    <a:cubicBezTo>
                      <a:pt x="123" y="26"/>
                      <a:pt x="121" y="27"/>
                      <a:pt x="120" y="27"/>
                    </a:cubicBezTo>
                    <a:cubicBezTo>
                      <a:pt x="117" y="27"/>
                      <a:pt x="113" y="23"/>
                      <a:pt x="112" y="21"/>
                    </a:cubicBezTo>
                    <a:cubicBezTo>
                      <a:pt x="119" y="23"/>
                      <a:pt x="119" y="18"/>
                      <a:pt x="115" y="14"/>
                    </a:cubicBezTo>
                    <a:cubicBezTo>
                      <a:pt x="112" y="11"/>
                      <a:pt x="109" y="6"/>
                      <a:pt x="103" y="5"/>
                    </a:cubicBezTo>
                    <a:cubicBezTo>
                      <a:pt x="99" y="5"/>
                      <a:pt x="96" y="5"/>
                      <a:pt x="93" y="5"/>
                    </a:cubicBezTo>
                    <a:cubicBezTo>
                      <a:pt x="90" y="5"/>
                      <a:pt x="86" y="4"/>
                      <a:pt x="83" y="4"/>
                    </a:cubicBezTo>
                    <a:cubicBezTo>
                      <a:pt x="77" y="2"/>
                      <a:pt x="80" y="10"/>
                      <a:pt x="82" y="12"/>
                    </a:cubicBezTo>
                    <a:cubicBezTo>
                      <a:pt x="84" y="15"/>
                      <a:pt x="88" y="22"/>
                      <a:pt x="92" y="22"/>
                    </a:cubicBezTo>
                    <a:cubicBezTo>
                      <a:pt x="95" y="22"/>
                      <a:pt x="97" y="21"/>
                      <a:pt x="100" y="21"/>
                    </a:cubicBezTo>
                    <a:cubicBezTo>
                      <a:pt x="102" y="21"/>
                      <a:pt x="105" y="23"/>
                      <a:pt x="103" y="24"/>
                    </a:cubicBezTo>
                    <a:cubicBezTo>
                      <a:pt x="101" y="25"/>
                      <a:pt x="99" y="24"/>
                      <a:pt x="97" y="25"/>
                    </a:cubicBezTo>
                    <a:cubicBezTo>
                      <a:pt x="96" y="26"/>
                      <a:pt x="99" y="29"/>
                      <a:pt x="100" y="30"/>
                    </a:cubicBezTo>
                    <a:cubicBezTo>
                      <a:pt x="100" y="31"/>
                      <a:pt x="101" y="34"/>
                      <a:pt x="99" y="34"/>
                    </a:cubicBezTo>
                    <a:cubicBezTo>
                      <a:pt x="98" y="35"/>
                      <a:pt x="94" y="35"/>
                      <a:pt x="94" y="36"/>
                    </a:cubicBezTo>
                    <a:cubicBezTo>
                      <a:pt x="93" y="37"/>
                      <a:pt x="94" y="39"/>
                      <a:pt x="92" y="39"/>
                    </a:cubicBezTo>
                    <a:cubicBezTo>
                      <a:pt x="91" y="39"/>
                      <a:pt x="89" y="37"/>
                      <a:pt x="89" y="36"/>
                    </a:cubicBezTo>
                    <a:cubicBezTo>
                      <a:pt x="87" y="35"/>
                      <a:pt x="86" y="31"/>
                      <a:pt x="83" y="33"/>
                    </a:cubicBezTo>
                    <a:cubicBezTo>
                      <a:pt x="81" y="35"/>
                      <a:pt x="80" y="37"/>
                      <a:pt x="78" y="39"/>
                    </a:cubicBezTo>
                    <a:cubicBezTo>
                      <a:pt x="77" y="41"/>
                      <a:pt x="75" y="39"/>
                      <a:pt x="75" y="38"/>
                    </a:cubicBezTo>
                    <a:cubicBezTo>
                      <a:pt x="73" y="35"/>
                      <a:pt x="75" y="33"/>
                      <a:pt x="76" y="31"/>
                    </a:cubicBezTo>
                    <a:cubicBezTo>
                      <a:pt x="82" y="24"/>
                      <a:pt x="79" y="12"/>
                      <a:pt x="73" y="5"/>
                    </a:cubicBezTo>
                    <a:cubicBezTo>
                      <a:pt x="71" y="3"/>
                      <a:pt x="67" y="2"/>
                      <a:pt x="63" y="3"/>
                    </a:cubicBezTo>
                    <a:cubicBezTo>
                      <a:pt x="60" y="4"/>
                      <a:pt x="58" y="3"/>
                      <a:pt x="56" y="4"/>
                    </a:cubicBezTo>
                    <a:cubicBezTo>
                      <a:pt x="54" y="6"/>
                      <a:pt x="54" y="8"/>
                      <a:pt x="51" y="9"/>
                    </a:cubicBezTo>
                    <a:cubicBezTo>
                      <a:pt x="50" y="9"/>
                      <a:pt x="48" y="9"/>
                      <a:pt x="46" y="9"/>
                    </a:cubicBezTo>
                    <a:cubicBezTo>
                      <a:pt x="46" y="10"/>
                      <a:pt x="45" y="14"/>
                      <a:pt x="45" y="14"/>
                    </a:cubicBezTo>
                    <a:cubicBezTo>
                      <a:pt x="44" y="16"/>
                      <a:pt x="46" y="17"/>
                      <a:pt x="44" y="18"/>
                    </a:cubicBezTo>
                    <a:cubicBezTo>
                      <a:pt x="43" y="19"/>
                      <a:pt x="41" y="19"/>
                      <a:pt x="40" y="20"/>
                    </a:cubicBezTo>
                    <a:cubicBezTo>
                      <a:pt x="37" y="22"/>
                      <a:pt x="40" y="27"/>
                      <a:pt x="42" y="28"/>
                    </a:cubicBezTo>
                    <a:cubicBezTo>
                      <a:pt x="46" y="32"/>
                      <a:pt x="45" y="32"/>
                      <a:pt x="40" y="35"/>
                    </a:cubicBezTo>
                    <a:cubicBezTo>
                      <a:pt x="35" y="37"/>
                      <a:pt x="40" y="43"/>
                      <a:pt x="42" y="45"/>
                    </a:cubicBezTo>
                    <a:cubicBezTo>
                      <a:pt x="44" y="47"/>
                      <a:pt x="48" y="53"/>
                      <a:pt x="42" y="51"/>
                    </a:cubicBezTo>
                    <a:cubicBezTo>
                      <a:pt x="36" y="50"/>
                      <a:pt x="37" y="47"/>
                      <a:pt x="35" y="44"/>
                    </a:cubicBezTo>
                    <a:cubicBezTo>
                      <a:pt x="34" y="42"/>
                      <a:pt x="32" y="40"/>
                      <a:pt x="32" y="38"/>
                    </a:cubicBezTo>
                    <a:cubicBezTo>
                      <a:pt x="32" y="35"/>
                      <a:pt x="34" y="32"/>
                      <a:pt x="33" y="29"/>
                    </a:cubicBezTo>
                    <a:cubicBezTo>
                      <a:pt x="32" y="27"/>
                      <a:pt x="31" y="26"/>
                      <a:pt x="30" y="24"/>
                    </a:cubicBezTo>
                    <a:cubicBezTo>
                      <a:pt x="30" y="21"/>
                      <a:pt x="32" y="19"/>
                      <a:pt x="34" y="17"/>
                    </a:cubicBezTo>
                    <a:cubicBezTo>
                      <a:pt x="36" y="16"/>
                      <a:pt x="37" y="14"/>
                      <a:pt x="40" y="13"/>
                    </a:cubicBezTo>
                    <a:cubicBezTo>
                      <a:pt x="42" y="11"/>
                      <a:pt x="42" y="8"/>
                      <a:pt x="44" y="7"/>
                    </a:cubicBezTo>
                    <a:cubicBezTo>
                      <a:pt x="50" y="3"/>
                      <a:pt x="47" y="0"/>
                      <a:pt x="41" y="0"/>
                    </a:cubicBezTo>
                    <a:cubicBezTo>
                      <a:pt x="34" y="0"/>
                      <a:pt x="27" y="2"/>
                      <a:pt x="22" y="6"/>
                    </a:cubicBezTo>
                    <a:cubicBezTo>
                      <a:pt x="20" y="7"/>
                      <a:pt x="17" y="9"/>
                      <a:pt x="14" y="10"/>
                    </a:cubicBezTo>
                    <a:cubicBezTo>
                      <a:pt x="12" y="12"/>
                      <a:pt x="11" y="15"/>
                      <a:pt x="9" y="17"/>
                    </a:cubicBezTo>
                    <a:cubicBezTo>
                      <a:pt x="6" y="23"/>
                      <a:pt x="2" y="29"/>
                      <a:pt x="1" y="36"/>
                    </a:cubicBezTo>
                    <a:cubicBezTo>
                      <a:pt x="1" y="38"/>
                      <a:pt x="1" y="41"/>
                      <a:pt x="1" y="44"/>
                    </a:cubicBezTo>
                    <a:cubicBezTo>
                      <a:pt x="1" y="47"/>
                      <a:pt x="0" y="51"/>
                      <a:pt x="1" y="53"/>
                    </a:cubicBezTo>
                    <a:cubicBezTo>
                      <a:pt x="4" y="57"/>
                      <a:pt x="12" y="57"/>
                      <a:pt x="17" y="59"/>
                    </a:cubicBezTo>
                    <a:cubicBezTo>
                      <a:pt x="18" y="60"/>
                      <a:pt x="22" y="63"/>
                      <a:pt x="20" y="63"/>
                    </a:cubicBezTo>
                    <a:cubicBezTo>
                      <a:pt x="17" y="64"/>
                      <a:pt x="12" y="61"/>
                      <a:pt x="10" y="61"/>
                    </a:cubicBezTo>
                    <a:cubicBezTo>
                      <a:pt x="7" y="60"/>
                      <a:pt x="6" y="62"/>
                      <a:pt x="6" y="65"/>
                    </a:cubicBezTo>
                    <a:cubicBezTo>
                      <a:pt x="6" y="68"/>
                      <a:pt x="10" y="69"/>
                      <a:pt x="12" y="71"/>
                    </a:cubicBezTo>
                    <a:cubicBezTo>
                      <a:pt x="15" y="73"/>
                      <a:pt x="17" y="76"/>
                      <a:pt x="20" y="78"/>
                    </a:cubicBezTo>
                    <a:cubicBezTo>
                      <a:pt x="23" y="80"/>
                      <a:pt x="27" y="80"/>
                      <a:pt x="31" y="80"/>
                    </a:cubicBezTo>
                    <a:cubicBezTo>
                      <a:pt x="37" y="81"/>
                      <a:pt x="41" y="84"/>
                      <a:pt x="48" y="84"/>
                    </a:cubicBezTo>
                    <a:cubicBezTo>
                      <a:pt x="51" y="84"/>
                      <a:pt x="55" y="84"/>
                      <a:pt x="58" y="84"/>
                    </a:cubicBezTo>
                    <a:cubicBezTo>
                      <a:pt x="63" y="84"/>
                      <a:pt x="68" y="85"/>
                      <a:pt x="72" y="85"/>
                    </a:cubicBezTo>
                    <a:cubicBezTo>
                      <a:pt x="76" y="85"/>
                      <a:pt x="77" y="83"/>
                      <a:pt x="80" y="82"/>
                    </a:cubicBezTo>
                    <a:cubicBezTo>
                      <a:pt x="84" y="82"/>
                      <a:pt x="88" y="84"/>
                      <a:pt x="92" y="85"/>
                    </a:cubicBezTo>
                    <a:cubicBezTo>
                      <a:pt x="96" y="85"/>
                      <a:pt x="102" y="84"/>
                      <a:pt x="99" y="79"/>
                    </a:cubicBezTo>
                    <a:cubicBezTo>
                      <a:pt x="98" y="79"/>
                      <a:pt x="92" y="73"/>
                      <a:pt x="92" y="72"/>
                    </a:cubicBezTo>
                    <a:cubicBezTo>
                      <a:pt x="96" y="70"/>
                      <a:pt x="102" y="70"/>
                      <a:pt x="104" y="74"/>
                    </a:cubicBezTo>
                    <a:cubicBezTo>
                      <a:pt x="105" y="75"/>
                      <a:pt x="107" y="79"/>
                      <a:pt x="107" y="81"/>
                    </a:cubicBezTo>
                    <a:cubicBezTo>
                      <a:pt x="107" y="84"/>
                      <a:pt x="105" y="86"/>
                      <a:pt x="108" y="88"/>
                    </a:cubicBezTo>
                    <a:cubicBezTo>
                      <a:pt x="109" y="88"/>
                      <a:pt x="110" y="89"/>
                      <a:pt x="112" y="89"/>
                    </a:cubicBezTo>
                    <a:cubicBezTo>
                      <a:pt x="113" y="90"/>
                      <a:pt x="115" y="89"/>
                      <a:pt x="116" y="90"/>
                    </a:cubicBezTo>
                    <a:cubicBezTo>
                      <a:pt x="117" y="91"/>
                      <a:pt x="113" y="94"/>
                      <a:pt x="113" y="95"/>
                    </a:cubicBezTo>
                    <a:cubicBezTo>
                      <a:pt x="112" y="97"/>
                      <a:pt x="116" y="99"/>
                      <a:pt x="117" y="99"/>
                    </a:cubicBezTo>
                    <a:cubicBezTo>
                      <a:pt x="119" y="98"/>
                      <a:pt x="120" y="96"/>
                      <a:pt x="123" y="98"/>
                    </a:cubicBezTo>
                    <a:cubicBezTo>
                      <a:pt x="125" y="99"/>
                      <a:pt x="126" y="102"/>
                      <a:pt x="125" y="103"/>
                    </a:cubicBezTo>
                    <a:cubicBezTo>
                      <a:pt x="124" y="105"/>
                      <a:pt x="121" y="104"/>
                      <a:pt x="120" y="105"/>
                    </a:cubicBezTo>
                    <a:cubicBezTo>
                      <a:pt x="116" y="107"/>
                      <a:pt x="121" y="110"/>
                      <a:pt x="124" y="110"/>
                    </a:cubicBezTo>
                    <a:cubicBezTo>
                      <a:pt x="127" y="111"/>
                      <a:pt x="128" y="109"/>
                      <a:pt x="131" y="108"/>
                    </a:cubicBezTo>
                    <a:cubicBezTo>
                      <a:pt x="135" y="106"/>
                      <a:pt x="139" y="113"/>
                      <a:pt x="140" y="115"/>
                    </a:cubicBezTo>
                    <a:cubicBezTo>
                      <a:pt x="142" y="118"/>
                      <a:pt x="145" y="119"/>
                      <a:pt x="147" y="122"/>
                    </a:cubicBezTo>
                    <a:cubicBezTo>
                      <a:pt x="149" y="124"/>
                      <a:pt x="152" y="126"/>
                      <a:pt x="153" y="129"/>
                    </a:cubicBezTo>
                    <a:cubicBezTo>
                      <a:pt x="154" y="133"/>
                      <a:pt x="155" y="138"/>
                      <a:pt x="154" y="142"/>
                    </a:cubicBezTo>
                    <a:cubicBezTo>
                      <a:pt x="153" y="145"/>
                      <a:pt x="150" y="149"/>
                      <a:pt x="151" y="152"/>
                    </a:cubicBezTo>
                    <a:cubicBezTo>
                      <a:pt x="152" y="155"/>
                      <a:pt x="160" y="153"/>
                      <a:pt x="162" y="153"/>
                    </a:cubicBezTo>
                    <a:cubicBezTo>
                      <a:pt x="165" y="152"/>
                      <a:pt x="164" y="151"/>
                      <a:pt x="166" y="149"/>
                    </a:cubicBezTo>
                    <a:cubicBezTo>
                      <a:pt x="167" y="147"/>
                      <a:pt x="171" y="147"/>
                      <a:pt x="173" y="148"/>
                    </a:cubicBezTo>
                    <a:cubicBezTo>
                      <a:pt x="176" y="148"/>
                      <a:pt x="177" y="151"/>
                      <a:pt x="178" y="152"/>
                    </a:cubicBezTo>
                    <a:cubicBezTo>
                      <a:pt x="179" y="155"/>
                      <a:pt x="182" y="156"/>
                      <a:pt x="183" y="158"/>
                    </a:cubicBezTo>
                    <a:cubicBezTo>
                      <a:pt x="184" y="162"/>
                      <a:pt x="174" y="167"/>
                      <a:pt x="171" y="168"/>
                    </a:cubicBezTo>
                    <a:cubicBezTo>
                      <a:pt x="168" y="169"/>
                      <a:pt x="165" y="159"/>
                      <a:pt x="164" y="157"/>
                    </a:cubicBezTo>
                    <a:cubicBezTo>
                      <a:pt x="162" y="155"/>
                      <a:pt x="159" y="155"/>
                      <a:pt x="156" y="155"/>
                    </a:cubicBezTo>
                    <a:cubicBezTo>
                      <a:pt x="153" y="155"/>
                      <a:pt x="149" y="153"/>
                      <a:pt x="146" y="156"/>
                    </a:cubicBezTo>
                    <a:cubicBezTo>
                      <a:pt x="144" y="158"/>
                      <a:pt x="137" y="163"/>
                      <a:pt x="141" y="166"/>
                    </a:cubicBezTo>
                    <a:cubicBezTo>
                      <a:pt x="143" y="168"/>
                      <a:pt x="145" y="169"/>
                      <a:pt x="145" y="172"/>
                    </a:cubicBezTo>
                    <a:cubicBezTo>
                      <a:pt x="145" y="174"/>
                      <a:pt x="145" y="176"/>
                      <a:pt x="143" y="177"/>
                    </a:cubicBezTo>
                    <a:cubicBezTo>
                      <a:pt x="138" y="180"/>
                      <a:pt x="128" y="180"/>
                      <a:pt x="123" y="179"/>
                    </a:cubicBezTo>
                    <a:cubicBezTo>
                      <a:pt x="118" y="178"/>
                      <a:pt x="112" y="174"/>
                      <a:pt x="110" y="180"/>
                    </a:cubicBezTo>
                    <a:cubicBezTo>
                      <a:pt x="109" y="183"/>
                      <a:pt x="108" y="185"/>
                      <a:pt x="107" y="188"/>
                    </a:cubicBezTo>
                    <a:cubicBezTo>
                      <a:pt x="106" y="190"/>
                      <a:pt x="105" y="193"/>
                      <a:pt x="106" y="196"/>
                    </a:cubicBezTo>
                    <a:cubicBezTo>
                      <a:pt x="108" y="199"/>
                      <a:pt x="116" y="205"/>
                      <a:pt x="120" y="202"/>
                    </a:cubicBezTo>
                    <a:cubicBezTo>
                      <a:pt x="123" y="199"/>
                      <a:pt x="124" y="201"/>
                      <a:pt x="127" y="200"/>
                    </a:cubicBezTo>
                    <a:cubicBezTo>
                      <a:pt x="129" y="200"/>
                      <a:pt x="128" y="198"/>
                      <a:pt x="129" y="196"/>
                    </a:cubicBezTo>
                    <a:cubicBezTo>
                      <a:pt x="130" y="191"/>
                      <a:pt x="138" y="200"/>
                      <a:pt x="141" y="198"/>
                    </a:cubicBezTo>
                    <a:cubicBezTo>
                      <a:pt x="144" y="196"/>
                      <a:pt x="144" y="196"/>
                      <a:pt x="147" y="198"/>
                    </a:cubicBezTo>
                    <a:cubicBezTo>
                      <a:pt x="150" y="199"/>
                      <a:pt x="153" y="201"/>
                      <a:pt x="154" y="204"/>
                    </a:cubicBezTo>
                    <a:cubicBezTo>
                      <a:pt x="156" y="206"/>
                      <a:pt x="157" y="211"/>
                      <a:pt x="160" y="212"/>
                    </a:cubicBezTo>
                    <a:cubicBezTo>
                      <a:pt x="162" y="213"/>
                      <a:pt x="165" y="212"/>
                      <a:pt x="165" y="215"/>
                    </a:cubicBezTo>
                    <a:cubicBezTo>
                      <a:pt x="165" y="219"/>
                      <a:pt x="166" y="226"/>
                      <a:pt x="172" y="226"/>
                    </a:cubicBezTo>
                    <a:cubicBezTo>
                      <a:pt x="176" y="226"/>
                      <a:pt x="176" y="229"/>
                      <a:pt x="179" y="231"/>
                    </a:cubicBezTo>
                    <a:cubicBezTo>
                      <a:pt x="182" y="232"/>
                      <a:pt x="185" y="231"/>
                      <a:pt x="188" y="234"/>
                    </a:cubicBezTo>
                    <a:cubicBezTo>
                      <a:pt x="190" y="236"/>
                      <a:pt x="192" y="238"/>
                      <a:pt x="194" y="240"/>
                    </a:cubicBezTo>
                    <a:cubicBezTo>
                      <a:pt x="197" y="243"/>
                      <a:pt x="201" y="244"/>
                      <a:pt x="204" y="245"/>
                    </a:cubicBezTo>
                    <a:cubicBezTo>
                      <a:pt x="207" y="246"/>
                      <a:pt x="211" y="250"/>
                      <a:pt x="214" y="248"/>
                    </a:cubicBezTo>
                    <a:cubicBezTo>
                      <a:pt x="216" y="247"/>
                      <a:pt x="216" y="244"/>
                      <a:pt x="215" y="241"/>
                    </a:cubicBezTo>
                    <a:cubicBezTo>
                      <a:pt x="212" y="235"/>
                      <a:pt x="207" y="232"/>
                      <a:pt x="202" y="228"/>
                    </a:cubicBezTo>
                    <a:cubicBezTo>
                      <a:pt x="196" y="224"/>
                      <a:pt x="192" y="221"/>
                      <a:pt x="192" y="214"/>
                    </a:cubicBezTo>
                    <a:cubicBezTo>
                      <a:pt x="196" y="212"/>
                      <a:pt x="212" y="225"/>
                      <a:pt x="213" y="228"/>
                    </a:cubicBezTo>
                    <a:cubicBezTo>
                      <a:pt x="216" y="233"/>
                      <a:pt x="225" y="237"/>
                      <a:pt x="230" y="234"/>
                    </a:cubicBezTo>
                    <a:cubicBezTo>
                      <a:pt x="232" y="232"/>
                      <a:pt x="232" y="228"/>
                      <a:pt x="231" y="226"/>
                    </a:cubicBezTo>
                    <a:cubicBezTo>
                      <a:pt x="229" y="223"/>
                      <a:pt x="232" y="221"/>
                      <a:pt x="232" y="218"/>
                    </a:cubicBezTo>
                    <a:cubicBezTo>
                      <a:pt x="231" y="211"/>
                      <a:pt x="225" y="208"/>
                      <a:pt x="222" y="203"/>
                    </a:cubicBezTo>
                    <a:cubicBezTo>
                      <a:pt x="221" y="200"/>
                      <a:pt x="221" y="198"/>
                      <a:pt x="219" y="196"/>
                    </a:cubicBezTo>
                    <a:cubicBezTo>
                      <a:pt x="217" y="194"/>
                      <a:pt x="214" y="193"/>
                      <a:pt x="212" y="192"/>
                    </a:cubicBezTo>
                    <a:cubicBezTo>
                      <a:pt x="208" y="189"/>
                      <a:pt x="207" y="182"/>
                      <a:pt x="203" y="179"/>
                    </a:cubicBezTo>
                    <a:cubicBezTo>
                      <a:pt x="197" y="176"/>
                      <a:pt x="195" y="170"/>
                      <a:pt x="193" y="165"/>
                    </a:cubicBezTo>
                    <a:cubicBezTo>
                      <a:pt x="196" y="164"/>
                      <a:pt x="202" y="172"/>
                      <a:pt x="203" y="169"/>
                    </a:cubicBezTo>
                    <a:cubicBezTo>
                      <a:pt x="204" y="167"/>
                      <a:pt x="202" y="158"/>
                      <a:pt x="205" y="159"/>
                    </a:cubicBezTo>
                    <a:cubicBezTo>
                      <a:pt x="208" y="160"/>
                      <a:pt x="211" y="165"/>
                      <a:pt x="213" y="167"/>
                    </a:cubicBezTo>
                    <a:cubicBezTo>
                      <a:pt x="216" y="169"/>
                      <a:pt x="224" y="164"/>
                      <a:pt x="225" y="167"/>
                    </a:cubicBezTo>
                    <a:cubicBezTo>
                      <a:pt x="227" y="171"/>
                      <a:pt x="218" y="172"/>
                      <a:pt x="220" y="178"/>
                    </a:cubicBezTo>
                    <a:cubicBezTo>
                      <a:pt x="221" y="182"/>
                      <a:pt x="228" y="185"/>
                      <a:pt x="231" y="187"/>
                    </a:cubicBezTo>
                    <a:cubicBezTo>
                      <a:pt x="237" y="192"/>
                      <a:pt x="237" y="186"/>
                      <a:pt x="236" y="182"/>
                    </a:cubicBezTo>
                    <a:cubicBezTo>
                      <a:pt x="235" y="176"/>
                      <a:pt x="237" y="177"/>
                      <a:pt x="242"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01"/>
              <p:cNvSpPr>
                <a:spLocks/>
              </p:cNvSpPr>
              <p:nvPr/>
            </p:nvSpPr>
            <p:spPr bwMode="auto">
              <a:xfrm>
                <a:off x="3132138" y="4081463"/>
                <a:ext cx="7938" cy="7938"/>
              </a:xfrm>
              <a:custGeom>
                <a:avLst/>
                <a:gdLst>
                  <a:gd name="T0" fmla="*/ 3 w 10"/>
                  <a:gd name="T1" fmla="*/ 1 h 9"/>
                  <a:gd name="T2" fmla="*/ 3 w 10"/>
                  <a:gd name="T3" fmla="*/ 5 h 9"/>
                  <a:gd name="T4" fmla="*/ 9 w 10"/>
                  <a:gd name="T5" fmla="*/ 6 h 9"/>
                  <a:gd name="T6" fmla="*/ 3 w 10"/>
                  <a:gd name="T7" fmla="*/ 1 h 9"/>
                </a:gdLst>
                <a:ahLst/>
                <a:cxnLst>
                  <a:cxn ang="0">
                    <a:pos x="T0" y="T1"/>
                  </a:cxn>
                  <a:cxn ang="0">
                    <a:pos x="T2" y="T3"/>
                  </a:cxn>
                  <a:cxn ang="0">
                    <a:pos x="T4" y="T5"/>
                  </a:cxn>
                  <a:cxn ang="0">
                    <a:pos x="T6" y="T7"/>
                  </a:cxn>
                </a:cxnLst>
                <a:rect l="0" t="0" r="r" b="b"/>
                <a:pathLst>
                  <a:path w="10" h="9">
                    <a:moveTo>
                      <a:pt x="3" y="1"/>
                    </a:moveTo>
                    <a:cubicBezTo>
                      <a:pt x="0" y="1"/>
                      <a:pt x="3" y="3"/>
                      <a:pt x="3" y="5"/>
                    </a:cubicBezTo>
                    <a:cubicBezTo>
                      <a:pt x="4" y="6"/>
                      <a:pt x="7" y="9"/>
                      <a:pt x="9" y="6"/>
                    </a:cubicBezTo>
                    <a:cubicBezTo>
                      <a:pt x="10" y="4"/>
                      <a:pt x="6"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02"/>
              <p:cNvSpPr>
                <a:spLocks/>
              </p:cNvSpPr>
              <p:nvPr/>
            </p:nvSpPr>
            <p:spPr bwMode="auto">
              <a:xfrm>
                <a:off x="3197226" y="4129088"/>
                <a:ext cx="4763" cy="4763"/>
              </a:xfrm>
              <a:custGeom>
                <a:avLst/>
                <a:gdLst>
                  <a:gd name="T0" fmla="*/ 0 w 6"/>
                  <a:gd name="T1" fmla="*/ 3 h 7"/>
                  <a:gd name="T2" fmla="*/ 3 w 6"/>
                  <a:gd name="T3" fmla="*/ 7 h 7"/>
                  <a:gd name="T4" fmla="*/ 6 w 6"/>
                  <a:gd name="T5" fmla="*/ 2 h 7"/>
                  <a:gd name="T6" fmla="*/ 1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6"/>
                      <a:pt x="1" y="6"/>
                      <a:pt x="3" y="7"/>
                    </a:cubicBezTo>
                    <a:cubicBezTo>
                      <a:pt x="5" y="7"/>
                      <a:pt x="6" y="3"/>
                      <a:pt x="6" y="2"/>
                    </a:cubicBezTo>
                    <a:cubicBezTo>
                      <a:pt x="1" y="0"/>
                      <a:pt x="1" y="0"/>
                      <a:pt x="1" y="0"/>
                    </a:cubicBezTo>
                    <a:cubicBezTo>
                      <a:pt x="0" y="0"/>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3"/>
              <p:cNvSpPr>
                <a:spLocks/>
              </p:cNvSpPr>
              <p:nvPr/>
            </p:nvSpPr>
            <p:spPr bwMode="auto">
              <a:xfrm>
                <a:off x="3416301" y="4354513"/>
                <a:ext cx="3175" cy="4763"/>
              </a:xfrm>
              <a:custGeom>
                <a:avLst/>
                <a:gdLst>
                  <a:gd name="T0" fmla="*/ 0 w 5"/>
                  <a:gd name="T1" fmla="*/ 2 h 7"/>
                  <a:gd name="T2" fmla="*/ 2 w 5"/>
                  <a:gd name="T3" fmla="*/ 6 h 7"/>
                  <a:gd name="T4" fmla="*/ 5 w 5"/>
                  <a:gd name="T5" fmla="*/ 0 h 7"/>
                  <a:gd name="T6" fmla="*/ 0 w 5"/>
                  <a:gd name="T7" fmla="*/ 2 h 7"/>
                </a:gdLst>
                <a:ahLst/>
                <a:cxnLst>
                  <a:cxn ang="0">
                    <a:pos x="T0" y="T1"/>
                  </a:cxn>
                  <a:cxn ang="0">
                    <a:pos x="T2" y="T3"/>
                  </a:cxn>
                  <a:cxn ang="0">
                    <a:pos x="T4" y="T5"/>
                  </a:cxn>
                  <a:cxn ang="0">
                    <a:pos x="T6" y="T7"/>
                  </a:cxn>
                </a:cxnLst>
                <a:rect l="0" t="0" r="r" b="b"/>
                <a:pathLst>
                  <a:path w="5" h="7">
                    <a:moveTo>
                      <a:pt x="0" y="2"/>
                    </a:moveTo>
                    <a:cubicBezTo>
                      <a:pt x="0" y="4"/>
                      <a:pt x="0" y="5"/>
                      <a:pt x="2" y="6"/>
                    </a:cubicBezTo>
                    <a:cubicBezTo>
                      <a:pt x="5" y="7"/>
                      <a:pt x="5" y="0"/>
                      <a:pt x="5" y="0"/>
                    </a:cubicBezTo>
                    <a:cubicBezTo>
                      <a:pt x="3"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4"/>
              <p:cNvSpPr>
                <a:spLocks/>
              </p:cNvSpPr>
              <p:nvPr/>
            </p:nvSpPr>
            <p:spPr bwMode="auto">
              <a:xfrm>
                <a:off x="3411538" y="4340225"/>
                <a:ext cx="14288" cy="12700"/>
              </a:xfrm>
              <a:custGeom>
                <a:avLst/>
                <a:gdLst>
                  <a:gd name="T0" fmla="*/ 18 w 19"/>
                  <a:gd name="T1" fmla="*/ 5 h 17"/>
                  <a:gd name="T2" fmla="*/ 9 w 19"/>
                  <a:gd name="T3" fmla="*/ 3 h 17"/>
                  <a:gd name="T4" fmla="*/ 6 w 19"/>
                  <a:gd name="T5" fmla="*/ 9 h 17"/>
                  <a:gd name="T6" fmla="*/ 2 w 19"/>
                  <a:gd name="T7" fmla="*/ 11 h 17"/>
                  <a:gd name="T8" fmla="*/ 10 w 19"/>
                  <a:gd name="T9" fmla="*/ 13 h 17"/>
                  <a:gd name="T10" fmla="*/ 18 w 19"/>
                  <a:gd name="T11" fmla="*/ 5 h 17"/>
                </a:gdLst>
                <a:ahLst/>
                <a:cxnLst>
                  <a:cxn ang="0">
                    <a:pos x="T0" y="T1"/>
                  </a:cxn>
                  <a:cxn ang="0">
                    <a:pos x="T2" y="T3"/>
                  </a:cxn>
                  <a:cxn ang="0">
                    <a:pos x="T4" y="T5"/>
                  </a:cxn>
                  <a:cxn ang="0">
                    <a:pos x="T6" y="T7"/>
                  </a:cxn>
                  <a:cxn ang="0">
                    <a:pos x="T8" y="T9"/>
                  </a:cxn>
                  <a:cxn ang="0">
                    <a:pos x="T10" y="T11"/>
                  </a:cxn>
                </a:cxnLst>
                <a:rect l="0" t="0" r="r" b="b"/>
                <a:pathLst>
                  <a:path w="19" h="17">
                    <a:moveTo>
                      <a:pt x="18" y="5"/>
                    </a:moveTo>
                    <a:cubicBezTo>
                      <a:pt x="17" y="2"/>
                      <a:pt x="12" y="0"/>
                      <a:pt x="9" y="3"/>
                    </a:cubicBezTo>
                    <a:cubicBezTo>
                      <a:pt x="8" y="5"/>
                      <a:pt x="7" y="8"/>
                      <a:pt x="6" y="9"/>
                    </a:cubicBezTo>
                    <a:cubicBezTo>
                      <a:pt x="5" y="10"/>
                      <a:pt x="3" y="10"/>
                      <a:pt x="2" y="11"/>
                    </a:cubicBezTo>
                    <a:cubicBezTo>
                      <a:pt x="0" y="15"/>
                      <a:pt x="8" y="17"/>
                      <a:pt x="10" y="13"/>
                    </a:cubicBezTo>
                    <a:cubicBezTo>
                      <a:pt x="12" y="9"/>
                      <a:pt x="19" y="12"/>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05"/>
              <p:cNvSpPr>
                <a:spLocks/>
              </p:cNvSpPr>
              <p:nvPr/>
            </p:nvSpPr>
            <p:spPr bwMode="auto">
              <a:xfrm>
                <a:off x="3424238" y="3940175"/>
                <a:ext cx="9525" cy="11113"/>
              </a:xfrm>
              <a:custGeom>
                <a:avLst/>
                <a:gdLst>
                  <a:gd name="T0" fmla="*/ 11 w 12"/>
                  <a:gd name="T1" fmla="*/ 13 h 14"/>
                  <a:gd name="T2" fmla="*/ 9 w 12"/>
                  <a:gd name="T3" fmla="*/ 7 h 14"/>
                  <a:gd name="T4" fmla="*/ 3 w 12"/>
                  <a:gd name="T5" fmla="*/ 0 h 14"/>
                  <a:gd name="T6" fmla="*/ 0 w 12"/>
                  <a:gd name="T7" fmla="*/ 2 h 14"/>
                  <a:gd name="T8" fmla="*/ 2 w 12"/>
                  <a:gd name="T9" fmla="*/ 7 h 14"/>
                  <a:gd name="T10" fmla="*/ 11 w 12"/>
                  <a:gd name="T11" fmla="*/ 13 h 14"/>
                </a:gdLst>
                <a:ahLst/>
                <a:cxnLst>
                  <a:cxn ang="0">
                    <a:pos x="T0" y="T1"/>
                  </a:cxn>
                  <a:cxn ang="0">
                    <a:pos x="T2" y="T3"/>
                  </a:cxn>
                  <a:cxn ang="0">
                    <a:pos x="T4" y="T5"/>
                  </a:cxn>
                  <a:cxn ang="0">
                    <a:pos x="T6" y="T7"/>
                  </a:cxn>
                  <a:cxn ang="0">
                    <a:pos x="T8" y="T9"/>
                  </a:cxn>
                  <a:cxn ang="0">
                    <a:pos x="T10" y="T11"/>
                  </a:cxn>
                </a:cxnLst>
                <a:rect l="0" t="0" r="r" b="b"/>
                <a:pathLst>
                  <a:path w="12" h="14">
                    <a:moveTo>
                      <a:pt x="11" y="13"/>
                    </a:moveTo>
                    <a:cubicBezTo>
                      <a:pt x="12" y="12"/>
                      <a:pt x="10" y="8"/>
                      <a:pt x="9" y="7"/>
                    </a:cubicBezTo>
                    <a:cubicBezTo>
                      <a:pt x="7" y="5"/>
                      <a:pt x="3" y="3"/>
                      <a:pt x="3" y="0"/>
                    </a:cubicBezTo>
                    <a:cubicBezTo>
                      <a:pt x="2" y="1"/>
                      <a:pt x="0" y="1"/>
                      <a:pt x="0" y="2"/>
                    </a:cubicBezTo>
                    <a:cubicBezTo>
                      <a:pt x="0" y="3"/>
                      <a:pt x="0" y="6"/>
                      <a:pt x="2" y="7"/>
                    </a:cubicBezTo>
                    <a:cubicBezTo>
                      <a:pt x="3" y="10"/>
                      <a:pt x="10" y="14"/>
                      <a:pt x="1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06"/>
              <p:cNvSpPr>
                <a:spLocks/>
              </p:cNvSpPr>
              <p:nvPr/>
            </p:nvSpPr>
            <p:spPr bwMode="auto">
              <a:xfrm>
                <a:off x="3432176" y="4068763"/>
                <a:ext cx="42863" cy="44450"/>
              </a:xfrm>
              <a:custGeom>
                <a:avLst/>
                <a:gdLst>
                  <a:gd name="T0" fmla="*/ 1 w 57"/>
                  <a:gd name="T1" fmla="*/ 16 h 59"/>
                  <a:gd name="T2" fmla="*/ 8 w 57"/>
                  <a:gd name="T3" fmla="*/ 16 h 59"/>
                  <a:gd name="T4" fmla="*/ 15 w 57"/>
                  <a:gd name="T5" fmla="*/ 23 h 59"/>
                  <a:gd name="T6" fmla="*/ 11 w 57"/>
                  <a:gd name="T7" fmla="*/ 26 h 59"/>
                  <a:gd name="T8" fmla="*/ 5 w 57"/>
                  <a:gd name="T9" fmla="*/ 27 h 59"/>
                  <a:gd name="T10" fmla="*/ 7 w 57"/>
                  <a:gd name="T11" fmla="*/ 32 h 59"/>
                  <a:gd name="T12" fmla="*/ 13 w 57"/>
                  <a:gd name="T13" fmla="*/ 33 h 59"/>
                  <a:gd name="T14" fmla="*/ 17 w 57"/>
                  <a:gd name="T15" fmla="*/ 39 h 59"/>
                  <a:gd name="T16" fmla="*/ 13 w 57"/>
                  <a:gd name="T17" fmla="*/ 40 h 59"/>
                  <a:gd name="T18" fmla="*/ 12 w 57"/>
                  <a:gd name="T19" fmla="*/ 44 h 59"/>
                  <a:gd name="T20" fmla="*/ 17 w 57"/>
                  <a:gd name="T21" fmla="*/ 50 h 59"/>
                  <a:gd name="T22" fmla="*/ 23 w 57"/>
                  <a:gd name="T23" fmla="*/ 48 h 59"/>
                  <a:gd name="T24" fmla="*/ 29 w 57"/>
                  <a:gd name="T25" fmla="*/ 54 h 59"/>
                  <a:gd name="T26" fmla="*/ 38 w 57"/>
                  <a:gd name="T27" fmla="*/ 53 h 59"/>
                  <a:gd name="T28" fmla="*/ 44 w 57"/>
                  <a:gd name="T29" fmla="*/ 49 h 59"/>
                  <a:gd name="T30" fmla="*/ 47 w 57"/>
                  <a:gd name="T31" fmla="*/ 47 h 59"/>
                  <a:gd name="T32" fmla="*/ 49 w 57"/>
                  <a:gd name="T33" fmla="*/ 44 h 59"/>
                  <a:gd name="T34" fmla="*/ 54 w 57"/>
                  <a:gd name="T35" fmla="*/ 42 h 59"/>
                  <a:gd name="T36" fmla="*/ 55 w 57"/>
                  <a:gd name="T37" fmla="*/ 37 h 59"/>
                  <a:gd name="T38" fmla="*/ 57 w 57"/>
                  <a:gd name="T39" fmla="*/ 32 h 59"/>
                  <a:gd name="T40" fmla="*/ 54 w 57"/>
                  <a:gd name="T41" fmla="*/ 26 h 59"/>
                  <a:gd name="T42" fmla="*/ 49 w 57"/>
                  <a:gd name="T43" fmla="*/ 18 h 59"/>
                  <a:gd name="T44" fmla="*/ 49 w 57"/>
                  <a:gd name="T45" fmla="*/ 14 h 59"/>
                  <a:gd name="T46" fmla="*/ 48 w 57"/>
                  <a:gd name="T47" fmla="*/ 11 h 59"/>
                  <a:gd name="T48" fmla="*/ 44 w 57"/>
                  <a:gd name="T49" fmla="*/ 9 h 59"/>
                  <a:gd name="T50" fmla="*/ 41 w 57"/>
                  <a:gd name="T51" fmla="*/ 7 h 59"/>
                  <a:gd name="T52" fmla="*/ 39 w 57"/>
                  <a:gd name="T53" fmla="*/ 12 h 59"/>
                  <a:gd name="T54" fmla="*/ 35 w 57"/>
                  <a:gd name="T55" fmla="*/ 11 h 59"/>
                  <a:gd name="T56" fmla="*/ 31 w 57"/>
                  <a:gd name="T57" fmla="*/ 13 h 59"/>
                  <a:gd name="T58" fmla="*/ 27 w 57"/>
                  <a:gd name="T59" fmla="*/ 9 h 59"/>
                  <a:gd name="T60" fmla="*/ 26 w 57"/>
                  <a:gd name="T61" fmla="*/ 14 h 59"/>
                  <a:gd name="T62" fmla="*/ 22 w 57"/>
                  <a:gd name="T63" fmla="*/ 10 h 59"/>
                  <a:gd name="T64" fmla="*/ 21 w 57"/>
                  <a:gd name="T65" fmla="*/ 16 h 59"/>
                  <a:gd name="T66" fmla="*/ 18 w 57"/>
                  <a:gd name="T67" fmla="*/ 16 h 59"/>
                  <a:gd name="T68" fmla="*/ 19 w 57"/>
                  <a:gd name="T69" fmla="*/ 13 h 59"/>
                  <a:gd name="T70" fmla="*/ 16 w 57"/>
                  <a:gd name="T71" fmla="*/ 8 h 59"/>
                  <a:gd name="T72" fmla="*/ 10 w 57"/>
                  <a:gd name="T73" fmla="*/ 2 h 59"/>
                  <a:gd name="T74" fmla="*/ 9 w 57"/>
                  <a:gd name="T75" fmla="*/ 8 h 59"/>
                  <a:gd name="T76" fmla="*/ 7 w 57"/>
                  <a:gd name="T77" fmla="*/ 7 h 59"/>
                  <a:gd name="T78" fmla="*/ 4 w 57"/>
                  <a:gd name="T79" fmla="*/ 7 h 59"/>
                  <a:gd name="T80" fmla="*/ 3 w 57"/>
                  <a:gd name="T81" fmla="*/ 13 h 59"/>
                  <a:gd name="T82" fmla="*/ 1 w 57"/>
                  <a:gd name="T83"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9">
                    <a:moveTo>
                      <a:pt x="1" y="16"/>
                    </a:moveTo>
                    <a:cubicBezTo>
                      <a:pt x="3" y="22"/>
                      <a:pt x="6" y="16"/>
                      <a:pt x="8" y="16"/>
                    </a:cubicBezTo>
                    <a:cubicBezTo>
                      <a:pt x="10" y="16"/>
                      <a:pt x="16" y="19"/>
                      <a:pt x="15" y="23"/>
                    </a:cubicBezTo>
                    <a:cubicBezTo>
                      <a:pt x="15" y="25"/>
                      <a:pt x="13" y="26"/>
                      <a:pt x="11" y="26"/>
                    </a:cubicBezTo>
                    <a:cubicBezTo>
                      <a:pt x="8" y="26"/>
                      <a:pt x="7" y="25"/>
                      <a:pt x="5" y="27"/>
                    </a:cubicBezTo>
                    <a:cubicBezTo>
                      <a:pt x="4" y="29"/>
                      <a:pt x="5" y="31"/>
                      <a:pt x="7" y="32"/>
                    </a:cubicBezTo>
                    <a:cubicBezTo>
                      <a:pt x="9" y="32"/>
                      <a:pt x="11" y="32"/>
                      <a:pt x="13" y="33"/>
                    </a:cubicBezTo>
                    <a:cubicBezTo>
                      <a:pt x="15" y="34"/>
                      <a:pt x="17" y="36"/>
                      <a:pt x="17" y="39"/>
                    </a:cubicBezTo>
                    <a:cubicBezTo>
                      <a:pt x="17" y="42"/>
                      <a:pt x="15" y="39"/>
                      <a:pt x="13" y="40"/>
                    </a:cubicBezTo>
                    <a:cubicBezTo>
                      <a:pt x="12" y="40"/>
                      <a:pt x="11" y="42"/>
                      <a:pt x="12" y="44"/>
                    </a:cubicBezTo>
                    <a:cubicBezTo>
                      <a:pt x="12" y="47"/>
                      <a:pt x="16" y="49"/>
                      <a:pt x="17" y="50"/>
                    </a:cubicBezTo>
                    <a:cubicBezTo>
                      <a:pt x="19" y="50"/>
                      <a:pt x="21" y="48"/>
                      <a:pt x="23" y="48"/>
                    </a:cubicBezTo>
                    <a:cubicBezTo>
                      <a:pt x="26" y="49"/>
                      <a:pt x="27" y="52"/>
                      <a:pt x="29" y="54"/>
                    </a:cubicBezTo>
                    <a:cubicBezTo>
                      <a:pt x="33" y="59"/>
                      <a:pt x="38" y="59"/>
                      <a:pt x="38" y="53"/>
                    </a:cubicBezTo>
                    <a:cubicBezTo>
                      <a:pt x="39" y="50"/>
                      <a:pt x="42" y="50"/>
                      <a:pt x="44" y="49"/>
                    </a:cubicBezTo>
                    <a:cubicBezTo>
                      <a:pt x="45" y="48"/>
                      <a:pt x="46" y="47"/>
                      <a:pt x="47" y="47"/>
                    </a:cubicBezTo>
                    <a:cubicBezTo>
                      <a:pt x="48" y="46"/>
                      <a:pt x="48" y="45"/>
                      <a:pt x="49" y="44"/>
                    </a:cubicBezTo>
                    <a:cubicBezTo>
                      <a:pt x="51" y="44"/>
                      <a:pt x="53" y="44"/>
                      <a:pt x="54" y="42"/>
                    </a:cubicBezTo>
                    <a:cubicBezTo>
                      <a:pt x="55" y="41"/>
                      <a:pt x="55" y="38"/>
                      <a:pt x="55" y="37"/>
                    </a:cubicBezTo>
                    <a:cubicBezTo>
                      <a:pt x="56" y="35"/>
                      <a:pt x="57" y="34"/>
                      <a:pt x="57" y="32"/>
                    </a:cubicBezTo>
                    <a:cubicBezTo>
                      <a:pt x="57" y="29"/>
                      <a:pt x="55" y="28"/>
                      <a:pt x="54" y="26"/>
                    </a:cubicBezTo>
                    <a:cubicBezTo>
                      <a:pt x="53" y="23"/>
                      <a:pt x="50" y="21"/>
                      <a:pt x="49" y="18"/>
                    </a:cubicBezTo>
                    <a:cubicBezTo>
                      <a:pt x="48" y="16"/>
                      <a:pt x="48" y="14"/>
                      <a:pt x="49" y="14"/>
                    </a:cubicBezTo>
                    <a:cubicBezTo>
                      <a:pt x="49" y="13"/>
                      <a:pt x="50" y="9"/>
                      <a:pt x="48" y="11"/>
                    </a:cubicBezTo>
                    <a:cubicBezTo>
                      <a:pt x="46" y="12"/>
                      <a:pt x="46" y="13"/>
                      <a:pt x="44" y="9"/>
                    </a:cubicBezTo>
                    <a:cubicBezTo>
                      <a:pt x="43" y="8"/>
                      <a:pt x="42" y="7"/>
                      <a:pt x="41" y="7"/>
                    </a:cubicBezTo>
                    <a:cubicBezTo>
                      <a:pt x="40" y="8"/>
                      <a:pt x="40" y="11"/>
                      <a:pt x="39" y="12"/>
                    </a:cubicBezTo>
                    <a:cubicBezTo>
                      <a:pt x="38" y="12"/>
                      <a:pt x="36" y="11"/>
                      <a:pt x="35" y="11"/>
                    </a:cubicBezTo>
                    <a:cubicBezTo>
                      <a:pt x="34" y="11"/>
                      <a:pt x="33" y="13"/>
                      <a:pt x="31" y="13"/>
                    </a:cubicBezTo>
                    <a:cubicBezTo>
                      <a:pt x="30" y="12"/>
                      <a:pt x="29" y="8"/>
                      <a:pt x="27" y="9"/>
                    </a:cubicBezTo>
                    <a:cubicBezTo>
                      <a:pt x="25" y="9"/>
                      <a:pt x="26" y="12"/>
                      <a:pt x="26" y="14"/>
                    </a:cubicBezTo>
                    <a:cubicBezTo>
                      <a:pt x="26" y="18"/>
                      <a:pt x="23" y="10"/>
                      <a:pt x="22" y="10"/>
                    </a:cubicBezTo>
                    <a:cubicBezTo>
                      <a:pt x="21" y="11"/>
                      <a:pt x="21" y="15"/>
                      <a:pt x="21" y="16"/>
                    </a:cubicBezTo>
                    <a:cubicBezTo>
                      <a:pt x="21" y="17"/>
                      <a:pt x="19" y="19"/>
                      <a:pt x="18" y="16"/>
                    </a:cubicBezTo>
                    <a:cubicBezTo>
                      <a:pt x="18" y="16"/>
                      <a:pt x="19" y="14"/>
                      <a:pt x="19" y="13"/>
                    </a:cubicBezTo>
                    <a:cubicBezTo>
                      <a:pt x="18" y="11"/>
                      <a:pt x="17" y="11"/>
                      <a:pt x="16" y="8"/>
                    </a:cubicBezTo>
                    <a:cubicBezTo>
                      <a:pt x="16" y="6"/>
                      <a:pt x="11" y="3"/>
                      <a:pt x="10" y="2"/>
                    </a:cubicBezTo>
                    <a:cubicBezTo>
                      <a:pt x="7" y="0"/>
                      <a:pt x="9" y="6"/>
                      <a:pt x="9" y="8"/>
                    </a:cubicBezTo>
                    <a:cubicBezTo>
                      <a:pt x="10" y="10"/>
                      <a:pt x="8" y="8"/>
                      <a:pt x="7" y="7"/>
                    </a:cubicBezTo>
                    <a:cubicBezTo>
                      <a:pt x="6" y="4"/>
                      <a:pt x="4" y="5"/>
                      <a:pt x="4" y="7"/>
                    </a:cubicBezTo>
                    <a:cubicBezTo>
                      <a:pt x="4" y="9"/>
                      <a:pt x="4" y="12"/>
                      <a:pt x="3" y="13"/>
                    </a:cubicBezTo>
                    <a:cubicBezTo>
                      <a:pt x="3" y="14"/>
                      <a:pt x="0" y="14"/>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07"/>
              <p:cNvSpPr>
                <a:spLocks/>
              </p:cNvSpPr>
              <p:nvPr/>
            </p:nvSpPr>
            <p:spPr bwMode="auto">
              <a:xfrm>
                <a:off x="3416301" y="3917950"/>
                <a:ext cx="6350" cy="15875"/>
              </a:xfrm>
              <a:custGeom>
                <a:avLst/>
                <a:gdLst>
                  <a:gd name="T0" fmla="*/ 0 w 8"/>
                  <a:gd name="T1" fmla="*/ 5 h 21"/>
                  <a:gd name="T2" fmla="*/ 6 w 8"/>
                  <a:gd name="T3" fmla="*/ 17 h 21"/>
                  <a:gd name="T4" fmla="*/ 8 w 8"/>
                  <a:gd name="T5" fmla="*/ 16 h 21"/>
                  <a:gd name="T6" fmla="*/ 6 w 8"/>
                  <a:gd name="T7" fmla="*/ 10 h 21"/>
                  <a:gd name="T8" fmla="*/ 3 w 8"/>
                  <a:gd name="T9" fmla="*/ 3 h 21"/>
                  <a:gd name="T10" fmla="*/ 0 w 8"/>
                  <a:gd name="T11" fmla="*/ 5 h 21"/>
                </a:gdLst>
                <a:ahLst/>
                <a:cxnLst>
                  <a:cxn ang="0">
                    <a:pos x="T0" y="T1"/>
                  </a:cxn>
                  <a:cxn ang="0">
                    <a:pos x="T2" y="T3"/>
                  </a:cxn>
                  <a:cxn ang="0">
                    <a:pos x="T4" y="T5"/>
                  </a:cxn>
                  <a:cxn ang="0">
                    <a:pos x="T6" y="T7"/>
                  </a:cxn>
                  <a:cxn ang="0">
                    <a:pos x="T8" y="T9"/>
                  </a:cxn>
                  <a:cxn ang="0">
                    <a:pos x="T10" y="T11"/>
                  </a:cxn>
                </a:cxnLst>
                <a:rect l="0" t="0" r="r" b="b"/>
                <a:pathLst>
                  <a:path w="8" h="21">
                    <a:moveTo>
                      <a:pt x="0" y="5"/>
                    </a:moveTo>
                    <a:cubicBezTo>
                      <a:pt x="1" y="9"/>
                      <a:pt x="5" y="13"/>
                      <a:pt x="6" y="17"/>
                    </a:cubicBezTo>
                    <a:cubicBezTo>
                      <a:pt x="7" y="21"/>
                      <a:pt x="8" y="17"/>
                      <a:pt x="8" y="16"/>
                    </a:cubicBezTo>
                    <a:cubicBezTo>
                      <a:pt x="8" y="14"/>
                      <a:pt x="7" y="12"/>
                      <a:pt x="6" y="10"/>
                    </a:cubicBezTo>
                    <a:cubicBezTo>
                      <a:pt x="5" y="8"/>
                      <a:pt x="5" y="5"/>
                      <a:pt x="3" y="3"/>
                    </a:cubicBezTo>
                    <a:cubicBezTo>
                      <a:pt x="0" y="0"/>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08"/>
              <p:cNvSpPr>
                <a:spLocks/>
              </p:cNvSpPr>
              <p:nvPr/>
            </p:nvSpPr>
            <p:spPr bwMode="auto">
              <a:xfrm>
                <a:off x="3425826" y="4348163"/>
                <a:ext cx="4763" cy="7938"/>
              </a:xfrm>
              <a:custGeom>
                <a:avLst/>
                <a:gdLst>
                  <a:gd name="T0" fmla="*/ 0 w 7"/>
                  <a:gd name="T1" fmla="*/ 6 h 10"/>
                  <a:gd name="T2" fmla="*/ 5 w 7"/>
                  <a:gd name="T3" fmla="*/ 10 h 10"/>
                  <a:gd name="T4" fmla="*/ 6 w 7"/>
                  <a:gd name="T5" fmla="*/ 4 h 10"/>
                  <a:gd name="T6" fmla="*/ 3 w 7"/>
                  <a:gd name="T7" fmla="*/ 0 h 10"/>
                  <a:gd name="T8" fmla="*/ 0 w 7"/>
                  <a:gd name="T9" fmla="*/ 6 h 10"/>
                </a:gdLst>
                <a:ahLst/>
                <a:cxnLst>
                  <a:cxn ang="0">
                    <a:pos x="T0" y="T1"/>
                  </a:cxn>
                  <a:cxn ang="0">
                    <a:pos x="T2" y="T3"/>
                  </a:cxn>
                  <a:cxn ang="0">
                    <a:pos x="T4" y="T5"/>
                  </a:cxn>
                  <a:cxn ang="0">
                    <a:pos x="T6" y="T7"/>
                  </a:cxn>
                  <a:cxn ang="0">
                    <a:pos x="T8" y="T9"/>
                  </a:cxn>
                </a:cxnLst>
                <a:rect l="0" t="0" r="r" b="b"/>
                <a:pathLst>
                  <a:path w="7" h="10">
                    <a:moveTo>
                      <a:pt x="0" y="6"/>
                    </a:moveTo>
                    <a:cubicBezTo>
                      <a:pt x="0" y="9"/>
                      <a:pt x="3" y="10"/>
                      <a:pt x="5" y="10"/>
                    </a:cubicBezTo>
                    <a:cubicBezTo>
                      <a:pt x="7" y="9"/>
                      <a:pt x="7" y="6"/>
                      <a:pt x="6" y="4"/>
                    </a:cubicBezTo>
                    <a:cubicBezTo>
                      <a:pt x="6" y="3"/>
                      <a:pt x="2" y="2"/>
                      <a:pt x="3" y="0"/>
                    </a:cubicBezTo>
                    <a:cubicBezTo>
                      <a:pt x="1" y="0"/>
                      <a:pt x="0" y="4"/>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09"/>
              <p:cNvSpPr>
                <a:spLocks/>
              </p:cNvSpPr>
              <p:nvPr/>
            </p:nvSpPr>
            <p:spPr bwMode="auto">
              <a:xfrm>
                <a:off x="3411538" y="3970338"/>
                <a:ext cx="14288" cy="19050"/>
              </a:xfrm>
              <a:custGeom>
                <a:avLst/>
                <a:gdLst>
                  <a:gd name="T0" fmla="*/ 12 w 18"/>
                  <a:gd name="T1" fmla="*/ 7 h 25"/>
                  <a:gd name="T2" fmla="*/ 1 w 18"/>
                  <a:gd name="T3" fmla="*/ 3 h 25"/>
                  <a:gd name="T4" fmla="*/ 5 w 18"/>
                  <a:gd name="T5" fmla="*/ 15 h 25"/>
                  <a:gd name="T6" fmla="*/ 11 w 18"/>
                  <a:gd name="T7" fmla="*/ 20 h 25"/>
                  <a:gd name="T8" fmla="*/ 17 w 18"/>
                  <a:gd name="T9" fmla="*/ 23 h 25"/>
                  <a:gd name="T10" fmla="*/ 17 w 18"/>
                  <a:gd name="T11" fmla="*/ 16 h 25"/>
                  <a:gd name="T12" fmla="*/ 12 w 18"/>
                  <a:gd name="T13" fmla="*/ 7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12" y="7"/>
                    </a:moveTo>
                    <a:cubicBezTo>
                      <a:pt x="9" y="5"/>
                      <a:pt x="3" y="0"/>
                      <a:pt x="1" y="3"/>
                    </a:cubicBezTo>
                    <a:cubicBezTo>
                      <a:pt x="0" y="5"/>
                      <a:pt x="2" y="11"/>
                      <a:pt x="5" y="15"/>
                    </a:cubicBezTo>
                    <a:cubicBezTo>
                      <a:pt x="6" y="18"/>
                      <a:pt x="9" y="19"/>
                      <a:pt x="11" y="20"/>
                    </a:cubicBezTo>
                    <a:cubicBezTo>
                      <a:pt x="13" y="21"/>
                      <a:pt x="16" y="25"/>
                      <a:pt x="17" y="23"/>
                    </a:cubicBezTo>
                    <a:cubicBezTo>
                      <a:pt x="18" y="21"/>
                      <a:pt x="17" y="18"/>
                      <a:pt x="17" y="16"/>
                    </a:cubicBezTo>
                    <a:cubicBezTo>
                      <a:pt x="16" y="12"/>
                      <a:pt x="15" y="10"/>
                      <a:pt x="1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10"/>
              <p:cNvSpPr>
                <a:spLocks/>
              </p:cNvSpPr>
              <p:nvPr/>
            </p:nvSpPr>
            <p:spPr bwMode="auto">
              <a:xfrm>
                <a:off x="3500438" y="3914775"/>
                <a:ext cx="7938" cy="12700"/>
              </a:xfrm>
              <a:custGeom>
                <a:avLst/>
                <a:gdLst>
                  <a:gd name="T0" fmla="*/ 6 w 10"/>
                  <a:gd name="T1" fmla="*/ 10 h 16"/>
                  <a:gd name="T2" fmla="*/ 4 w 10"/>
                  <a:gd name="T3" fmla="*/ 6 h 16"/>
                  <a:gd name="T4" fmla="*/ 1 w 10"/>
                  <a:gd name="T5" fmla="*/ 2 h 16"/>
                  <a:gd name="T6" fmla="*/ 0 w 10"/>
                  <a:gd name="T7" fmla="*/ 2 h 16"/>
                  <a:gd name="T8" fmla="*/ 3 w 10"/>
                  <a:gd name="T9" fmla="*/ 6 h 16"/>
                  <a:gd name="T10" fmla="*/ 7 w 10"/>
                  <a:gd name="T11" fmla="*/ 13 h 16"/>
                  <a:gd name="T12" fmla="*/ 6 w 10"/>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6" y="10"/>
                    </a:moveTo>
                    <a:cubicBezTo>
                      <a:pt x="6" y="8"/>
                      <a:pt x="5" y="7"/>
                      <a:pt x="4" y="6"/>
                    </a:cubicBezTo>
                    <a:cubicBezTo>
                      <a:pt x="3" y="4"/>
                      <a:pt x="3" y="3"/>
                      <a:pt x="1" y="2"/>
                    </a:cubicBezTo>
                    <a:cubicBezTo>
                      <a:pt x="0" y="0"/>
                      <a:pt x="0" y="1"/>
                      <a:pt x="0" y="2"/>
                    </a:cubicBezTo>
                    <a:cubicBezTo>
                      <a:pt x="0" y="3"/>
                      <a:pt x="2" y="5"/>
                      <a:pt x="3" y="6"/>
                    </a:cubicBezTo>
                    <a:cubicBezTo>
                      <a:pt x="5" y="8"/>
                      <a:pt x="6" y="11"/>
                      <a:pt x="7" y="13"/>
                    </a:cubicBezTo>
                    <a:cubicBezTo>
                      <a:pt x="10" y="16"/>
                      <a:pt x="7" y="11"/>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1"/>
              <p:cNvSpPr>
                <a:spLocks/>
              </p:cNvSpPr>
              <p:nvPr/>
            </p:nvSpPr>
            <p:spPr bwMode="auto">
              <a:xfrm>
                <a:off x="3590926" y="3929063"/>
                <a:ext cx="0" cy="1588"/>
              </a:xfrm>
              <a:custGeom>
                <a:avLst/>
                <a:gdLst>
                  <a:gd name="T0" fmla="*/ 2 w 2"/>
                  <a:gd name="T1" fmla="*/ 2 h 2"/>
                  <a:gd name="T2" fmla="*/ 2 w 2"/>
                  <a:gd name="T3" fmla="*/ 2 h 2"/>
                  <a:gd name="T4" fmla="*/ 2 w 2"/>
                  <a:gd name="T5" fmla="*/ 2 h 2"/>
                </a:gdLst>
                <a:ahLst/>
                <a:cxnLst>
                  <a:cxn ang="0">
                    <a:pos x="T0" y="T1"/>
                  </a:cxn>
                  <a:cxn ang="0">
                    <a:pos x="T2" y="T3"/>
                  </a:cxn>
                  <a:cxn ang="0">
                    <a:pos x="T4" y="T5"/>
                  </a:cxn>
                </a:cxnLst>
                <a:rect l="0" t="0" r="r" b="b"/>
                <a:pathLst>
                  <a:path w="2" h="2">
                    <a:moveTo>
                      <a:pt x="2" y="2"/>
                    </a:moveTo>
                    <a:cubicBezTo>
                      <a:pt x="2" y="2"/>
                      <a:pt x="2" y="2"/>
                      <a:pt x="2" y="2"/>
                    </a:cubicBezTo>
                    <a:cubicBezTo>
                      <a:pt x="0" y="0"/>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12"/>
              <p:cNvSpPr>
                <a:spLocks/>
              </p:cNvSpPr>
              <p:nvPr/>
            </p:nvSpPr>
            <p:spPr bwMode="auto">
              <a:xfrm>
                <a:off x="3595688" y="3905250"/>
                <a:ext cx="4763" cy="6350"/>
              </a:xfrm>
              <a:custGeom>
                <a:avLst/>
                <a:gdLst>
                  <a:gd name="T0" fmla="*/ 3 w 5"/>
                  <a:gd name="T1" fmla="*/ 9 h 9"/>
                  <a:gd name="T2" fmla="*/ 1 w 5"/>
                  <a:gd name="T3" fmla="*/ 1 h 9"/>
                  <a:gd name="T4" fmla="*/ 0 w 5"/>
                  <a:gd name="T5" fmla="*/ 4 h 9"/>
                  <a:gd name="T6" fmla="*/ 2 w 5"/>
                  <a:gd name="T7" fmla="*/ 7 h 9"/>
                  <a:gd name="T8" fmla="*/ 3 w 5"/>
                  <a:gd name="T9" fmla="*/ 9 h 9"/>
                </a:gdLst>
                <a:ahLst/>
                <a:cxnLst>
                  <a:cxn ang="0">
                    <a:pos x="T0" y="T1"/>
                  </a:cxn>
                  <a:cxn ang="0">
                    <a:pos x="T2" y="T3"/>
                  </a:cxn>
                  <a:cxn ang="0">
                    <a:pos x="T4" y="T5"/>
                  </a:cxn>
                  <a:cxn ang="0">
                    <a:pos x="T6" y="T7"/>
                  </a:cxn>
                  <a:cxn ang="0">
                    <a:pos x="T8" y="T9"/>
                  </a:cxn>
                </a:cxnLst>
                <a:rect l="0" t="0" r="r" b="b"/>
                <a:pathLst>
                  <a:path w="5" h="9">
                    <a:moveTo>
                      <a:pt x="3" y="9"/>
                    </a:moveTo>
                    <a:cubicBezTo>
                      <a:pt x="4" y="8"/>
                      <a:pt x="5" y="4"/>
                      <a:pt x="1" y="1"/>
                    </a:cubicBezTo>
                    <a:cubicBezTo>
                      <a:pt x="0" y="0"/>
                      <a:pt x="0" y="3"/>
                      <a:pt x="0" y="4"/>
                    </a:cubicBezTo>
                    <a:cubicBezTo>
                      <a:pt x="1" y="5"/>
                      <a:pt x="1" y="6"/>
                      <a:pt x="2" y="7"/>
                    </a:cubicBezTo>
                    <a:cubicBezTo>
                      <a:pt x="2" y="7"/>
                      <a:pt x="3" y="9"/>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13"/>
              <p:cNvSpPr>
                <a:spLocks/>
              </p:cNvSpPr>
              <p:nvPr/>
            </p:nvSpPr>
            <p:spPr bwMode="auto">
              <a:xfrm>
                <a:off x="3589338" y="3932238"/>
                <a:ext cx="4763" cy="6350"/>
              </a:xfrm>
              <a:custGeom>
                <a:avLst/>
                <a:gdLst>
                  <a:gd name="T0" fmla="*/ 0 w 7"/>
                  <a:gd name="T1" fmla="*/ 1 h 10"/>
                  <a:gd name="T2" fmla="*/ 0 w 7"/>
                  <a:gd name="T3" fmla="*/ 4 h 10"/>
                  <a:gd name="T4" fmla="*/ 1 w 7"/>
                  <a:gd name="T5" fmla="*/ 5 h 10"/>
                  <a:gd name="T6" fmla="*/ 4 w 7"/>
                  <a:gd name="T7" fmla="*/ 8 h 10"/>
                  <a:gd name="T8" fmla="*/ 7 w 7"/>
                  <a:gd name="T9" fmla="*/ 10 h 10"/>
                  <a:gd name="T10" fmla="*/ 5 w 7"/>
                  <a:gd name="T11" fmla="*/ 6 h 10"/>
                  <a:gd name="T12" fmla="*/ 5 w 7"/>
                  <a:gd name="T13" fmla="*/ 5 h 10"/>
                  <a:gd name="T14" fmla="*/ 4 w 7"/>
                  <a:gd name="T15" fmla="*/ 5 h 10"/>
                  <a:gd name="T16" fmla="*/ 2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0" y="1"/>
                      <a:pt x="0" y="3"/>
                      <a:pt x="0" y="4"/>
                    </a:cubicBezTo>
                    <a:cubicBezTo>
                      <a:pt x="0" y="5"/>
                      <a:pt x="1" y="5"/>
                      <a:pt x="1" y="5"/>
                    </a:cubicBezTo>
                    <a:cubicBezTo>
                      <a:pt x="2" y="5"/>
                      <a:pt x="3" y="7"/>
                      <a:pt x="4" y="8"/>
                    </a:cubicBezTo>
                    <a:cubicBezTo>
                      <a:pt x="5" y="9"/>
                      <a:pt x="6" y="10"/>
                      <a:pt x="7" y="10"/>
                    </a:cubicBezTo>
                    <a:cubicBezTo>
                      <a:pt x="7" y="9"/>
                      <a:pt x="6" y="7"/>
                      <a:pt x="5" y="6"/>
                    </a:cubicBezTo>
                    <a:cubicBezTo>
                      <a:pt x="5" y="6"/>
                      <a:pt x="5" y="5"/>
                      <a:pt x="5" y="5"/>
                    </a:cubicBezTo>
                    <a:cubicBezTo>
                      <a:pt x="4" y="4"/>
                      <a:pt x="4" y="5"/>
                      <a:pt x="4" y="5"/>
                    </a:cubicBezTo>
                    <a:cubicBezTo>
                      <a:pt x="2" y="4"/>
                      <a:pt x="2" y="2"/>
                      <a:pt x="2"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14"/>
              <p:cNvSpPr>
                <a:spLocks/>
              </p:cNvSpPr>
              <p:nvPr/>
            </p:nvSpPr>
            <p:spPr bwMode="auto">
              <a:xfrm>
                <a:off x="3592513" y="3913188"/>
                <a:ext cx="14288" cy="26988"/>
              </a:xfrm>
              <a:custGeom>
                <a:avLst/>
                <a:gdLst>
                  <a:gd name="T0" fmla="*/ 4 w 20"/>
                  <a:gd name="T1" fmla="*/ 9 h 36"/>
                  <a:gd name="T2" fmla="*/ 2 w 20"/>
                  <a:gd name="T3" fmla="*/ 9 h 36"/>
                  <a:gd name="T4" fmla="*/ 3 w 20"/>
                  <a:gd name="T5" fmla="*/ 13 h 36"/>
                  <a:gd name="T6" fmla="*/ 6 w 20"/>
                  <a:gd name="T7" fmla="*/ 15 h 36"/>
                  <a:gd name="T8" fmla="*/ 7 w 20"/>
                  <a:gd name="T9" fmla="*/ 18 h 36"/>
                  <a:gd name="T10" fmla="*/ 5 w 20"/>
                  <a:gd name="T11" fmla="*/ 17 h 36"/>
                  <a:gd name="T12" fmla="*/ 2 w 20"/>
                  <a:gd name="T13" fmla="*/ 13 h 36"/>
                  <a:gd name="T14" fmla="*/ 2 w 20"/>
                  <a:gd name="T15" fmla="*/ 16 h 36"/>
                  <a:gd name="T16" fmla="*/ 3 w 20"/>
                  <a:gd name="T17" fmla="*/ 22 h 36"/>
                  <a:gd name="T18" fmla="*/ 8 w 20"/>
                  <a:gd name="T19" fmla="*/ 26 h 36"/>
                  <a:gd name="T20" fmla="*/ 9 w 20"/>
                  <a:gd name="T21" fmla="*/ 29 h 36"/>
                  <a:gd name="T22" fmla="*/ 11 w 20"/>
                  <a:gd name="T23" fmla="*/ 31 h 36"/>
                  <a:gd name="T24" fmla="*/ 13 w 20"/>
                  <a:gd name="T25" fmla="*/ 34 h 36"/>
                  <a:gd name="T26" fmla="*/ 15 w 20"/>
                  <a:gd name="T27" fmla="*/ 34 h 36"/>
                  <a:gd name="T28" fmla="*/ 17 w 20"/>
                  <a:gd name="T29" fmla="*/ 36 h 36"/>
                  <a:gd name="T30" fmla="*/ 18 w 20"/>
                  <a:gd name="T31" fmla="*/ 34 h 36"/>
                  <a:gd name="T32" fmla="*/ 19 w 20"/>
                  <a:gd name="T33" fmla="*/ 30 h 36"/>
                  <a:gd name="T34" fmla="*/ 17 w 20"/>
                  <a:gd name="T35" fmla="*/ 27 h 36"/>
                  <a:gd name="T36" fmla="*/ 15 w 20"/>
                  <a:gd name="T37" fmla="*/ 25 h 36"/>
                  <a:gd name="T38" fmla="*/ 13 w 20"/>
                  <a:gd name="T39" fmla="*/ 23 h 36"/>
                  <a:gd name="T40" fmla="*/ 13 w 20"/>
                  <a:gd name="T41" fmla="*/ 20 h 36"/>
                  <a:gd name="T42" fmla="*/ 15 w 20"/>
                  <a:gd name="T43" fmla="*/ 19 h 36"/>
                  <a:gd name="T44" fmla="*/ 14 w 20"/>
                  <a:gd name="T45" fmla="*/ 16 h 36"/>
                  <a:gd name="T46" fmla="*/ 13 w 20"/>
                  <a:gd name="T47" fmla="*/ 13 h 36"/>
                  <a:gd name="T48" fmla="*/ 9 w 20"/>
                  <a:gd name="T49" fmla="*/ 7 h 36"/>
                  <a:gd name="T50" fmla="*/ 12 w 20"/>
                  <a:gd name="T51" fmla="*/ 7 h 36"/>
                  <a:gd name="T52" fmla="*/ 13 w 20"/>
                  <a:gd name="T53" fmla="*/ 6 h 36"/>
                  <a:gd name="T54" fmla="*/ 11 w 20"/>
                  <a:gd name="T55" fmla="*/ 3 h 36"/>
                  <a:gd name="T56" fmla="*/ 9 w 20"/>
                  <a:gd name="T57" fmla="*/ 4 h 36"/>
                  <a:gd name="T58" fmla="*/ 6 w 20"/>
                  <a:gd name="T59" fmla="*/ 1 h 36"/>
                  <a:gd name="T60" fmla="*/ 5 w 20"/>
                  <a:gd name="T61" fmla="*/ 1 h 36"/>
                  <a:gd name="T62" fmla="*/ 4 w 20"/>
                  <a:gd name="T63" fmla="*/ 3 h 36"/>
                  <a:gd name="T64" fmla="*/ 5 w 20"/>
                  <a:gd name="T65" fmla="*/ 6 h 36"/>
                  <a:gd name="T66" fmla="*/ 7 w 20"/>
                  <a:gd name="T67" fmla="*/ 8 h 36"/>
                  <a:gd name="T68" fmla="*/ 7 w 20"/>
                  <a:gd name="T69" fmla="*/ 11 h 36"/>
                  <a:gd name="T70" fmla="*/ 4 w 20"/>
                  <a:gd name="T71"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6">
                    <a:moveTo>
                      <a:pt x="4" y="9"/>
                    </a:moveTo>
                    <a:cubicBezTo>
                      <a:pt x="2" y="8"/>
                      <a:pt x="0" y="6"/>
                      <a:pt x="2" y="9"/>
                    </a:cubicBezTo>
                    <a:cubicBezTo>
                      <a:pt x="2" y="10"/>
                      <a:pt x="3" y="12"/>
                      <a:pt x="3" y="13"/>
                    </a:cubicBezTo>
                    <a:cubicBezTo>
                      <a:pt x="4" y="14"/>
                      <a:pt x="5" y="14"/>
                      <a:pt x="6" y="15"/>
                    </a:cubicBezTo>
                    <a:cubicBezTo>
                      <a:pt x="6" y="16"/>
                      <a:pt x="7" y="18"/>
                      <a:pt x="7" y="18"/>
                    </a:cubicBezTo>
                    <a:cubicBezTo>
                      <a:pt x="6" y="18"/>
                      <a:pt x="5" y="17"/>
                      <a:pt x="5" y="17"/>
                    </a:cubicBezTo>
                    <a:cubicBezTo>
                      <a:pt x="4" y="16"/>
                      <a:pt x="3" y="13"/>
                      <a:pt x="2" y="13"/>
                    </a:cubicBezTo>
                    <a:cubicBezTo>
                      <a:pt x="1" y="12"/>
                      <a:pt x="2" y="15"/>
                      <a:pt x="2" y="16"/>
                    </a:cubicBezTo>
                    <a:cubicBezTo>
                      <a:pt x="2" y="18"/>
                      <a:pt x="2" y="20"/>
                      <a:pt x="3" y="22"/>
                    </a:cubicBezTo>
                    <a:cubicBezTo>
                      <a:pt x="5" y="23"/>
                      <a:pt x="7" y="24"/>
                      <a:pt x="8" y="26"/>
                    </a:cubicBezTo>
                    <a:cubicBezTo>
                      <a:pt x="8" y="27"/>
                      <a:pt x="8" y="29"/>
                      <a:pt x="9" y="29"/>
                    </a:cubicBezTo>
                    <a:cubicBezTo>
                      <a:pt x="10" y="30"/>
                      <a:pt x="10" y="30"/>
                      <a:pt x="11" y="31"/>
                    </a:cubicBezTo>
                    <a:cubicBezTo>
                      <a:pt x="12" y="32"/>
                      <a:pt x="12" y="34"/>
                      <a:pt x="13" y="34"/>
                    </a:cubicBezTo>
                    <a:cubicBezTo>
                      <a:pt x="14" y="35"/>
                      <a:pt x="14" y="33"/>
                      <a:pt x="15" y="34"/>
                    </a:cubicBezTo>
                    <a:cubicBezTo>
                      <a:pt x="16" y="35"/>
                      <a:pt x="17" y="36"/>
                      <a:pt x="17" y="36"/>
                    </a:cubicBezTo>
                    <a:cubicBezTo>
                      <a:pt x="18" y="36"/>
                      <a:pt x="18" y="35"/>
                      <a:pt x="18" y="34"/>
                    </a:cubicBezTo>
                    <a:cubicBezTo>
                      <a:pt x="17" y="32"/>
                      <a:pt x="20" y="33"/>
                      <a:pt x="19" y="30"/>
                    </a:cubicBezTo>
                    <a:cubicBezTo>
                      <a:pt x="18" y="29"/>
                      <a:pt x="17" y="28"/>
                      <a:pt x="17" y="27"/>
                    </a:cubicBezTo>
                    <a:cubicBezTo>
                      <a:pt x="17" y="26"/>
                      <a:pt x="16" y="25"/>
                      <a:pt x="15" y="25"/>
                    </a:cubicBezTo>
                    <a:cubicBezTo>
                      <a:pt x="15" y="24"/>
                      <a:pt x="14" y="24"/>
                      <a:pt x="13" y="23"/>
                    </a:cubicBezTo>
                    <a:cubicBezTo>
                      <a:pt x="13" y="22"/>
                      <a:pt x="12" y="19"/>
                      <a:pt x="13" y="20"/>
                    </a:cubicBezTo>
                    <a:cubicBezTo>
                      <a:pt x="14" y="20"/>
                      <a:pt x="16" y="21"/>
                      <a:pt x="15" y="19"/>
                    </a:cubicBezTo>
                    <a:cubicBezTo>
                      <a:pt x="15" y="18"/>
                      <a:pt x="15" y="17"/>
                      <a:pt x="14" y="16"/>
                    </a:cubicBezTo>
                    <a:cubicBezTo>
                      <a:pt x="13" y="14"/>
                      <a:pt x="13" y="14"/>
                      <a:pt x="13" y="13"/>
                    </a:cubicBezTo>
                    <a:cubicBezTo>
                      <a:pt x="13" y="11"/>
                      <a:pt x="10" y="9"/>
                      <a:pt x="9" y="7"/>
                    </a:cubicBezTo>
                    <a:cubicBezTo>
                      <a:pt x="9" y="6"/>
                      <a:pt x="11" y="7"/>
                      <a:pt x="12" y="7"/>
                    </a:cubicBezTo>
                    <a:cubicBezTo>
                      <a:pt x="13" y="7"/>
                      <a:pt x="14" y="8"/>
                      <a:pt x="13" y="6"/>
                    </a:cubicBezTo>
                    <a:cubicBezTo>
                      <a:pt x="13" y="5"/>
                      <a:pt x="12" y="3"/>
                      <a:pt x="11" y="3"/>
                    </a:cubicBezTo>
                    <a:cubicBezTo>
                      <a:pt x="10" y="2"/>
                      <a:pt x="10" y="4"/>
                      <a:pt x="9" y="4"/>
                    </a:cubicBezTo>
                    <a:cubicBezTo>
                      <a:pt x="8" y="4"/>
                      <a:pt x="7" y="2"/>
                      <a:pt x="6" y="1"/>
                    </a:cubicBezTo>
                    <a:cubicBezTo>
                      <a:pt x="5" y="0"/>
                      <a:pt x="5" y="1"/>
                      <a:pt x="5" y="1"/>
                    </a:cubicBezTo>
                    <a:cubicBezTo>
                      <a:pt x="5" y="3"/>
                      <a:pt x="5" y="4"/>
                      <a:pt x="4" y="3"/>
                    </a:cubicBezTo>
                    <a:cubicBezTo>
                      <a:pt x="2" y="2"/>
                      <a:pt x="2" y="5"/>
                      <a:pt x="5" y="6"/>
                    </a:cubicBezTo>
                    <a:cubicBezTo>
                      <a:pt x="5" y="6"/>
                      <a:pt x="6" y="7"/>
                      <a:pt x="7" y="8"/>
                    </a:cubicBezTo>
                    <a:cubicBezTo>
                      <a:pt x="7" y="9"/>
                      <a:pt x="7" y="11"/>
                      <a:pt x="7" y="11"/>
                    </a:cubicBezTo>
                    <a:cubicBezTo>
                      <a:pt x="6" y="11"/>
                      <a:pt x="5" y="10"/>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15"/>
              <p:cNvSpPr>
                <a:spLocks/>
              </p:cNvSpPr>
              <p:nvPr/>
            </p:nvSpPr>
            <p:spPr bwMode="auto">
              <a:xfrm>
                <a:off x="3609976" y="3917950"/>
                <a:ext cx="7938" cy="15875"/>
              </a:xfrm>
              <a:custGeom>
                <a:avLst/>
                <a:gdLst>
                  <a:gd name="T0" fmla="*/ 8 w 9"/>
                  <a:gd name="T1" fmla="*/ 17 h 20"/>
                  <a:gd name="T2" fmla="*/ 6 w 9"/>
                  <a:gd name="T3" fmla="*/ 12 h 20"/>
                  <a:gd name="T4" fmla="*/ 5 w 9"/>
                  <a:gd name="T5" fmla="*/ 7 h 20"/>
                  <a:gd name="T6" fmla="*/ 0 w 9"/>
                  <a:gd name="T7" fmla="*/ 8 h 20"/>
                  <a:gd name="T8" fmla="*/ 1 w 9"/>
                  <a:gd name="T9" fmla="*/ 13 h 20"/>
                  <a:gd name="T10" fmla="*/ 2 w 9"/>
                  <a:gd name="T11" fmla="*/ 15 h 20"/>
                  <a:gd name="T12" fmla="*/ 4 w 9"/>
                  <a:gd name="T13" fmla="*/ 19 h 20"/>
                  <a:gd name="T14" fmla="*/ 6 w 9"/>
                  <a:gd name="T15" fmla="*/ 20 h 20"/>
                  <a:gd name="T16" fmla="*/ 6 w 9"/>
                  <a:gd name="T17" fmla="*/ 17 h 20"/>
                  <a:gd name="T18" fmla="*/ 8 w 9"/>
                  <a:gd name="T1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8" y="17"/>
                    </a:moveTo>
                    <a:cubicBezTo>
                      <a:pt x="8" y="16"/>
                      <a:pt x="7" y="14"/>
                      <a:pt x="6" y="12"/>
                    </a:cubicBezTo>
                    <a:cubicBezTo>
                      <a:pt x="6" y="11"/>
                      <a:pt x="5" y="9"/>
                      <a:pt x="5" y="7"/>
                    </a:cubicBezTo>
                    <a:cubicBezTo>
                      <a:pt x="2" y="0"/>
                      <a:pt x="1" y="7"/>
                      <a:pt x="0" y="8"/>
                    </a:cubicBezTo>
                    <a:cubicBezTo>
                      <a:pt x="0" y="9"/>
                      <a:pt x="2" y="12"/>
                      <a:pt x="1" y="13"/>
                    </a:cubicBezTo>
                    <a:cubicBezTo>
                      <a:pt x="1" y="13"/>
                      <a:pt x="1" y="15"/>
                      <a:pt x="2" y="15"/>
                    </a:cubicBezTo>
                    <a:cubicBezTo>
                      <a:pt x="3" y="17"/>
                      <a:pt x="3" y="17"/>
                      <a:pt x="4" y="19"/>
                    </a:cubicBezTo>
                    <a:cubicBezTo>
                      <a:pt x="5" y="19"/>
                      <a:pt x="5" y="20"/>
                      <a:pt x="6" y="20"/>
                    </a:cubicBezTo>
                    <a:cubicBezTo>
                      <a:pt x="6" y="19"/>
                      <a:pt x="6" y="18"/>
                      <a:pt x="6" y="17"/>
                    </a:cubicBezTo>
                    <a:cubicBezTo>
                      <a:pt x="5" y="15"/>
                      <a:pt x="9" y="19"/>
                      <a:pt x="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16"/>
              <p:cNvSpPr>
                <a:spLocks/>
              </p:cNvSpPr>
              <p:nvPr/>
            </p:nvSpPr>
            <p:spPr bwMode="auto">
              <a:xfrm>
                <a:off x="2987676" y="3987800"/>
                <a:ext cx="25400" cy="26988"/>
              </a:xfrm>
              <a:custGeom>
                <a:avLst/>
                <a:gdLst>
                  <a:gd name="T0" fmla="*/ 20 w 34"/>
                  <a:gd name="T1" fmla="*/ 4 h 35"/>
                  <a:gd name="T2" fmla="*/ 13 w 34"/>
                  <a:gd name="T3" fmla="*/ 3 h 35"/>
                  <a:gd name="T4" fmla="*/ 3 w 34"/>
                  <a:gd name="T5" fmla="*/ 18 h 35"/>
                  <a:gd name="T6" fmla="*/ 0 w 34"/>
                  <a:gd name="T7" fmla="*/ 23 h 35"/>
                  <a:gd name="T8" fmla="*/ 5 w 34"/>
                  <a:gd name="T9" fmla="*/ 25 h 35"/>
                  <a:gd name="T10" fmla="*/ 11 w 34"/>
                  <a:gd name="T11" fmla="*/ 33 h 35"/>
                  <a:gd name="T12" fmla="*/ 23 w 34"/>
                  <a:gd name="T13" fmla="*/ 34 h 35"/>
                  <a:gd name="T14" fmla="*/ 33 w 34"/>
                  <a:gd name="T15" fmla="*/ 25 h 35"/>
                  <a:gd name="T16" fmla="*/ 26 w 34"/>
                  <a:gd name="T17" fmla="*/ 15 h 35"/>
                  <a:gd name="T18" fmla="*/ 21 w 34"/>
                  <a:gd name="T19" fmla="*/ 10 h 35"/>
                  <a:gd name="T20" fmla="*/ 20 w 34"/>
                  <a:gd name="T21"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20" y="4"/>
                    </a:moveTo>
                    <a:cubicBezTo>
                      <a:pt x="19" y="0"/>
                      <a:pt x="16" y="0"/>
                      <a:pt x="13" y="3"/>
                    </a:cubicBezTo>
                    <a:cubicBezTo>
                      <a:pt x="9" y="8"/>
                      <a:pt x="7" y="13"/>
                      <a:pt x="3" y="18"/>
                    </a:cubicBezTo>
                    <a:cubicBezTo>
                      <a:pt x="1" y="19"/>
                      <a:pt x="0" y="21"/>
                      <a:pt x="0" y="23"/>
                    </a:cubicBezTo>
                    <a:cubicBezTo>
                      <a:pt x="0" y="26"/>
                      <a:pt x="4" y="25"/>
                      <a:pt x="5" y="25"/>
                    </a:cubicBezTo>
                    <a:cubicBezTo>
                      <a:pt x="9" y="24"/>
                      <a:pt x="8" y="31"/>
                      <a:pt x="11" y="33"/>
                    </a:cubicBezTo>
                    <a:cubicBezTo>
                      <a:pt x="14" y="35"/>
                      <a:pt x="19" y="35"/>
                      <a:pt x="23" y="34"/>
                    </a:cubicBezTo>
                    <a:cubicBezTo>
                      <a:pt x="27" y="34"/>
                      <a:pt x="34" y="28"/>
                      <a:pt x="33" y="25"/>
                    </a:cubicBezTo>
                    <a:cubicBezTo>
                      <a:pt x="32" y="21"/>
                      <a:pt x="28" y="18"/>
                      <a:pt x="26" y="15"/>
                    </a:cubicBezTo>
                    <a:cubicBezTo>
                      <a:pt x="25" y="13"/>
                      <a:pt x="23" y="12"/>
                      <a:pt x="21" y="10"/>
                    </a:cubicBezTo>
                    <a:cubicBezTo>
                      <a:pt x="19" y="8"/>
                      <a:pt x="20" y="6"/>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17"/>
              <p:cNvSpPr>
                <a:spLocks/>
              </p:cNvSpPr>
              <p:nvPr/>
            </p:nvSpPr>
            <p:spPr bwMode="auto">
              <a:xfrm>
                <a:off x="3559176" y="3919538"/>
                <a:ext cx="3175" cy="3175"/>
              </a:xfrm>
              <a:custGeom>
                <a:avLst/>
                <a:gdLst>
                  <a:gd name="T0" fmla="*/ 4 w 4"/>
                  <a:gd name="T1" fmla="*/ 4 h 4"/>
                  <a:gd name="T2" fmla="*/ 4 w 4"/>
                  <a:gd name="T3" fmla="*/ 2 h 4"/>
                  <a:gd name="T4" fmla="*/ 1 w 4"/>
                  <a:gd name="T5" fmla="*/ 1 h 4"/>
                  <a:gd name="T6" fmla="*/ 1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4"/>
                      <a:pt x="4" y="3"/>
                      <a:pt x="4" y="2"/>
                    </a:cubicBezTo>
                    <a:cubicBezTo>
                      <a:pt x="3" y="2"/>
                      <a:pt x="2" y="1"/>
                      <a:pt x="1" y="1"/>
                    </a:cubicBezTo>
                    <a:cubicBezTo>
                      <a:pt x="0" y="0"/>
                      <a:pt x="0" y="1"/>
                      <a:pt x="1" y="2"/>
                    </a:cubicBezTo>
                    <a:cubicBezTo>
                      <a:pt x="2" y="3"/>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18"/>
              <p:cNvSpPr>
                <a:spLocks/>
              </p:cNvSpPr>
              <p:nvPr/>
            </p:nvSpPr>
            <p:spPr bwMode="auto">
              <a:xfrm>
                <a:off x="3606801" y="3940175"/>
                <a:ext cx="4763" cy="6350"/>
              </a:xfrm>
              <a:custGeom>
                <a:avLst/>
                <a:gdLst>
                  <a:gd name="T0" fmla="*/ 1 w 6"/>
                  <a:gd name="T1" fmla="*/ 1 h 8"/>
                  <a:gd name="T2" fmla="*/ 0 w 6"/>
                  <a:gd name="T3" fmla="*/ 4 h 8"/>
                  <a:gd name="T4" fmla="*/ 3 w 6"/>
                  <a:gd name="T5" fmla="*/ 6 h 8"/>
                  <a:gd name="T6" fmla="*/ 6 w 6"/>
                  <a:gd name="T7" fmla="*/ 8 h 8"/>
                  <a:gd name="T8" fmla="*/ 3 w 6"/>
                  <a:gd name="T9" fmla="*/ 3 h 8"/>
                  <a:gd name="T10" fmla="*/ 1 w 6"/>
                  <a:gd name="T11" fmla="*/ 1 h 8"/>
                </a:gdLst>
                <a:ahLst/>
                <a:cxnLst>
                  <a:cxn ang="0">
                    <a:pos x="T0" y="T1"/>
                  </a:cxn>
                  <a:cxn ang="0">
                    <a:pos x="T2" y="T3"/>
                  </a:cxn>
                  <a:cxn ang="0">
                    <a:pos x="T4" y="T5"/>
                  </a:cxn>
                  <a:cxn ang="0">
                    <a:pos x="T6" y="T7"/>
                  </a:cxn>
                  <a:cxn ang="0">
                    <a:pos x="T8" y="T9"/>
                  </a:cxn>
                  <a:cxn ang="0">
                    <a:pos x="T10" y="T11"/>
                  </a:cxn>
                </a:cxnLst>
                <a:rect l="0" t="0" r="r" b="b"/>
                <a:pathLst>
                  <a:path w="6" h="8">
                    <a:moveTo>
                      <a:pt x="1" y="1"/>
                    </a:moveTo>
                    <a:cubicBezTo>
                      <a:pt x="0" y="1"/>
                      <a:pt x="0" y="2"/>
                      <a:pt x="0" y="4"/>
                    </a:cubicBezTo>
                    <a:cubicBezTo>
                      <a:pt x="1" y="6"/>
                      <a:pt x="3" y="6"/>
                      <a:pt x="3" y="6"/>
                    </a:cubicBezTo>
                    <a:cubicBezTo>
                      <a:pt x="4" y="6"/>
                      <a:pt x="5" y="7"/>
                      <a:pt x="6" y="8"/>
                    </a:cubicBezTo>
                    <a:cubicBezTo>
                      <a:pt x="6" y="6"/>
                      <a:pt x="5" y="4"/>
                      <a:pt x="3" y="3"/>
                    </a:cubicBezTo>
                    <a:cubicBezTo>
                      <a:pt x="2"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19"/>
              <p:cNvSpPr>
                <a:spLocks/>
              </p:cNvSpPr>
              <p:nvPr/>
            </p:nvSpPr>
            <p:spPr bwMode="auto">
              <a:xfrm>
                <a:off x="3548063" y="3913188"/>
                <a:ext cx="4763" cy="4763"/>
              </a:xfrm>
              <a:custGeom>
                <a:avLst/>
                <a:gdLst>
                  <a:gd name="T0" fmla="*/ 5 w 7"/>
                  <a:gd name="T1" fmla="*/ 4 h 5"/>
                  <a:gd name="T2" fmla="*/ 6 w 7"/>
                  <a:gd name="T3" fmla="*/ 2 h 5"/>
                  <a:gd name="T4" fmla="*/ 4 w 7"/>
                  <a:gd name="T5" fmla="*/ 2 h 5"/>
                  <a:gd name="T6" fmla="*/ 0 w 7"/>
                  <a:gd name="T7" fmla="*/ 2 h 5"/>
                  <a:gd name="T8" fmla="*/ 2 w 7"/>
                  <a:gd name="T9" fmla="*/ 4 h 5"/>
                  <a:gd name="T10" fmla="*/ 5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5" y="4"/>
                    </a:moveTo>
                    <a:cubicBezTo>
                      <a:pt x="6" y="4"/>
                      <a:pt x="7" y="3"/>
                      <a:pt x="6" y="2"/>
                    </a:cubicBezTo>
                    <a:cubicBezTo>
                      <a:pt x="4" y="0"/>
                      <a:pt x="4" y="2"/>
                      <a:pt x="4" y="2"/>
                    </a:cubicBezTo>
                    <a:cubicBezTo>
                      <a:pt x="3" y="2"/>
                      <a:pt x="0" y="1"/>
                      <a:pt x="0" y="2"/>
                    </a:cubicBezTo>
                    <a:cubicBezTo>
                      <a:pt x="0" y="2"/>
                      <a:pt x="2" y="4"/>
                      <a:pt x="2" y="4"/>
                    </a:cubicBezTo>
                    <a:cubicBezTo>
                      <a:pt x="4" y="5"/>
                      <a:pt x="4"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20"/>
              <p:cNvSpPr>
                <a:spLocks/>
              </p:cNvSpPr>
              <p:nvPr/>
            </p:nvSpPr>
            <p:spPr bwMode="auto">
              <a:xfrm>
                <a:off x="3590926" y="3913188"/>
                <a:ext cx="1588" cy="3175"/>
              </a:xfrm>
              <a:custGeom>
                <a:avLst/>
                <a:gdLst>
                  <a:gd name="T0" fmla="*/ 3 w 4"/>
                  <a:gd name="T1" fmla="*/ 4 h 5"/>
                  <a:gd name="T2" fmla="*/ 1 w 4"/>
                  <a:gd name="T3" fmla="*/ 1 h 5"/>
                  <a:gd name="T4" fmla="*/ 1 w 4"/>
                  <a:gd name="T5" fmla="*/ 2 h 5"/>
                  <a:gd name="T6" fmla="*/ 3 w 4"/>
                  <a:gd name="T7" fmla="*/ 4 h 5"/>
                </a:gdLst>
                <a:ahLst/>
                <a:cxnLst>
                  <a:cxn ang="0">
                    <a:pos x="T0" y="T1"/>
                  </a:cxn>
                  <a:cxn ang="0">
                    <a:pos x="T2" y="T3"/>
                  </a:cxn>
                  <a:cxn ang="0">
                    <a:pos x="T4" y="T5"/>
                  </a:cxn>
                  <a:cxn ang="0">
                    <a:pos x="T6" y="T7"/>
                  </a:cxn>
                </a:cxnLst>
                <a:rect l="0" t="0" r="r" b="b"/>
                <a:pathLst>
                  <a:path w="4" h="5">
                    <a:moveTo>
                      <a:pt x="3" y="4"/>
                    </a:moveTo>
                    <a:cubicBezTo>
                      <a:pt x="3" y="2"/>
                      <a:pt x="2" y="1"/>
                      <a:pt x="1" y="1"/>
                    </a:cubicBezTo>
                    <a:cubicBezTo>
                      <a:pt x="0" y="0"/>
                      <a:pt x="0" y="1"/>
                      <a:pt x="1" y="2"/>
                    </a:cubicBezTo>
                    <a:cubicBezTo>
                      <a:pt x="2" y="3"/>
                      <a:pt x="4"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21"/>
              <p:cNvSpPr>
                <a:spLocks/>
              </p:cNvSpPr>
              <p:nvPr/>
            </p:nvSpPr>
            <p:spPr bwMode="auto">
              <a:xfrm>
                <a:off x="3546476" y="3933825"/>
                <a:ext cx="4763" cy="3175"/>
              </a:xfrm>
              <a:custGeom>
                <a:avLst/>
                <a:gdLst>
                  <a:gd name="T0" fmla="*/ 2 w 7"/>
                  <a:gd name="T1" fmla="*/ 3 h 5"/>
                  <a:gd name="T2" fmla="*/ 3 w 7"/>
                  <a:gd name="T3" fmla="*/ 3 h 5"/>
                  <a:gd name="T4" fmla="*/ 4 w 7"/>
                  <a:gd name="T5" fmla="*/ 3 h 5"/>
                  <a:gd name="T6" fmla="*/ 6 w 7"/>
                  <a:gd name="T7" fmla="*/ 2 h 5"/>
                  <a:gd name="T8" fmla="*/ 2 w 7"/>
                  <a:gd name="T9" fmla="*/ 0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2" y="3"/>
                      <a:pt x="2" y="3"/>
                      <a:pt x="3" y="3"/>
                    </a:cubicBezTo>
                    <a:cubicBezTo>
                      <a:pt x="3" y="2"/>
                      <a:pt x="4" y="3"/>
                      <a:pt x="4" y="3"/>
                    </a:cubicBezTo>
                    <a:cubicBezTo>
                      <a:pt x="5" y="3"/>
                      <a:pt x="7" y="5"/>
                      <a:pt x="6" y="2"/>
                    </a:cubicBezTo>
                    <a:cubicBezTo>
                      <a:pt x="5" y="1"/>
                      <a:pt x="3" y="1"/>
                      <a:pt x="2" y="0"/>
                    </a:cubicBezTo>
                    <a:cubicBezTo>
                      <a:pt x="1"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22"/>
              <p:cNvSpPr>
                <a:spLocks/>
              </p:cNvSpPr>
              <p:nvPr/>
            </p:nvSpPr>
            <p:spPr bwMode="auto">
              <a:xfrm>
                <a:off x="3575051" y="3914775"/>
                <a:ext cx="15875" cy="19050"/>
              </a:xfrm>
              <a:custGeom>
                <a:avLst/>
                <a:gdLst>
                  <a:gd name="T0" fmla="*/ 12 w 22"/>
                  <a:gd name="T1" fmla="*/ 6 h 25"/>
                  <a:gd name="T2" fmla="*/ 8 w 22"/>
                  <a:gd name="T3" fmla="*/ 3 h 25"/>
                  <a:gd name="T4" fmla="*/ 4 w 22"/>
                  <a:gd name="T5" fmla="*/ 1 h 25"/>
                  <a:gd name="T6" fmla="*/ 1 w 22"/>
                  <a:gd name="T7" fmla="*/ 2 h 25"/>
                  <a:gd name="T8" fmla="*/ 3 w 22"/>
                  <a:gd name="T9" fmla="*/ 9 h 25"/>
                  <a:gd name="T10" fmla="*/ 6 w 22"/>
                  <a:gd name="T11" fmla="*/ 11 h 25"/>
                  <a:gd name="T12" fmla="*/ 6 w 22"/>
                  <a:gd name="T13" fmla="*/ 8 h 25"/>
                  <a:gd name="T14" fmla="*/ 7 w 22"/>
                  <a:gd name="T15" fmla="*/ 8 h 25"/>
                  <a:gd name="T16" fmla="*/ 8 w 22"/>
                  <a:gd name="T17" fmla="*/ 11 h 25"/>
                  <a:gd name="T18" fmla="*/ 10 w 22"/>
                  <a:gd name="T19" fmla="*/ 14 h 25"/>
                  <a:gd name="T20" fmla="*/ 12 w 22"/>
                  <a:gd name="T21" fmla="*/ 19 h 25"/>
                  <a:gd name="T22" fmla="*/ 15 w 22"/>
                  <a:gd name="T23" fmla="*/ 23 h 25"/>
                  <a:gd name="T24" fmla="*/ 17 w 22"/>
                  <a:gd name="T25" fmla="*/ 24 h 25"/>
                  <a:gd name="T26" fmla="*/ 17 w 22"/>
                  <a:gd name="T27" fmla="*/ 23 h 25"/>
                  <a:gd name="T28" fmla="*/ 17 w 22"/>
                  <a:gd name="T29" fmla="*/ 23 h 25"/>
                  <a:gd name="T30" fmla="*/ 16 w 22"/>
                  <a:gd name="T31" fmla="*/ 19 h 25"/>
                  <a:gd name="T32" fmla="*/ 17 w 22"/>
                  <a:gd name="T33" fmla="*/ 18 h 25"/>
                  <a:gd name="T34" fmla="*/ 19 w 22"/>
                  <a:gd name="T35" fmla="*/ 18 h 25"/>
                  <a:gd name="T36" fmla="*/ 19 w 22"/>
                  <a:gd name="T37" fmla="*/ 16 h 25"/>
                  <a:gd name="T38" fmla="*/ 20 w 22"/>
                  <a:gd name="T39" fmla="*/ 13 h 25"/>
                  <a:gd name="T40" fmla="*/ 18 w 22"/>
                  <a:gd name="T41" fmla="*/ 9 h 25"/>
                  <a:gd name="T42" fmla="*/ 17 w 22"/>
                  <a:gd name="T43" fmla="*/ 6 h 25"/>
                  <a:gd name="T44" fmla="*/ 14 w 22"/>
                  <a:gd name="T45" fmla="*/ 4 h 25"/>
                  <a:gd name="T46" fmla="*/ 14 w 22"/>
                  <a:gd name="T47" fmla="*/ 6 h 25"/>
                  <a:gd name="T48" fmla="*/ 12 w 22"/>
                  <a:gd name="T4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25">
                    <a:moveTo>
                      <a:pt x="12" y="6"/>
                    </a:moveTo>
                    <a:cubicBezTo>
                      <a:pt x="10" y="5"/>
                      <a:pt x="9" y="4"/>
                      <a:pt x="8" y="3"/>
                    </a:cubicBezTo>
                    <a:cubicBezTo>
                      <a:pt x="7" y="2"/>
                      <a:pt x="5" y="1"/>
                      <a:pt x="4" y="1"/>
                    </a:cubicBezTo>
                    <a:cubicBezTo>
                      <a:pt x="2" y="0"/>
                      <a:pt x="2" y="1"/>
                      <a:pt x="1" y="2"/>
                    </a:cubicBezTo>
                    <a:cubicBezTo>
                      <a:pt x="0" y="4"/>
                      <a:pt x="0" y="6"/>
                      <a:pt x="3" y="9"/>
                    </a:cubicBezTo>
                    <a:cubicBezTo>
                      <a:pt x="4" y="11"/>
                      <a:pt x="6" y="12"/>
                      <a:pt x="6" y="11"/>
                    </a:cubicBezTo>
                    <a:cubicBezTo>
                      <a:pt x="7" y="10"/>
                      <a:pt x="6" y="9"/>
                      <a:pt x="6" y="8"/>
                    </a:cubicBezTo>
                    <a:cubicBezTo>
                      <a:pt x="6" y="6"/>
                      <a:pt x="7" y="7"/>
                      <a:pt x="7" y="8"/>
                    </a:cubicBezTo>
                    <a:cubicBezTo>
                      <a:pt x="8" y="9"/>
                      <a:pt x="8" y="10"/>
                      <a:pt x="8" y="11"/>
                    </a:cubicBezTo>
                    <a:cubicBezTo>
                      <a:pt x="9" y="12"/>
                      <a:pt x="10" y="13"/>
                      <a:pt x="10" y="14"/>
                    </a:cubicBezTo>
                    <a:cubicBezTo>
                      <a:pt x="10" y="16"/>
                      <a:pt x="10" y="17"/>
                      <a:pt x="12" y="19"/>
                    </a:cubicBezTo>
                    <a:cubicBezTo>
                      <a:pt x="13" y="20"/>
                      <a:pt x="14" y="21"/>
                      <a:pt x="15" y="23"/>
                    </a:cubicBezTo>
                    <a:cubicBezTo>
                      <a:pt x="16" y="24"/>
                      <a:pt x="17" y="25"/>
                      <a:pt x="17" y="24"/>
                    </a:cubicBezTo>
                    <a:cubicBezTo>
                      <a:pt x="17" y="24"/>
                      <a:pt x="17" y="23"/>
                      <a:pt x="17" y="23"/>
                    </a:cubicBezTo>
                    <a:cubicBezTo>
                      <a:pt x="17" y="23"/>
                      <a:pt x="17" y="23"/>
                      <a:pt x="17" y="23"/>
                    </a:cubicBezTo>
                    <a:cubicBezTo>
                      <a:pt x="18" y="22"/>
                      <a:pt x="17" y="20"/>
                      <a:pt x="16" y="19"/>
                    </a:cubicBezTo>
                    <a:cubicBezTo>
                      <a:pt x="15" y="17"/>
                      <a:pt x="16" y="17"/>
                      <a:pt x="17" y="18"/>
                    </a:cubicBezTo>
                    <a:cubicBezTo>
                      <a:pt x="19" y="19"/>
                      <a:pt x="20" y="21"/>
                      <a:pt x="19" y="18"/>
                    </a:cubicBezTo>
                    <a:cubicBezTo>
                      <a:pt x="18" y="16"/>
                      <a:pt x="18" y="15"/>
                      <a:pt x="19" y="16"/>
                    </a:cubicBezTo>
                    <a:cubicBezTo>
                      <a:pt x="20" y="16"/>
                      <a:pt x="22" y="15"/>
                      <a:pt x="20" y="13"/>
                    </a:cubicBezTo>
                    <a:cubicBezTo>
                      <a:pt x="20" y="11"/>
                      <a:pt x="18" y="11"/>
                      <a:pt x="18" y="9"/>
                    </a:cubicBezTo>
                    <a:cubicBezTo>
                      <a:pt x="17" y="8"/>
                      <a:pt x="17" y="7"/>
                      <a:pt x="17" y="6"/>
                    </a:cubicBezTo>
                    <a:cubicBezTo>
                      <a:pt x="16" y="5"/>
                      <a:pt x="14" y="3"/>
                      <a:pt x="14" y="4"/>
                    </a:cubicBezTo>
                    <a:cubicBezTo>
                      <a:pt x="13" y="4"/>
                      <a:pt x="14" y="5"/>
                      <a:pt x="14" y="6"/>
                    </a:cubicBezTo>
                    <a:cubicBezTo>
                      <a:pt x="14" y="7"/>
                      <a:pt x="12"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23"/>
              <p:cNvSpPr>
                <a:spLocks/>
              </p:cNvSpPr>
              <p:nvPr/>
            </p:nvSpPr>
            <p:spPr bwMode="auto">
              <a:xfrm>
                <a:off x="3586163" y="3914775"/>
                <a:ext cx="1588" cy="3175"/>
              </a:xfrm>
              <a:custGeom>
                <a:avLst/>
                <a:gdLst>
                  <a:gd name="T0" fmla="*/ 2 w 2"/>
                  <a:gd name="T1" fmla="*/ 4 h 4"/>
                  <a:gd name="T2" fmla="*/ 2 w 2"/>
                  <a:gd name="T3" fmla="*/ 2 h 4"/>
                  <a:gd name="T4" fmla="*/ 0 w 2"/>
                  <a:gd name="T5" fmla="*/ 1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4"/>
                      <a:pt x="2" y="2"/>
                      <a:pt x="2" y="2"/>
                    </a:cubicBezTo>
                    <a:cubicBezTo>
                      <a:pt x="1" y="1"/>
                      <a:pt x="1" y="1"/>
                      <a:pt x="0" y="1"/>
                    </a:cubicBezTo>
                    <a:cubicBezTo>
                      <a:pt x="0" y="0"/>
                      <a:pt x="0" y="2"/>
                      <a:pt x="1" y="3"/>
                    </a:cubicBezTo>
                    <a:cubicBezTo>
                      <a:pt x="1" y="3"/>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24"/>
              <p:cNvSpPr>
                <a:spLocks/>
              </p:cNvSpPr>
              <p:nvPr/>
            </p:nvSpPr>
            <p:spPr bwMode="auto">
              <a:xfrm>
                <a:off x="3621088" y="3998913"/>
                <a:ext cx="20638" cy="76200"/>
              </a:xfrm>
              <a:custGeom>
                <a:avLst/>
                <a:gdLst>
                  <a:gd name="T0" fmla="*/ 2 w 27"/>
                  <a:gd name="T1" fmla="*/ 30 h 100"/>
                  <a:gd name="T2" fmla="*/ 3 w 27"/>
                  <a:gd name="T3" fmla="*/ 36 h 100"/>
                  <a:gd name="T4" fmla="*/ 2 w 27"/>
                  <a:gd name="T5" fmla="*/ 44 h 100"/>
                  <a:gd name="T6" fmla="*/ 3 w 27"/>
                  <a:gd name="T7" fmla="*/ 53 h 100"/>
                  <a:gd name="T8" fmla="*/ 2 w 27"/>
                  <a:gd name="T9" fmla="*/ 60 h 100"/>
                  <a:gd name="T10" fmla="*/ 1 w 27"/>
                  <a:gd name="T11" fmla="*/ 63 h 100"/>
                  <a:gd name="T12" fmla="*/ 2 w 27"/>
                  <a:gd name="T13" fmla="*/ 68 h 100"/>
                  <a:gd name="T14" fmla="*/ 1 w 27"/>
                  <a:gd name="T15" fmla="*/ 79 h 100"/>
                  <a:gd name="T16" fmla="*/ 9 w 27"/>
                  <a:gd name="T17" fmla="*/ 90 h 100"/>
                  <a:gd name="T18" fmla="*/ 11 w 27"/>
                  <a:gd name="T19" fmla="*/ 96 h 100"/>
                  <a:gd name="T20" fmla="*/ 14 w 27"/>
                  <a:gd name="T21" fmla="*/ 98 h 100"/>
                  <a:gd name="T22" fmla="*/ 18 w 27"/>
                  <a:gd name="T23" fmla="*/ 99 h 100"/>
                  <a:gd name="T24" fmla="*/ 14 w 27"/>
                  <a:gd name="T25" fmla="*/ 91 h 100"/>
                  <a:gd name="T26" fmla="*/ 9 w 27"/>
                  <a:gd name="T27" fmla="*/ 76 h 100"/>
                  <a:gd name="T28" fmla="*/ 9 w 27"/>
                  <a:gd name="T29" fmla="*/ 59 h 100"/>
                  <a:gd name="T30" fmla="*/ 10 w 27"/>
                  <a:gd name="T31" fmla="*/ 56 h 100"/>
                  <a:gd name="T32" fmla="*/ 9 w 27"/>
                  <a:gd name="T33" fmla="*/ 51 h 100"/>
                  <a:gd name="T34" fmla="*/ 9 w 27"/>
                  <a:gd name="T35" fmla="*/ 49 h 100"/>
                  <a:gd name="T36" fmla="*/ 8 w 27"/>
                  <a:gd name="T37" fmla="*/ 43 h 100"/>
                  <a:gd name="T38" fmla="*/ 11 w 27"/>
                  <a:gd name="T39" fmla="*/ 42 h 100"/>
                  <a:gd name="T40" fmla="*/ 11 w 27"/>
                  <a:gd name="T41" fmla="*/ 38 h 100"/>
                  <a:gd name="T42" fmla="*/ 13 w 27"/>
                  <a:gd name="T43" fmla="*/ 36 h 100"/>
                  <a:gd name="T44" fmla="*/ 15 w 27"/>
                  <a:gd name="T45" fmla="*/ 31 h 100"/>
                  <a:gd name="T46" fmla="*/ 17 w 27"/>
                  <a:gd name="T47" fmla="*/ 25 h 100"/>
                  <a:gd name="T48" fmla="*/ 21 w 27"/>
                  <a:gd name="T49" fmla="*/ 19 h 100"/>
                  <a:gd name="T50" fmla="*/ 25 w 27"/>
                  <a:gd name="T51" fmla="*/ 18 h 100"/>
                  <a:gd name="T52" fmla="*/ 26 w 27"/>
                  <a:gd name="T53" fmla="*/ 6 h 100"/>
                  <a:gd name="T54" fmla="*/ 20 w 27"/>
                  <a:gd name="T55" fmla="*/ 2 h 100"/>
                  <a:gd name="T56" fmla="*/ 18 w 27"/>
                  <a:gd name="T57" fmla="*/ 9 h 100"/>
                  <a:gd name="T58" fmla="*/ 14 w 27"/>
                  <a:gd name="T59" fmla="*/ 10 h 100"/>
                  <a:gd name="T60" fmla="*/ 11 w 27"/>
                  <a:gd name="T61" fmla="*/ 9 h 100"/>
                  <a:gd name="T62" fmla="*/ 8 w 27"/>
                  <a:gd name="T63" fmla="*/ 11 h 100"/>
                  <a:gd name="T64" fmla="*/ 6 w 27"/>
                  <a:gd name="T65" fmla="*/ 14 h 100"/>
                  <a:gd name="T66" fmla="*/ 5 w 27"/>
                  <a:gd name="T67" fmla="*/ 23 h 100"/>
                  <a:gd name="T68" fmla="*/ 2 w 27"/>
                  <a:gd name="T6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100">
                    <a:moveTo>
                      <a:pt x="1" y="24"/>
                    </a:moveTo>
                    <a:cubicBezTo>
                      <a:pt x="0" y="24"/>
                      <a:pt x="1" y="29"/>
                      <a:pt x="2" y="30"/>
                    </a:cubicBezTo>
                    <a:cubicBezTo>
                      <a:pt x="2" y="31"/>
                      <a:pt x="3" y="31"/>
                      <a:pt x="3" y="32"/>
                    </a:cubicBezTo>
                    <a:cubicBezTo>
                      <a:pt x="3" y="33"/>
                      <a:pt x="3" y="35"/>
                      <a:pt x="3" y="36"/>
                    </a:cubicBezTo>
                    <a:cubicBezTo>
                      <a:pt x="3" y="37"/>
                      <a:pt x="3" y="38"/>
                      <a:pt x="2" y="39"/>
                    </a:cubicBezTo>
                    <a:cubicBezTo>
                      <a:pt x="2" y="41"/>
                      <a:pt x="2" y="42"/>
                      <a:pt x="2" y="44"/>
                    </a:cubicBezTo>
                    <a:cubicBezTo>
                      <a:pt x="2" y="45"/>
                      <a:pt x="0" y="48"/>
                      <a:pt x="2" y="49"/>
                    </a:cubicBezTo>
                    <a:cubicBezTo>
                      <a:pt x="3" y="50"/>
                      <a:pt x="3" y="52"/>
                      <a:pt x="3" y="53"/>
                    </a:cubicBezTo>
                    <a:cubicBezTo>
                      <a:pt x="3" y="54"/>
                      <a:pt x="3" y="55"/>
                      <a:pt x="2" y="55"/>
                    </a:cubicBezTo>
                    <a:cubicBezTo>
                      <a:pt x="1" y="55"/>
                      <a:pt x="1" y="57"/>
                      <a:pt x="2" y="60"/>
                    </a:cubicBezTo>
                    <a:cubicBezTo>
                      <a:pt x="2" y="61"/>
                      <a:pt x="1" y="61"/>
                      <a:pt x="1" y="60"/>
                    </a:cubicBezTo>
                    <a:cubicBezTo>
                      <a:pt x="0" y="60"/>
                      <a:pt x="1" y="62"/>
                      <a:pt x="1" y="63"/>
                    </a:cubicBezTo>
                    <a:cubicBezTo>
                      <a:pt x="1" y="65"/>
                      <a:pt x="1" y="64"/>
                      <a:pt x="2" y="65"/>
                    </a:cubicBezTo>
                    <a:cubicBezTo>
                      <a:pt x="2" y="66"/>
                      <a:pt x="2" y="67"/>
                      <a:pt x="2" y="68"/>
                    </a:cubicBezTo>
                    <a:cubicBezTo>
                      <a:pt x="2" y="70"/>
                      <a:pt x="3" y="73"/>
                      <a:pt x="1" y="73"/>
                    </a:cubicBezTo>
                    <a:cubicBezTo>
                      <a:pt x="0" y="72"/>
                      <a:pt x="1" y="77"/>
                      <a:pt x="1" y="79"/>
                    </a:cubicBezTo>
                    <a:cubicBezTo>
                      <a:pt x="3" y="83"/>
                      <a:pt x="4" y="82"/>
                      <a:pt x="6" y="83"/>
                    </a:cubicBezTo>
                    <a:cubicBezTo>
                      <a:pt x="6" y="83"/>
                      <a:pt x="9" y="89"/>
                      <a:pt x="9" y="90"/>
                    </a:cubicBezTo>
                    <a:cubicBezTo>
                      <a:pt x="9" y="91"/>
                      <a:pt x="8" y="92"/>
                      <a:pt x="9" y="94"/>
                    </a:cubicBezTo>
                    <a:cubicBezTo>
                      <a:pt x="9" y="95"/>
                      <a:pt x="10" y="95"/>
                      <a:pt x="11" y="96"/>
                    </a:cubicBezTo>
                    <a:cubicBezTo>
                      <a:pt x="12" y="96"/>
                      <a:pt x="12" y="96"/>
                      <a:pt x="13" y="98"/>
                    </a:cubicBezTo>
                    <a:cubicBezTo>
                      <a:pt x="13" y="99"/>
                      <a:pt x="14" y="98"/>
                      <a:pt x="14" y="98"/>
                    </a:cubicBezTo>
                    <a:cubicBezTo>
                      <a:pt x="14" y="97"/>
                      <a:pt x="15" y="96"/>
                      <a:pt x="16" y="97"/>
                    </a:cubicBezTo>
                    <a:cubicBezTo>
                      <a:pt x="16" y="98"/>
                      <a:pt x="17" y="100"/>
                      <a:pt x="18" y="99"/>
                    </a:cubicBezTo>
                    <a:cubicBezTo>
                      <a:pt x="18" y="98"/>
                      <a:pt x="16" y="95"/>
                      <a:pt x="16" y="94"/>
                    </a:cubicBezTo>
                    <a:cubicBezTo>
                      <a:pt x="15" y="93"/>
                      <a:pt x="15" y="93"/>
                      <a:pt x="14" y="91"/>
                    </a:cubicBezTo>
                    <a:cubicBezTo>
                      <a:pt x="14" y="89"/>
                      <a:pt x="13" y="88"/>
                      <a:pt x="12" y="87"/>
                    </a:cubicBezTo>
                    <a:cubicBezTo>
                      <a:pt x="11" y="84"/>
                      <a:pt x="10" y="79"/>
                      <a:pt x="9" y="76"/>
                    </a:cubicBezTo>
                    <a:cubicBezTo>
                      <a:pt x="9" y="72"/>
                      <a:pt x="8" y="69"/>
                      <a:pt x="9" y="66"/>
                    </a:cubicBezTo>
                    <a:cubicBezTo>
                      <a:pt x="9" y="64"/>
                      <a:pt x="8" y="59"/>
                      <a:pt x="9" y="59"/>
                    </a:cubicBezTo>
                    <a:cubicBezTo>
                      <a:pt x="10" y="59"/>
                      <a:pt x="9" y="58"/>
                      <a:pt x="9" y="56"/>
                    </a:cubicBezTo>
                    <a:cubicBezTo>
                      <a:pt x="9" y="56"/>
                      <a:pt x="10" y="56"/>
                      <a:pt x="10" y="56"/>
                    </a:cubicBezTo>
                    <a:cubicBezTo>
                      <a:pt x="10" y="55"/>
                      <a:pt x="9" y="54"/>
                      <a:pt x="9" y="53"/>
                    </a:cubicBezTo>
                    <a:cubicBezTo>
                      <a:pt x="8" y="53"/>
                      <a:pt x="8" y="51"/>
                      <a:pt x="9" y="51"/>
                    </a:cubicBezTo>
                    <a:cubicBezTo>
                      <a:pt x="9" y="52"/>
                      <a:pt x="10" y="53"/>
                      <a:pt x="10" y="52"/>
                    </a:cubicBezTo>
                    <a:cubicBezTo>
                      <a:pt x="10" y="52"/>
                      <a:pt x="9" y="49"/>
                      <a:pt x="9" y="49"/>
                    </a:cubicBezTo>
                    <a:cubicBezTo>
                      <a:pt x="11" y="49"/>
                      <a:pt x="9" y="46"/>
                      <a:pt x="8" y="45"/>
                    </a:cubicBezTo>
                    <a:cubicBezTo>
                      <a:pt x="7" y="44"/>
                      <a:pt x="7" y="42"/>
                      <a:pt x="8" y="43"/>
                    </a:cubicBezTo>
                    <a:cubicBezTo>
                      <a:pt x="9" y="43"/>
                      <a:pt x="10" y="45"/>
                      <a:pt x="11" y="46"/>
                    </a:cubicBezTo>
                    <a:cubicBezTo>
                      <a:pt x="11" y="46"/>
                      <a:pt x="11" y="43"/>
                      <a:pt x="11" y="42"/>
                    </a:cubicBezTo>
                    <a:cubicBezTo>
                      <a:pt x="10" y="41"/>
                      <a:pt x="11" y="41"/>
                      <a:pt x="11" y="41"/>
                    </a:cubicBezTo>
                    <a:cubicBezTo>
                      <a:pt x="12" y="40"/>
                      <a:pt x="11" y="39"/>
                      <a:pt x="11" y="38"/>
                    </a:cubicBezTo>
                    <a:cubicBezTo>
                      <a:pt x="11" y="37"/>
                      <a:pt x="11" y="37"/>
                      <a:pt x="12" y="37"/>
                    </a:cubicBezTo>
                    <a:cubicBezTo>
                      <a:pt x="13" y="38"/>
                      <a:pt x="13" y="38"/>
                      <a:pt x="13" y="36"/>
                    </a:cubicBezTo>
                    <a:cubicBezTo>
                      <a:pt x="13" y="35"/>
                      <a:pt x="13" y="33"/>
                      <a:pt x="13" y="33"/>
                    </a:cubicBezTo>
                    <a:cubicBezTo>
                      <a:pt x="14" y="32"/>
                      <a:pt x="15" y="32"/>
                      <a:pt x="15" y="31"/>
                    </a:cubicBezTo>
                    <a:cubicBezTo>
                      <a:pt x="15" y="30"/>
                      <a:pt x="15" y="28"/>
                      <a:pt x="15" y="27"/>
                    </a:cubicBezTo>
                    <a:cubicBezTo>
                      <a:pt x="16" y="27"/>
                      <a:pt x="17" y="26"/>
                      <a:pt x="17" y="25"/>
                    </a:cubicBezTo>
                    <a:cubicBezTo>
                      <a:pt x="18" y="24"/>
                      <a:pt x="18" y="21"/>
                      <a:pt x="19" y="22"/>
                    </a:cubicBezTo>
                    <a:cubicBezTo>
                      <a:pt x="20" y="22"/>
                      <a:pt x="21" y="20"/>
                      <a:pt x="21" y="19"/>
                    </a:cubicBezTo>
                    <a:cubicBezTo>
                      <a:pt x="22" y="18"/>
                      <a:pt x="22" y="18"/>
                      <a:pt x="23" y="18"/>
                    </a:cubicBezTo>
                    <a:cubicBezTo>
                      <a:pt x="23" y="18"/>
                      <a:pt x="24" y="19"/>
                      <a:pt x="25" y="18"/>
                    </a:cubicBezTo>
                    <a:cubicBezTo>
                      <a:pt x="26" y="17"/>
                      <a:pt x="26" y="16"/>
                      <a:pt x="27" y="13"/>
                    </a:cubicBezTo>
                    <a:cubicBezTo>
                      <a:pt x="27" y="11"/>
                      <a:pt x="27" y="9"/>
                      <a:pt x="26" y="6"/>
                    </a:cubicBezTo>
                    <a:cubicBezTo>
                      <a:pt x="26" y="4"/>
                      <a:pt x="25" y="2"/>
                      <a:pt x="23" y="1"/>
                    </a:cubicBezTo>
                    <a:cubicBezTo>
                      <a:pt x="22" y="0"/>
                      <a:pt x="21" y="2"/>
                      <a:pt x="20" y="2"/>
                    </a:cubicBezTo>
                    <a:cubicBezTo>
                      <a:pt x="19" y="3"/>
                      <a:pt x="19" y="4"/>
                      <a:pt x="19" y="6"/>
                    </a:cubicBezTo>
                    <a:cubicBezTo>
                      <a:pt x="20" y="8"/>
                      <a:pt x="19" y="8"/>
                      <a:pt x="18" y="9"/>
                    </a:cubicBezTo>
                    <a:cubicBezTo>
                      <a:pt x="18" y="9"/>
                      <a:pt x="17" y="10"/>
                      <a:pt x="17" y="10"/>
                    </a:cubicBezTo>
                    <a:cubicBezTo>
                      <a:pt x="16" y="11"/>
                      <a:pt x="15" y="10"/>
                      <a:pt x="14" y="10"/>
                    </a:cubicBezTo>
                    <a:cubicBezTo>
                      <a:pt x="14" y="10"/>
                      <a:pt x="14" y="11"/>
                      <a:pt x="13" y="11"/>
                    </a:cubicBezTo>
                    <a:cubicBezTo>
                      <a:pt x="12" y="10"/>
                      <a:pt x="12" y="9"/>
                      <a:pt x="11" y="9"/>
                    </a:cubicBezTo>
                    <a:cubicBezTo>
                      <a:pt x="9" y="8"/>
                      <a:pt x="10" y="10"/>
                      <a:pt x="10" y="12"/>
                    </a:cubicBezTo>
                    <a:cubicBezTo>
                      <a:pt x="10" y="15"/>
                      <a:pt x="9" y="11"/>
                      <a:pt x="8" y="11"/>
                    </a:cubicBezTo>
                    <a:cubicBezTo>
                      <a:pt x="8" y="11"/>
                      <a:pt x="8" y="13"/>
                      <a:pt x="8" y="13"/>
                    </a:cubicBezTo>
                    <a:cubicBezTo>
                      <a:pt x="8" y="14"/>
                      <a:pt x="7" y="13"/>
                      <a:pt x="6" y="14"/>
                    </a:cubicBezTo>
                    <a:cubicBezTo>
                      <a:pt x="5" y="15"/>
                      <a:pt x="7" y="19"/>
                      <a:pt x="5" y="18"/>
                    </a:cubicBezTo>
                    <a:cubicBezTo>
                      <a:pt x="3" y="17"/>
                      <a:pt x="6" y="22"/>
                      <a:pt x="5" y="23"/>
                    </a:cubicBezTo>
                    <a:cubicBezTo>
                      <a:pt x="4" y="24"/>
                      <a:pt x="4" y="23"/>
                      <a:pt x="3" y="22"/>
                    </a:cubicBezTo>
                    <a:cubicBezTo>
                      <a:pt x="2" y="22"/>
                      <a:pt x="2" y="24"/>
                      <a:pt x="2" y="24"/>
                    </a:cubicBezTo>
                    <a:cubicBezTo>
                      <a:pt x="2" y="25"/>
                      <a:pt x="1" y="24"/>
                      <a:pt x="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25"/>
              <p:cNvSpPr>
                <a:spLocks/>
              </p:cNvSpPr>
              <p:nvPr/>
            </p:nvSpPr>
            <p:spPr bwMode="auto">
              <a:xfrm>
                <a:off x="3667126" y="4056063"/>
                <a:ext cx="3175" cy="6350"/>
              </a:xfrm>
              <a:custGeom>
                <a:avLst/>
                <a:gdLst>
                  <a:gd name="T0" fmla="*/ 3 w 5"/>
                  <a:gd name="T1" fmla="*/ 7 h 8"/>
                  <a:gd name="T2" fmla="*/ 2 w 5"/>
                  <a:gd name="T3" fmla="*/ 1 h 8"/>
                  <a:gd name="T4" fmla="*/ 3 w 5"/>
                  <a:gd name="T5" fmla="*/ 7 h 8"/>
                </a:gdLst>
                <a:ahLst/>
                <a:cxnLst>
                  <a:cxn ang="0">
                    <a:pos x="T0" y="T1"/>
                  </a:cxn>
                  <a:cxn ang="0">
                    <a:pos x="T2" y="T3"/>
                  </a:cxn>
                  <a:cxn ang="0">
                    <a:pos x="T4" y="T5"/>
                  </a:cxn>
                </a:cxnLst>
                <a:rect l="0" t="0" r="r" b="b"/>
                <a:pathLst>
                  <a:path w="5" h="8">
                    <a:moveTo>
                      <a:pt x="3" y="7"/>
                    </a:moveTo>
                    <a:cubicBezTo>
                      <a:pt x="4" y="8"/>
                      <a:pt x="5" y="0"/>
                      <a:pt x="2" y="1"/>
                    </a:cubicBezTo>
                    <a:cubicBezTo>
                      <a:pt x="0" y="1"/>
                      <a:pt x="1"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26"/>
              <p:cNvSpPr>
                <a:spLocks/>
              </p:cNvSpPr>
              <p:nvPr/>
            </p:nvSpPr>
            <p:spPr bwMode="auto">
              <a:xfrm>
                <a:off x="3644901" y="3941763"/>
                <a:ext cx="3175" cy="6350"/>
              </a:xfrm>
              <a:custGeom>
                <a:avLst/>
                <a:gdLst>
                  <a:gd name="T0" fmla="*/ 3 w 4"/>
                  <a:gd name="T1" fmla="*/ 5 h 8"/>
                  <a:gd name="T2" fmla="*/ 1 w 4"/>
                  <a:gd name="T3" fmla="*/ 2 h 8"/>
                  <a:gd name="T4" fmla="*/ 0 w 4"/>
                  <a:gd name="T5" fmla="*/ 5 h 8"/>
                  <a:gd name="T6" fmla="*/ 3 w 4"/>
                  <a:gd name="T7" fmla="*/ 7 h 8"/>
                  <a:gd name="T8" fmla="*/ 3 w 4"/>
                  <a:gd name="T9" fmla="*/ 5 h 8"/>
                </a:gdLst>
                <a:ahLst/>
                <a:cxnLst>
                  <a:cxn ang="0">
                    <a:pos x="T0" y="T1"/>
                  </a:cxn>
                  <a:cxn ang="0">
                    <a:pos x="T2" y="T3"/>
                  </a:cxn>
                  <a:cxn ang="0">
                    <a:pos x="T4" y="T5"/>
                  </a:cxn>
                  <a:cxn ang="0">
                    <a:pos x="T6" y="T7"/>
                  </a:cxn>
                  <a:cxn ang="0">
                    <a:pos x="T8" y="T9"/>
                  </a:cxn>
                </a:cxnLst>
                <a:rect l="0" t="0" r="r" b="b"/>
                <a:pathLst>
                  <a:path w="4" h="8">
                    <a:moveTo>
                      <a:pt x="3" y="5"/>
                    </a:moveTo>
                    <a:cubicBezTo>
                      <a:pt x="3" y="4"/>
                      <a:pt x="1" y="0"/>
                      <a:pt x="1" y="2"/>
                    </a:cubicBezTo>
                    <a:cubicBezTo>
                      <a:pt x="0" y="2"/>
                      <a:pt x="0" y="3"/>
                      <a:pt x="0" y="5"/>
                    </a:cubicBezTo>
                    <a:cubicBezTo>
                      <a:pt x="1" y="6"/>
                      <a:pt x="2" y="6"/>
                      <a:pt x="3" y="7"/>
                    </a:cubicBezTo>
                    <a:cubicBezTo>
                      <a:pt x="4" y="8"/>
                      <a:pt x="4"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27"/>
              <p:cNvSpPr>
                <a:spLocks/>
              </p:cNvSpPr>
              <p:nvPr/>
            </p:nvSpPr>
            <p:spPr bwMode="auto">
              <a:xfrm>
                <a:off x="3644901" y="3963988"/>
                <a:ext cx="3175" cy="4763"/>
              </a:xfrm>
              <a:custGeom>
                <a:avLst/>
                <a:gdLst>
                  <a:gd name="T0" fmla="*/ 1 w 4"/>
                  <a:gd name="T1" fmla="*/ 2 h 6"/>
                  <a:gd name="T2" fmla="*/ 3 w 4"/>
                  <a:gd name="T3" fmla="*/ 5 h 6"/>
                  <a:gd name="T4" fmla="*/ 3 w 4"/>
                  <a:gd name="T5" fmla="*/ 4 h 6"/>
                  <a:gd name="T6" fmla="*/ 1 w 4"/>
                  <a:gd name="T7" fmla="*/ 1 h 6"/>
                  <a:gd name="T8" fmla="*/ 1 w 4"/>
                  <a:gd name="T9" fmla="*/ 2 h 6"/>
                </a:gdLst>
                <a:ahLst/>
                <a:cxnLst>
                  <a:cxn ang="0">
                    <a:pos x="T0" y="T1"/>
                  </a:cxn>
                  <a:cxn ang="0">
                    <a:pos x="T2" y="T3"/>
                  </a:cxn>
                  <a:cxn ang="0">
                    <a:pos x="T4" y="T5"/>
                  </a:cxn>
                  <a:cxn ang="0">
                    <a:pos x="T6" y="T7"/>
                  </a:cxn>
                  <a:cxn ang="0">
                    <a:pos x="T8" y="T9"/>
                  </a:cxn>
                </a:cxnLst>
                <a:rect l="0" t="0" r="r" b="b"/>
                <a:pathLst>
                  <a:path w="4" h="6">
                    <a:moveTo>
                      <a:pt x="1" y="2"/>
                    </a:moveTo>
                    <a:cubicBezTo>
                      <a:pt x="2" y="3"/>
                      <a:pt x="2" y="4"/>
                      <a:pt x="3" y="5"/>
                    </a:cubicBezTo>
                    <a:cubicBezTo>
                      <a:pt x="4" y="6"/>
                      <a:pt x="4" y="4"/>
                      <a:pt x="3" y="4"/>
                    </a:cubicBezTo>
                    <a:cubicBezTo>
                      <a:pt x="3" y="2"/>
                      <a:pt x="2" y="2"/>
                      <a:pt x="1" y="1"/>
                    </a:cubicBezTo>
                    <a:cubicBezTo>
                      <a:pt x="0"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28"/>
              <p:cNvSpPr>
                <a:spLocks/>
              </p:cNvSpPr>
              <p:nvPr/>
            </p:nvSpPr>
            <p:spPr bwMode="auto">
              <a:xfrm>
                <a:off x="3652838" y="4048125"/>
                <a:ext cx="1588" cy="4763"/>
              </a:xfrm>
              <a:custGeom>
                <a:avLst/>
                <a:gdLst>
                  <a:gd name="T0" fmla="*/ 4 w 4"/>
                  <a:gd name="T1" fmla="*/ 7 h 7"/>
                  <a:gd name="T2" fmla="*/ 2 w 4"/>
                  <a:gd name="T3" fmla="*/ 2 h 7"/>
                  <a:gd name="T4" fmla="*/ 1 w 4"/>
                  <a:gd name="T5" fmla="*/ 2 h 7"/>
                  <a:gd name="T6" fmla="*/ 2 w 4"/>
                  <a:gd name="T7" fmla="*/ 6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4" y="6"/>
                      <a:pt x="3" y="3"/>
                      <a:pt x="2" y="2"/>
                    </a:cubicBezTo>
                    <a:cubicBezTo>
                      <a:pt x="2" y="0"/>
                      <a:pt x="1" y="0"/>
                      <a:pt x="1" y="2"/>
                    </a:cubicBezTo>
                    <a:cubicBezTo>
                      <a:pt x="1" y="3"/>
                      <a:pt x="0" y="5"/>
                      <a:pt x="2" y="6"/>
                    </a:cubicBezTo>
                    <a:cubicBezTo>
                      <a:pt x="2" y="7"/>
                      <a:pt x="4" y="7"/>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29"/>
              <p:cNvSpPr>
                <a:spLocks/>
              </p:cNvSpPr>
              <p:nvPr/>
            </p:nvSpPr>
            <p:spPr bwMode="auto">
              <a:xfrm>
                <a:off x="3668713" y="4029075"/>
                <a:ext cx="1588" cy="4763"/>
              </a:xfrm>
              <a:custGeom>
                <a:avLst/>
                <a:gdLst>
                  <a:gd name="T0" fmla="*/ 1 w 3"/>
                  <a:gd name="T1" fmla="*/ 0 h 7"/>
                  <a:gd name="T2" fmla="*/ 0 w 3"/>
                  <a:gd name="T3" fmla="*/ 1 h 7"/>
                  <a:gd name="T4" fmla="*/ 1 w 3"/>
                  <a:gd name="T5" fmla="*/ 5 h 7"/>
                  <a:gd name="T6" fmla="*/ 1 w 3"/>
                  <a:gd name="T7" fmla="*/ 0 h 7"/>
                </a:gdLst>
                <a:ahLst/>
                <a:cxnLst>
                  <a:cxn ang="0">
                    <a:pos x="T0" y="T1"/>
                  </a:cxn>
                  <a:cxn ang="0">
                    <a:pos x="T2" y="T3"/>
                  </a:cxn>
                  <a:cxn ang="0">
                    <a:pos x="T4" y="T5"/>
                  </a:cxn>
                  <a:cxn ang="0">
                    <a:pos x="T6" y="T7"/>
                  </a:cxn>
                </a:cxnLst>
                <a:rect l="0" t="0" r="r" b="b"/>
                <a:pathLst>
                  <a:path w="3" h="7">
                    <a:moveTo>
                      <a:pt x="1" y="0"/>
                    </a:moveTo>
                    <a:cubicBezTo>
                      <a:pt x="1" y="0"/>
                      <a:pt x="0" y="0"/>
                      <a:pt x="0" y="1"/>
                    </a:cubicBezTo>
                    <a:cubicBezTo>
                      <a:pt x="0" y="2"/>
                      <a:pt x="0" y="4"/>
                      <a:pt x="1" y="5"/>
                    </a:cubicBezTo>
                    <a:cubicBezTo>
                      <a:pt x="3" y="7"/>
                      <a:pt x="2"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30"/>
              <p:cNvSpPr>
                <a:spLocks/>
              </p:cNvSpPr>
              <p:nvPr/>
            </p:nvSpPr>
            <p:spPr bwMode="auto">
              <a:xfrm>
                <a:off x="3678238" y="4008438"/>
                <a:ext cx="0" cy="3175"/>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0" y="2"/>
                      <a:pt x="0" y="1"/>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31"/>
              <p:cNvSpPr>
                <a:spLocks/>
              </p:cNvSpPr>
              <p:nvPr/>
            </p:nvSpPr>
            <p:spPr bwMode="auto">
              <a:xfrm>
                <a:off x="3605213" y="3913188"/>
                <a:ext cx="1588" cy="3175"/>
              </a:xfrm>
              <a:custGeom>
                <a:avLst/>
                <a:gdLst>
                  <a:gd name="T0" fmla="*/ 2 w 3"/>
                  <a:gd name="T1" fmla="*/ 3 h 4"/>
                  <a:gd name="T2" fmla="*/ 3 w 3"/>
                  <a:gd name="T3" fmla="*/ 2 h 4"/>
                  <a:gd name="T4" fmla="*/ 1 w 3"/>
                  <a:gd name="T5" fmla="*/ 1 h 4"/>
                  <a:gd name="T6" fmla="*/ 2 w 3"/>
                  <a:gd name="T7" fmla="*/ 3 h 4"/>
                </a:gdLst>
                <a:ahLst/>
                <a:cxnLst>
                  <a:cxn ang="0">
                    <a:pos x="T0" y="T1"/>
                  </a:cxn>
                  <a:cxn ang="0">
                    <a:pos x="T2" y="T3"/>
                  </a:cxn>
                  <a:cxn ang="0">
                    <a:pos x="T4" y="T5"/>
                  </a:cxn>
                  <a:cxn ang="0">
                    <a:pos x="T6" y="T7"/>
                  </a:cxn>
                </a:cxnLst>
                <a:rect l="0" t="0" r="r" b="b"/>
                <a:pathLst>
                  <a:path w="3" h="4">
                    <a:moveTo>
                      <a:pt x="2" y="3"/>
                    </a:moveTo>
                    <a:cubicBezTo>
                      <a:pt x="3" y="4"/>
                      <a:pt x="3" y="3"/>
                      <a:pt x="3" y="2"/>
                    </a:cubicBezTo>
                    <a:cubicBezTo>
                      <a:pt x="2" y="2"/>
                      <a:pt x="1" y="1"/>
                      <a:pt x="1" y="1"/>
                    </a:cubicBezTo>
                    <a:cubicBezTo>
                      <a:pt x="0" y="0"/>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32"/>
              <p:cNvSpPr>
                <a:spLocks/>
              </p:cNvSpPr>
              <p:nvPr/>
            </p:nvSpPr>
            <p:spPr bwMode="auto">
              <a:xfrm>
                <a:off x="3603626" y="3919538"/>
                <a:ext cx="1588" cy="3175"/>
              </a:xfrm>
              <a:custGeom>
                <a:avLst/>
                <a:gdLst>
                  <a:gd name="T0" fmla="*/ 1 w 3"/>
                  <a:gd name="T1" fmla="*/ 0 h 3"/>
                  <a:gd name="T2" fmla="*/ 2 w 3"/>
                  <a:gd name="T3" fmla="*/ 2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1" y="2"/>
                      <a:pt x="2" y="2"/>
                    </a:cubicBezTo>
                    <a:cubicBezTo>
                      <a:pt x="2" y="3"/>
                      <a:pt x="3" y="3"/>
                      <a:pt x="3"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33"/>
              <p:cNvSpPr>
                <a:spLocks/>
              </p:cNvSpPr>
              <p:nvPr/>
            </p:nvSpPr>
            <p:spPr bwMode="auto">
              <a:xfrm>
                <a:off x="3621088" y="4079875"/>
                <a:ext cx="4763" cy="11113"/>
              </a:xfrm>
              <a:custGeom>
                <a:avLst/>
                <a:gdLst>
                  <a:gd name="T0" fmla="*/ 0 w 6"/>
                  <a:gd name="T1" fmla="*/ 2 h 15"/>
                  <a:gd name="T2" fmla="*/ 0 w 6"/>
                  <a:gd name="T3" fmla="*/ 10 h 15"/>
                  <a:gd name="T4" fmla="*/ 3 w 6"/>
                  <a:gd name="T5" fmla="*/ 13 h 15"/>
                  <a:gd name="T6" fmla="*/ 5 w 6"/>
                  <a:gd name="T7" fmla="*/ 11 h 15"/>
                  <a:gd name="T8" fmla="*/ 5 w 6"/>
                  <a:gd name="T9" fmla="*/ 7 h 15"/>
                  <a:gd name="T10" fmla="*/ 5 w 6"/>
                  <a:gd name="T11" fmla="*/ 7 h 15"/>
                  <a:gd name="T12" fmla="*/ 0 w 6"/>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2"/>
                    </a:moveTo>
                    <a:cubicBezTo>
                      <a:pt x="0" y="4"/>
                      <a:pt x="0" y="7"/>
                      <a:pt x="0" y="10"/>
                    </a:cubicBezTo>
                    <a:cubicBezTo>
                      <a:pt x="1" y="14"/>
                      <a:pt x="3" y="15"/>
                      <a:pt x="3" y="13"/>
                    </a:cubicBezTo>
                    <a:cubicBezTo>
                      <a:pt x="4" y="12"/>
                      <a:pt x="4" y="12"/>
                      <a:pt x="5" y="11"/>
                    </a:cubicBezTo>
                    <a:cubicBezTo>
                      <a:pt x="6" y="9"/>
                      <a:pt x="5" y="9"/>
                      <a:pt x="5" y="7"/>
                    </a:cubicBezTo>
                    <a:cubicBezTo>
                      <a:pt x="5" y="7"/>
                      <a:pt x="5" y="7"/>
                      <a:pt x="5" y="7"/>
                    </a:cubicBezTo>
                    <a:cubicBezTo>
                      <a:pt x="4" y="6"/>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34"/>
              <p:cNvSpPr>
                <a:spLocks/>
              </p:cNvSpPr>
              <p:nvPr/>
            </p:nvSpPr>
            <p:spPr bwMode="auto">
              <a:xfrm>
                <a:off x="3602038" y="3919538"/>
                <a:ext cx="3175" cy="3175"/>
              </a:xfrm>
              <a:custGeom>
                <a:avLst/>
                <a:gdLst>
                  <a:gd name="T0" fmla="*/ 1 w 4"/>
                  <a:gd name="T1" fmla="*/ 1 h 4"/>
                  <a:gd name="T2" fmla="*/ 2 w 4"/>
                  <a:gd name="T3" fmla="*/ 4 h 4"/>
                  <a:gd name="T4" fmla="*/ 1 w 4"/>
                  <a:gd name="T5" fmla="*/ 1 h 4"/>
                </a:gdLst>
                <a:ahLst/>
                <a:cxnLst>
                  <a:cxn ang="0">
                    <a:pos x="T0" y="T1"/>
                  </a:cxn>
                  <a:cxn ang="0">
                    <a:pos x="T2" y="T3"/>
                  </a:cxn>
                  <a:cxn ang="0">
                    <a:pos x="T4" y="T5"/>
                  </a:cxn>
                </a:cxnLst>
                <a:rect l="0" t="0" r="r" b="b"/>
                <a:pathLst>
                  <a:path w="4" h="4">
                    <a:moveTo>
                      <a:pt x="1" y="1"/>
                    </a:moveTo>
                    <a:cubicBezTo>
                      <a:pt x="0" y="2"/>
                      <a:pt x="2" y="4"/>
                      <a:pt x="2" y="4"/>
                    </a:cubicBezTo>
                    <a:cubicBezTo>
                      <a:pt x="4" y="3"/>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35"/>
              <p:cNvSpPr>
                <a:spLocks/>
              </p:cNvSpPr>
              <p:nvPr/>
            </p:nvSpPr>
            <p:spPr bwMode="auto">
              <a:xfrm>
                <a:off x="3605213" y="3910013"/>
                <a:ext cx="4763" cy="6350"/>
              </a:xfrm>
              <a:custGeom>
                <a:avLst/>
                <a:gdLst>
                  <a:gd name="T0" fmla="*/ 1 w 6"/>
                  <a:gd name="T1" fmla="*/ 2 h 8"/>
                  <a:gd name="T2" fmla="*/ 5 w 6"/>
                  <a:gd name="T3" fmla="*/ 7 h 8"/>
                  <a:gd name="T4" fmla="*/ 1 w 6"/>
                  <a:gd name="T5" fmla="*/ 2 h 8"/>
                </a:gdLst>
                <a:ahLst/>
                <a:cxnLst>
                  <a:cxn ang="0">
                    <a:pos x="T0" y="T1"/>
                  </a:cxn>
                  <a:cxn ang="0">
                    <a:pos x="T2" y="T3"/>
                  </a:cxn>
                  <a:cxn ang="0">
                    <a:pos x="T4" y="T5"/>
                  </a:cxn>
                </a:cxnLst>
                <a:rect l="0" t="0" r="r" b="b"/>
                <a:pathLst>
                  <a:path w="6" h="8">
                    <a:moveTo>
                      <a:pt x="1" y="2"/>
                    </a:moveTo>
                    <a:cubicBezTo>
                      <a:pt x="1" y="4"/>
                      <a:pt x="6" y="8"/>
                      <a:pt x="5" y="7"/>
                    </a:cubicBezTo>
                    <a:cubicBezTo>
                      <a:pt x="5" y="4"/>
                      <a:pt x="0"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36"/>
              <p:cNvSpPr>
                <a:spLocks/>
              </p:cNvSpPr>
              <p:nvPr/>
            </p:nvSpPr>
            <p:spPr bwMode="auto">
              <a:xfrm>
                <a:off x="3592513" y="3930650"/>
                <a:ext cx="4763" cy="4763"/>
              </a:xfrm>
              <a:custGeom>
                <a:avLst/>
                <a:gdLst>
                  <a:gd name="T0" fmla="*/ 2 w 5"/>
                  <a:gd name="T1" fmla="*/ 5 h 7"/>
                  <a:gd name="T2" fmla="*/ 5 w 5"/>
                  <a:gd name="T3" fmla="*/ 5 h 7"/>
                  <a:gd name="T4" fmla="*/ 2 w 5"/>
                  <a:gd name="T5" fmla="*/ 2 h 7"/>
                  <a:gd name="T6" fmla="*/ 0 w 5"/>
                  <a:gd name="T7" fmla="*/ 1 h 7"/>
                  <a:gd name="T8" fmla="*/ 2 w 5"/>
                  <a:gd name="T9" fmla="*/ 5 h 7"/>
                </a:gdLst>
                <a:ahLst/>
                <a:cxnLst>
                  <a:cxn ang="0">
                    <a:pos x="T0" y="T1"/>
                  </a:cxn>
                  <a:cxn ang="0">
                    <a:pos x="T2" y="T3"/>
                  </a:cxn>
                  <a:cxn ang="0">
                    <a:pos x="T4" y="T5"/>
                  </a:cxn>
                  <a:cxn ang="0">
                    <a:pos x="T6" y="T7"/>
                  </a:cxn>
                  <a:cxn ang="0">
                    <a:pos x="T8" y="T9"/>
                  </a:cxn>
                </a:cxnLst>
                <a:rect l="0" t="0" r="r" b="b"/>
                <a:pathLst>
                  <a:path w="5" h="7">
                    <a:moveTo>
                      <a:pt x="2" y="5"/>
                    </a:moveTo>
                    <a:cubicBezTo>
                      <a:pt x="2" y="5"/>
                      <a:pt x="5" y="7"/>
                      <a:pt x="5" y="5"/>
                    </a:cubicBezTo>
                    <a:cubicBezTo>
                      <a:pt x="5" y="4"/>
                      <a:pt x="3" y="3"/>
                      <a:pt x="2" y="2"/>
                    </a:cubicBezTo>
                    <a:cubicBezTo>
                      <a:pt x="1" y="1"/>
                      <a:pt x="0" y="0"/>
                      <a:pt x="0" y="1"/>
                    </a:cubicBezTo>
                    <a:cubicBezTo>
                      <a:pt x="0" y="2"/>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37"/>
              <p:cNvSpPr>
                <a:spLocks/>
              </p:cNvSpPr>
              <p:nvPr/>
            </p:nvSpPr>
            <p:spPr bwMode="auto">
              <a:xfrm>
                <a:off x="3571876" y="4179888"/>
                <a:ext cx="3175" cy="11113"/>
              </a:xfrm>
              <a:custGeom>
                <a:avLst/>
                <a:gdLst>
                  <a:gd name="T0" fmla="*/ 3 w 4"/>
                  <a:gd name="T1" fmla="*/ 9 h 15"/>
                  <a:gd name="T2" fmla="*/ 3 w 4"/>
                  <a:gd name="T3" fmla="*/ 3 h 15"/>
                  <a:gd name="T4" fmla="*/ 1 w 4"/>
                  <a:gd name="T5" fmla="*/ 4 h 15"/>
                  <a:gd name="T6" fmla="*/ 1 w 4"/>
                  <a:gd name="T7" fmla="*/ 12 h 15"/>
                  <a:gd name="T8" fmla="*/ 3 w 4"/>
                  <a:gd name="T9" fmla="*/ 9 h 15"/>
                </a:gdLst>
                <a:ahLst/>
                <a:cxnLst>
                  <a:cxn ang="0">
                    <a:pos x="T0" y="T1"/>
                  </a:cxn>
                  <a:cxn ang="0">
                    <a:pos x="T2" y="T3"/>
                  </a:cxn>
                  <a:cxn ang="0">
                    <a:pos x="T4" y="T5"/>
                  </a:cxn>
                  <a:cxn ang="0">
                    <a:pos x="T6" y="T7"/>
                  </a:cxn>
                  <a:cxn ang="0">
                    <a:pos x="T8" y="T9"/>
                  </a:cxn>
                </a:cxnLst>
                <a:rect l="0" t="0" r="r" b="b"/>
                <a:pathLst>
                  <a:path w="4" h="15">
                    <a:moveTo>
                      <a:pt x="3" y="9"/>
                    </a:moveTo>
                    <a:cubicBezTo>
                      <a:pt x="3" y="7"/>
                      <a:pt x="4" y="5"/>
                      <a:pt x="3" y="3"/>
                    </a:cubicBezTo>
                    <a:cubicBezTo>
                      <a:pt x="2" y="0"/>
                      <a:pt x="1" y="2"/>
                      <a:pt x="1" y="4"/>
                    </a:cubicBezTo>
                    <a:cubicBezTo>
                      <a:pt x="0" y="6"/>
                      <a:pt x="0" y="9"/>
                      <a:pt x="1" y="12"/>
                    </a:cubicBezTo>
                    <a:cubicBezTo>
                      <a:pt x="2" y="15"/>
                      <a:pt x="3" y="10"/>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38"/>
              <p:cNvSpPr>
                <a:spLocks/>
              </p:cNvSpPr>
              <p:nvPr/>
            </p:nvSpPr>
            <p:spPr bwMode="auto">
              <a:xfrm>
                <a:off x="3605213" y="3924300"/>
                <a:ext cx="7938" cy="15875"/>
              </a:xfrm>
              <a:custGeom>
                <a:avLst/>
                <a:gdLst>
                  <a:gd name="T0" fmla="*/ 4 w 9"/>
                  <a:gd name="T1" fmla="*/ 6 h 23"/>
                  <a:gd name="T2" fmla="*/ 4 w 9"/>
                  <a:gd name="T3" fmla="*/ 4 h 23"/>
                  <a:gd name="T4" fmla="*/ 2 w 9"/>
                  <a:gd name="T5" fmla="*/ 1 h 23"/>
                  <a:gd name="T6" fmla="*/ 0 w 9"/>
                  <a:gd name="T7" fmla="*/ 5 h 23"/>
                  <a:gd name="T8" fmla="*/ 1 w 9"/>
                  <a:gd name="T9" fmla="*/ 7 h 23"/>
                  <a:gd name="T10" fmla="*/ 1 w 9"/>
                  <a:gd name="T11" fmla="*/ 11 h 23"/>
                  <a:gd name="T12" fmla="*/ 2 w 9"/>
                  <a:gd name="T13" fmla="*/ 15 h 23"/>
                  <a:gd name="T14" fmla="*/ 5 w 9"/>
                  <a:gd name="T15" fmla="*/ 20 h 23"/>
                  <a:gd name="T16" fmla="*/ 8 w 9"/>
                  <a:gd name="T17" fmla="*/ 19 h 23"/>
                  <a:gd name="T18" fmla="*/ 7 w 9"/>
                  <a:gd name="T19" fmla="*/ 15 h 23"/>
                  <a:gd name="T20" fmla="*/ 6 w 9"/>
                  <a:gd name="T21" fmla="*/ 12 h 23"/>
                  <a:gd name="T22" fmla="*/ 7 w 9"/>
                  <a:gd name="T23" fmla="*/ 13 h 23"/>
                  <a:gd name="T24" fmla="*/ 6 w 9"/>
                  <a:gd name="T25" fmla="*/ 8 h 23"/>
                  <a:gd name="T26" fmla="*/ 4 w 9"/>
                  <a:gd name="T2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3">
                    <a:moveTo>
                      <a:pt x="4" y="6"/>
                    </a:moveTo>
                    <a:cubicBezTo>
                      <a:pt x="4" y="5"/>
                      <a:pt x="4" y="5"/>
                      <a:pt x="4" y="4"/>
                    </a:cubicBezTo>
                    <a:cubicBezTo>
                      <a:pt x="3" y="3"/>
                      <a:pt x="2" y="0"/>
                      <a:pt x="2" y="1"/>
                    </a:cubicBezTo>
                    <a:cubicBezTo>
                      <a:pt x="1" y="2"/>
                      <a:pt x="0" y="3"/>
                      <a:pt x="0" y="5"/>
                    </a:cubicBezTo>
                    <a:cubicBezTo>
                      <a:pt x="1" y="6"/>
                      <a:pt x="3" y="7"/>
                      <a:pt x="1" y="7"/>
                    </a:cubicBezTo>
                    <a:cubicBezTo>
                      <a:pt x="0" y="8"/>
                      <a:pt x="1" y="9"/>
                      <a:pt x="1" y="11"/>
                    </a:cubicBezTo>
                    <a:cubicBezTo>
                      <a:pt x="1" y="13"/>
                      <a:pt x="1" y="14"/>
                      <a:pt x="2" y="15"/>
                    </a:cubicBezTo>
                    <a:cubicBezTo>
                      <a:pt x="3" y="17"/>
                      <a:pt x="4" y="20"/>
                      <a:pt x="5" y="20"/>
                    </a:cubicBezTo>
                    <a:cubicBezTo>
                      <a:pt x="4" y="16"/>
                      <a:pt x="9" y="23"/>
                      <a:pt x="8" y="19"/>
                    </a:cubicBezTo>
                    <a:cubicBezTo>
                      <a:pt x="8" y="18"/>
                      <a:pt x="7" y="17"/>
                      <a:pt x="7" y="15"/>
                    </a:cubicBezTo>
                    <a:cubicBezTo>
                      <a:pt x="6" y="14"/>
                      <a:pt x="5" y="13"/>
                      <a:pt x="6" y="12"/>
                    </a:cubicBezTo>
                    <a:cubicBezTo>
                      <a:pt x="6" y="12"/>
                      <a:pt x="7" y="13"/>
                      <a:pt x="7" y="13"/>
                    </a:cubicBezTo>
                    <a:cubicBezTo>
                      <a:pt x="9" y="13"/>
                      <a:pt x="6" y="9"/>
                      <a:pt x="6" y="8"/>
                    </a:cubicBezTo>
                    <a:cubicBezTo>
                      <a:pt x="5" y="8"/>
                      <a:pt x="4" y="7"/>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39"/>
              <p:cNvSpPr>
                <a:spLocks/>
              </p:cNvSpPr>
              <p:nvPr/>
            </p:nvSpPr>
            <p:spPr bwMode="auto">
              <a:xfrm>
                <a:off x="2917826" y="3887788"/>
                <a:ext cx="7938" cy="4763"/>
              </a:xfrm>
              <a:custGeom>
                <a:avLst/>
                <a:gdLst>
                  <a:gd name="T0" fmla="*/ 2 w 10"/>
                  <a:gd name="T1" fmla="*/ 6 h 6"/>
                  <a:gd name="T2" fmla="*/ 9 w 10"/>
                  <a:gd name="T3" fmla="*/ 5 h 6"/>
                  <a:gd name="T4" fmla="*/ 9 w 10"/>
                  <a:gd name="T5" fmla="*/ 2 h 6"/>
                  <a:gd name="T6" fmla="*/ 3 w 10"/>
                  <a:gd name="T7" fmla="*/ 2 h 6"/>
                  <a:gd name="T8" fmla="*/ 2 w 10"/>
                  <a:gd name="T9" fmla="*/ 6 h 6"/>
                </a:gdLst>
                <a:ahLst/>
                <a:cxnLst>
                  <a:cxn ang="0">
                    <a:pos x="T0" y="T1"/>
                  </a:cxn>
                  <a:cxn ang="0">
                    <a:pos x="T2" y="T3"/>
                  </a:cxn>
                  <a:cxn ang="0">
                    <a:pos x="T4" y="T5"/>
                  </a:cxn>
                  <a:cxn ang="0">
                    <a:pos x="T6" y="T7"/>
                  </a:cxn>
                  <a:cxn ang="0">
                    <a:pos x="T8" y="T9"/>
                  </a:cxn>
                </a:cxnLst>
                <a:rect l="0" t="0" r="r" b="b"/>
                <a:pathLst>
                  <a:path w="10" h="6">
                    <a:moveTo>
                      <a:pt x="2" y="6"/>
                    </a:moveTo>
                    <a:cubicBezTo>
                      <a:pt x="4" y="6"/>
                      <a:pt x="7" y="6"/>
                      <a:pt x="9" y="5"/>
                    </a:cubicBezTo>
                    <a:cubicBezTo>
                      <a:pt x="10" y="5"/>
                      <a:pt x="10" y="2"/>
                      <a:pt x="9" y="2"/>
                    </a:cubicBezTo>
                    <a:cubicBezTo>
                      <a:pt x="9" y="0"/>
                      <a:pt x="5" y="2"/>
                      <a:pt x="3" y="2"/>
                    </a:cubicBezTo>
                    <a:cubicBezTo>
                      <a:pt x="0" y="3"/>
                      <a:pt x="0"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40"/>
              <p:cNvSpPr>
                <a:spLocks/>
              </p:cNvSpPr>
              <p:nvPr/>
            </p:nvSpPr>
            <p:spPr bwMode="auto">
              <a:xfrm>
                <a:off x="2921001" y="3868738"/>
                <a:ext cx="7938" cy="6350"/>
              </a:xfrm>
              <a:custGeom>
                <a:avLst/>
                <a:gdLst>
                  <a:gd name="T0" fmla="*/ 5 w 11"/>
                  <a:gd name="T1" fmla="*/ 1 h 9"/>
                  <a:gd name="T2" fmla="*/ 8 w 11"/>
                  <a:gd name="T3" fmla="*/ 7 h 9"/>
                  <a:gd name="T4" fmla="*/ 10 w 11"/>
                  <a:gd name="T5" fmla="*/ 3 h 9"/>
                  <a:gd name="T6" fmla="*/ 5 w 11"/>
                  <a:gd name="T7" fmla="*/ 1 h 9"/>
                </a:gdLst>
                <a:ahLst/>
                <a:cxnLst>
                  <a:cxn ang="0">
                    <a:pos x="T0" y="T1"/>
                  </a:cxn>
                  <a:cxn ang="0">
                    <a:pos x="T2" y="T3"/>
                  </a:cxn>
                  <a:cxn ang="0">
                    <a:pos x="T4" y="T5"/>
                  </a:cxn>
                  <a:cxn ang="0">
                    <a:pos x="T6" y="T7"/>
                  </a:cxn>
                </a:cxnLst>
                <a:rect l="0" t="0" r="r" b="b"/>
                <a:pathLst>
                  <a:path w="11" h="9">
                    <a:moveTo>
                      <a:pt x="5" y="1"/>
                    </a:moveTo>
                    <a:cubicBezTo>
                      <a:pt x="0" y="3"/>
                      <a:pt x="4" y="9"/>
                      <a:pt x="8" y="7"/>
                    </a:cubicBezTo>
                    <a:cubicBezTo>
                      <a:pt x="9" y="5"/>
                      <a:pt x="11" y="4"/>
                      <a:pt x="10" y="3"/>
                    </a:cubicBezTo>
                    <a:cubicBezTo>
                      <a:pt x="9" y="2"/>
                      <a:pt x="8"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41"/>
              <p:cNvSpPr>
                <a:spLocks/>
              </p:cNvSpPr>
              <p:nvPr/>
            </p:nvSpPr>
            <p:spPr bwMode="auto">
              <a:xfrm>
                <a:off x="2925763" y="3883025"/>
                <a:ext cx="3175" cy="1588"/>
              </a:xfrm>
              <a:custGeom>
                <a:avLst/>
                <a:gdLst>
                  <a:gd name="T0" fmla="*/ 0 w 4"/>
                  <a:gd name="T1" fmla="*/ 0 h 3"/>
                  <a:gd name="T2" fmla="*/ 2 w 4"/>
                  <a:gd name="T3" fmla="*/ 3 h 3"/>
                  <a:gd name="T4" fmla="*/ 4 w 4"/>
                  <a:gd name="T5" fmla="*/ 1 h 3"/>
                  <a:gd name="T6" fmla="*/ 0 w 4"/>
                  <a:gd name="T7" fmla="*/ 0 h 3"/>
                </a:gdLst>
                <a:ahLst/>
                <a:cxnLst>
                  <a:cxn ang="0">
                    <a:pos x="T0" y="T1"/>
                  </a:cxn>
                  <a:cxn ang="0">
                    <a:pos x="T2" y="T3"/>
                  </a:cxn>
                  <a:cxn ang="0">
                    <a:pos x="T4" y="T5"/>
                  </a:cxn>
                  <a:cxn ang="0">
                    <a:pos x="T6" y="T7"/>
                  </a:cxn>
                </a:cxnLst>
                <a:rect l="0" t="0" r="r" b="b"/>
                <a:pathLst>
                  <a:path w="4" h="3">
                    <a:moveTo>
                      <a:pt x="0" y="0"/>
                    </a:moveTo>
                    <a:cubicBezTo>
                      <a:pt x="0" y="1"/>
                      <a:pt x="0" y="3"/>
                      <a:pt x="2" y="3"/>
                    </a:cubicBezTo>
                    <a:cubicBezTo>
                      <a:pt x="3" y="3"/>
                      <a:pt x="4" y="2"/>
                      <a:pt x="4" y="1"/>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42"/>
              <p:cNvSpPr>
                <a:spLocks/>
              </p:cNvSpPr>
              <p:nvPr/>
            </p:nvSpPr>
            <p:spPr bwMode="auto">
              <a:xfrm>
                <a:off x="3052763" y="4291013"/>
                <a:ext cx="6350" cy="6350"/>
              </a:xfrm>
              <a:custGeom>
                <a:avLst/>
                <a:gdLst>
                  <a:gd name="T0" fmla="*/ 0 w 8"/>
                  <a:gd name="T1" fmla="*/ 5 h 8"/>
                  <a:gd name="T2" fmla="*/ 8 w 8"/>
                  <a:gd name="T3" fmla="*/ 8 h 8"/>
                  <a:gd name="T4" fmla="*/ 8 w 8"/>
                  <a:gd name="T5" fmla="*/ 4 h 8"/>
                  <a:gd name="T6" fmla="*/ 0 w 8"/>
                  <a:gd name="T7" fmla="*/ 5 h 8"/>
                </a:gdLst>
                <a:ahLst/>
                <a:cxnLst>
                  <a:cxn ang="0">
                    <a:pos x="T0" y="T1"/>
                  </a:cxn>
                  <a:cxn ang="0">
                    <a:pos x="T2" y="T3"/>
                  </a:cxn>
                  <a:cxn ang="0">
                    <a:pos x="T4" y="T5"/>
                  </a:cxn>
                  <a:cxn ang="0">
                    <a:pos x="T6" y="T7"/>
                  </a:cxn>
                </a:cxnLst>
                <a:rect l="0" t="0" r="r" b="b"/>
                <a:pathLst>
                  <a:path w="8" h="8">
                    <a:moveTo>
                      <a:pt x="0" y="5"/>
                    </a:moveTo>
                    <a:cubicBezTo>
                      <a:pt x="2" y="6"/>
                      <a:pt x="5" y="7"/>
                      <a:pt x="8" y="8"/>
                    </a:cubicBezTo>
                    <a:cubicBezTo>
                      <a:pt x="7" y="8"/>
                      <a:pt x="8" y="7"/>
                      <a:pt x="8" y="4"/>
                    </a:cubicBezTo>
                    <a:cubicBezTo>
                      <a:pt x="8" y="0"/>
                      <a:pt x="3"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43"/>
              <p:cNvSpPr>
                <a:spLocks/>
              </p:cNvSpPr>
              <p:nvPr/>
            </p:nvSpPr>
            <p:spPr bwMode="auto">
              <a:xfrm>
                <a:off x="3181351" y="4341813"/>
                <a:ext cx="3175" cy="1588"/>
              </a:xfrm>
              <a:custGeom>
                <a:avLst/>
                <a:gdLst>
                  <a:gd name="T0" fmla="*/ 0 w 5"/>
                  <a:gd name="T1" fmla="*/ 1 h 2"/>
                  <a:gd name="T2" fmla="*/ 5 w 5"/>
                  <a:gd name="T3" fmla="*/ 2 h 2"/>
                  <a:gd name="T4" fmla="*/ 5 w 5"/>
                  <a:gd name="T5" fmla="*/ 2 h 2"/>
                  <a:gd name="T6" fmla="*/ 0 w 5"/>
                  <a:gd name="T7" fmla="*/ 1 h 2"/>
                </a:gdLst>
                <a:ahLst/>
                <a:cxnLst>
                  <a:cxn ang="0">
                    <a:pos x="T0" y="T1"/>
                  </a:cxn>
                  <a:cxn ang="0">
                    <a:pos x="T2" y="T3"/>
                  </a:cxn>
                  <a:cxn ang="0">
                    <a:pos x="T4" y="T5"/>
                  </a:cxn>
                  <a:cxn ang="0">
                    <a:pos x="T6" y="T7"/>
                  </a:cxn>
                </a:cxnLst>
                <a:rect l="0" t="0" r="r" b="b"/>
                <a:pathLst>
                  <a:path w="5" h="2">
                    <a:moveTo>
                      <a:pt x="0" y="1"/>
                    </a:moveTo>
                    <a:cubicBezTo>
                      <a:pt x="2" y="1"/>
                      <a:pt x="4" y="2"/>
                      <a:pt x="5" y="2"/>
                    </a:cubicBezTo>
                    <a:cubicBezTo>
                      <a:pt x="5" y="2"/>
                      <a:pt x="5" y="2"/>
                      <a:pt x="5" y="2"/>
                    </a:cubicBezTo>
                    <a:cubicBezTo>
                      <a:pt x="4" y="0"/>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44"/>
              <p:cNvSpPr>
                <a:spLocks/>
              </p:cNvSpPr>
              <p:nvPr/>
            </p:nvSpPr>
            <p:spPr bwMode="auto">
              <a:xfrm>
                <a:off x="2890838" y="3905250"/>
                <a:ext cx="14288" cy="12700"/>
              </a:xfrm>
              <a:custGeom>
                <a:avLst/>
                <a:gdLst>
                  <a:gd name="T0" fmla="*/ 17 w 18"/>
                  <a:gd name="T1" fmla="*/ 1 h 17"/>
                  <a:gd name="T2" fmla="*/ 13 w 18"/>
                  <a:gd name="T3" fmla="*/ 2 h 17"/>
                  <a:gd name="T4" fmla="*/ 12 w 18"/>
                  <a:gd name="T5" fmla="*/ 3 h 17"/>
                  <a:gd name="T6" fmla="*/ 9 w 18"/>
                  <a:gd name="T7" fmla="*/ 5 h 17"/>
                  <a:gd name="T8" fmla="*/ 3 w 18"/>
                  <a:gd name="T9" fmla="*/ 16 h 17"/>
                  <a:gd name="T10" fmla="*/ 11 w 18"/>
                  <a:gd name="T11" fmla="*/ 10 h 17"/>
                  <a:gd name="T12" fmla="*/ 14 w 18"/>
                  <a:gd name="T13" fmla="*/ 5 h 17"/>
                  <a:gd name="T14" fmla="*/ 17 w 18"/>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7" y="1"/>
                    </a:moveTo>
                    <a:cubicBezTo>
                      <a:pt x="16" y="0"/>
                      <a:pt x="14" y="1"/>
                      <a:pt x="13" y="2"/>
                    </a:cubicBezTo>
                    <a:cubicBezTo>
                      <a:pt x="12" y="2"/>
                      <a:pt x="12" y="3"/>
                      <a:pt x="12" y="3"/>
                    </a:cubicBezTo>
                    <a:cubicBezTo>
                      <a:pt x="11" y="4"/>
                      <a:pt x="10" y="4"/>
                      <a:pt x="9" y="5"/>
                    </a:cubicBezTo>
                    <a:cubicBezTo>
                      <a:pt x="5" y="7"/>
                      <a:pt x="0" y="14"/>
                      <a:pt x="3" y="16"/>
                    </a:cubicBezTo>
                    <a:cubicBezTo>
                      <a:pt x="6" y="17"/>
                      <a:pt x="9" y="13"/>
                      <a:pt x="11" y="10"/>
                    </a:cubicBezTo>
                    <a:cubicBezTo>
                      <a:pt x="12" y="8"/>
                      <a:pt x="13" y="6"/>
                      <a:pt x="14" y="5"/>
                    </a:cubicBezTo>
                    <a:cubicBezTo>
                      <a:pt x="15" y="4"/>
                      <a:pt x="18" y="2"/>
                      <a:pt x="1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45"/>
              <p:cNvSpPr>
                <a:spLocks/>
              </p:cNvSpPr>
              <p:nvPr/>
            </p:nvSpPr>
            <p:spPr bwMode="auto">
              <a:xfrm>
                <a:off x="2973388" y="3884613"/>
                <a:ext cx="9525" cy="4763"/>
              </a:xfrm>
              <a:custGeom>
                <a:avLst/>
                <a:gdLst>
                  <a:gd name="T0" fmla="*/ 12 w 13"/>
                  <a:gd name="T1" fmla="*/ 4 h 7"/>
                  <a:gd name="T2" fmla="*/ 8 w 13"/>
                  <a:gd name="T3" fmla="*/ 2 h 7"/>
                  <a:gd name="T4" fmla="*/ 4 w 13"/>
                  <a:gd name="T5" fmla="*/ 0 h 7"/>
                  <a:gd name="T6" fmla="*/ 2 w 13"/>
                  <a:gd name="T7" fmla="*/ 0 h 7"/>
                  <a:gd name="T8" fmla="*/ 0 w 13"/>
                  <a:gd name="T9" fmla="*/ 4 h 7"/>
                  <a:gd name="T10" fmla="*/ 7 w 13"/>
                  <a:gd name="T11" fmla="*/ 7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1" y="3"/>
                      <a:pt x="10" y="3"/>
                      <a:pt x="8" y="2"/>
                    </a:cubicBezTo>
                    <a:cubicBezTo>
                      <a:pt x="7" y="2"/>
                      <a:pt x="6" y="1"/>
                      <a:pt x="4" y="0"/>
                    </a:cubicBezTo>
                    <a:cubicBezTo>
                      <a:pt x="3" y="1"/>
                      <a:pt x="3" y="0"/>
                      <a:pt x="2" y="0"/>
                    </a:cubicBezTo>
                    <a:cubicBezTo>
                      <a:pt x="1" y="1"/>
                      <a:pt x="0" y="3"/>
                      <a:pt x="0" y="4"/>
                    </a:cubicBezTo>
                    <a:cubicBezTo>
                      <a:pt x="0" y="6"/>
                      <a:pt x="4" y="7"/>
                      <a:pt x="7" y="7"/>
                    </a:cubicBezTo>
                    <a:cubicBezTo>
                      <a:pt x="9" y="7"/>
                      <a:pt x="13" y="6"/>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46"/>
              <p:cNvSpPr>
                <a:spLocks/>
              </p:cNvSpPr>
              <p:nvPr/>
            </p:nvSpPr>
            <p:spPr bwMode="auto">
              <a:xfrm>
                <a:off x="2970213" y="3900488"/>
                <a:ext cx="6350" cy="7938"/>
              </a:xfrm>
              <a:custGeom>
                <a:avLst/>
                <a:gdLst>
                  <a:gd name="T0" fmla="*/ 0 w 10"/>
                  <a:gd name="T1" fmla="*/ 10 h 12"/>
                  <a:gd name="T2" fmla="*/ 7 w 10"/>
                  <a:gd name="T3" fmla="*/ 9 h 12"/>
                  <a:gd name="T4" fmla="*/ 10 w 10"/>
                  <a:gd name="T5" fmla="*/ 2 h 12"/>
                  <a:gd name="T6" fmla="*/ 3 w 10"/>
                  <a:gd name="T7" fmla="*/ 3 h 12"/>
                  <a:gd name="T8" fmla="*/ 0 w 10"/>
                  <a:gd name="T9" fmla="*/ 10 h 12"/>
                </a:gdLst>
                <a:ahLst/>
                <a:cxnLst>
                  <a:cxn ang="0">
                    <a:pos x="T0" y="T1"/>
                  </a:cxn>
                  <a:cxn ang="0">
                    <a:pos x="T2" y="T3"/>
                  </a:cxn>
                  <a:cxn ang="0">
                    <a:pos x="T4" y="T5"/>
                  </a:cxn>
                  <a:cxn ang="0">
                    <a:pos x="T6" y="T7"/>
                  </a:cxn>
                  <a:cxn ang="0">
                    <a:pos x="T8" y="T9"/>
                  </a:cxn>
                </a:cxnLst>
                <a:rect l="0" t="0" r="r" b="b"/>
                <a:pathLst>
                  <a:path w="10" h="12">
                    <a:moveTo>
                      <a:pt x="0" y="10"/>
                    </a:moveTo>
                    <a:cubicBezTo>
                      <a:pt x="1" y="12"/>
                      <a:pt x="5" y="11"/>
                      <a:pt x="7" y="9"/>
                    </a:cubicBezTo>
                    <a:cubicBezTo>
                      <a:pt x="10" y="8"/>
                      <a:pt x="10" y="4"/>
                      <a:pt x="10" y="2"/>
                    </a:cubicBezTo>
                    <a:cubicBezTo>
                      <a:pt x="7" y="2"/>
                      <a:pt x="5" y="0"/>
                      <a:pt x="3" y="3"/>
                    </a:cubicBezTo>
                    <a:cubicBezTo>
                      <a:pt x="1" y="5"/>
                      <a:pt x="0" y="8"/>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47"/>
              <p:cNvSpPr>
                <a:spLocks/>
              </p:cNvSpPr>
              <p:nvPr/>
            </p:nvSpPr>
            <p:spPr bwMode="auto">
              <a:xfrm>
                <a:off x="3525838" y="4319588"/>
                <a:ext cx="1588" cy="1588"/>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1" y="1"/>
                      <a:pt x="2" y="1"/>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48"/>
              <p:cNvSpPr>
                <a:spLocks/>
              </p:cNvSpPr>
              <p:nvPr/>
            </p:nvSpPr>
            <p:spPr bwMode="auto">
              <a:xfrm>
                <a:off x="2974976" y="3924300"/>
                <a:ext cx="36513" cy="46038"/>
              </a:xfrm>
              <a:custGeom>
                <a:avLst/>
                <a:gdLst>
                  <a:gd name="T0" fmla="*/ 46 w 47"/>
                  <a:gd name="T1" fmla="*/ 40 h 59"/>
                  <a:gd name="T2" fmla="*/ 46 w 47"/>
                  <a:gd name="T3" fmla="*/ 31 h 59"/>
                  <a:gd name="T4" fmla="*/ 45 w 47"/>
                  <a:gd name="T5" fmla="*/ 26 h 59"/>
                  <a:gd name="T6" fmla="*/ 46 w 47"/>
                  <a:gd name="T7" fmla="*/ 20 h 59"/>
                  <a:gd name="T8" fmla="*/ 37 w 47"/>
                  <a:gd name="T9" fmla="*/ 20 h 59"/>
                  <a:gd name="T10" fmla="*/ 46 w 47"/>
                  <a:gd name="T11" fmla="*/ 6 h 59"/>
                  <a:gd name="T12" fmla="*/ 44 w 47"/>
                  <a:gd name="T13" fmla="*/ 1 h 59"/>
                  <a:gd name="T14" fmla="*/ 34 w 47"/>
                  <a:gd name="T15" fmla="*/ 5 h 59"/>
                  <a:gd name="T16" fmla="*/ 27 w 47"/>
                  <a:gd name="T17" fmla="*/ 7 h 59"/>
                  <a:gd name="T18" fmla="*/ 23 w 47"/>
                  <a:gd name="T19" fmla="*/ 4 h 59"/>
                  <a:gd name="T20" fmla="*/ 15 w 47"/>
                  <a:gd name="T21" fmla="*/ 6 h 59"/>
                  <a:gd name="T22" fmla="*/ 14 w 47"/>
                  <a:gd name="T23" fmla="*/ 12 h 59"/>
                  <a:gd name="T24" fmla="*/ 13 w 47"/>
                  <a:gd name="T25" fmla="*/ 14 h 59"/>
                  <a:gd name="T26" fmla="*/ 16 w 47"/>
                  <a:gd name="T27" fmla="*/ 21 h 59"/>
                  <a:gd name="T28" fmla="*/ 13 w 47"/>
                  <a:gd name="T29" fmla="*/ 29 h 59"/>
                  <a:gd name="T30" fmla="*/ 6 w 47"/>
                  <a:gd name="T31" fmla="*/ 26 h 59"/>
                  <a:gd name="T32" fmla="*/ 2 w 47"/>
                  <a:gd name="T33" fmla="*/ 29 h 59"/>
                  <a:gd name="T34" fmla="*/ 3 w 47"/>
                  <a:gd name="T35" fmla="*/ 37 h 59"/>
                  <a:gd name="T36" fmla="*/ 7 w 47"/>
                  <a:gd name="T37" fmla="*/ 41 h 59"/>
                  <a:gd name="T38" fmla="*/ 10 w 47"/>
                  <a:gd name="T39" fmla="*/ 45 h 59"/>
                  <a:gd name="T40" fmla="*/ 18 w 47"/>
                  <a:gd name="T41" fmla="*/ 50 h 59"/>
                  <a:gd name="T42" fmla="*/ 23 w 47"/>
                  <a:gd name="T43" fmla="*/ 57 h 59"/>
                  <a:gd name="T44" fmla="*/ 31 w 47"/>
                  <a:gd name="T45" fmla="*/ 55 h 59"/>
                  <a:gd name="T46" fmla="*/ 32 w 47"/>
                  <a:gd name="T47" fmla="*/ 52 h 59"/>
                  <a:gd name="T48" fmla="*/ 37 w 47"/>
                  <a:gd name="T49" fmla="*/ 50 h 59"/>
                  <a:gd name="T50" fmla="*/ 46 w 47"/>
                  <a:gd name="T5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9">
                    <a:moveTo>
                      <a:pt x="46" y="40"/>
                    </a:moveTo>
                    <a:cubicBezTo>
                      <a:pt x="47" y="38"/>
                      <a:pt x="47" y="33"/>
                      <a:pt x="46" y="31"/>
                    </a:cubicBezTo>
                    <a:cubicBezTo>
                      <a:pt x="45" y="29"/>
                      <a:pt x="44" y="28"/>
                      <a:pt x="45" y="26"/>
                    </a:cubicBezTo>
                    <a:cubicBezTo>
                      <a:pt x="45" y="24"/>
                      <a:pt x="46" y="22"/>
                      <a:pt x="46" y="20"/>
                    </a:cubicBezTo>
                    <a:cubicBezTo>
                      <a:pt x="45" y="15"/>
                      <a:pt x="40" y="22"/>
                      <a:pt x="37" y="20"/>
                    </a:cubicBezTo>
                    <a:cubicBezTo>
                      <a:pt x="32" y="16"/>
                      <a:pt x="45" y="9"/>
                      <a:pt x="46" y="6"/>
                    </a:cubicBezTo>
                    <a:cubicBezTo>
                      <a:pt x="47" y="4"/>
                      <a:pt x="46" y="2"/>
                      <a:pt x="44" y="1"/>
                    </a:cubicBezTo>
                    <a:cubicBezTo>
                      <a:pt x="39" y="0"/>
                      <a:pt x="38" y="3"/>
                      <a:pt x="34" y="5"/>
                    </a:cubicBezTo>
                    <a:cubicBezTo>
                      <a:pt x="33" y="6"/>
                      <a:pt x="29" y="8"/>
                      <a:pt x="27" y="7"/>
                    </a:cubicBezTo>
                    <a:cubicBezTo>
                      <a:pt x="26" y="6"/>
                      <a:pt x="26" y="4"/>
                      <a:pt x="23" y="4"/>
                    </a:cubicBezTo>
                    <a:cubicBezTo>
                      <a:pt x="20" y="4"/>
                      <a:pt x="18" y="4"/>
                      <a:pt x="15" y="6"/>
                    </a:cubicBezTo>
                    <a:cubicBezTo>
                      <a:pt x="12" y="8"/>
                      <a:pt x="12" y="11"/>
                      <a:pt x="14" y="12"/>
                    </a:cubicBezTo>
                    <a:cubicBezTo>
                      <a:pt x="16" y="13"/>
                      <a:pt x="16" y="13"/>
                      <a:pt x="13" y="14"/>
                    </a:cubicBezTo>
                    <a:cubicBezTo>
                      <a:pt x="10" y="16"/>
                      <a:pt x="16" y="19"/>
                      <a:pt x="16" y="21"/>
                    </a:cubicBezTo>
                    <a:cubicBezTo>
                      <a:pt x="17" y="23"/>
                      <a:pt x="16" y="27"/>
                      <a:pt x="13" y="29"/>
                    </a:cubicBezTo>
                    <a:cubicBezTo>
                      <a:pt x="10" y="31"/>
                      <a:pt x="7" y="28"/>
                      <a:pt x="6" y="26"/>
                    </a:cubicBezTo>
                    <a:cubicBezTo>
                      <a:pt x="5" y="23"/>
                      <a:pt x="2" y="27"/>
                      <a:pt x="2" y="29"/>
                    </a:cubicBezTo>
                    <a:cubicBezTo>
                      <a:pt x="0" y="32"/>
                      <a:pt x="1" y="35"/>
                      <a:pt x="3" y="37"/>
                    </a:cubicBezTo>
                    <a:cubicBezTo>
                      <a:pt x="4" y="39"/>
                      <a:pt x="6" y="39"/>
                      <a:pt x="7" y="41"/>
                    </a:cubicBezTo>
                    <a:cubicBezTo>
                      <a:pt x="7" y="42"/>
                      <a:pt x="8" y="44"/>
                      <a:pt x="10" y="45"/>
                    </a:cubicBezTo>
                    <a:cubicBezTo>
                      <a:pt x="14" y="46"/>
                      <a:pt x="17" y="47"/>
                      <a:pt x="18" y="50"/>
                    </a:cubicBezTo>
                    <a:cubicBezTo>
                      <a:pt x="20" y="53"/>
                      <a:pt x="20" y="55"/>
                      <a:pt x="23" y="57"/>
                    </a:cubicBezTo>
                    <a:cubicBezTo>
                      <a:pt x="26" y="59"/>
                      <a:pt x="29" y="58"/>
                      <a:pt x="31" y="55"/>
                    </a:cubicBezTo>
                    <a:cubicBezTo>
                      <a:pt x="31" y="54"/>
                      <a:pt x="32" y="53"/>
                      <a:pt x="32" y="52"/>
                    </a:cubicBezTo>
                    <a:cubicBezTo>
                      <a:pt x="33" y="50"/>
                      <a:pt x="35" y="50"/>
                      <a:pt x="37" y="50"/>
                    </a:cubicBezTo>
                    <a:cubicBezTo>
                      <a:pt x="41" y="48"/>
                      <a:pt x="45" y="43"/>
                      <a:pt x="4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49"/>
              <p:cNvSpPr>
                <a:spLocks/>
              </p:cNvSpPr>
              <p:nvPr/>
            </p:nvSpPr>
            <p:spPr bwMode="auto">
              <a:xfrm>
                <a:off x="2986088" y="3860800"/>
                <a:ext cx="9525" cy="3175"/>
              </a:xfrm>
              <a:custGeom>
                <a:avLst/>
                <a:gdLst>
                  <a:gd name="T0" fmla="*/ 6 w 13"/>
                  <a:gd name="T1" fmla="*/ 5 h 5"/>
                  <a:gd name="T2" fmla="*/ 11 w 13"/>
                  <a:gd name="T3" fmla="*/ 3 h 5"/>
                  <a:gd name="T4" fmla="*/ 8 w 13"/>
                  <a:gd name="T5" fmla="*/ 0 h 5"/>
                  <a:gd name="T6" fmla="*/ 2 w 13"/>
                  <a:gd name="T7" fmla="*/ 2 h 5"/>
                  <a:gd name="T8" fmla="*/ 6 w 13"/>
                  <a:gd name="T9" fmla="*/ 5 h 5"/>
                </a:gdLst>
                <a:ahLst/>
                <a:cxnLst>
                  <a:cxn ang="0">
                    <a:pos x="T0" y="T1"/>
                  </a:cxn>
                  <a:cxn ang="0">
                    <a:pos x="T2" y="T3"/>
                  </a:cxn>
                  <a:cxn ang="0">
                    <a:pos x="T4" y="T5"/>
                  </a:cxn>
                  <a:cxn ang="0">
                    <a:pos x="T6" y="T7"/>
                  </a:cxn>
                  <a:cxn ang="0">
                    <a:pos x="T8" y="T9"/>
                  </a:cxn>
                </a:cxnLst>
                <a:rect l="0" t="0" r="r" b="b"/>
                <a:pathLst>
                  <a:path w="13" h="5">
                    <a:moveTo>
                      <a:pt x="6" y="5"/>
                    </a:moveTo>
                    <a:cubicBezTo>
                      <a:pt x="7" y="5"/>
                      <a:pt x="10" y="4"/>
                      <a:pt x="11" y="3"/>
                    </a:cubicBezTo>
                    <a:cubicBezTo>
                      <a:pt x="13" y="0"/>
                      <a:pt x="10" y="0"/>
                      <a:pt x="8" y="0"/>
                    </a:cubicBezTo>
                    <a:cubicBezTo>
                      <a:pt x="5" y="0"/>
                      <a:pt x="3" y="0"/>
                      <a:pt x="2" y="2"/>
                    </a:cubicBezTo>
                    <a:cubicBezTo>
                      <a:pt x="0" y="4"/>
                      <a:pt x="3" y="5"/>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50"/>
              <p:cNvSpPr>
                <a:spLocks/>
              </p:cNvSpPr>
              <p:nvPr/>
            </p:nvSpPr>
            <p:spPr bwMode="auto">
              <a:xfrm>
                <a:off x="2940051" y="3937000"/>
                <a:ext cx="9525" cy="4763"/>
              </a:xfrm>
              <a:custGeom>
                <a:avLst/>
                <a:gdLst>
                  <a:gd name="T0" fmla="*/ 8 w 11"/>
                  <a:gd name="T1" fmla="*/ 2 h 8"/>
                  <a:gd name="T2" fmla="*/ 3 w 11"/>
                  <a:gd name="T3" fmla="*/ 6 h 8"/>
                  <a:gd name="T4" fmla="*/ 8 w 11"/>
                  <a:gd name="T5" fmla="*/ 2 h 8"/>
                </a:gdLst>
                <a:ahLst/>
                <a:cxnLst>
                  <a:cxn ang="0">
                    <a:pos x="T0" y="T1"/>
                  </a:cxn>
                  <a:cxn ang="0">
                    <a:pos x="T2" y="T3"/>
                  </a:cxn>
                  <a:cxn ang="0">
                    <a:pos x="T4" y="T5"/>
                  </a:cxn>
                </a:cxnLst>
                <a:rect l="0" t="0" r="r" b="b"/>
                <a:pathLst>
                  <a:path w="11" h="8">
                    <a:moveTo>
                      <a:pt x="8" y="2"/>
                    </a:moveTo>
                    <a:cubicBezTo>
                      <a:pt x="7" y="0"/>
                      <a:pt x="0" y="3"/>
                      <a:pt x="3" y="6"/>
                    </a:cubicBezTo>
                    <a:cubicBezTo>
                      <a:pt x="5" y="8"/>
                      <a:pt x="11" y="2"/>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51"/>
              <p:cNvSpPr>
                <a:spLocks/>
              </p:cNvSpPr>
              <p:nvPr/>
            </p:nvSpPr>
            <p:spPr bwMode="auto">
              <a:xfrm>
                <a:off x="2879726" y="3933825"/>
                <a:ext cx="100013" cy="90488"/>
              </a:xfrm>
              <a:custGeom>
                <a:avLst/>
                <a:gdLst>
                  <a:gd name="T0" fmla="*/ 108 w 132"/>
                  <a:gd name="T1" fmla="*/ 54 h 120"/>
                  <a:gd name="T2" fmla="*/ 106 w 132"/>
                  <a:gd name="T3" fmla="*/ 40 h 120"/>
                  <a:gd name="T4" fmla="*/ 105 w 132"/>
                  <a:gd name="T5" fmla="*/ 31 h 120"/>
                  <a:gd name="T6" fmla="*/ 105 w 132"/>
                  <a:gd name="T7" fmla="*/ 19 h 120"/>
                  <a:gd name="T8" fmla="*/ 108 w 132"/>
                  <a:gd name="T9" fmla="*/ 14 h 120"/>
                  <a:gd name="T10" fmla="*/ 111 w 132"/>
                  <a:gd name="T11" fmla="*/ 1 h 120"/>
                  <a:gd name="T12" fmla="*/ 95 w 132"/>
                  <a:gd name="T13" fmla="*/ 6 h 120"/>
                  <a:gd name="T14" fmla="*/ 103 w 132"/>
                  <a:gd name="T15" fmla="*/ 13 h 120"/>
                  <a:gd name="T16" fmla="*/ 98 w 132"/>
                  <a:gd name="T17" fmla="*/ 15 h 120"/>
                  <a:gd name="T18" fmla="*/ 86 w 132"/>
                  <a:gd name="T19" fmla="*/ 13 h 120"/>
                  <a:gd name="T20" fmla="*/ 84 w 132"/>
                  <a:gd name="T21" fmla="*/ 29 h 120"/>
                  <a:gd name="T22" fmla="*/ 84 w 132"/>
                  <a:gd name="T23" fmla="*/ 44 h 120"/>
                  <a:gd name="T24" fmla="*/ 79 w 132"/>
                  <a:gd name="T25" fmla="*/ 44 h 120"/>
                  <a:gd name="T26" fmla="*/ 78 w 132"/>
                  <a:gd name="T27" fmla="*/ 31 h 120"/>
                  <a:gd name="T28" fmla="*/ 66 w 132"/>
                  <a:gd name="T29" fmla="*/ 20 h 120"/>
                  <a:gd name="T30" fmla="*/ 64 w 132"/>
                  <a:gd name="T31" fmla="*/ 30 h 120"/>
                  <a:gd name="T32" fmla="*/ 58 w 132"/>
                  <a:gd name="T33" fmla="*/ 31 h 120"/>
                  <a:gd name="T34" fmla="*/ 45 w 132"/>
                  <a:gd name="T35" fmla="*/ 26 h 120"/>
                  <a:gd name="T36" fmla="*/ 37 w 132"/>
                  <a:gd name="T37" fmla="*/ 34 h 120"/>
                  <a:gd name="T38" fmla="*/ 43 w 132"/>
                  <a:gd name="T39" fmla="*/ 20 h 120"/>
                  <a:gd name="T40" fmla="*/ 35 w 132"/>
                  <a:gd name="T41" fmla="*/ 21 h 120"/>
                  <a:gd name="T42" fmla="*/ 13 w 132"/>
                  <a:gd name="T43" fmla="*/ 37 h 120"/>
                  <a:gd name="T44" fmla="*/ 8 w 132"/>
                  <a:gd name="T45" fmla="*/ 45 h 120"/>
                  <a:gd name="T46" fmla="*/ 3 w 132"/>
                  <a:gd name="T47" fmla="*/ 61 h 120"/>
                  <a:gd name="T48" fmla="*/ 20 w 132"/>
                  <a:gd name="T49" fmla="*/ 60 h 120"/>
                  <a:gd name="T50" fmla="*/ 4 w 132"/>
                  <a:gd name="T51" fmla="*/ 71 h 120"/>
                  <a:gd name="T52" fmla="*/ 21 w 132"/>
                  <a:gd name="T53" fmla="*/ 77 h 120"/>
                  <a:gd name="T54" fmla="*/ 44 w 132"/>
                  <a:gd name="T55" fmla="*/ 80 h 120"/>
                  <a:gd name="T56" fmla="*/ 25 w 132"/>
                  <a:gd name="T57" fmla="*/ 83 h 120"/>
                  <a:gd name="T58" fmla="*/ 12 w 132"/>
                  <a:gd name="T59" fmla="*/ 101 h 120"/>
                  <a:gd name="T60" fmla="*/ 30 w 132"/>
                  <a:gd name="T61" fmla="*/ 110 h 120"/>
                  <a:gd name="T62" fmla="*/ 59 w 132"/>
                  <a:gd name="T63" fmla="*/ 111 h 120"/>
                  <a:gd name="T64" fmla="*/ 73 w 132"/>
                  <a:gd name="T65" fmla="*/ 104 h 120"/>
                  <a:gd name="T66" fmla="*/ 85 w 132"/>
                  <a:gd name="T67" fmla="*/ 93 h 120"/>
                  <a:gd name="T68" fmla="*/ 95 w 132"/>
                  <a:gd name="T69" fmla="*/ 98 h 120"/>
                  <a:gd name="T70" fmla="*/ 110 w 132"/>
                  <a:gd name="T71" fmla="*/ 101 h 120"/>
                  <a:gd name="T72" fmla="*/ 120 w 132"/>
                  <a:gd name="T73" fmla="*/ 88 h 120"/>
                  <a:gd name="T74" fmla="*/ 117 w 132"/>
                  <a:gd name="T75" fmla="*/ 84 h 120"/>
                  <a:gd name="T76" fmla="*/ 127 w 132"/>
                  <a:gd name="T77" fmla="*/ 82 h 120"/>
                  <a:gd name="T78" fmla="*/ 128 w 132"/>
                  <a:gd name="T79" fmla="*/ 72 h 120"/>
                  <a:gd name="T80" fmla="*/ 111 w 132"/>
                  <a:gd name="T81"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0">
                    <a:moveTo>
                      <a:pt x="111" y="62"/>
                    </a:moveTo>
                    <a:cubicBezTo>
                      <a:pt x="110" y="59"/>
                      <a:pt x="109" y="57"/>
                      <a:pt x="108" y="54"/>
                    </a:cubicBezTo>
                    <a:cubicBezTo>
                      <a:pt x="107" y="52"/>
                      <a:pt x="109" y="49"/>
                      <a:pt x="109" y="46"/>
                    </a:cubicBezTo>
                    <a:cubicBezTo>
                      <a:pt x="108" y="44"/>
                      <a:pt x="106" y="43"/>
                      <a:pt x="106" y="40"/>
                    </a:cubicBezTo>
                    <a:cubicBezTo>
                      <a:pt x="106" y="38"/>
                      <a:pt x="106" y="37"/>
                      <a:pt x="106" y="36"/>
                    </a:cubicBezTo>
                    <a:cubicBezTo>
                      <a:pt x="106" y="34"/>
                      <a:pt x="105" y="33"/>
                      <a:pt x="105" y="31"/>
                    </a:cubicBezTo>
                    <a:cubicBezTo>
                      <a:pt x="105" y="28"/>
                      <a:pt x="106" y="26"/>
                      <a:pt x="106" y="24"/>
                    </a:cubicBezTo>
                    <a:cubicBezTo>
                      <a:pt x="106" y="22"/>
                      <a:pt x="104" y="21"/>
                      <a:pt x="105" y="19"/>
                    </a:cubicBezTo>
                    <a:cubicBezTo>
                      <a:pt x="105" y="18"/>
                      <a:pt x="107" y="17"/>
                      <a:pt x="107" y="16"/>
                    </a:cubicBezTo>
                    <a:cubicBezTo>
                      <a:pt x="108" y="15"/>
                      <a:pt x="108" y="15"/>
                      <a:pt x="108" y="14"/>
                    </a:cubicBezTo>
                    <a:cubicBezTo>
                      <a:pt x="108" y="12"/>
                      <a:pt x="111" y="12"/>
                      <a:pt x="112" y="10"/>
                    </a:cubicBezTo>
                    <a:cubicBezTo>
                      <a:pt x="112" y="7"/>
                      <a:pt x="114" y="2"/>
                      <a:pt x="111" y="1"/>
                    </a:cubicBezTo>
                    <a:cubicBezTo>
                      <a:pt x="108" y="0"/>
                      <a:pt x="103" y="1"/>
                      <a:pt x="100" y="2"/>
                    </a:cubicBezTo>
                    <a:cubicBezTo>
                      <a:pt x="97" y="2"/>
                      <a:pt x="96" y="4"/>
                      <a:pt x="95" y="6"/>
                    </a:cubicBezTo>
                    <a:cubicBezTo>
                      <a:pt x="94" y="8"/>
                      <a:pt x="97" y="8"/>
                      <a:pt x="98" y="9"/>
                    </a:cubicBezTo>
                    <a:cubicBezTo>
                      <a:pt x="100" y="10"/>
                      <a:pt x="102" y="11"/>
                      <a:pt x="103" y="13"/>
                    </a:cubicBezTo>
                    <a:cubicBezTo>
                      <a:pt x="103" y="14"/>
                      <a:pt x="105" y="19"/>
                      <a:pt x="102" y="19"/>
                    </a:cubicBezTo>
                    <a:cubicBezTo>
                      <a:pt x="100" y="19"/>
                      <a:pt x="100" y="16"/>
                      <a:pt x="98" y="15"/>
                    </a:cubicBezTo>
                    <a:cubicBezTo>
                      <a:pt x="96" y="14"/>
                      <a:pt x="93" y="15"/>
                      <a:pt x="91" y="14"/>
                    </a:cubicBezTo>
                    <a:cubicBezTo>
                      <a:pt x="90" y="13"/>
                      <a:pt x="89" y="12"/>
                      <a:pt x="86" y="13"/>
                    </a:cubicBezTo>
                    <a:cubicBezTo>
                      <a:pt x="84" y="14"/>
                      <a:pt x="84" y="17"/>
                      <a:pt x="84" y="18"/>
                    </a:cubicBezTo>
                    <a:cubicBezTo>
                      <a:pt x="84" y="22"/>
                      <a:pt x="84" y="26"/>
                      <a:pt x="84" y="29"/>
                    </a:cubicBezTo>
                    <a:cubicBezTo>
                      <a:pt x="85" y="32"/>
                      <a:pt x="84" y="34"/>
                      <a:pt x="85" y="37"/>
                    </a:cubicBezTo>
                    <a:cubicBezTo>
                      <a:pt x="85" y="39"/>
                      <a:pt x="86" y="41"/>
                      <a:pt x="84" y="44"/>
                    </a:cubicBezTo>
                    <a:cubicBezTo>
                      <a:pt x="83" y="45"/>
                      <a:pt x="81" y="46"/>
                      <a:pt x="80" y="46"/>
                    </a:cubicBezTo>
                    <a:cubicBezTo>
                      <a:pt x="80" y="45"/>
                      <a:pt x="79" y="44"/>
                      <a:pt x="79" y="44"/>
                    </a:cubicBezTo>
                    <a:cubicBezTo>
                      <a:pt x="79" y="42"/>
                      <a:pt x="79" y="41"/>
                      <a:pt x="79" y="40"/>
                    </a:cubicBezTo>
                    <a:cubicBezTo>
                      <a:pt x="79" y="37"/>
                      <a:pt x="78" y="34"/>
                      <a:pt x="78" y="31"/>
                    </a:cubicBezTo>
                    <a:cubicBezTo>
                      <a:pt x="78" y="27"/>
                      <a:pt x="77" y="22"/>
                      <a:pt x="73" y="20"/>
                    </a:cubicBezTo>
                    <a:cubicBezTo>
                      <a:pt x="72" y="20"/>
                      <a:pt x="65" y="18"/>
                      <a:pt x="66" y="20"/>
                    </a:cubicBezTo>
                    <a:cubicBezTo>
                      <a:pt x="66" y="23"/>
                      <a:pt x="69" y="25"/>
                      <a:pt x="68" y="28"/>
                    </a:cubicBezTo>
                    <a:cubicBezTo>
                      <a:pt x="68" y="29"/>
                      <a:pt x="65" y="30"/>
                      <a:pt x="64" y="30"/>
                    </a:cubicBezTo>
                    <a:cubicBezTo>
                      <a:pt x="62" y="30"/>
                      <a:pt x="61" y="31"/>
                      <a:pt x="59" y="33"/>
                    </a:cubicBezTo>
                    <a:cubicBezTo>
                      <a:pt x="55" y="37"/>
                      <a:pt x="57" y="33"/>
                      <a:pt x="58" y="31"/>
                    </a:cubicBezTo>
                    <a:cubicBezTo>
                      <a:pt x="60" y="27"/>
                      <a:pt x="58" y="25"/>
                      <a:pt x="55" y="24"/>
                    </a:cubicBezTo>
                    <a:cubicBezTo>
                      <a:pt x="53" y="23"/>
                      <a:pt x="47" y="22"/>
                      <a:pt x="45" y="26"/>
                    </a:cubicBezTo>
                    <a:cubicBezTo>
                      <a:pt x="44" y="27"/>
                      <a:pt x="44" y="29"/>
                      <a:pt x="43" y="31"/>
                    </a:cubicBezTo>
                    <a:cubicBezTo>
                      <a:pt x="41" y="32"/>
                      <a:pt x="39" y="33"/>
                      <a:pt x="37" y="34"/>
                    </a:cubicBezTo>
                    <a:cubicBezTo>
                      <a:pt x="31" y="35"/>
                      <a:pt x="41" y="27"/>
                      <a:pt x="42" y="25"/>
                    </a:cubicBezTo>
                    <a:cubicBezTo>
                      <a:pt x="42" y="23"/>
                      <a:pt x="44" y="22"/>
                      <a:pt x="43" y="20"/>
                    </a:cubicBezTo>
                    <a:cubicBezTo>
                      <a:pt x="43" y="18"/>
                      <a:pt x="42" y="16"/>
                      <a:pt x="39" y="17"/>
                    </a:cubicBezTo>
                    <a:cubicBezTo>
                      <a:pt x="38" y="18"/>
                      <a:pt x="36" y="20"/>
                      <a:pt x="35" y="21"/>
                    </a:cubicBezTo>
                    <a:cubicBezTo>
                      <a:pt x="32" y="24"/>
                      <a:pt x="29" y="25"/>
                      <a:pt x="26" y="27"/>
                    </a:cubicBezTo>
                    <a:cubicBezTo>
                      <a:pt x="21" y="29"/>
                      <a:pt x="16" y="34"/>
                      <a:pt x="13" y="37"/>
                    </a:cubicBezTo>
                    <a:cubicBezTo>
                      <a:pt x="10" y="39"/>
                      <a:pt x="7" y="41"/>
                      <a:pt x="6" y="43"/>
                    </a:cubicBezTo>
                    <a:cubicBezTo>
                      <a:pt x="4" y="46"/>
                      <a:pt x="7" y="45"/>
                      <a:pt x="8" y="45"/>
                    </a:cubicBezTo>
                    <a:cubicBezTo>
                      <a:pt x="13" y="44"/>
                      <a:pt x="5" y="50"/>
                      <a:pt x="4" y="50"/>
                    </a:cubicBezTo>
                    <a:cubicBezTo>
                      <a:pt x="1" y="53"/>
                      <a:pt x="1" y="59"/>
                      <a:pt x="3" y="61"/>
                    </a:cubicBezTo>
                    <a:cubicBezTo>
                      <a:pt x="5" y="62"/>
                      <a:pt x="10" y="63"/>
                      <a:pt x="13" y="62"/>
                    </a:cubicBezTo>
                    <a:cubicBezTo>
                      <a:pt x="15" y="62"/>
                      <a:pt x="17" y="60"/>
                      <a:pt x="20" y="60"/>
                    </a:cubicBezTo>
                    <a:cubicBezTo>
                      <a:pt x="24" y="59"/>
                      <a:pt x="18" y="63"/>
                      <a:pt x="17" y="63"/>
                    </a:cubicBezTo>
                    <a:cubicBezTo>
                      <a:pt x="14" y="65"/>
                      <a:pt x="5" y="67"/>
                      <a:pt x="4" y="71"/>
                    </a:cubicBezTo>
                    <a:cubicBezTo>
                      <a:pt x="4" y="74"/>
                      <a:pt x="6" y="78"/>
                      <a:pt x="8" y="80"/>
                    </a:cubicBezTo>
                    <a:cubicBezTo>
                      <a:pt x="11" y="83"/>
                      <a:pt x="16" y="79"/>
                      <a:pt x="21" y="77"/>
                    </a:cubicBezTo>
                    <a:cubicBezTo>
                      <a:pt x="27" y="75"/>
                      <a:pt x="32" y="76"/>
                      <a:pt x="39" y="76"/>
                    </a:cubicBezTo>
                    <a:cubicBezTo>
                      <a:pt x="40" y="76"/>
                      <a:pt x="50" y="77"/>
                      <a:pt x="44" y="80"/>
                    </a:cubicBezTo>
                    <a:cubicBezTo>
                      <a:pt x="43" y="81"/>
                      <a:pt x="39" y="81"/>
                      <a:pt x="37" y="81"/>
                    </a:cubicBezTo>
                    <a:cubicBezTo>
                      <a:pt x="33" y="82"/>
                      <a:pt x="29" y="83"/>
                      <a:pt x="25" y="83"/>
                    </a:cubicBezTo>
                    <a:cubicBezTo>
                      <a:pt x="21" y="84"/>
                      <a:pt x="0" y="89"/>
                      <a:pt x="6" y="96"/>
                    </a:cubicBezTo>
                    <a:cubicBezTo>
                      <a:pt x="8" y="98"/>
                      <a:pt x="10" y="99"/>
                      <a:pt x="12" y="101"/>
                    </a:cubicBezTo>
                    <a:cubicBezTo>
                      <a:pt x="14" y="105"/>
                      <a:pt x="19" y="105"/>
                      <a:pt x="24" y="103"/>
                    </a:cubicBezTo>
                    <a:cubicBezTo>
                      <a:pt x="30" y="102"/>
                      <a:pt x="30" y="104"/>
                      <a:pt x="30" y="110"/>
                    </a:cubicBezTo>
                    <a:cubicBezTo>
                      <a:pt x="30" y="115"/>
                      <a:pt x="33" y="120"/>
                      <a:pt x="39" y="117"/>
                    </a:cubicBezTo>
                    <a:cubicBezTo>
                      <a:pt x="46" y="114"/>
                      <a:pt x="53" y="114"/>
                      <a:pt x="59" y="111"/>
                    </a:cubicBezTo>
                    <a:cubicBezTo>
                      <a:pt x="61" y="110"/>
                      <a:pt x="64" y="109"/>
                      <a:pt x="66" y="108"/>
                    </a:cubicBezTo>
                    <a:cubicBezTo>
                      <a:pt x="69" y="106"/>
                      <a:pt x="70" y="104"/>
                      <a:pt x="73" y="104"/>
                    </a:cubicBezTo>
                    <a:cubicBezTo>
                      <a:pt x="79" y="103"/>
                      <a:pt x="80" y="101"/>
                      <a:pt x="81" y="96"/>
                    </a:cubicBezTo>
                    <a:cubicBezTo>
                      <a:pt x="81" y="94"/>
                      <a:pt x="84" y="88"/>
                      <a:pt x="85" y="93"/>
                    </a:cubicBezTo>
                    <a:cubicBezTo>
                      <a:pt x="86" y="95"/>
                      <a:pt x="86" y="98"/>
                      <a:pt x="89" y="98"/>
                    </a:cubicBezTo>
                    <a:cubicBezTo>
                      <a:pt x="91" y="98"/>
                      <a:pt x="93" y="97"/>
                      <a:pt x="95" y="98"/>
                    </a:cubicBezTo>
                    <a:cubicBezTo>
                      <a:pt x="97" y="98"/>
                      <a:pt x="97" y="99"/>
                      <a:pt x="98" y="101"/>
                    </a:cubicBezTo>
                    <a:cubicBezTo>
                      <a:pt x="100" y="103"/>
                      <a:pt x="107" y="101"/>
                      <a:pt x="110" y="101"/>
                    </a:cubicBezTo>
                    <a:cubicBezTo>
                      <a:pt x="116" y="101"/>
                      <a:pt x="118" y="99"/>
                      <a:pt x="122" y="96"/>
                    </a:cubicBezTo>
                    <a:cubicBezTo>
                      <a:pt x="124" y="94"/>
                      <a:pt x="122" y="89"/>
                      <a:pt x="120" y="88"/>
                    </a:cubicBezTo>
                    <a:cubicBezTo>
                      <a:pt x="118" y="88"/>
                      <a:pt x="117" y="89"/>
                      <a:pt x="115" y="88"/>
                    </a:cubicBezTo>
                    <a:cubicBezTo>
                      <a:pt x="114" y="87"/>
                      <a:pt x="114" y="85"/>
                      <a:pt x="117" y="84"/>
                    </a:cubicBezTo>
                    <a:cubicBezTo>
                      <a:pt x="120" y="83"/>
                      <a:pt x="120" y="81"/>
                      <a:pt x="123" y="80"/>
                    </a:cubicBezTo>
                    <a:cubicBezTo>
                      <a:pt x="124" y="79"/>
                      <a:pt x="125" y="83"/>
                      <a:pt x="127" y="82"/>
                    </a:cubicBezTo>
                    <a:cubicBezTo>
                      <a:pt x="129" y="82"/>
                      <a:pt x="130" y="80"/>
                      <a:pt x="130" y="78"/>
                    </a:cubicBezTo>
                    <a:cubicBezTo>
                      <a:pt x="132" y="75"/>
                      <a:pt x="130" y="74"/>
                      <a:pt x="128" y="72"/>
                    </a:cubicBezTo>
                    <a:cubicBezTo>
                      <a:pt x="126" y="68"/>
                      <a:pt x="127" y="64"/>
                      <a:pt x="121" y="64"/>
                    </a:cubicBezTo>
                    <a:cubicBezTo>
                      <a:pt x="117" y="64"/>
                      <a:pt x="112" y="65"/>
                      <a:pt x="11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52"/>
              <p:cNvSpPr>
                <a:spLocks/>
              </p:cNvSpPr>
              <p:nvPr/>
            </p:nvSpPr>
            <p:spPr bwMode="auto">
              <a:xfrm>
                <a:off x="3541713" y="4310063"/>
                <a:ext cx="3175" cy="1588"/>
              </a:xfrm>
              <a:custGeom>
                <a:avLst/>
                <a:gdLst>
                  <a:gd name="T0" fmla="*/ 2 w 4"/>
                  <a:gd name="T1" fmla="*/ 2 h 4"/>
                  <a:gd name="T2" fmla="*/ 0 w 4"/>
                  <a:gd name="T3" fmla="*/ 3 h 4"/>
                  <a:gd name="T4" fmla="*/ 0 w 4"/>
                  <a:gd name="T5" fmla="*/ 4 h 4"/>
                  <a:gd name="T6" fmla="*/ 4 w 4"/>
                  <a:gd name="T7" fmla="*/ 1 h 4"/>
                  <a:gd name="T8" fmla="*/ 3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cubicBezTo>
                      <a:pt x="1" y="3"/>
                      <a:pt x="1" y="2"/>
                      <a:pt x="0" y="3"/>
                    </a:cubicBezTo>
                    <a:cubicBezTo>
                      <a:pt x="0" y="3"/>
                      <a:pt x="0" y="4"/>
                      <a:pt x="0" y="4"/>
                    </a:cubicBezTo>
                    <a:cubicBezTo>
                      <a:pt x="1" y="3"/>
                      <a:pt x="3" y="2"/>
                      <a:pt x="4" y="1"/>
                    </a:cubicBezTo>
                    <a:cubicBezTo>
                      <a:pt x="4" y="0"/>
                      <a:pt x="4" y="0"/>
                      <a:pt x="3" y="0"/>
                    </a:cubicBezTo>
                    <a:cubicBezTo>
                      <a:pt x="2" y="0"/>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53"/>
              <p:cNvSpPr>
                <a:spLocks/>
              </p:cNvSpPr>
              <p:nvPr/>
            </p:nvSpPr>
            <p:spPr bwMode="auto">
              <a:xfrm>
                <a:off x="3530601" y="4316413"/>
                <a:ext cx="1588" cy="3175"/>
              </a:xfrm>
              <a:custGeom>
                <a:avLst/>
                <a:gdLst>
                  <a:gd name="T0" fmla="*/ 0 w 2"/>
                  <a:gd name="T1" fmla="*/ 3 h 3"/>
                  <a:gd name="T2" fmla="*/ 2 w 2"/>
                  <a:gd name="T3" fmla="*/ 2 h 3"/>
                  <a:gd name="T4" fmla="*/ 0 w 2"/>
                  <a:gd name="T5" fmla="*/ 3 h 3"/>
                </a:gdLst>
                <a:ahLst/>
                <a:cxnLst>
                  <a:cxn ang="0">
                    <a:pos x="T0" y="T1"/>
                  </a:cxn>
                  <a:cxn ang="0">
                    <a:pos x="T2" y="T3"/>
                  </a:cxn>
                  <a:cxn ang="0">
                    <a:pos x="T4" y="T5"/>
                  </a:cxn>
                </a:cxnLst>
                <a:rect l="0" t="0" r="r" b="b"/>
                <a:pathLst>
                  <a:path w="2" h="3">
                    <a:moveTo>
                      <a:pt x="0" y="3"/>
                    </a:moveTo>
                    <a:cubicBezTo>
                      <a:pt x="0" y="2"/>
                      <a:pt x="1" y="2"/>
                      <a:pt x="2" y="2"/>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54"/>
              <p:cNvSpPr>
                <a:spLocks/>
              </p:cNvSpPr>
              <p:nvPr/>
            </p:nvSpPr>
            <p:spPr bwMode="auto">
              <a:xfrm>
                <a:off x="3543301" y="3933825"/>
                <a:ext cx="3175" cy="4763"/>
              </a:xfrm>
              <a:custGeom>
                <a:avLst/>
                <a:gdLst>
                  <a:gd name="T0" fmla="*/ 3 w 4"/>
                  <a:gd name="T1" fmla="*/ 3 h 6"/>
                  <a:gd name="T2" fmla="*/ 0 w 4"/>
                  <a:gd name="T3" fmla="*/ 0 h 6"/>
                  <a:gd name="T4" fmla="*/ 3 w 4"/>
                  <a:gd name="T5" fmla="*/ 4 h 6"/>
                  <a:gd name="T6" fmla="*/ 3 w 4"/>
                  <a:gd name="T7" fmla="*/ 3 h 6"/>
                </a:gdLst>
                <a:ahLst/>
                <a:cxnLst>
                  <a:cxn ang="0">
                    <a:pos x="T0" y="T1"/>
                  </a:cxn>
                  <a:cxn ang="0">
                    <a:pos x="T2" y="T3"/>
                  </a:cxn>
                  <a:cxn ang="0">
                    <a:pos x="T4" y="T5"/>
                  </a:cxn>
                  <a:cxn ang="0">
                    <a:pos x="T6" y="T7"/>
                  </a:cxn>
                </a:cxnLst>
                <a:rect l="0" t="0" r="r" b="b"/>
                <a:pathLst>
                  <a:path w="4" h="6">
                    <a:moveTo>
                      <a:pt x="3" y="3"/>
                    </a:moveTo>
                    <a:cubicBezTo>
                      <a:pt x="2" y="2"/>
                      <a:pt x="1" y="1"/>
                      <a:pt x="0" y="0"/>
                    </a:cubicBezTo>
                    <a:cubicBezTo>
                      <a:pt x="0" y="2"/>
                      <a:pt x="1" y="2"/>
                      <a:pt x="3" y="4"/>
                    </a:cubicBezTo>
                    <a:cubicBezTo>
                      <a:pt x="4" y="6"/>
                      <a:pt x="3" y="4"/>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55"/>
              <p:cNvSpPr>
                <a:spLocks/>
              </p:cNvSpPr>
              <p:nvPr/>
            </p:nvSpPr>
            <p:spPr bwMode="auto">
              <a:xfrm>
                <a:off x="3530601" y="3930650"/>
                <a:ext cx="14288" cy="26988"/>
              </a:xfrm>
              <a:custGeom>
                <a:avLst/>
                <a:gdLst>
                  <a:gd name="T0" fmla="*/ 12 w 20"/>
                  <a:gd name="T1" fmla="*/ 19 h 36"/>
                  <a:gd name="T2" fmla="*/ 11 w 20"/>
                  <a:gd name="T3" fmla="*/ 13 h 36"/>
                  <a:gd name="T4" fmla="*/ 8 w 20"/>
                  <a:gd name="T5" fmla="*/ 11 h 36"/>
                  <a:gd name="T6" fmla="*/ 7 w 20"/>
                  <a:gd name="T7" fmla="*/ 8 h 36"/>
                  <a:gd name="T8" fmla="*/ 5 w 20"/>
                  <a:gd name="T9" fmla="*/ 3 h 36"/>
                  <a:gd name="T10" fmla="*/ 2 w 20"/>
                  <a:gd name="T11" fmla="*/ 1 h 36"/>
                  <a:gd name="T12" fmla="*/ 0 w 20"/>
                  <a:gd name="T13" fmla="*/ 4 h 36"/>
                  <a:gd name="T14" fmla="*/ 4 w 20"/>
                  <a:gd name="T15" fmla="*/ 8 h 36"/>
                  <a:gd name="T16" fmla="*/ 4 w 20"/>
                  <a:gd name="T17" fmla="*/ 10 h 36"/>
                  <a:gd name="T18" fmla="*/ 5 w 20"/>
                  <a:gd name="T19" fmla="*/ 14 h 36"/>
                  <a:gd name="T20" fmla="*/ 7 w 20"/>
                  <a:gd name="T21" fmla="*/ 21 h 36"/>
                  <a:gd name="T22" fmla="*/ 9 w 20"/>
                  <a:gd name="T23" fmla="*/ 26 h 36"/>
                  <a:gd name="T24" fmla="*/ 12 w 20"/>
                  <a:gd name="T25" fmla="*/ 28 h 36"/>
                  <a:gd name="T26" fmla="*/ 16 w 20"/>
                  <a:gd name="T27" fmla="*/ 34 h 36"/>
                  <a:gd name="T28" fmla="*/ 18 w 20"/>
                  <a:gd name="T29" fmla="*/ 35 h 36"/>
                  <a:gd name="T30" fmla="*/ 18 w 20"/>
                  <a:gd name="T31" fmla="*/ 32 h 36"/>
                  <a:gd name="T32" fmla="*/ 18 w 20"/>
                  <a:gd name="T33" fmla="*/ 29 h 36"/>
                  <a:gd name="T34" fmla="*/ 19 w 20"/>
                  <a:gd name="T35" fmla="*/ 26 h 36"/>
                  <a:gd name="T36" fmla="*/ 12 w 20"/>
                  <a:gd name="T37"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6">
                    <a:moveTo>
                      <a:pt x="12" y="19"/>
                    </a:moveTo>
                    <a:cubicBezTo>
                      <a:pt x="11" y="16"/>
                      <a:pt x="13" y="16"/>
                      <a:pt x="11" y="13"/>
                    </a:cubicBezTo>
                    <a:cubicBezTo>
                      <a:pt x="10" y="11"/>
                      <a:pt x="8" y="11"/>
                      <a:pt x="8" y="11"/>
                    </a:cubicBezTo>
                    <a:cubicBezTo>
                      <a:pt x="6" y="10"/>
                      <a:pt x="6" y="9"/>
                      <a:pt x="7" y="8"/>
                    </a:cubicBezTo>
                    <a:cubicBezTo>
                      <a:pt x="7" y="7"/>
                      <a:pt x="6" y="5"/>
                      <a:pt x="5" y="3"/>
                    </a:cubicBezTo>
                    <a:cubicBezTo>
                      <a:pt x="5" y="1"/>
                      <a:pt x="3" y="0"/>
                      <a:pt x="2" y="1"/>
                    </a:cubicBezTo>
                    <a:cubicBezTo>
                      <a:pt x="2" y="2"/>
                      <a:pt x="0" y="2"/>
                      <a:pt x="0" y="4"/>
                    </a:cubicBezTo>
                    <a:cubicBezTo>
                      <a:pt x="1" y="6"/>
                      <a:pt x="3" y="6"/>
                      <a:pt x="4" y="8"/>
                    </a:cubicBezTo>
                    <a:cubicBezTo>
                      <a:pt x="5" y="9"/>
                      <a:pt x="4" y="10"/>
                      <a:pt x="4" y="10"/>
                    </a:cubicBezTo>
                    <a:cubicBezTo>
                      <a:pt x="4" y="11"/>
                      <a:pt x="4" y="12"/>
                      <a:pt x="5" y="14"/>
                    </a:cubicBezTo>
                    <a:cubicBezTo>
                      <a:pt x="7" y="17"/>
                      <a:pt x="7" y="18"/>
                      <a:pt x="7" y="21"/>
                    </a:cubicBezTo>
                    <a:cubicBezTo>
                      <a:pt x="7" y="22"/>
                      <a:pt x="7" y="25"/>
                      <a:pt x="9" y="26"/>
                    </a:cubicBezTo>
                    <a:cubicBezTo>
                      <a:pt x="10" y="28"/>
                      <a:pt x="11" y="28"/>
                      <a:pt x="12" y="28"/>
                    </a:cubicBezTo>
                    <a:cubicBezTo>
                      <a:pt x="15" y="30"/>
                      <a:pt x="14" y="32"/>
                      <a:pt x="16" y="34"/>
                    </a:cubicBezTo>
                    <a:cubicBezTo>
                      <a:pt x="16" y="36"/>
                      <a:pt x="18" y="36"/>
                      <a:pt x="18" y="35"/>
                    </a:cubicBezTo>
                    <a:cubicBezTo>
                      <a:pt x="18" y="34"/>
                      <a:pt x="18" y="33"/>
                      <a:pt x="18" y="32"/>
                    </a:cubicBezTo>
                    <a:cubicBezTo>
                      <a:pt x="18" y="31"/>
                      <a:pt x="17" y="30"/>
                      <a:pt x="18" y="29"/>
                    </a:cubicBezTo>
                    <a:cubicBezTo>
                      <a:pt x="18" y="28"/>
                      <a:pt x="19" y="28"/>
                      <a:pt x="19" y="26"/>
                    </a:cubicBezTo>
                    <a:cubicBezTo>
                      <a:pt x="20" y="23"/>
                      <a:pt x="13" y="21"/>
                      <a:pt x="1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56"/>
              <p:cNvSpPr>
                <a:spLocks/>
              </p:cNvSpPr>
              <p:nvPr/>
            </p:nvSpPr>
            <p:spPr bwMode="auto">
              <a:xfrm>
                <a:off x="3513138" y="3894138"/>
                <a:ext cx="1588" cy="3175"/>
              </a:xfrm>
              <a:custGeom>
                <a:avLst/>
                <a:gdLst>
                  <a:gd name="T0" fmla="*/ 0 w 3"/>
                  <a:gd name="T1" fmla="*/ 1 h 5"/>
                  <a:gd name="T2" fmla="*/ 1 w 3"/>
                  <a:gd name="T3" fmla="*/ 3 h 5"/>
                  <a:gd name="T4" fmla="*/ 3 w 3"/>
                  <a:gd name="T5" fmla="*/ 4 h 5"/>
                  <a:gd name="T6" fmla="*/ 2 w 3"/>
                  <a:gd name="T7" fmla="*/ 2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1"/>
                      <a:pt x="0" y="3"/>
                      <a:pt x="1" y="3"/>
                    </a:cubicBezTo>
                    <a:cubicBezTo>
                      <a:pt x="2" y="4"/>
                      <a:pt x="3" y="5"/>
                      <a:pt x="3" y="4"/>
                    </a:cubicBezTo>
                    <a:cubicBezTo>
                      <a:pt x="3" y="4"/>
                      <a:pt x="2" y="2"/>
                      <a:pt x="2" y="2"/>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57"/>
              <p:cNvSpPr>
                <a:spLocks/>
              </p:cNvSpPr>
              <p:nvPr/>
            </p:nvSpPr>
            <p:spPr bwMode="auto">
              <a:xfrm>
                <a:off x="3513138" y="4164013"/>
                <a:ext cx="3175" cy="6350"/>
              </a:xfrm>
              <a:custGeom>
                <a:avLst/>
                <a:gdLst>
                  <a:gd name="T0" fmla="*/ 3 w 4"/>
                  <a:gd name="T1" fmla="*/ 6 h 9"/>
                  <a:gd name="T2" fmla="*/ 3 w 4"/>
                  <a:gd name="T3" fmla="*/ 1 h 9"/>
                  <a:gd name="T4" fmla="*/ 1 w 4"/>
                  <a:gd name="T5" fmla="*/ 1 h 9"/>
                  <a:gd name="T6" fmla="*/ 3 w 4"/>
                  <a:gd name="T7" fmla="*/ 6 h 9"/>
                </a:gdLst>
                <a:ahLst/>
                <a:cxnLst>
                  <a:cxn ang="0">
                    <a:pos x="T0" y="T1"/>
                  </a:cxn>
                  <a:cxn ang="0">
                    <a:pos x="T2" y="T3"/>
                  </a:cxn>
                  <a:cxn ang="0">
                    <a:pos x="T4" y="T5"/>
                  </a:cxn>
                  <a:cxn ang="0">
                    <a:pos x="T6" y="T7"/>
                  </a:cxn>
                </a:cxnLst>
                <a:rect l="0" t="0" r="r" b="b"/>
                <a:pathLst>
                  <a:path w="4" h="9">
                    <a:moveTo>
                      <a:pt x="3" y="6"/>
                    </a:moveTo>
                    <a:cubicBezTo>
                      <a:pt x="4" y="5"/>
                      <a:pt x="4" y="2"/>
                      <a:pt x="3" y="1"/>
                    </a:cubicBezTo>
                    <a:cubicBezTo>
                      <a:pt x="3" y="0"/>
                      <a:pt x="1" y="0"/>
                      <a:pt x="1" y="1"/>
                    </a:cubicBezTo>
                    <a:cubicBezTo>
                      <a:pt x="0" y="4"/>
                      <a:pt x="3" y="9"/>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58"/>
              <p:cNvSpPr>
                <a:spLocks/>
              </p:cNvSpPr>
              <p:nvPr/>
            </p:nvSpPr>
            <p:spPr bwMode="auto">
              <a:xfrm>
                <a:off x="3505201" y="4167188"/>
                <a:ext cx="23813" cy="82550"/>
              </a:xfrm>
              <a:custGeom>
                <a:avLst/>
                <a:gdLst>
                  <a:gd name="T0" fmla="*/ 5 w 31"/>
                  <a:gd name="T1" fmla="*/ 106 h 108"/>
                  <a:gd name="T2" fmla="*/ 12 w 31"/>
                  <a:gd name="T3" fmla="*/ 104 h 108"/>
                  <a:gd name="T4" fmla="*/ 16 w 31"/>
                  <a:gd name="T5" fmla="*/ 101 h 108"/>
                  <a:gd name="T6" fmla="*/ 20 w 31"/>
                  <a:gd name="T7" fmla="*/ 100 h 108"/>
                  <a:gd name="T8" fmla="*/ 21 w 31"/>
                  <a:gd name="T9" fmla="*/ 99 h 108"/>
                  <a:gd name="T10" fmla="*/ 23 w 31"/>
                  <a:gd name="T11" fmla="*/ 99 h 108"/>
                  <a:gd name="T12" fmla="*/ 26 w 31"/>
                  <a:gd name="T13" fmla="*/ 100 h 108"/>
                  <a:gd name="T14" fmla="*/ 28 w 31"/>
                  <a:gd name="T15" fmla="*/ 96 h 108"/>
                  <a:gd name="T16" fmla="*/ 30 w 31"/>
                  <a:gd name="T17" fmla="*/ 88 h 108"/>
                  <a:gd name="T18" fmla="*/ 29 w 31"/>
                  <a:gd name="T19" fmla="*/ 77 h 108"/>
                  <a:gd name="T20" fmla="*/ 26 w 31"/>
                  <a:gd name="T21" fmla="*/ 72 h 108"/>
                  <a:gd name="T22" fmla="*/ 24 w 31"/>
                  <a:gd name="T23" fmla="*/ 64 h 108"/>
                  <a:gd name="T24" fmla="*/ 22 w 31"/>
                  <a:gd name="T25" fmla="*/ 58 h 108"/>
                  <a:gd name="T26" fmla="*/ 20 w 31"/>
                  <a:gd name="T27" fmla="*/ 54 h 108"/>
                  <a:gd name="T28" fmla="*/ 19 w 31"/>
                  <a:gd name="T29" fmla="*/ 49 h 108"/>
                  <a:gd name="T30" fmla="*/ 18 w 31"/>
                  <a:gd name="T31" fmla="*/ 45 h 108"/>
                  <a:gd name="T32" fmla="*/ 17 w 31"/>
                  <a:gd name="T33" fmla="*/ 40 h 108"/>
                  <a:gd name="T34" fmla="*/ 14 w 31"/>
                  <a:gd name="T35" fmla="*/ 38 h 108"/>
                  <a:gd name="T36" fmla="*/ 14 w 31"/>
                  <a:gd name="T37" fmla="*/ 34 h 108"/>
                  <a:gd name="T38" fmla="*/ 16 w 31"/>
                  <a:gd name="T39" fmla="*/ 27 h 108"/>
                  <a:gd name="T40" fmla="*/ 18 w 31"/>
                  <a:gd name="T41" fmla="*/ 22 h 108"/>
                  <a:gd name="T42" fmla="*/ 16 w 31"/>
                  <a:gd name="T43" fmla="*/ 19 h 108"/>
                  <a:gd name="T44" fmla="*/ 13 w 31"/>
                  <a:gd name="T45" fmla="*/ 18 h 108"/>
                  <a:gd name="T46" fmla="*/ 10 w 31"/>
                  <a:gd name="T47" fmla="*/ 18 h 108"/>
                  <a:gd name="T48" fmla="*/ 12 w 31"/>
                  <a:gd name="T49" fmla="*/ 5 h 108"/>
                  <a:gd name="T50" fmla="*/ 5 w 31"/>
                  <a:gd name="T51" fmla="*/ 4 h 108"/>
                  <a:gd name="T52" fmla="*/ 3 w 31"/>
                  <a:gd name="T53" fmla="*/ 12 h 108"/>
                  <a:gd name="T54" fmla="*/ 2 w 31"/>
                  <a:gd name="T55" fmla="*/ 19 h 108"/>
                  <a:gd name="T56" fmla="*/ 1 w 31"/>
                  <a:gd name="T57" fmla="*/ 24 h 108"/>
                  <a:gd name="T58" fmla="*/ 2 w 31"/>
                  <a:gd name="T59" fmla="*/ 27 h 108"/>
                  <a:gd name="T60" fmla="*/ 2 w 31"/>
                  <a:gd name="T61" fmla="*/ 33 h 108"/>
                  <a:gd name="T62" fmla="*/ 4 w 31"/>
                  <a:gd name="T63" fmla="*/ 34 h 108"/>
                  <a:gd name="T64" fmla="*/ 3 w 31"/>
                  <a:gd name="T65" fmla="*/ 38 h 108"/>
                  <a:gd name="T66" fmla="*/ 6 w 31"/>
                  <a:gd name="T67" fmla="*/ 43 h 108"/>
                  <a:gd name="T68" fmla="*/ 7 w 31"/>
                  <a:gd name="T69" fmla="*/ 47 h 108"/>
                  <a:gd name="T70" fmla="*/ 5 w 31"/>
                  <a:gd name="T71" fmla="*/ 51 h 108"/>
                  <a:gd name="T72" fmla="*/ 6 w 31"/>
                  <a:gd name="T73" fmla="*/ 54 h 108"/>
                  <a:gd name="T74" fmla="*/ 9 w 31"/>
                  <a:gd name="T75" fmla="*/ 53 h 108"/>
                  <a:gd name="T76" fmla="*/ 11 w 31"/>
                  <a:gd name="T77" fmla="*/ 58 h 108"/>
                  <a:gd name="T78" fmla="*/ 12 w 31"/>
                  <a:gd name="T79" fmla="*/ 62 h 108"/>
                  <a:gd name="T80" fmla="*/ 12 w 31"/>
                  <a:gd name="T81" fmla="*/ 66 h 108"/>
                  <a:gd name="T82" fmla="*/ 12 w 31"/>
                  <a:gd name="T83" fmla="*/ 73 h 108"/>
                  <a:gd name="T84" fmla="*/ 7 w 31"/>
                  <a:gd name="T85" fmla="*/ 69 h 108"/>
                  <a:gd name="T86" fmla="*/ 8 w 31"/>
                  <a:gd name="T87" fmla="*/ 75 h 108"/>
                  <a:gd name="T88" fmla="*/ 9 w 31"/>
                  <a:gd name="T89" fmla="*/ 82 h 108"/>
                  <a:gd name="T90" fmla="*/ 10 w 31"/>
                  <a:gd name="T91" fmla="*/ 85 h 108"/>
                  <a:gd name="T92" fmla="*/ 10 w 31"/>
                  <a:gd name="T93" fmla="*/ 88 h 108"/>
                  <a:gd name="T94" fmla="*/ 12 w 31"/>
                  <a:gd name="T95" fmla="*/ 88 h 108"/>
                  <a:gd name="T96" fmla="*/ 10 w 31"/>
                  <a:gd name="T97" fmla="*/ 97 h 108"/>
                  <a:gd name="T98" fmla="*/ 5 w 31"/>
                  <a:gd name="T99"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108">
                    <a:moveTo>
                      <a:pt x="5" y="106"/>
                    </a:moveTo>
                    <a:cubicBezTo>
                      <a:pt x="7" y="108"/>
                      <a:pt x="10" y="105"/>
                      <a:pt x="12" y="104"/>
                    </a:cubicBezTo>
                    <a:cubicBezTo>
                      <a:pt x="13" y="102"/>
                      <a:pt x="14" y="101"/>
                      <a:pt x="16" y="101"/>
                    </a:cubicBezTo>
                    <a:cubicBezTo>
                      <a:pt x="17" y="101"/>
                      <a:pt x="19" y="101"/>
                      <a:pt x="20" y="100"/>
                    </a:cubicBezTo>
                    <a:cubicBezTo>
                      <a:pt x="21" y="100"/>
                      <a:pt x="21" y="99"/>
                      <a:pt x="21" y="99"/>
                    </a:cubicBezTo>
                    <a:cubicBezTo>
                      <a:pt x="22" y="99"/>
                      <a:pt x="23" y="99"/>
                      <a:pt x="23" y="99"/>
                    </a:cubicBezTo>
                    <a:cubicBezTo>
                      <a:pt x="24" y="100"/>
                      <a:pt x="25" y="102"/>
                      <a:pt x="26" y="100"/>
                    </a:cubicBezTo>
                    <a:cubicBezTo>
                      <a:pt x="27" y="99"/>
                      <a:pt x="28" y="99"/>
                      <a:pt x="28" y="96"/>
                    </a:cubicBezTo>
                    <a:cubicBezTo>
                      <a:pt x="29" y="93"/>
                      <a:pt x="28" y="90"/>
                      <a:pt x="30" y="88"/>
                    </a:cubicBezTo>
                    <a:cubicBezTo>
                      <a:pt x="31" y="83"/>
                      <a:pt x="31" y="80"/>
                      <a:pt x="29" y="77"/>
                    </a:cubicBezTo>
                    <a:cubicBezTo>
                      <a:pt x="28" y="75"/>
                      <a:pt x="27" y="74"/>
                      <a:pt x="26" y="72"/>
                    </a:cubicBezTo>
                    <a:cubicBezTo>
                      <a:pt x="25" y="69"/>
                      <a:pt x="25" y="66"/>
                      <a:pt x="24" y="64"/>
                    </a:cubicBezTo>
                    <a:cubicBezTo>
                      <a:pt x="23" y="62"/>
                      <a:pt x="23" y="60"/>
                      <a:pt x="22" y="58"/>
                    </a:cubicBezTo>
                    <a:cubicBezTo>
                      <a:pt x="22" y="57"/>
                      <a:pt x="20" y="56"/>
                      <a:pt x="20" y="54"/>
                    </a:cubicBezTo>
                    <a:cubicBezTo>
                      <a:pt x="19" y="53"/>
                      <a:pt x="20" y="51"/>
                      <a:pt x="19" y="49"/>
                    </a:cubicBezTo>
                    <a:cubicBezTo>
                      <a:pt x="19" y="47"/>
                      <a:pt x="18" y="47"/>
                      <a:pt x="18" y="45"/>
                    </a:cubicBezTo>
                    <a:cubicBezTo>
                      <a:pt x="18" y="42"/>
                      <a:pt x="17" y="41"/>
                      <a:pt x="17" y="40"/>
                    </a:cubicBezTo>
                    <a:cubicBezTo>
                      <a:pt x="16" y="39"/>
                      <a:pt x="15" y="39"/>
                      <a:pt x="14" y="38"/>
                    </a:cubicBezTo>
                    <a:cubicBezTo>
                      <a:pt x="13" y="37"/>
                      <a:pt x="14" y="36"/>
                      <a:pt x="14" y="34"/>
                    </a:cubicBezTo>
                    <a:cubicBezTo>
                      <a:pt x="15" y="32"/>
                      <a:pt x="16" y="29"/>
                      <a:pt x="16" y="27"/>
                    </a:cubicBezTo>
                    <a:cubicBezTo>
                      <a:pt x="17" y="25"/>
                      <a:pt x="18" y="24"/>
                      <a:pt x="18" y="22"/>
                    </a:cubicBezTo>
                    <a:cubicBezTo>
                      <a:pt x="17" y="20"/>
                      <a:pt x="17" y="19"/>
                      <a:pt x="16" y="19"/>
                    </a:cubicBezTo>
                    <a:cubicBezTo>
                      <a:pt x="15" y="18"/>
                      <a:pt x="14" y="18"/>
                      <a:pt x="13" y="18"/>
                    </a:cubicBezTo>
                    <a:cubicBezTo>
                      <a:pt x="12" y="18"/>
                      <a:pt x="11" y="19"/>
                      <a:pt x="10" y="18"/>
                    </a:cubicBezTo>
                    <a:cubicBezTo>
                      <a:pt x="6" y="15"/>
                      <a:pt x="13" y="8"/>
                      <a:pt x="12" y="5"/>
                    </a:cubicBezTo>
                    <a:cubicBezTo>
                      <a:pt x="10" y="0"/>
                      <a:pt x="8" y="10"/>
                      <a:pt x="5" y="4"/>
                    </a:cubicBezTo>
                    <a:cubicBezTo>
                      <a:pt x="4" y="6"/>
                      <a:pt x="3" y="10"/>
                      <a:pt x="3" y="12"/>
                    </a:cubicBezTo>
                    <a:cubicBezTo>
                      <a:pt x="3" y="15"/>
                      <a:pt x="2" y="17"/>
                      <a:pt x="2" y="19"/>
                    </a:cubicBezTo>
                    <a:cubicBezTo>
                      <a:pt x="2" y="20"/>
                      <a:pt x="1" y="23"/>
                      <a:pt x="1" y="24"/>
                    </a:cubicBezTo>
                    <a:cubicBezTo>
                      <a:pt x="2" y="25"/>
                      <a:pt x="2" y="25"/>
                      <a:pt x="2" y="27"/>
                    </a:cubicBezTo>
                    <a:cubicBezTo>
                      <a:pt x="1" y="28"/>
                      <a:pt x="0" y="32"/>
                      <a:pt x="2" y="33"/>
                    </a:cubicBezTo>
                    <a:cubicBezTo>
                      <a:pt x="2" y="33"/>
                      <a:pt x="3" y="33"/>
                      <a:pt x="4" y="34"/>
                    </a:cubicBezTo>
                    <a:cubicBezTo>
                      <a:pt x="4" y="35"/>
                      <a:pt x="3" y="36"/>
                      <a:pt x="3" y="38"/>
                    </a:cubicBezTo>
                    <a:cubicBezTo>
                      <a:pt x="3" y="43"/>
                      <a:pt x="6" y="39"/>
                      <a:pt x="6" y="43"/>
                    </a:cubicBezTo>
                    <a:cubicBezTo>
                      <a:pt x="6" y="45"/>
                      <a:pt x="7" y="46"/>
                      <a:pt x="7" y="47"/>
                    </a:cubicBezTo>
                    <a:cubicBezTo>
                      <a:pt x="6" y="49"/>
                      <a:pt x="6" y="50"/>
                      <a:pt x="5" y="51"/>
                    </a:cubicBezTo>
                    <a:cubicBezTo>
                      <a:pt x="5" y="52"/>
                      <a:pt x="5" y="53"/>
                      <a:pt x="6" y="54"/>
                    </a:cubicBezTo>
                    <a:cubicBezTo>
                      <a:pt x="7" y="55"/>
                      <a:pt x="9" y="53"/>
                      <a:pt x="9" y="53"/>
                    </a:cubicBezTo>
                    <a:cubicBezTo>
                      <a:pt x="12" y="52"/>
                      <a:pt x="11" y="56"/>
                      <a:pt x="11" y="58"/>
                    </a:cubicBezTo>
                    <a:cubicBezTo>
                      <a:pt x="12" y="60"/>
                      <a:pt x="12" y="61"/>
                      <a:pt x="12" y="62"/>
                    </a:cubicBezTo>
                    <a:cubicBezTo>
                      <a:pt x="13" y="64"/>
                      <a:pt x="13" y="64"/>
                      <a:pt x="12" y="66"/>
                    </a:cubicBezTo>
                    <a:cubicBezTo>
                      <a:pt x="12" y="68"/>
                      <a:pt x="13" y="71"/>
                      <a:pt x="12" y="73"/>
                    </a:cubicBezTo>
                    <a:cubicBezTo>
                      <a:pt x="10" y="75"/>
                      <a:pt x="8" y="68"/>
                      <a:pt x="7" y="69"/>
                    </a:cubicBezTo>
                    <a:cubicBezTo>
                      <a:pt x="7" y="71"/>
                      <a:pt x="7" y="73"/>
                      <a:pt x="8" y="75"/>
                    </a:cubicBezTo>
                    <a:cubicBezTo>
                      <a:pt x="9" y="78"/>
                      <a:pt x="9" y="79"/>
                      <a:pt x="9" y="82"/>
                    </a:cubicBezTo>
                    <a:cubicBezTo>
                      <a:pt x="8" y="83"/>
                      <a:pt x="9" y="84"/>
                      <a:pt x="10" y="85"/>
                    </a:cubicBezTo>
                    <a:cubicBezTo>
                      <a:pt x="10" y="86"/>
                      <a:pt x="10" y="87"/>
                      <a:pt x="10" y="88"/>
                    </a:cubicBezTo>
                    <a:cubicBezTo>
                      <a:pt x="10" y="89"/>
                      <a:pt x="12" y="88"/>
                      <a:pt x="12" y="88"/>
                    </a:cubicBezTo>
                    <a:cubicBezTo>
                      <a:pt x="15" y="91"/>
                      <a:pt x="11" y="95"/>
                      <a:pt x="10" y="97"/>
                    </a:cubicBezTo>
                    <a:cubicBezTo>
                      <a:pt x="9" y="98"/>
                      <a:pt x="2" y="103"/>
                      <a:pt x="5"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59"/>
              <p:cNvSpPr>
                <a:spLocks/>
              </p:cNvSpPr>
              <p:nvPr/>
            </p:nvSpPr>
            <p:spPr bwMode="auto">
              <a:xfrm>
                <a:off x="3513138" y="3895725"/>
                <a:ext cx="26988" cy="28575"/>
              </a:xfrm>
              <a:custGeom>
                <a:avLst/>
                <a:gdLst>
                  <a:gd name="T0" fmla="*/ 4 w 36"/>
                  <a:gd name="T1" fmla="*/ 7 h 38"/>
                  <a:gd name="T2" fmla="*/ 1 w 36"/>
                  <a:gd name="T3" fmla="*/ 6 h 38"/>
                  <a:gd name="T4" fmla="*/ 3 w 36"/>
                  <a:gd name="T5" fmla="*/ 9 h 38"/>
                  <a:gd name="T6" fmla="*/ 6 w 36"/>
                  <a:gd name="T7" fmla="*/ 13 h 38"/>
                  <a:gd name="T8" fmla="*/ 5 w 36"/>
                  <a:gd name="T9" fmla="*/ 14 h 38"/>
                  <a:gd name="T10" fmla="*/ 7 w 36"/>
                  <a:gd name="T11" fmla="*/ 17 h 38"/>
                  <a:gd name="T12" fmla="*/ 9 w 36"/>
                  <a:gd name="T13" fmla="*/ 19 h 38"/>
                  <a:gd name="T14" fmla="*/ 12 w 36"/>
                  <a:gd name="T15" fmla="*/ 18 h 38"/>
                  <a:gd name="T16" fmla="*/ 16 w 36"/>
                  <a:gd name="T17" fmla="*/ 21 h 38"/>
                  <a:gd name="T18" fmla="*/ 15 w 36"/>
                  <a:gd name="T19" fmla="*/ 22 h 38"/>
                  <a:gd name="T20" fmla="*/ 15 w 36"/>
                  <a:gd name="T21" fmla="*/ 24 h 38"/>
                  <a:gd name="T22" fmla="*/ 13 w 36"/>
                  <a:gd name="T23" fmla="*/ 23 h 38"/>
                  <a:gd name="T24" fmla="*/ 14 w 36"/>
                  <a:gd name="T25" fmla="*/ 27 h 38"/>
                  <a:gd name="T26" fmla="*/ 23 w 36"/>
                  <a:gd name="T27" fmla="*/ 31 h 38"/>
                  <a:gd name="T28" fmla="*/ 27 w 36"/>
                  <a:gd name="T29" fmla="*/ 34 h 38"/>
                  <a:gd name="T30" fmla="*/ 31 w 36"/>
                  <a:gd name="T31" fmla="*/ 37 h 38"/>
                  <a:gd name="T32" fmla="*/ 34 w 36"/>
                  <a:gd name="T33" fmla="*/ 32 h 38"/>
                  <a:gd name="T34" fmla="*/ 35 w 36"/>
                  <a:gd name="T35" fmla="*/ 29 h 38"/>
                  <a:gd name="T36" fmla="*/ 35 w 36"/>
                  <a:gd name="T37" fmla="*/ 26 h 38"/>
                  <a:gd name="T38" fmla="*/ 34 w 36"/>
                  <a:gd name="T39" fmla="*/ 23 h 38"/>
                  <a:gd name="T40" fmla="*/ 33 w 36"/>
                  <a:gd name="T41" fmla="*/ 20 h 38"/>
                  <a:gd name="T42" fmla="*/ 28 w 36"/>
                  <a:gd name="T43" fmla="*/ 17 h 38"/>
                  <a:gd name="T44" fmla="*/ 25 w 36"/>
                  <a:gd name="T45" fmla="*/ 14 h 38"/>
                  <a:gd name="T46" fmla="*/ 22 w 36"/>
                  <a:gd name="T47" fmla="*/ 11 h 38"/>
                  <a:gd name="T48" fmla="*/ 20 w 36"/>
                  <a:gd name="T49" fmla="*/ 12 h 38"/>
                  <a:gd name="T50" fmla="*/ 20 w 36"/>
                  <a:gd name="T51" fmla="*/ 15 h 38"/>
                  <a:gd name="T52" fmla="*/ 19 w 36"/>
                  <a:gd name="T53" fmla="*/ 12 h 38"/>
                  <a:gd name="T54" fmla="*/ 18 w 36"/>
                  <a:gd name="T55" fmla="*/ 8 h 38"/>
                  <a:gd name="T56" fmla="*/ 15 w 36"/>
                  <a:gd name="T57" fmla="*/ 6 h 38"/>
                  <a:gd name="T58" fmla="*/ 14 w 36"/>
                  <a:gd name="T59" fmla="*/ 8 h 38"/>
                  <a:gd name="T60" fmla="*/ 14 w 36"/>
                  <a:gd name="T61" fmla="*/ 9 h 38"/>
                  <a:gd name="T62" fmla="*/ 13 w 36"/>
                  <a:gd name="T63" fmla="*/ 8 h 38"/>
                  <a:gd name="T64" fmla="*/ 10 w 36"/>
                  <a:gd name="T65" fmla="*/ 8 h 38"/>
                  <a:gd name="T66" fmla="*/ 7 w 36"/>
                  <a:gd name="T67" fmla="*/ 4 h 38"/>
                  <a:gd name="T68" fmla="*/ 5 w 36"/>
                  <a:gd name="T69" fmla="*/ 3 h 38"/>
                  <a:gd name="T70" fmla="*/ 5 w 36"/>
                  <a:gd name="T71" fmla="*/ 5 h 38"/>
                  <a:gd name="T72" fmla="*/ 4 w 36"/>
                  <a:gd name="T7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8">
                    <a:moveTo>
                      <a:pt x="4" y="7"/>
                    </a:moveTo>
                    <a:cubicBezTo>
                      <a:pt x="3" y="6"/>
                      <a:pt x="1" y="5"/>
                      <a:pt x="1" y="6"/>
                    </a:cubicBezTo>
                    <a:cubicBezTo>
                      <a:pt x="0" y="7"/>
                      <a:pt x="2" y="9"/>
                      <a:pt x="3" y="9"/>
                    </a:cubicBezTo>
                    <a:cubicBezTo>
                      <a:pt x="4" y="10"/>
                      <a:pt x="6" y="12"/>
                      <a:pt x="6" y="13"/>
                    </a:cubicBezTo>
                    <a:cubicBezTo>
                      <a:pt x="6" y="13"/>
                      <a:pt x="5" y="13"/>
                      <a:pt x="5" y="14"/>
                    </a:cubicBezTo>
                    <a:cubicBezTo>
                      <a:pt x="5" y="15"/>
                      <a:pt x="6" y="16"/>
                      <a:pt x="7" y="17"/>
                    </a:cubicBezTo>
                    <a:cubicBezTo>
                      <a:pt x="8" y="19"/>
                      <a:pt x="8" y="19"/>
                      <a:pt x="9" y="19"/>
                    </a:cubicBezTo>
                    <a:cubicBezTo>
                      <a:pt x="11" y="20"/>
                      <a:pt x="11" y="19"/>
                      <a:pt x="12" y="18"/>
                    </a:cubicBezTo>
                    <a:cubicBezTo>
                      <a:pt x="13" y="18"/>
                      <a:pt x="16" y="18"/>
                      <a:pt x="16" y="21"/>
                    </a:cubicBezTo>
                    <a:cubicBezTo>
                      <a:pt x="17" y="23"/>
                      <a:pt x="16" y="22"/>
                      <a:pt x="15" y="22"/>
                    </a:cubicBezTo>
                    <a:cubicBezTo>
                      <a:pt x="14" y="22"/>
                      <a:pt x="16" y="24"/>
                      <a:pt x="15" y="24"/>
                    </a:cubicBezTo>
                    <a:cubicBezTo>
                      <a:pt x="15" y="24"/>
                      <a:pt x="13" y="23"/>
                      <a:pt x="13" y="23"/>
                    </a:cubicBezTo>
                    <a:cubicBezTo>
                      <a:pt x="12" y="24"/>
                      <a:pt x="14" y="26"/>
                      <a:pt x="14" y="27"/>
                    </a:cubicBezTo>
                    <a:cubicBezTo>
                      <a:pt x="17" y="31"/>
                      <a:pt x="20" y="30"/>
                      <a:pt x="23" y="31"/>
                    </a:cubicBezTo>
                    <a:cubicBezTo>
                      <a:pt x="24" y="32"/>
                      <a:pt x="26" y="33"/>
                      <a:pt x="27" y="34"/>
                    </a:cubicBezTo>
                    <a:cubicBezTo>
                      <a:pt x="28" y="35"/>
                      <a:pt x="30" y="37"/>
                      <a:pt x="31" y="37"/>
                    </a:cubicBezTo>
                    <a:cubicBezTo>
                      <a:pt x="34" y="38"/>
                      <a:pt x="33" y="35"/>
                      <a:pt x="34" y="32"/>
                    </a:cubicBezTo>
                    <a:cubicBezTo>
                      <a:pt x="34" y="31"/>
                      <a:pt x="34" y="30"/>
                      <a:pt x="35" y="29"/>
                    </a:cubicBezTo>
                    <a:cubicBezTo>
                      <a:pt x="35" y="28"/>
                      <a:pt x="36" y="28"/>
                      <a:pt x="35" y="26"/>
                    </a:cubicBezTo>
                    <a:cubicBezTo>
                      <a:pt x="34" y="24"/>
                      <a:pt x="34" y="24"/>
                      <a:pt x="34" y="23"/>
                    </a:cubicBezTo>
                    <a:cubicBezTo>
                      <a:pt x="35" y="23"/>
                      <a:pt x="35" y="21"/>
                      <a:pt x="33" y="20"/>
                    </a:cubicBezTo>
                    <a:cubicBezTo>
                      <a:pt x="32" y="18"/>
                      <a:pt x="30" y="18"/>
                      <a:pt x="28" y="17"/>
                    </a:cubicBezTo>
                    <a:cubicBezTo>
                      <a:pt x="27" y="16"/>
                      <a:pt x="26" y="16"/>
                      <a:pt x="25" y="14"/>
                    </a:cubicBezTo>
                    <a:cubicBezTo>
                      <a:pt x="24" y="13"/>
                      <a:pt x="23" y="12"/>
                      <a:pt x="22" y="11"/>
                    </a:cubicBezTo>
                    <a:cubicBezTo>
                      <a:pt x="21" y="11"/>
                      <a:pt x="20" y="11"/>
                      <a:pt x="20" y="12"/>
                    </a:cubicBezTo>
                    <a:cubicBezTo>
                      <a:pt x="20" y="13"/>
                      <a:pt x="21" y="15"/>
                      <a:pt x="20" y="15"/>
                    </a:cubicBezTo>
                    <a:cubicBezTo>
                      <a:pt x="19" y="15"/>
                      <a:pt x="19" y="13"/>
                      <a:pt x="19" y="12"/>
                    </a:cubicBezTo>
                    <a:cubicBezTo>
                      <a:pt x="19" y="11"/>
                      <a:pt x="19" y="10"/>
                      <a:pt x="18" y="8"/>
                    </a:cubicBezTo>
                    <a:cubicBezTo>
                      <a:pt x="17" y="7"/>
                      <a:pt x="16" y="6"/>
                      <a:pt x="15" y="6"/>
                    </a:cubicBezTo>
                    <a:cubicBezTo>
                      <a:pt x="14" y="5"/>
                      <a:pt x="14" y="7"/>
                      <a:pt x="14" y="8"/>
                    </a:cubicBezTo>
                    <a:cubicBezTo>
                      <a:pt x="14" y="8"/>
                      <a:pt x="15" y="10"/>
                      <a:pt x="14" y="9"/>
                    </a:cubicBezTo>
                    <a:cubicBezTo>
                      <a:pt x="14" y="9"/>
                      <a:pt x="13" y="8"/>
                      <a:pt x="13" y="8"/>
                    </a:cubicBezTo>
                    <a:cubicBezTo>
                      <a:pt x="11" y="6"/>
                      <a:pt x="13" y="12"/>
                      <a:pt x="10" y="8"/>
                    </a:cubicBezTo>
                    <a:cubicBezTo>
                      <a:pt x="8" y="7"/>
                      <a:pt x="8" y="5"/>
                      <a:pt x="7" y="4"/>
                    </a:cubicBezTo>
                    <a:cubicBezTo>
                      <a:pt x="6" y="2"/>
                      <a:pt x="4" y="0"/>
                      <a:pt x="5" y="3"/>
                    </a:cubicBezTo>
                    <a:cubicBezTo>
                      <a:pt x="5" y="4"/>
                      <a:pt x="4" y="4"/>
                      <a:pt x="5" y="5"/>
                    </a:cubicBezTo>
                    <a:cubicBezTo>
                      <a:pt x="5" y="6"/>
                      <a:pt x="6"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60"/>
              <p:cNvSpPr>
                <a:spLocks/>
              </p:cNvSpPr>
              <p:nvPr/>
            </p:nvSpPr>
            <p:spPr bwMode="auto">
              <a:xfrm>
                <a:off x="3543301" y="4295775"/>
                <a:ext cx="3175" cy="11113"/>
              </a:xfrm>
              <a:custGeom>
                <a:avLst/>
                <a:gdLst>
                  <a:gd name="T0" fmla="*/ 2 w 5"/>
                  <a:gd name="T1" fmla="*/ 13 h 14"/>
                  <a:gd name="T2" fmla="*/ 3 w 5"/>
                  <a:gd name="T3" fmla="*/ 9 h 14"/>
                  <a:gd name="T4" fmla="*/ 3 w 5"/>
                  <a:gd name="T5" fmla="*/ 1 h 14"/>
                  <a:gd name="T6" fmla="*/ 0 w 5"/>
                  <a:gd name="T7" fmla="*/ 6 h 14"/>
                  <a:gd name="T8" fmla="*/ 1 w 5"/>
                  <a:gd name="T9" fmla="*/ 9 h 14"/>
                  <a:gd name="T10" fmla="*/ 2 w 5"/>
                  <a:gd name="T11" fmla="*/ 13 h 14"/>
                </a:gdLst>
                <a:ahLst/>
                <a:cxnLst>
                  <a:cxn ang="0">
                    <a:pos x="T0" y="T1"/>
                  </a:cxn>
                  <a:cxn ang="0">
                    <a:pos x="T2" y="T3"/>
                  </a:cxn>
                  <a:cxn ang="0">
                    <a:pos x="T4" y="T5"/>
                  </a:cxn>
                  <a:cxn ang="0">
                    <a:pos x="T6" y="T7"/>
                  </a:cxn>
                  <a:cxn ang="0">
                    <a:pos x="T8" y="T9"/>
                  </a:cxn>
                  <a:cxn ang="0">
                    <a:pos x="T10" y="T11"/>
                  </a:cxn>
                </a:cxnLst>
                <a:rect l="0" t="0" r="r" b="b"/>
                <a:pathLst>
                  <a:path w="5" h="14">
                    <a:moveTo>
                      <a:pt x="2" y="13"/>
                    </a:moveTo>
                    <a:cubicBezTo>
                      <a:pt x="3" y="14"/>
                      <a:pt x="3" y="10"/>
                      <a:pt x="3" y="9"/>
                    </a:cubicBezTo>
                    <a:cubicBezTo>
                      <a:pt x="3" y="7"/>
                      <a:pt x="5" y="0"/>
                      <a:pt x="3" y="1"/>
                    </a:cubicBezTo>
                    <a:cubicBezTo>
                      <a:pt x="3" y="4"/>
                      <a:pt x="1" y="4"/>
                      <a:pt x="0" y="6"/>
                    </a:cubicBezTo>
                    <a:cubicBezTo>
                      <a:pt x="0" y="7"/>
                      <a:pt x="1" y="8"/>
                      <a:pt x="1" y="9"/>
                    </a:cubicBezTo>
                    <a:cubicBezTo>
                      <a:pt x="1" y="11"/>
                      <a:pt x="1" y="12"/>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61"/>
              <p:cNvSpPr>
                <a:spLocks/>
              </p:cNvSpPr>
              <p:nvPr/>
            </p:nvSpPr>
            <p:spPr bwMode="auto">
              <a:xfrm>
                <a:off x="3517901" y="4151313"/>
                <a:ext cx="3175" cy="7938"/>
              </a:xfrm>
              <a:custGeom>
                <a:avLst/>
                <a:gdLst>
                  <a:gd name="T0" fmla="*/ 2 w 4"/>
                  <a:gd name="T1" fmla="*/ 9 h 10"/>
                  <a:gd name="T2" fmla="*/ 4 w 4"/>
                  <a:gd name="T3" fmla="*/ 2 h 10"/>
                  <a:gd name="T4" fmla="*/ 1 w 4"/>
                  <a:gd name="T5" fmla="*/ 0 h 10"/>
                  <a:gd name="T6" fmla="*/ 2 w 4"/>
                  <a:gd name="T7" fmla="*/ 9 h 10"/>
                </a:gdLst>
                <a:ahLst/>
                <a:cxnLst>
                  <a:cxn ang="0">
                    <a:pos x="T0" y="T1"/>
                  </a:cxn>
                  <a:cxn ang="0">
                    <a:pos x="T2" y="T3"/>
                  </a:cxn>
                  <a:cxn ang="0">
                    <a:pos x="T4" y="T5"/>
                  </a:cxn>
                  <a:cxn ang="0">
                    <a:pos x="T6" y="T7"/>
                  </a:cxn>
                </a:cxnLst>
                <a:rect l="0" t="0" r="r" b="b"/>
                <a:pathLst>
                  <a:path w="4" h="10">
                    <a:moveTo>
                      <a:pt x="2" y="9"/>
                    </a:moveTo>
                    <a:cubicBezTo>
                      <a:pt x="3" y="8"/>
                      <a:pt x="4" y="4"/>
                      <a:pt x="4" y="2"/>
                    </a:cubicBezTo>
                    <a:cubicBezTo>
                      <a:pt x="4" y="0"/>
                      <a:pt x="2" y="0"/>
                      <a:pt x="1" y="0"/>
                    </a:cubicBezTo>
                    <a:cubicBezTo>
                      <a:pt x="0" y="0"/>
                      <a:pt x="1" y="10"/>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62"/>
              <p:cNvSpPr>
                <a:spLocks/>
              </p:cNvSpPr>
              <p:nvPr/>
            </p:nvSpPr>
            <p:spPr bwMode="auto">
              <a:xfrm>
                <a:off x="3492501" y="4202113"/>
                <a:ext cx="17463" cy="39688"/>
              </a:xfrm>
              <a:custGeom>
                <a:avLst/>
                <a:gdLst>
                  <a:gd name="T0" fmla="*/ 3 w 24"/>
                  <a:gd name="T1" fmla="*/ 35 h 53"/>
                  <a:gd name="T2" fmla="*/ 5 w 24"/>
                  <a:gd name="T3" fmla="*/ 47 h 53"/>
                  <a:gd name="T4" fmla="*/ 9 w 24"/>
                  <a:gd name="T5" fmla="*/ 45 h 53"/>
                  <a:gd name="T6" fmla="*/ 11 w 24"/>
                  <a:gd name="T7" fmla="*/ 48 h 53"/>
                  <a:gd name="T8" fmla="*/ 18 w 24"/>
                  <a:gd name="T9" fmla="*/ 37 h 53"/>
                  <a:gd name="T10" fmla="*/ 19 w 24"/>
                  <a:gd name="T11" fmla="*/ 31 h 53"/>
                  <a:gd name="T12" fmla="*/ 19 w 24"/>
                  <a:gd name="T13" fmla="*/ 21 h 53"/>
                  <a:gd name="T14" fmla="*/ 21 w 24"/>
                  <a:gd name="T15" fmla="*/ 10 h 53"/>
                  <a:gd name="T16" fmla="*/ 16 w 24"/>
                  <a:gd name="T17" fmla="*/ 0 h 53"/>
                  <a:gd name="T18" fmla="*/ 15 w 24"/>
                  <a:gd name="T19" fmla="*/ 1 h 53"/>
                  <a:gd name="T20" fmla="*/ 12 w 24"/>
                  <a:gd name="T21" fmla="*/ 2 h 53"/>
                  <a:gd name="T22" fmla="*/ 10 w 24"/>
                  <a:gd name="T23" fmla="*/ 6 h 53"/>
                  <a:gd name="T24" fmla="*/ 12 w 24"/>
                  <a:gd name="T25" fmla="*/ 9 h 53"/>
                  <a:gd name="T26" fmla="*/ 12 w 24"/>
                  <a:gd name="T27" fmla="*/ 13 h 53"/>
                  <a:gd name="T28" fmla="*/ 12 w 24"/>
                  <a:gd name="T29" fmla="*/ 16 h 53"/>
                  <a:gd name="T30" fmla="*/ 9 w 24"/>
                  <a:gd name="T31" fmla="*/ 11 h 53"/>
                  <a:gd name="T32" fmla="*/ 4 w 24"/>
                  <a:gd name="T33" fmla="*/ 12 h 53"/>
                  <a:gd name="T34" fmla="*/ 2 w 24"/>
                  <a:gd name="T35" fmla="*/ 19 h 53"/>
                  <a:gd name="T36" fmla="*/ 6 w 24"/>
                  <a:gd name="T37" fmla="*/ 26 h 53"/>
                  <a:gd name="T38" fmla="*/ 4 w 24"/>
                  <a:gd name="T39" fmla="*/ 30 h 53"/>
                  <a:gd name="T40" fmla="*/ 3 w 24"/>
                  <a:gd name="T41"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3" y="35"/>
                    </a:moveTo>
                    <a:cubicBezTo>
                      <a:pt x="0" y="39"/>
                      <a:pt x="2" y="45"/>
                      <a:pt x="5" y="47"/>
                    </a:cubicBezTo>
                    <a:cubicBezTo>
                      <a:pt x="6" y="48"/>
                      <a:pt x="7" y="47"/>
                      <a:pt x="9" y="45"/>
                    </a:cubicBezTo>
                    <a:cubicBezTo>
                      <a:pt x="10" y="44"/>
                      <a:pt x="10" y="47"/>
                      <a:pt x="11" y="48"/>
                    </a:cubicBezTo>
                    <a:cubicBezTo>
                      <a:pt x="16" y="53"/>
                      <a:pt x="15" y="41"/>
                      <a:pt x="18" y="37"/>
                    </a:cubicBezTo>
                    <a:cubicBezTo>
                      <a:pt x="19" y="36"/>
                      <a:pt x="19" y="33"/>
                      <a:pt x="19" y="31"/>
                    </a:cubicBezTo>
                    <a:cubicBezTo>
                      <a:pt x="19" y="27"/>
                      <a:pt x="19" y="25"/>
                      <a:pt x="19" y="21"/>
                    </a:cubicBezTo>
                    <a:cubicBezTo>
                      <a:pt x="20" y="18"/>
                      <a:pt x="24" y="14"/>
                      <a:pt x="21" y="10"/>
                    </a:cubicBezTo>
                    <a:cubicBezTo>
                      <a:pt x="20" y="7"/>
                      <a:pt x="19" y="2"/>
                      <a:pt x="16" y="0"/>
                    </a:cubicBezTo>
                    <a:cubicBezTo>
                      <a:pt x="16" y="0"/>
                      <a:pt x="15" y="1"/>
                      <a:pt x="15" y="1"/>
                    </a:cubicBezTo>
                    <a:cubicBezTo>
                      <a:pt x="14" y="2"/>
                      <a:pt x="13" y="2"/>
                      <a:pt x="12" y="2"/>
                    </a:cubicBezTo>
                    <a:cubicBezTo>
                      <a:pt x="12" y="2"/>
                      <a:pt x="10" y="4"/>
                      <a:pt x="10" y="6"/>
                    </a:cubicBezTo>
                    <a:cubicBezTo>
                      <a:pt x="11" y="6"/>
                      <a:pt x="13" y="7"/>
                      <a:pt x="12" y="9"/>
                    </a:cubicBezTo>
                    <a:cubicBezTo>
                      <a:pt x="12" y="11"/>
                      <a:pt x="12" y="11"/>
                      <a:pt x="12" y="13"/>
                    </a:cubicBezTo>
                    <a:cubicBezTo>
                      <a:pt x="12" y="13"/>
                      <a:pt x="13" y="17"/>
                      <a:pt x="12" y="16"/>
                    </a:cubicBezTo>
                    <a:cubicBezTo>
                      <a:pt x="11" y="16"/>
                      <a:pt x="10" y="12"/>
                      <a:pt x="9" y="11"/>
                    </a:cubicBezTo>
                    <a:cubicBezTo>
                      <a:pt x="8" y="9"/>
                      <a:pt x="6" y="12"/>
                      <a:pt x="4" y="12"/>
                    </a:cubicBezTo>
                    <a:cubicBezTo>
                      <a:pt x="3" y="13"/>
                      <a:pt x="1" y="17"/>
                      <a:pt x="2" y="19"/>
                    </a:cubicBezTo>
                    <a:cubicBezTo>
                      <a:pt x="3" y="21"/>
                      <a:pt x="6" y="24"/>
                      <a:pt x="6" y="26"/>
                    </a:cubicBezTo>
                    <a:cubicBezTo>
                      <a:pt x="5" y="27"/>
                      <a:pt x="5" y="28"/>
                      <a:pt x="4" y="30"/>
                    </a:cubicBezTo>
                    <a:cubicBezTo>
                      <a:pt x="4" y="32"/>
                      <a:pt x="4" y="34"/>
                      <a:pt x="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63"/>
              <p:cNvSpPr>
                <a:spLocks noEditPoints="1"/>
              </p:cNvSpPr>
              <p:nvPr/>
            </p:nvSpPr>
            <p:spPr bwMode="auto">
              <a:xfrm>
                <a:off x="3490913" y="4032250"/>
                <a:ext cx="223838" cy="306388"/>
              </a:xfrm>
              <a:custGeom>
                <a:avLst/>
                <a:gdLst>
                  <a:gd name="T0" fmla="*/ 251 w 296"/>
                  <a:gd name="T1" fmla="*/ 24 h 406"/>
                  <a:gd name="T2" fmla="*/ 249 w 296"/>
                  <a:gd name="T3" fmla="*/ 56 h 406"/>
                  <a:gd name="T4" fmla="*/ 248 w 296"/>
                  <a:gd name="T5" fmla="*/ 73 h 406"/>
                  <a:gd name="T6" fmla="*/ 236 w 296"/>
                  <a:gd name="T7" fmla="*/ 44 h 406"/>
                  <a:gd name="T8" fmla="*/ 235 w 296"/>
                  <a:gd name="T9" fmla="*/ 58 h 406"/>
                  <a:gd name="T10" fmla="*/ 226 w 296"/>
                  <a:gd name="T11" fmla="*/ 32 h 406"/>
                  <a:gd name="T12" fmla="*/ 231 w 296"/>
                  <a:gd name="T13" fmla="*/ 82 h 406"/>
                  <a:gd name="T14" fmla="*/ 241 w 296"/>
                  <a:gd name="T15" fmla="*/ 108 h 406"/>
                  <a:gd name="T16" fmla="*/ 228 w 296"/>
                  <a:gd name="T17" fmla="*/ 119 h 406"/>
                  <a:gd name="T18" fmla="*/ 227 w 296"/>
                  <a:gd name="T19" fmla="*/ 70 h 406"/>
                  <a:gd name="T20" fmla="*/ 214 w 296"/>
                  <a:gd name="T21" fmla="*/ 32 h 406"/>
                  <a:gd name="T22" fmla="*/ 212 w 296"/>
                  <a:gd name="T23" fmla="*/ 59 h 406"/>
                  <a:gd name="T24" fmla="*/ 219 w 296"/>
                  <a:gd name="T25" fmla="*/ 90 h 406"/>
                  <a:gd name="T26" fmla="*/ 199 w 296"/>
                  <a:gd name="T27" fmla="*/ 70 h 406"/>
                  <a:gd name="T28" fmla="*/ 192 w 296"/>
                  <a:gd name="T29" fmla="*/ 82 h 406"/>
                  <a:gd name="T30" fmla="*/ 176 w 296"/>
                  <a:gd name="T31" fmla="*/ 92 h 406"/>
                  <a:gd name="T32" fmla="*/ 163 w 296"/>
                  <a:gd name="T33" fmla="*/ 75 h 406"/>
                  <a:gd name="T34" fmla="*/ 166 w 296"/>
                  <a:gd name="T35" fmla="*/ 106 h 406"/>
                  <a:gd name="T36" fmla="*/ 159 w 296"/>
                  <a:gd name="T37" fmla="*/ 126 h 406"/>
                  <a:gd name="T38" fmla="*/ 150 w 296"/>
                  <a:gd name="T39" fmla="*/ 129 h 406"/>
                  <a:gd name="T40" fmla="*/ 138 w 296"/>
                  <a:gd name="T41" fmla="*/ 90 h 406"/>
                  <a:gd name="T42" fmla="*/ 154 w 296"/>
                  <a:gd name="T43" fmla="*/ 80 h 406"/>
                  <a:gd name="T44" fmla="*/ 134 w 296"/>
                  <a:gd name="T45" fmla="*/ 55 h 406"/>
                  <a:gd name="T46" fmla="*/ 123 w 296"/>
                  <a:gd name="T47" fmla="*/ 35 h 406"/>
                  <a:gd name="T48" fmla="*/ 112 w 296"/>
                  <a:gd name="T49" fmla="*/ 26 h 406"/>
                  <a:gd name="T50" fmla="*/ 103 w 296"/>
                  <a:gd name="T51" fmla="*/ 30 h 406"/>
                  <a:gd name="T52" fmla="*/ 91 w 296"/>
                  <a:gd name="T53" fmla="*/ 36 h 406"/>
                  <a:gd name="T54" fmla="*/ 86 w 296"/>
                  <a:gd name="T55" fmla="*/ 52 h 406"/>
                  <a:gd name="T56" fmla="*/ 84 w 296"/>
                  <a:gd name="T57" fmla="*/ 70 h 406"/>
                  <a:gd name="T58" fmla="*/ 80 w 296"/>
                  <a:gd name="T59" fmla="*/ 96 h 406"/>
                  <a:gd name="T60" fmla="*/ 64 w 296"/>
                  <a:gd name="T61" fmla="*/ 137 h 406"/>
                  <a:gd name="T62" fmla="*/ 63 w 296"/>
                  <a:gd name="T63" fmla="*/ 166 h 406"/>
                  <a:gd name="T64" fmla="*/ 77 w 296"/>
                  <a:gd name="T65" fmla="*/ 193 h 406"/>
                  <a:gd name="T66" fmla="*/ 90 w 296"/>
                  <a:gd name="T67" fmla="*/ 188 h 406"/>
                  <a:gd name="T68" fmla="*/ 86 w 296"/>
                  <a:gd name="T69" fmla="*/ 222 h 406"/>
                  <a:gd name="T70" fmla="*/ 103 w 296"/>
                  <a:gd name="T71" fmla="*/ 214 h 406"/>
                  <a:gd name="T72" fmla="*/ 104 w 296"/>
                  <a:gd name="T73" fmla="*/ 168 h 406"/>
                  <a:gd name="T74" fmla="*/ 110 w 296"/>
                  <a:gd name="T75" fmla="*/ 118 h 406"/>
                  <a:gd name="T76" fmla="*/ 118 w 296"/>
                  <a:gd name="T77" fmla="*/ 122 h 406"/>
                  <a:gd name="T78" fmla="*/ 115 w 296"/>
                  <a:gd name="T79" fmla="*/ 169 h 406"/>
                  <a:gd name="T80" fmla="*/ 124 w 296"/>
                  <a:gd name="T81" fmla="*/ 175 h 406"/>
                  <a:gd name="T82" fmla="*/ 138 w 296"/>
                  <a:gd name="T83" fmla="*/ 180 h 406"/>
                  <a:gd name="T84" fmla="*/ 119 w 296"/>
                  <a:gd name="T85" fmla="*/ 186 h 406"/>
                  <a:gd name="T86" fmla="*/ 117 w 296"/>
                  <a:gd name="T87" fmla="*/ 208 h 406"/>
                  <a:gd name="T88" fmla="*/ 107 w 296"/>
                  <a:gd name="T89" fmla="*/ 233 h 406"/>
                  <a:gd name="T90" fmla="*/ 92 w 296"/>
                  <a:gd name="T91" fmla="*/ 239 h 406"/>
                  <a:gd name="T92" fmla="*/ 83 w 296"/>
                  <a:gd name="T93" fmla="*/ 213 h 406"/>
                  <a:gd name="T94" fmla="*/ 77 w 296"/>
                  <a:gd name="T95" fmla="*/ 229 h 406"/>
                  <a:gd name="T96" fmla="*/ 64 w 296"/>
                  <a:gd name="T97" fmla="*/ 259 h 406"/>
                  <a:gd name="T98" fmla="*/ 52 w 296"/>
                  <a:gd name="T99" fmla="*/ 286 h 406"/>
                  <a:gd name="T100" fmla="*/ 30 w 296"/>
                  <a:gd name="T101" fmla="*/ 304 h 406"/>
                  <a:gd name="T102" fmla="*/ 39 w 296"/>
                  <a:gd name="T103" fmla="*/ 345 h 406"/>
                  <a:gd name="T104" fmla="*/ 6 w 296"/>
                  <a:gd name="T105" fmla="*/ 365 h 406"/>
                  <a:gd name="T106" fmla="*/ 41 w 296"/>
                  <a:gd name="T107" fmla="*/ 380 h 406"/>
                  <a:gd name="T108" fmla="*/ 70 w 296"/>
                  <a:gd name="T109" fmla="*/ 345 h 406"/>
                  <a:gd name="T110" fmla="*/ 85 w 296"/>
                  <a:gd name="T111" fmla="*/ 335 h 406"/>
                  <a:gd name="T112" fmla="*/ 103 w 296"/>
                  <a:gd name="T113" fmla="*/ 350 h 406"/>
                  <a:gd name="T114" fmla="*/ 153 w 296"/>
                  <a:gd name="T115" fmla="*/ 311 h 406"/>
                  <a:gd name="T116" fmla="*/ 257 w 296"/>
                  <a:gd name="T117" fmla="*/ 2 h 406"/>
                  <a:gd name="T118" fmla="*/ 142 w 296"/>
                  <a:gd name="T119" fmla="*/ 158 h 406"/>
                  <a:gd name="T120" fmla="*/ 149 w 296"/>
                  <a:gd name="T121" fmla="*/ 154 h 406"/>
                  <a:gd name="T122" fmla="*/ 159 w 296"/>
                  <a:gd name="T123" fmla="*/ 19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6" h="406">
                    <a:moveTo>
                      <a:pt x="257" y="2"/>
                    </a:moveTo>
                    <a:cubicBezTo>
                      <a:pt x="256" y="2"/>
                      <a:pt x="256" y="2"/>
                      <a:pt x="255" y="1"/>
                    </a:cubicBezTo>
                    <a:cubicBezTo>
                      <a:pt x="254" y="1"/>
                      <a:pt x="254" y="3"/>
                      <a:pt x="253" y="4"/>
                    </a:cubicBezTo>
                    <a:cubicBezTo>
                      <a:pt x="252" y="6"/>
                      <a:pt x="251" y="6"/>
                      <a:pt x="250" y="8"/>
                    </a:cubicBezTo>
                    <a:cubicBezTo>
                      <a:pt x="249" y="9"/>
                      <a:pt x="249" y="10"/>
                      <a:pt x="249" y="11"/>
                    </a:cubicBezTo>
                    <a:cubicBezTo>
                      <a:pt x="249" y="12"/>
                      <a:pt x="248" y="13"/>
                      <a:pt x="248" y="14"/>
                    </a:cubicBezTo>
                    <a:cubicBezTo>
                      <a:pt x="248" y="15"/>
                      <a:pt x="250" y="16"/>
                      <a:pt x="249" y="17"/>
                    </a:cubicBezTo>
                    <a:cubicBezTo>
                      <a:pt x="248" y="19"/>
                      <a:pt x="250" y="21"/>
                      <a:pt x="251" y="24"/>
                    </a:cubicBezTo>
                    <a:cubicBezTo>
                      <a:pt x="253" y="30"/>
                      <a:pt x="245" y="28"/>
                      <a:pt x="243" y="27"/>
                    </a:cubicBezTo>
                    <a:cubicBezTo>
                      <a:pt x="242" y="27"/>
                      <a:pt x="240" y="26"/>
                      <a:pt x="239" y="28"/>
                    </a:cubicBezTo>
                    <a:cubicBezTo>
                      <a:pt x="239" y="29"/>
                      <a:pt x="238" y="30"/>
                      <a:pt x="238" y="32"/>
                    </a:cubicBezTo>
                    <a:cubicBezTo>
                      <a:pt x="239" y="34"/>
                      <a:pt x="240" y="36"/>
                      <a:pt x="240" y="38"/>
                    </a:cubicBezTo>
                    <a:cubicBezTo>
                      <a:pt x="240" y="41"/>
                      <a:pt x="240" y="44"/>
                      <a:pt x="242" y="47"/>
                    </a:cubicBezTo>
                    <a:cubicBezTo>
                      <a:pt x="243" y="48"/>
                      <a:pt x="243" y="48"/>
                      <a:pt x="244" y="48"/>
                    </a:cubicBezTo>
                    <a:cubicBezTo>
                      <a:pt x="245" y="49"/>
                      <a:pt x="245" y="51"/>
                      <a:pt x="245" y="51"/>
                    </a:cubicBezTo>
                    <a:cubicBezTo>
                      <a:pt x="247" y="53"/>
                      <a:pt x="248" y="54"/>
                      <a:pt x="249" y="56"/>
                    </a:cubicBezTo>
                    <a:cubicBezTo>
                      <a:pt x="249" y="58"/>
                      <a:pt x="249" y="59"/>
                      <a:pt x="249" y="60"/>
                    </a:cubicBezTo>
                    <a:cubicBezTo>
                      <a:pt x="249" y="62"/>
                      <a:pt x="249" y="64"/>
                      <a:pt x="249" y="66"/>
                    </a:cubicBezTo>
                    <a:cubicBezTo>
                      <a:pt x="250" y="68"/>
                      <a:pt x="252" y="71"/>
                      <a:pt x="252" y="74"/>
                    </a:cubicBezTo>
                    <a:cubicBezTo>
                      <a:pt x="252" y="76"/>
                      <a:pt x="252" y="76"/>
                      <a:pt x="251" y="77"/>
                    </a:cubicBezTo>
                    <a:cubicBezTo>
                      <a:pt x="251" y="77"/>
                      <a:pt x="251" y="78"/>
                      <a:pt x="250" y="78"/>
                    </a:cubicBezTo>
                    <a:cubicBezTo>
                      <a:pt x="250" y="78"/>
                      <a:pt x="250" y="77"/>
                      <a:pt x="250" y="78"/>
                    </a:cubicBezTo>
                    <a:cubicBezTo>
                      <a:pt x="249" y="79"/>
                      <a:pt x="249" y="80"/>
                      <a:pt x="249" y="78"/>
                    </a:cubicBezTo>
                    <a:cubicBezTo>
                      <a:pt x="248" y="76"/>
                      <a:pt x="248" y="74"/>
                      <a:pt x="248" y="73"/>
                    </a:cubicBezTo>
                    <a:cubicBezTo>
                      <a:pt x="248" y="71"/>
                      <a:pt x="248" y="69"/>
                      <a:pt x="247" y="67"/>
                    </a:cubicBezTo>
                    <a:cubicBezTo>
                      <a:pt x="247" y="65"/>
                      <a:pt x="247" y="64"/>
                      <a:pt x="247" y="63"/>
                    </a:cubicBezTo>
                    <a:cubicBezTo>
                      <a:pt x="248" y="61"/>
                      <a:pt x="248" y="57"/>
                      <a:pt x="246" y="57"/>
                    </a:cubicBezTo>
                    <a:cubicBezTo>
                      <a:pt x="246" y="57"/>
                      <a:pt x="245" y="56"/>
                      <a:pt x="244" y="55"/>
                    </a:cubicBezTo>
                    <a:cubicBezTo>
                      <a:pt x="243" y="54"/>
                      <a:pt x="243" y="52"/>
                      <a:pt x="241" y="51"/>
                    </a:cubicBezTo>
                    <a:cubicBezTo>
                      <a:pt x="240" y="49"/>
                      <a:pt x="240" y="48"/>
                      <a:pt x="239" y="47"/>
                    </a:cubicBezTo>
                    <a:cubicBezTo>
                      <a:pt x="238" y="46"/>
                      <a:pt x="237" y="46"/>
                      <a:pt x="236" y="46"/>
                    </a:cubicBezTo>
                    <a:cubicBezTo>
                      <a:pt x="236" y="46"/>
                      <a:pt x="236" y="45"/>
                      <a:pt x="236" y="44"/>
                    </a:cubicBezTo>
                    <a:cubicBezTo>
                      <a:pt x="235" y="42"/>
                      <a:pt x="234" y="41"/>
                      <a:pt x="234" y="42"/>
                    </a:cubicBezTo>
                    <a:cubicBezTo>
                      <a:pt x="233" y="42"/>
                      <a:pt x="233" y="43"/>
                      <a:pt x="233" y="45"/>
                    </a:cubicBezTo>
                    <a:cubicBezTo>
                      <a:pt x="233" y="45"/>
                      <a:pt x="234" y="46"/>
                      <a:pt x="234" y="47"/>
                    </a:cubicBezTo>
                    <a:cubicBezTo>
                      <a:pt x="234" y="47"/>
                      <a:pt x="235" y="48"/>
                      <a:pt x="235" y="48"/>
                    </a:cubicBezTo>
                    <a:cubicBezTo>
                      <a:pt x="237" y="51"/>
                      <a:pt x="235" y="54"/>
                      <a:pt x="234" y="53"/>
                    </a:cubicBezTo>
                    <a:cubicBezTo>
                      <a:pt x="233" y="52"/>
                      <a:pt x="233" y="50"/>
                      <a:pt x="232" y="49"/>
                    </a:cubicBezTo>
                    <a:cubicBezTo>
                      <a:pt x="231" y="48"/>
                      <a:pt x="231" y="49"/>
                      <a:pt x="232" y="50"/>
                    </a:cubicBezTo>
                    <a:cubicBezTo>
                      <a:pt x="232" y="53"/>
                      <a:pt x="234" y="57"/>
                      <a:pt x="235" y="58"/>
                    </a:cubicBezTo>
                    <a:cubicBezTo>
                      <a:pt x="236" y="60"/>
                      <a:pt x="237" y="59"/>
                      <a:pt x="238" y="62"/>
                    </a:cubicBezTo>
                    <a:cubicBezTo>
                      <a:pt x="240" y="66"/>
                      <a:pt x="236" y="63"/>
                      <a:pt x="235" y="62"/>
                    </a:cubicBezTo>
                    <a:cubicBezTo>
                      <a:pt x="233" y="60"/>
                      <a:pt x="232" y="61"/>
                      <a:pt x="231" y="57"/>
                    </a:cubicBezTo>
                    <a:cubicBezTo>
                      <a:pt x="231" y="55"/>
                      <a:pt x="230" y="53"/>
                      <a:pt x="230" y="51"/>
                    </a:cubicBezTo>
                    <a:cubicBezTo>
                      <a:pt x="230" y="48"/>
                      <a:pt x="230" y="47"/>
                      <a:pt x="230" y="45"/>
                    </a:cubicBezTo>
                    <a:cubicBezTo>
                      <a:pt x="229" y="43"/>
                      <a:pt x="229" y="41"/>
                      <a:pt x="229" y="39"/>
                    </a:cubicBezTo>
                    <a:cubicBezTo>
                      <a:pt x="229" y="38"/>
                      <a:pt x="228" y="36"/>
                      <a:pt x="227" y="34"/>
                    </a:cubicBezTo>
                    <a:cubicBezTo>
                      <a:pt x="227" y="34"/>
                      <a:pt x="226" y="31"/>
                      <a:pt x="226" y="32"/>
                    </a:cubicBezTo>
                    <a:cubicBezTo>
                      <a:pt x="226" y="33"/>
                      <a:pt x="226" y="35"/>
                      <a:pt x="227" y="35"/>
                    </a:cubicBezTo>
                    <a:cubicBezTo>
                      <a:pt x="228" y="38"/>
                      <a:pt x="229" y="39"/>
                      <a:pt x="229" y="42"/>
                    </a:cubicBezTo>
                    <a:cubicBezTo>
                      <a:pt x="229" y="43"/>
                      <a:pt x="229" y="45"/>
                      <a:pt x="228" y="46"/>
                    </a:cubicBezTo>
                    <a:cubicBezTo>
                      <a:pt x="228" y="47"/>
                      <a:pt x="226" y="46"/>
                      <a:pt x="226" y="46"/>
                    </a:cubicBezTo>
                    <a:cubicBezTo>
                      <a:pt x="225" y="48"/>
                      <a:pt x="226" y="52"/>
                      <a:pt x="226" y="55"/>
                    </a:cubicBezTo>
                    <a:cubicBezTo>
                      <a:pt x="227" y="59"/>
                      <a:pt x="229" y="63"/>
                      <a:pt x="230" y="67"/>
                    </a:cubicBezTo>
                    <a:cubicBezTo>
                      <a:pt x="231" y="71"/>
                      <a:pt x="230" y="73"/>
                      <a:pt x="230" y="77"/>
                    </a:cubicBezTo>
                    <a:cubicBezTo>
                      <a:pt x="230" y="78"/>
                      <a:pt x="230" y="80"/>
                      <a:pt x="231" y="82"/>
                    </a:cubicBezTo>
                    <a:cubicBezTo>
                      <a:pt x="231" y="84"/>
                      <a:pt x="231" y="85"/>
                      <a:pt x="231" y="87"/>
                    </a:cubicBezTo>
                    <a:cubicBezTo>
                      <a:pt x="232" y="89"/>
                      <a:pt x="235" y="86"/>
                      <a:pt x="235" y="86"/>
                    </a:cubicBezTo>
                    <a:cubicBezTo>
                      <a:pt x="237" y="85"/>
                      <a:pt x="238" y="88"/>
                      <a:pt x="239" y="90"/>
                    </a:cubicBezTo>
                    <a:cubicBezTo>
                      <a:pt x="241" y="92"/>
                      <a:pt x="242" y="96"/>
                      <a:pt x="243" y="99"/>
                    </a:cubicBezTo>
                    <a:cubicBezTo>
                      <a:pt x="243" y="102"/>
                      <a:pt x="240" y="98"/>
                      <a:pt x="241" y="102"/>
                    </a:cubicBezTo>
                    <a:cubicBezTo>
                      <a:pt x="242" y="105"/>
                      <a:pt x="242" y="107"/>
                      <a:pt x="243" y="107"/>
                    </a:cubicBezTo>
                    <a:cubicBezTo>
                      <a:pt x="244" y="107"/>
                      <a:pt x="244" y="109"/>
                      <a:pt x="243" y="109"/>
                    </a:cubicBezTo>
                    <a:cubicBezTo>
                      <a:pt x="243" y="109"/>
                      <a:pt x="242" y="109"/>
                      <a:pt x="241" y="108"/>
                    </a:cubicBezTo>
                    <a:cubicBezTo>
                      <a:pt x="240" y="106"/>
                      <a:pt x="240" y="103"/>
                      <a:pt x="240" y="101"/>
                    </a:cubicBezTo>
                    <a:cubicBezTo>
                      <a:pt x="240" y="97"/>
                      <a:pt x="239" y="94"/>
                      <a:pt x="238" y="91"/>
                    </a:cubicBezTo>
                    <a:cubicBezTo>
                      <a:pt x="237" y="89"/>
                      <a:pt x="235" y="90"/>
                      <a:pt x="235" y="90"/>
                    </a:cubicBezTo>
                    <a:cubicBezTo>
                      <a:pt x="233" y="91"/>
                      <a:pt x="233" y="95"/>
                      <a:pt x="234" y="98"/>
                    </a:cubicBezTo>
                    <a:cubicBezTo>
                      <a:pt x="235" y="101"/>
                      <a:pt x="236" y="104"/>
                      <a:pt x="235" y="106"/>
                    </a:cubicBezTo>
                    <a:cubicBezTo>
                      <a:pt x="234" y="108"/>
                      <a:pt x="235" y="113"/>
                      <a:pt x="234" y="115"/>
                    </a:cubicBezTo>
                    <a:cubicBezTo>
                      <a:pt x="234" y="117"/>
                      <a:pt x="232" y="117"/>
                      <a:pt x="232" y="119"/>
                    </a:cubicBezTo>
                    <a:cubicBezTo>
                      <a:pt x="232" y="123"/>
                      <a:pt x="229" y="119"/>
                      <a:pt x="228" y="119"/>
                    </a:cubicBezTo>
                    <a:cubicBezTo>
                      <a:pt x="227" y="119"/>
                      <a:pt x="227" y="115"/>
                      <a:pt x="228" y="115"/>
                    </a:cubicBezTo>
                    <a:cubicBezTo>
                      <a:pt x="229" y="115"/>
                      <a:pt x="231" y="112"/>
                      <a:pt x="231" y="110"/>
                    </a:cubicBezTo>
                    <a:cubicBezTo>
                      <a:pt x="231" y="109"/>
                      <a:pt x="232" y="108"/>
                      <a:pt x="232" y="107"/>
                    </a:cubicBezTo>
                    <a:cubicBezTo>
                      <a:pt x="232" y="106"/>
                      <a:pt x="231" y="104"/>
                      <a:pt x="231" y="102"/>
                    </a:cubicBezTo>
                    <a:cubicBezTo>
                      <a:pt x="232" y="101"/>
                      <a:pt x="232" y="99"/>
                      <a:pt x="231" y="97"/>
                    </a:cubicBezTo>
                    <a:cubicBezTo>
                      <a:pt x="231" y="95"/>
                      <a:pt x="230" y="93"/>
                      <a:pt x="230" y="92"/>
                    </a:cubicBezTo>
                    <a:cubicBezTo>
                      <a:pt x="229" y="88"/>
                      <a:pt x="229" y="85"/>
                      <a:pt x="228" y="82"/>
                    </a:cubicBezTo>
                    <a:cubicBezTo>
                      <a:pt x="228" y="78"/>
                      <a:pt x="228" y="74"/>
                      <a:pt x="227" y="70"/>
                    </a:cubicBezTo>
                    <a:cubicBezTo>
                      <a:pt x="226" y="68"/>
                      <a:pt x="227" y="67"/>
                      <a:pt x="227" y="65"/>
                    </a:cubicBezTo>
                    <a:cubicBezTo>
                      <a:pt x="227" y="64"/>
                      <a:pt x="226" y="61"/>
                      <a:pt x="225" y="60"/>
                    </a:cubicBezTo>
                    <a:cubicBezTo>
                      <a:pt x="225" y="57"/>
                      <a:pt x="222" y="55"/>
                      <a:pt x="223" y="52"/>
                    </a:cubicBezTo>
                    <a:cubicBezTo>
                      <a:pt x="223" y="49"/>
                      <a:pt x="223" y="46"/>
                      <a:pt x="223" y="42"/>
                    </a:cubicBezTo>
                    <a:cubicBezTo>
                      <a:pt x="222" y="39"/>
                      <a:pt x="222" y="36"/>
                      <a:pt x="220" y="33"/>
                    </a:cubicBezTo>
                    <a:cubicBezTo>
                      <a:pt x="220" y="33"/>
                      <a:pt x="219" y="32"/>
                      <a:pt x="218" y="31"/>
                    </a:cubicBezTo>
                    <a:cubicBezTo>
                      <a:pt x="217" y="31"/>
                      <a:pt x="217" y="32"/>
                      <a:pt x="216" y="31"/>
                    </a:cubicBezTo>
                    <a:cubicBezTo>
                      <a:pt x="215" y="30"/>
                      <a:pt x="214" y="28"/>
                      <a:pt x="214" y="32"/>
                    </a:cubicBezTo>
                    <a:cubicBezTo>
                      <a:pt x="214" y="32"/>
                      <a:pt x="214" y="33"/>
                      <a:pt x="214" y="34"/>
                    </a:cubicBezTo>
                    <a:cubicBezTo>
                      <a:pt x="214" y="36"/>
                      <a:pt x="214" y="36"/>
                      <a:pt x="214" y="38"/>
                    </a:cubicBezTo>
                    <a:cubicBezTo>
                      <a:pt x="213" y="39"/>
                      <a:pt x="214" y="41"/>
                      <a:pt x="214" y="43"/>
                    </a:cubicBezTo>
                    <a:cubicBezTo>
                      <a:pt x="214" y="44"/>
                      <a:pt x="214" y="46"/>
                      <a:pt x="214" y="47"/>
                    </a:cubicBezTo>
                    <a:cubicBezTo>
                      <a:pt x="214" y="48"/>
                      <a:pt x="214" y="49"/>
                      <a:pt x="213" y="51"/>
                    </a:cubicBezTo>
                    <a:cubicBezTo>
                      <a:pt x="213" y="52"/>
                      <a:pt x="213" y="51"/>
                      <a:pt x="212" y="51"/>
                    </a:cubicBezTo>
                    <a:cubicBezTo>
                      <a:pt x="211" y="51"/>
                      <a:pt x="212" y="53"/>
                      <a:pt x="212" y="54"/>
                    </a:cubicBezTo>
                    <a:cubicBezTo>
                      <a:pt x="212" y="56"/>
                      <a:pt x="212" y="57"/>
                      <a:pt x="212" y="59"/>
                    </a:cubicBezTo>
                    <a:cubicBezTo>
                      <a:pt x="213" y="57"/>
                      <a:pt x="215" y="60"/>
                      <a:pt x="215" y="62"/>
                    </a:cubicBezTo>
                    <a:cubicBezTo>
                      <a:pt x="215" y="64"/>
                      <a:pt x="215" y="66"/>
                      <a:pt x="215" y="67"/>
                    </a:cubicBezTo>
                    <a:cubicBezTo>
                      <a:pt x="216" y="69"/>
                      <a:pt x="215" y="70"/>
                      <a:pt x="214" y="71"/>
                    </a:cubicBezTo>
                    <a:cubicBezTo>
                      <a:pt x="214" y="71"/>
                      <a:pt x="214" y="74"/>
                      <a:pt x="215" y="76"/>
                    </a:cubicBezTo>
                    <a:cubicBezTo>
                      <a:pt x="216" y="77"/>
                      <a:pt x="218" y="76"/>
                      <a:pt x="218" y="80"/>
                    </a:cubicBezTo>
                    <a:cubicBezTo>
                      <a:pt x="219" y="82"/>
                      <a:pt x="219" y="84"/>
                      <a:pt x="220" y="86"/>
                    </a:cubicBezTo>
                    <a:cubicBezTo>
                      <a:pt x="222" y="87"/>
                      <a:pt x="222" y="89"/>
                      <a:pt x="222" y="92"/>
                    </a:cubicBezTo>
                    <a:cubicBezTo>
                      <a:pt x="221" y="95"/>
                      <a:pt x="220" y="91"/>
                      <a:pt x="219" y="90"/>
                    </a:cubicBezTo>
                    <a:cubicBezTo>
                      <a:pt x="217" y="87"/>
                      <a:pt x="215" y="84"/>
                      <a:pt x="213" y="80"/>
                    </a:cubicBezTo>
                    <a:cubicBezTo>
                      <a:pt x="211" y="78"/>
                      <a:pt x="209" y="75"/>
                      <a:pt x="207" y="73"/>
                    </a:cubicBezTo>
                    <a:cubicBezTo>
                      <a:pt x="205" y="71"/>
                      <a:pt x="203" y="71"/>
                      <a:pt x="202" y="71"/>
                    </a:cubicBezTo>
                    <a:cubicBezTo>
                      <a:pt x="201" y="71"/>
                      <a:pt x="201" y="70"/>
                      <a:pt x="201" y="69"/>
                    </a:cubicBezTo>
                    <a:cubicBezTo>
                      <a:pt x="200" y="68"/>
                      <a:pt x="199" y="66"/>
                      <a:pt x="199" y="65"/>
                    </a:cubicBezTo>
                    <a:cubicBezTo>
                      <a:pt x="199" y="65"/>
                      <a:pt x="195" y="58"/>
                      <a:pt x="196" y="61"/>
                    </a:cubicBezTo>
                    <a:cubicBezTo>
                      <a:pt x="196" y="63"/>
                      <a:pt x="197" y="66"/>
                      <a:pt x="197" y="67"/>
                    </a:cubicBezTo>
                    <a:cubicBezTo>
                      <a:pt x="198" y="68"/>
                      <a:pt x="199" y="70"/>
                      <a:pt x="199" y="70"/>
                    </a:cubicBezTo>
                    <a:cubicBezTo>
                      <a:pt x="200" y="71"/>
                      <a:pt x="201" y="71"/>
                      <a:pt x="201" y="73"/>
                    </a:cubicBezTo>
                    <a:cubicBezTo>
                      <a:pt x="201" y="76"/>
                      <a:pt x="203" y="77"/>
                      <a:pt x="203" y="80"/>
                    </a:cubicBezTo>
                    <a:cubicBezTo>
                      <a:pt x="204" y="84"/>
                      <a:pt x="202" y="82"/>
                      <a:pt x="202" y="85"/>
                    </a:cubicBezTo>
                    <a:cubicBezTo>
                      <a:pt x="202" y="88"/>
                      <a:pt x="202" y="90"/>
                      <a:pt x="200" y="87"/>
                    </a:cubicBezTo>
                    <a:cubicBezTo>
                      <a:pt x="199" y="84"/>
                      <a:pt x="200" y="82"/>
                      <a:pt x="199" y="79"/>
                    </a:cubicBezTo>
                    <a:cubicBezTo>
                      <a:pt x="198" y="76"/>
                      <a:pt x="197" y="83"/>
                      <a:pt x="196" y="83"/>
                    </a:cubicBezTo>
                    <a:cubicBezTo>
                      <a:pt x="196" y="84"/>
                      <a:pt x="195" y="84"/>
                      <a:pt x="195" y="84"/>
                    </a:cubicBezTo>
                    <a:cubicBezTo>
                      <a:pt x="194" y="83"/>
                      <a:pt x="193" y="81"/>
                      <a:pt x="192" y="82"/>
                    </a:cubicBezTo>
                    <a:cubicBezTo>
                      <a:pt x="192" y="83"/>
                      <a:pt x="192" y="84"/>
                      <a:pt x="191" y="84"/>
                    </a:cubicBezTo>
                    <a:cubicBezTo>
                      <a:pt x="191" y="84"/>
                      <a:pt x="191" y="86"/>
                      <a:pt x="191" y="87"/>
                    </a:cubicBezTo>
                    <a:cubicBezTo>
                      <a:pt x="190" y="88"/>
                      <a:pt x="189" y="87"/>
                      <a:pt x="189" y="86"/>
                    </a:cubicBezTo>
                    <a:cubicBezTo>
                      <a:pt x="188" y="85"/>
                      <a:pt x="188" y="83"/>
                      <a:pt x="188" y="82"/>
                    </a:cubicBezTo>
                    <a:cubicBezTo>
                      <a:pt x="188" y="81"/>
                      <a:pt x="188" y="77"/>
                      <a:pt x="187" y="77"/>
                    </a:cubicBezTo>
                    <a:cubicBezTo>
                      <a:pt x="185" y="79"/>
                      <a:pt x="185" y="83"/>
                      <a:pt x="183" y="83"/>
                    </a:cubicBezTo>
                    <a:cubicBezTo>
                      <a:pt x="182" y="84"/>
                      <a:pt x="180" y="85"/>
                      <a:pt x="179" y="88"/>
                    </a:cubicBezTo>
                    <a:cubicBezTo>
                      <a:pt x="178" y="89"/>
                      <a:pt x="176" y="90"/>
                      <a:pt x="176" y="92"/>
                    </a:cubicBezTo>
                    <a:cubicBezTo>
                      <a:pt x="175" y="95"/>
                      <a:pt x="177" y="98"/>
                      <a:pt x="176" y="100"/>
                    </a:cubicBezTo>
                    <a:cubicBezTo>
                      <a:pt x="175" y="102"/>
                      <a:pt x="173" y="104"/>
                      <a:pt x="172" y="100"/>
                    </a:cubicBezTo>
                    <a:cubicBezTo>
                      <a:pt x="171" y="98"/>
                      <a:pt x="169" y="94"/>
                      <a:pt x="169" y="91"/>
                    </a:cubicBezTo>
                    <a:cubicBezTo>
                      <a:pt x="169" y="88"/>
                      <a:pt x="172" y="91"/>
                      <a:pt x="171" y="86"/>
                    </a:cubicBezTo>
                    <a:cubicBezTo>
                      <a:pt x="171" y="84"/>
                      <a:pt x="170" y="82"/>
                      <a:pt x="169" y="80"/>
                    </a:cubicBezTo>
                    <a:cubicBezTo>
                      <a:pt x="169" y="79"/>
                      <a:pt x="168" y="79"/>
                      <a:pt x="167" y="78"/>
                    </a:cubicBezTo>
                    <a:cubicBezTo>
                      <a:pt x="166" y="78"/>
                      <a:pt x="165" y="77"/>
                      <a:pt x="164" y="76"/>
                    </a:cubicBezTo>
                    <a:cubicBezTo>
                      <a:pt x="164" y="76"/>
                      <a:pt x="163" y="75"/>
                      <a:pt x="163" y="75"/>
                    </a:cubicBezTo>
                    <a:cubicBezTo>
                      <a:pt x="163" y="75"/>
                      <a:pt x="164" y="77"/>
                      <a:pt x="164" y="77"/>
                    </a:cubicBezTo>
                    <a:cubicBezTo>
                      <a:pt x="165" y="79"/>
                      <a:pt x="165" y="80"/>
                      <a:pt x="165" y="82"/>
                    </a:cubicBezTo>
                    <a:cubicBezTo>
                      <a:pt x="166" y="84"/>
                      <a:pt x="166" y="86"/>
                      <a:pt x="166" y="89"/>
                    </a:cubicBezTo>
                    <a:cubicBezTo>
                      <a:pt x="166" y="91"/>
                      <a:pt x="166" y="93"/>
                      <a:pt x="167" y="95"/>
                    </a:cubicBezTo>
                    <a:cubicBezTo>
                      <a:pt x="167" y="97"/>
                      <a:pt x="169" y="100"/>
                      <a:pt x="169" y="103"/>
                    </a:cubicBezTo>
                    <a:cubicBezTo>
                      <a:pt x="169" y="104"/>
                      <a:pt x="169" y="106"/>
                      <a:pt x="169" y="108"/>
                    </a:cubicBezTo>
                    <a:cubicBezTo>
                      <a:pt x="169" y="109"/>
                      <a:pt x="168" y="109"/>
                      <a:pt x="168" y="108"/>
                    </a:cubicBezTo>
                    <a:cubicBezTo>
                      <a:pt x="167" y="107"/>
                      <a:pt x="166" y="107"/>
                      <a:pt x="166" y="106"/>
                    </a:cubicBezTo>
                    <a:cubicBezTo>
                      <a:pt x="165" y="105"/>
                      <a:pt x="164" y="103"/>
                      <a:pt x="164" y="102"/>
                    </a:cubicBezTo>
                    <a:cubicBezTo>
                      <a:pt x="163" y="101"/>
                      <a:pt x="163" y="102"/>
                      <a:pt x="163" y="103"/>
                    </a:cubicBezTo>
                    <a:cubicBezTo>
                      <a:pt x="163" y="105"/>
                      <a:pt x="163" y="106"/>
                      <a:pt x="162" y="107"/>
                    </a:cubicBezTo>
                    <a:cubicBezTo>
                      <a:pt x="162" y="108"/>
                      <a:pt x="161" y="110"/>
                      <a:pt x="161" y="111"/>
                    </a:cubicBezTo>
                    <a:cubicBezTo>
                      <a:pt x="160" y="112"/>
                      <a:pt x="159" y="112"/>
                      <a:pt x="159" y="113"/>
                    </a:cubicBezTo>
                    <a:cubicBezTo>
                      <a:pt x="158" y="115"/>
                      <a:pt x="160" y="118"/>
                      <a:pt x="161" y="121"/>
                    </a:cubicBezTo>
                    <a:cubicBezTo>
                      <a:pt x="161" y="123"/>
                      <a:pt x="162" y="125"/>
                      <a:pt x="163" y="128"/>
                    </a:cubicBezTo>
                    <a:cubicBezTo>
                      <a:pt x="164" y="130"/>
                      <a:pt x="160" y="126"/>
                      <a:pt x="159" y="126"/>
                    </a:cubicBezTo>
                    <a:cubicBezTo>
                      <a:pt x="157" y="125"/>
                      <a:pt x="156" y="125"/>
                      <a:pt x="155" y="120"/>
                    </a:cubicBezTo>
                    <a:cubicBezTo>
                      <a:pt x="154" y="117"/>
                      <a:pt x="151" y="117"/>
                      <a:pt x="151" y="120"/>
                    </a:cubicBezTo>
                    <a:cubicBezTo>
                      <a:pt x="151" y="122"/>
                      <a:pt x="152" y="123"/>
                      <a:pt x="152" y="124"/>
                    </a:cubicBezTo>
                    <a:cubicBezTo>
                      <a:pt x="153" y="126"/>
                      <a:pt x="153" y="128"/>
                      <a:pt x="154" y="128"/>
                    </a:cubicBezTo>
                    <a:cubicBezTo>
                      <a:pt x="155" y="129"/>
                      <a:pt x="156" y="128"/>
                      <a:pt x="156" y="130"/>
                    </a:cubicBezTo>
                    <a:cubicBezTo>
                      <a:pt x="157" y="132"/>
                      <a:pt x="157" y="134"/>
                      <a:pt x="157" y="135"/>
                    </a:cubicBezTo>
                    <a:cubicBezTo>
                      <a:pt x="156" y="138"/>
                      <a:pt x="154" y="135"/>
                      <a:pt x="152" y="132"/>
                    </a:cubicBezTo>
                    <a:cubicBezTo>
                      <a:pt x="152" y="131"/>
                      <a:pt x="151" y="130"/>
                      <a:pt x="150" y="129"/>
                    </a:cubicBezTo>
                    <a:cubicBezTo>
                      <a:pt x="150" y="129"/>
                      <a:pt x="148" y="128"/>
                      <a:pt x="148" y="127"/>
                    </a:cubicBezTo>
                    <a:cubicBezTo>
                      <a:pt x="148" y="122"/>
                      <a:pt x="147" y="118"/>
                      <a:pt x="146" y="113"/>
                    </a:cubicBezTo>
                    <a:cubicBezTo>
                      <a:pt x="146" y="111"/>
                      <a:pt x="146" y="109"/>
                      <a:pt x="145" y="107"/>
                    </a:cubicBezTo>
                    <a:cubicBezTo>
                      <a:pt x="144" y="105"/>
                      <a:pt x="144" y="103"/>
                      <a:pt x="143" y="101"/>
                    </a:cubicBezTo>
                    <a:cubicBezTo>
                      <a:pt x="142" y="101"/>
                      <a:pt x="141" y="100"/>
                      <a:pt x="141" y="99"/>
                    </a:cubicBezTo>
                    <a:cubicBezTo>
                      <a:pt x="140" y="98"/>
                      <a:pt x="140" y="96"/>
                      <a:pt x="139" y="95"/>
                    </a:cubicBezTo>
                    <a:cubicBezTo>
                      <a:pt x="139" y="94"/>
                      <a:pt x="138" y="93"/>
                      <a:pt x="137" y="92"/>
                    </a:cubicBezTo>
                    <a:cubicBezTo>
                      <a:pt x="137" y="91"/>
                      <a:pt x="136" y="89"/>
                      <a:pt x="138" y="90"/>
                    </a:cubicBezTo>
                    <a:cubicBezTo>
                      <a:pt x="140" y="92"/>
                      <a:pt x="142" y="94"/>
                      <a:pt x="144" y="97"/>
                    </a:cubicBezTo>
                    <a:cubicBezTo>
                      <a:pt x="145" y="99"/>
                      <a:pt x="146" y="101"/>
                      <a:pt x="147" y="101"/>
                    </a:cubicBezTo>
                    <a:cubicBezTo>
                      <a:pt x="148" y="102"/>
                      <a:pt x="149" y="103"/>
                      <a:pt x="151" y="104"/>
                    </a:cubicBezTo>
                    <a:cubicBezTo>
                      <a:pt x="152" y="105"/>
                      <a:pt x="153" y="106"/>
                      <a:pt x="154" y="106"/>
                    </a:cubicBezTo>
                    <a:cubicBezTo>
                      <a:pt x="155" y="107"/>
                      <a:pt x="155" y="105"/>
                      <a:pt x="156" y="105"/>
                    </a:cubicBezTo>
                    <a:cubicBezTo>
                      <a:pt x="157" y="105"/>
                      <a:pt x="158" y="106"/>
                      <a:pt x="159" y="105"/>
                    </a:cubicBezTo>
                    <a:cubicBezTo>
                      <a:pt x="159" y="104"/>
                      <a:pt x="160" y="102"/>
                      <a:pt x="160" y="101"/>
                    </a:cubicBezTo>
                    <a:cubicBezTo>
                      <a:pt x="162" y="94"/>
                      <a:pt x="157" y="84"/>
                      <a:pt x="154" y="80"/>
                    </a:cubicBezTo>
                    <a:cubicBezTo>
                      <a:pt x="153" y="79"/>
                      <a:pt x="152" y="78"/>
                      <a:pt x="151" y="76"/>
                    </a:cubicBezTo>
                    <a:cubicBezTo>
                      <a:pt x="150" y="74"/>
                      <a:pt x="150" y="73"/>
                      <a:pt x="149" y="71"/>
                    </a:cubicBezTo>
                    <a:cubicBezTo>
                      <a:pt x="147" y="69"/>
                      <a:pt x="146" y="66"/>
                      <a:pt x="144" y="63"/>
                    </a:cubicBezTo>
                    <a:cubicBezTo>
                      <a:pt x="144" y="62"/>
                      <a:pt x="143" y="60"/>
                      <a:pt x="143" y="60"/>
                    </a:cubicBezTo>
                    <a:cubicBezTo>
                      <a:pt x="142" y="59"/>
                      <a:pt x="141" y="60"/>
                      <a:pt x="140" y="60"/>
                    </a:cubicBezTo>
                    <a:cubicBezTo>
                      <a:pt x="139" y="59"/>
                      <a:pt x="138" y="58"/>
                      <a:pt x="137" y="58"/>
                    </a:cubicBezTo>
                    <a:cubicBezTo>
                      <a:pt x="137" y="58"/>
                      <a:pt x="136" y="58"/>
                      <a:pt x="136" y="57"/>
                    </a:cubicBezTo>
                    <a:cubicBezTo>
                      <a:pt x="135" y="56"/>
                      <a:pt x="135" y="56"/>
                      <a:pt x="134" y="55"/>
                    </a:cubicBezTo>
                    <a:cubicBezTo>
                      <a:pt x="133" y="55"/>
                      <a:pt x="134" y="58"/>
                      <a:pt x="134" y="57"/>
                    </a:cubicBezTo>
                    <a:cubicBezTo>
                      <a:pt x="133" y="57"/>
                      <a:pt x="132" y="55"/>
                      <a:pt x="131" y="54"/>
                    </a:cubicBezTo>
                    <a:cubicBezTo>
                      <a:pt x="130" y="53"/>
                      <a:pt x="129" y="53"/>
                      <a:pt x="128" y="52"/>
                    </a:cubicBezTo>
                    <a:cubicBezTo>
                      <a:pt x="128" y="51"/>
                      <a:pt x="126" y="51"/>
                      <a:pt x="126" y="49"/>
                    </a:cubicBezTo>
                    <a:cubicBezTo>
                      <a:pt x="125" y="48"/>
                      <a:pt x="124" y="43"/>
                      <a:pt x="124" y="42"/>
                    </a:cubicBezTo>
                    <a:cubicBezTo>
                      <a:pt x="125" y="41"/>
                      <a:pt x="126" y="42"/>
                      <a:pt x="126" y="41"/>
                    </a:cubicBezTo>
                    <a:cubicBezTo>
                      <a:pt x="127" y="41"/>
                      <a:pt x="126" y="39"/>
                      <a:pt x="125" y="38"/>
                    </a:cubicBezTo>
                    <a:cubicBezTo>
                      <a:pt x="125" y="37"/>
                      <a:pt x="124" y="36"/>
                      <a:pt x="123" y="35"/>
                    </a:cubicBezTo>
                    <a:cubicBezTo>
                      <a:pt x="122" y="35"/>
                      <a:pt x="122" y="34"/>
                      <a:pt x="121" y="32"/>
                    </a:cubicBezTo>
                    <a:cubicBezTo>
                      <a:pt x="121" y="31"/>
                      <a:pt x="120" y="32"/>
                      <a:pt x="119" y="31"/>
                    </a:cubicBezTo>
                    <a:cubicBezTo>
                      <a:pt x="119" y="30"/>
                      <a:pt x="119" y="29"/>
                      <a:pt x="118" y="29"/>
                    </a:cubicBezTo>
                    <a:cubicBezTo>
                      <a:pt x="118" y="28"/>
                      <a:pt x="117" y="28"/>
                      <a:pt x="116" y="27"/>
                    </a:cubicBezTo>
                    <a:cubicBezTo>
                      <a:pt x="116" y="26"/>
                      <a:pt x="115" y="24"/>
                      <a:pt x="114" y="24"/>
                    </a:cubicBezTo>
                    <a:cubicBezTo>
                      <a:pt x="114" y="24"/>
                      <a:pt x="115" y="26"/>
                      <a:pt x="114" y="26"/>
                    </a:cubicBezTo>
                    <a:cubicBezTo>
                      <a:pt x="114" y="26"/>
                      <a:pt x="113" y="26"/>
                      <a:pt x="113" y="26"/>
                    </a:cubicBezTo>
                    <a:cubicBezTo>
                      <a:pt x="113" y="26"/>
                      <a:pt x="113" y="26"/>
                      <a:pt x="112" y="26"/>
                    </a:cubicBezTo>
                    <a:cubicBezTo>
                      <a:pt x="112" y="26"/>
                      <a:pt x="111" y="24"/>
                      <a:pt x="111" y="26"/>
                    </a:cubicBezTo>
                    <a:cubicBezTo>
                      <a:pt x="111" y="27"/>
                      <a:pt x="109" y="25"/>
                      <a:pt x="109" y="25"/>
                    </a:cubicBezTo>
                    <a:cubicBezTo>
                      <a:pt x="108" y="24"/>
                      <a:pt x="108" y="27"/>
                      <a:pt x="108" y="27"/>
                    </a:cubicBezTo>
                    <a:cubicBezTo>
                      <a:pt x="108" y="28"/>
                      <a:pt x="107" y="26"/>
                      <a:pt x="107" y="25"/>
                    </a:cubicBezTo>
                    <a:cubicBezTo>
                      <a:pt x="106" y="23"/>
                      <a:pt x="106" y="24"/>
                      <a:pt x="105" y="25"/>
                    </a:cubicBezTo>
                    <a:cubicBezTo>
                      <a:pt x="105" y="26"/>
                      <a:pt x="105" y="27"/>
                      <a:pt x="105" y="29"/>
                    </a:cubicBezTo>
                    <a:cubicBezTo>
                      <a:pt x="105" y="31"/>
                      <a:pt x="104" y="31"/>
                      <a:pt x="103" y="29"/>
                    </a:cubicBezTo>
                    <a:cubicBezTo>
                      <a:pt x="103" y="28"/>
                      <a:pt x="102" y="29"/>
                      <a:pt x="103" y="30"/>
                    </a:cubicBezTo>
                    <a:cubicBezTo>
                      <a:pt x="103" y="32"/>
                      <a:pt x="103" y="33"/>
                      <a:pt x="102" y="33"/>
                    </a:cubicBezTo>
                    <a:cubicBezTo>
                      <a:pt x="101" y="33"/>
                      <a:pt x="102" y="34"/>
                      <a:pt x="101" y="35"/>
                    </a:cubicBezTo>
                    <a:cubicBezTo>
                      <a:pt x="101" y="36"/>
                      <a:pt x="100" y="34"/>
                      <a:pt x="99" y="33"/>
                    </a:cubicBezTo>
                    <a:cubicBezTo>
                      <a:pt x="98" y="32"/>
                      <a:pt x="98" y="33"/>
                      <a:pt x="98" y="34"/>
                    </a:cubicBezTo>
                    <a:cubicBezTo>
                      <a:pt x="98" y="36"/>
                      <a:pt x="96" y="33"/>
                      <a:pt x="96" y="32"/>
                    </a:cubicBezTo>
                    <a:cubicBezTo>
                      <a:pt x="94" y="32"/>
                      <a:pt x="96" y="38"/>
                      <a:pt x="94" y="35"/>
                    </a:cubicBezTo>
                    <a:cubicBezTo>
                      <a:pt x="94" y="35"/>
                      <a:pt x="93" y="33"/>
                      <a:pt x="92" y="34"/>
                    </a:cubicBezTo>
                    <a:cubicBezTo>
                      <a:pt x="92" y="35"/>
                      <a:pt x="93" y="39"/>
                      <a:pt x="91" y="36"/>
                    </a:cubicBezTo>
                    <a:cubicBezTo>
                      <a:pt x="91" y="35"/>
                      <a:pt x="89" y="32"/>
                      <a:pt x="89" y="33"/>
                    </a:cubicBezTo>
                    <a:cubicBezTo>
                      <a:pt x="89" y="34"/>
                      <a:pt x="90" y="36"/>
                      <a:pt x="90" y="37"/>
                    </a:cubicBezTo>
                    <a:cubicBezTo>
                      <a:pt x="90" y="39"/>
                      <a:pt x="90" y="41"/>
                      <a:pt x="90" y="42"/>
                    </a:cubicBezTo>
                    <a:cubicBezTo>
                      <a:pt x="90" y="44"/>
                      <a:pt x="90" y="42"/>
                      <a:pt x="89" y="42"/>
                    </a:cubicBezTo>
                    <a:cubicBezTo>
                      <a:pt x="88" y="41"/>
                      <a:pt x="89" y="45"/>
                      <a:pt x="89" y="46"/>
                    </a:cubicBezTo>
                    <a:cubicBezTo>
                      <a:pt x="89" y="49"/>
                      <a:pt x="88" y="46"/>
                      <a:pt x="87" y="46"/>
                    </a:cubicBezTo>
                    <a:cubicBezTo>
                      <a:pt x="87" y="46"/>
                      <a:pt x="88" y="51"/>
                      <a:pt x="88" y="52"/>
                    </a:cubicBezTo>
                    <a:cubicBezTo>
                      <a:pt x="88" y="53"/>
                      <a:pt x="86" y="50"/>
                      <a:pt x="86" y="52"/>
                    </a:cubicBezTo>
                    <a:cubicBezTo>
                      <a:pt x="86" y="53"/>
                      <a:pt x="86" y="54"/>
                      <a:pt x="86" y="55"/>
                    </a:cubicBezTo>
                    <a:cubicBezTo>
                      <a:pt x="86" y="56"/>
                      <a:pt x="85" y="55"/>
                      <a:pt x="85" y="54"/>
                    </a:cubicBezTo>
                    <a:cubicBezTo>
                      <a:pt x="85" y="53"/>
                      <a:pt x="84" y="50"/>
                      <a:pt x="84" y="51"/>
                    </a:cubicBezTo>
                    <a:cubicBezTo>
                      <a:pt x="84" y="54"/>
                      <a:pt x="84" y="53"/>
                      <a:pt x="83" y="52"/>
                    </a:cubicBezTo>
                    <a:cubicBezTo>
                      <a:pt x="83" y="55"/>
                      <a:pt x="84" y="58"/>
                      <a:pt x="83" y="60"/>
                    </a:cubicBezTo>
                    <a:cubicBezTo>
                      <a:pt x="83" y="61"/>
                      <a:pt x="82" y="62"/>
                      <a:pt x="83" y="63"/>
                    </a:cubicBezTo>
                    <a:cubicBezTo>
                      <a:pt x="83" y="64"/>
                      <a:pt x="83" y="64"/>
                      <a:pt x="84" y="66"/>
                    </a:cubicBezTo>
                    <a:cubicBezTo>
                      <a:pt x="84" y="67"/>
                      <a:pt x="84" y="69"/>
                      <a:pt x="84" y="70"/>
                    </a:cubicBezTo>
                    <a:cubicBezTo>
                      <a:pt x="84" y="72"/>
                      <a:pt x="84" y="73"/>
                      <a:pt x="84" y="74"/>
                    </a:cubicBezTo>
                    <a:cubicBezTo>
                      <a:pt x="83" y="75"/>
                      <a:pt x="83" y="75"/>
                      <a:pt x="82" y="76"/>
                    </a:cubicBezTo>
                    <a:cubicBezTo>
                      <a:pt x="82" y="77"/>
                      <a:pt x="82" y="79"/>
                      <a:pt x="82" y="80"/>
                    </a:cubicBezTo>
                    <a:cubicBezTo>
                      <a:pt x="82" y="81"/>
                      <a:pt x="81" y="80"/>
                      <a:pt x="81" y="81"/>
                    </a:cubicBezTo>
                    <a:cubicBezTo>
                      <a:pt x="81" y="82"/>
                      <a:pt x="81" y="83"/>
                      <a:pt x="81" y="84"/>
                    </a:cubicBezTo>
                    <a:cubicBezTo>
                      <a:pt x="81" y="85"/>
                      <a:pt x="80" y="86"/>
                      <a:pt x="81" y="88"/>
                    </a:cubicBezTo>
                    <a:cubicBezTo>
                      <a:pt x="81" y="89"/>
                      <a:pt x="82" y="91"/>
                      <a:pt x="81" y="92"/>
                    </a:cubicBezTo>
                    <a:cubicBezTo>
                      <a:pt x="81" y="93"/>
                      <a:pt x="80" y="94"/>
                      <a:pt x="80" y="96"/>
                    </a:cubicBezTo>
                    <a:cubicBezTo>
                      <a:pt x="80" y="97"/>
                      <a:pt x="80" y="99"/>
                      <a:pt x="80" y="101"/>
                    </a:cubicBezTo>
                    <a:cubicBezTo>
                      <a:pt x="79" y="104"/>
                      <a:pt x="79" y="108"/>
                      <a:pt x="78" y="110"/>
                    </a:cubicBezTo>
                    <a:cubicBezTo>
                      <a:pt x="77" y="111"/>
                      <a:pt x="76" y="111"/>
                      <a:pt x="76" y="113"/>
                    </a:cubicBezTo>
                    <a:cubicBezTo>
                      <a:pt x="75" y="114"/>
                      <a:pt x="75" y="116"/>
                      <a:pt x="75" y="117"/>
                    </a:cubicBezTo>
                    <a:cubicBezTo>
                      <a:pt x="74" y="120"/>
                      <a:pt x="72" y="122"/>
                      <a:pt x="72" y="124"/>
                    </a:cubicBezTo>
                    <a:cubicBezTo>
                      <a:pt x="71" y="126"/>
                      <a:pt x="71" y="128"/>
                      <a:pt x="71" y="128"/>
                    </a:cubicBezTo>
                    <a:cubicBezTo>
                      <a:pt x="70" y="129"/>
                      <a:pt x="69" y="129"/>
                      <a:pt x="68" y="129"/>
                    </a:cubicBezTo>
                    <a:cubicBezTo>
                      <a:pt x="66" y="131"/>
                      <a:pt x="65" y="134"/>
                      <a:pt x="64" y="137"/>
                    </a:cubicBezTo>
                    <a:cubicBezTo>
                      <a:pt x="63" y="138"/>
                      <a:pt x="63" y="140"/>
                      <a:pt x="62" y="140"/>
                    </a:cubicBezTo>
                    <a:cubicBezTo>
                      <a:pt x="61" y="140"/>
                      <a:pt x="61" y="139"/>
                      <a:pt x="61" y="141"/>
                    </a:cubicBezTo>
                    <a:cubicBezTo>
                      <a:pt x="61" y="143"/>
                      <a:pt x="61" y="145"/>
                      <a:pt x="61" y="147"/>
                    </a:cubicBezTo>
                    <a:cubicBezTo>
                      <a:pt x="61" y="150"/>
                      <a:pt x="61" y="152"/>
                      <a:pt x="61" y="154"/>
                    </a:cubicBezTo>
                    <a:cubicBezTo>
                      <a:pt x="61" y="156"/>
                      <a:pt x="63" y="161"/>
                      <a:pt x="62" y="162"/>
                    </a:cubicBezTo>
                    <a:cubicBezTo>
                      <a:pt x="60" y="164"/>
                      <a:pt x="58" y="161"/>
                      <a:pt x="56" y="161"/>
                    </a:cubicBezTo>
                    <a:cubicBezTo>
                      <a:pt x="56" y="164"/>
                      <a:pt x="59" y="165"/>
                      <a:pt x="60" y="166"/>
                    </a:cubicBezTo>
                    <a:cubicBezTo>
                      <a:pt x="61" y="166"/>
                      <a:pt x="62" y="165"/>
                      <a:pt x="63" y="166"/>
                    </a:cubicBezTo>
                    <a:cubicBezTo>
                      <a:pt x="64" y="167"/>
                      <a:pt x="64" y="171"/>
                      <a:pt x="64" y="173"/>
                    </a:cubicBezTo>
                    <a:cubicBezTo>
                      <a:pt x="63" y="177"/>
                      <a:pt x="66" y="178"/>
                      <a:pt x="66" y="181"/>
                    </a:cubicBezTo>
                    <a:cubicBezTo>
                      <a:pt x="66" y="184"/>
                      <a:pt x="65" y="187"/>
                      <a:pt x="65" y="191"/>
                    </a:cubicBezTo>
                    <a:cubicBezTo>
                      <a:pt x="66" y="192"/>
                      <a:pt x="67" y="193"/>
                      <a:pt x="67" y="193"/>
                    </a:cubicBezTo>
                    <a:cubicBezTo>
                      <a:pt x="68" y="193"/>
                      <a:pt x="69" y="194"/>
                      <a:pt x="70" y="195"/>
                    </a:cubicBezTo>
                    <a:cubicBezTo>
                      <a:pt x="72" y="196"/>
                      <a:pt x="73" y="196"/>
                      <a:pt x="74" y="195"/>
                    </a:cubicBezTo>
                    <a:cubicBezTo>
                      <a:pt x="74" y="195"/>
                      <a:pt x="75" y="194"/>
                      <a:pt x="75" y="194"/>
                    </a:cubicBezTo>
                    <a:cubicBezTo>
                      <a:pt x="76" y="193"/>
                      <a:pt x="76" y="193"/>
                      <a:pt x="77" y="193"/>
                    </a:cubicBezTo>
                    <a:cubicBezTo>
                      <a:pt x="78" y="192"/>
                      <a:pt x="79" y="190"/>
                      <a:pt x="79" y="188"/>
                    </a:cubicBezTo>
                    <a:cubicBezTo>
                      <a:pt x="80" y="186"/>
                      <a:pt x="80" y="185"/>
                      <a:pt x="81" y="184"/>
                    </a:cubicBezTo>
                    <a:cubicBezTo>
                      <a:pt x="82" y="183"/>
                      <a:pt x="82" y="183"/>
                      <a:pt x="82" y="181"/>
                    </a:cubicBezTo>
                    <a:cubicBezTo>
                      <a:pt x="82" y="179"/>
                      <a:pt x="81" y="176"/>
                      <a:pt x="82" y="177"/>
                    </a:cubicBezTo>
                    <a:cubicBezTo>
                      <a:pt x="85" y="178"/>
                      <a:pt x="84" y="185"/>
                      <a:pt x="84" y="188"/>
                    </a:cubicBezTo>
                    <a:cubicBezTo>
                      <a:pt x="84" y="190"/>
                      <a:pt x="85" y="192"/>
                      <a:pt x="85" y="193"/>
                    </a:cubicBezTo>
                    <a:cubicBezTo>
                      <a:pt x="85" y="195"/>
                      <a:pt x="86" y="195"/>
                      <a:pt x="87" y="194"/>
                    </a:cubicBezTo>
                    <a:cubicBezTo>
                      <a:pt x="88" y="192"/>
                      <a:pt x="89" y="191"/>
                      <a:pt x="90" y="188"/>
                    </a:cubicBezTo>
                    <a:cubicBezTo>
                      <a:pt x="90" y="187"/>
                      <a:pt x="90" y="186"/>
                      <a:pt x="91" y="186"/>
                    </a:cubicBezTo>
                    <a:cubicBezTo>
                      <a:pt x="92" y="187"/>
                      <a:pt x="92" y="188"/>
                      <a:pt x="92" y="189"/>
                    </a:cubicBezTo>
                    <a:cubicBezTo>
                      <a:pt x="91" y="192"/>
                      <a:pt x="89" y="193"/>
                      <a:pt x="88" y="196"/>
                    </a:cubicBezTo>
                    <a:cubicBezTo>
                      <a:pt x="87" y="197"/>
                      <a:pt x="86" y="199"/>
                      <a:pt x="86" y="201"/>
                    </a:cubicBezTo>
                    <a:cubicBezTo>
                      <a:pt x="87" y="203"/>
                      <a:pt x="88" y="205"/>
                      <a:pt x="88" y="206"/>
                    </a:cubicBezTo>
                    <a:cubicBezTo>
                      <a:pt x="89" y="208"/>
                      <a:pt x="91" y="215"/>
                      <a:pt x="90" y="217"/>
                    </a:cubicBezTo>
                    <a:cubicBezTo>
                      <a:pt x="90" y="218"/>
                      <a:pt x="89" y="220"/>
                      <a:pt x="88" y="220"/>
                    </a:cubicBezTo>
                    <a:cubicBezTo>
                      <a:pt x="87" y="221"/>
                      <a:pt x="86" y="219"/>
                      <a:pt x="86" y="222"/>
                    </a:cubicBezTo>
                    <a:cubicBezTo>
                      <a:pt x="86" y="223"/>
                      <a:pt x="86" y="225"/>
                      <a:pt x="86" y="227"/>
                    </a:cubicBezTo>
                    <a:cubicBezTo>
                      <a:pt x="86" y="229"/>
                      <a:pt x="85" y="230"/>
                      <a:pt x="85" y="231"/>
                    </a:cubicBezTo>
                    <a:cubicBezTo>
                      <a:pt x="83" y="235"/>
                      <a:pt x="88" y="235"/>
                      <a:pt x="89" y="235"/>
                    </a:cubicBezTo>
                    <a:cubicBezTo>
                      <a:pt x="91" y="233"/>
                      <a:pt x="91" y="229"/>
                      <a:pt x="92" y="227"/>
                    </a:cubicBezTo>
                    <a:cubicBezTo>
                      <a:pt x="93" y="226"/>
                      <a:pt x="94" y="227"/>
                      <a:pt x="95" y="226"/>
                    </a:cubicBezTo>
                    <a:cubicBezTo>
                      <a:pt x="96" y="225"/>
                      <a:pt x="96" y="223"/>
                      <a:pt x="97" y="221"/>
                    </a:cubicBezTo>
                    <a:cubicBezTo>
                      <a:pt x="98" y="219"/>
                      <a:pt x="100" y="224"/>
                      <a:pt x="101" y="220"/>
                    </a:cubicBezTo>
                    <a:cubicBezTo>
                      <a:pt x="102" y="218"/>
                      <a:pt x="102" y="216"/>
                      <a:pt x="103" y="214"/>
                    </a:cubicBezTo>
                    <a:cubicBezTo>
                      <a:pt x="103" y="212"/>
                      <a:pt x="104" y="210"/>
                      <a:pt x="103" y="208"/>
                    </a:cubicBezTo>
                    <a:cubicBezTo>
                      <a:pt x="103" y="207"/>
                      <a:pt x="102" y="206"/>
                      <a:pt x="102" y="204"/>
                    </a:cubicBezTo>
                    <a:cubicBezTo>
                      <a:pt x="102" y="202"/>
                      <a:pt x="103" y="199"/>
                      <a:pt x="102" y="197"/>
                    </a:cubicBezTo>
                    <a:cubicBezTo>
                      <a:pt x="101" y="193"/>
                      <a:pt x="104" y="189"/>
                      <a:pt x="105" y="188"/>
                    </a:cubicBezTo>
                    <a:cubicBezTo>
                      <a:pt x="107" y="187"/>
                      <a:pt x="107" y="181"/>
                      <a:pt x="107" y="178"/>
                    </a:cubicBezTo>
                    <a:cubicBezTo>
                      <a:pt x="107" y="176"/>
                      <a:pt x="107" y="173"/>
                      <a:pt x="106" y="172"/>
                    </a:cubicBezTo>
                    <a:cubicBezTo>
                      <a:pt x="105" y="171"/>
                      <a:pt x="105" y="171"/>
                      <a:pt x="105" y="171"/>
                    </a:cubicBezTo>
                    <a:cubicBezTo>
                      <a:pt x="104" y="170"/>
                      <a:pt x="104" y="169"/>
                      <a:pt x="104" y="168"/>
                    </a:cubicBezTo>
                    <a:cubicBezTo>
                      <a:pt x="103" y="166"/>
                      <a:pt x="102" y="166"/>
                      <a:pt x="102" y="164"/>
                    </a:cubicBezTo>
                    <a:cubicBezTo>
                      <a:pt x="101" y="162"/>
                      <a:pt x="101" y="160"/>
                      <a:pt x="101" y="158"/>
                    </a:cubicBezTo>
                    <a:cubicBezTo>
                      <a:pt x="100" y="156"/>
                      <a:pt x="101" y="154"/>
                      <a:pt x="101" y="153"/>
                    </a:cubicBezTo>
                    <a:cubicBezTo>
                      <a:pt x="102" y="150"/>
                      <a:pt x="101" y="148"/>
                      <a:pt x="101" y="145"/>
                    </a:cubicBezTo>
                    <a:cubicBezTo>
                      <a:pt x="100" y="141"/>
                      <a:pt x="102" y="137"/>
                      <a:pt x="103" y="135"/>
                    </a:cubicBezTo>
                    <a:cubicBezTo>
                      <a:pt x="104" y="134"/>
                      <a:pt x="105" y="132"/>
                      <a:pt x="106" y="131"/>
                    </a:cubicBezTo>
                    <a:cubicBezTo>
                      <a:pt x="107" y="130"/>
                      <a:pt x="108" y="128"/>
                      <a:pt x="108" y="126"/>
                    </a:cubicBezTo>
                    <a:cubicBezTo>
                      <a:pt x="109" y="124"/>
                      <a:pt x="111" y="122"/>
                      <a:pt x="110" y="118"/>
                    </a:cubicBezTo>
                    <a:cubicBezTo>
                      <a:pt x="110" y="113"/>
                      <a:pt x="108" y="109"/>
                      <a:pt x="109" y="105"/>
                    </a:cubicBezTo>
                    <a:cubicBezTo>
                      <a:pt x="109" y="103"/>
                      <a:pt x="111" y="104"/>
                      <a:pt x="111" y="103"/>
                    </a:cubicBezTo>
                    <a:cubicBezTo>
                      <a:pt x="111" y="101"/>
                      <a:pt x="110" y="99"/>
                      <a:pt x="112" y="100"/>
                    </a:cubicBezTo>
                    <a:cubicBezTo>
                      <a:pt x="113" y="100"/>
                      <a:pt x="114" y="99"/>
                      <a:pt x="115" y="100"/>
                    </a:cubicBezTo>
                    <a:cubicBezTo>
                      <a:pt x="116" y="100"/>
                      <a:pt x="117" y="101"/>
                      <a:pt x="118" y="102"/>
                    </a:cubicBezTo>
                    <a:cubicBezTo>
                      <a:pt x="120" y="105"/>
                      <a:pt x="122" y="109"/>
                      <a:pt x="121" y="113"/>
                    </a:cubicBezTo>
                    <a:cubicBezTo>
                      <a:pt x="121" y="114"/>
                      <a:pt x="120" y="115"/>
                      <a:pt x="119" y="116"/>
                    </a:cubicBezTo>
                    <a:cubicBezTo>
                      <a:pt x="119" y="117"/>
                      <a:pt x="119" y="120"/>
                      <a:pt x="118" y="122"/>
                    </a:cubicBezTo>
                    <a:cubicBezTo>
                      <a:pt x="118" y="124"/>
                      <a:pt x="117" y="126"/>
                      <a:pt x="117" y="128"/>
                    </a:cubicBezTo>
                    <a:cubicBezTo>
                      <a:pt x="116" y="130"/>
                      <a:pt x="116" y="133"/>
                      <a:pt x="115" y="134"/>
                    </a:cubicBezTo>
                    <a:cubicBezTo>
                      <a:pt x="114" y="135"/>
                      <a:pt x="113" y="136"/>
                      <a:pt x="112" y="137"/>
                    </a:cubicBezTo>
                    <a:cubicBezTo>
                      <a:pt x="112" y="139"/>
                      <a:pt x="112" y="143"/>
                      <a:pt x="112" y="146"/>
                    </a:cubicBezTo>
                    <a:cubicBezTo>
                      <a:pt x="112" y="149"/>
                      <a:pt x="113" y="152"/>
                      <a:pt x="113" y="155"/>
                    </a:cubicBezTo>
                    <a:cubicBezTo>
                      <a:pt x="113" y="158"/>
                      <a:pt x="112" y="159"/>
                      <a:pt x="112" y="161"/>
                    </a:cubicBezTo>
                    <a:cubicBezTo>
                      <a:pt x="112" y="163"/>
                      <a:pt x="113" y="165"/>
                      <a:pt x="113" y="166"/>
                    </a:cubicBezTo>
                    <a:cubicBezTo>
                      <a:pt x="114" y="166"/>
                      <a:pt x="115" y="169"/>
                      <a:pt x="115" y="169"/>
                    </a:cubicBezTo>
                    <a:cubicBezTo>
                      <a:pt x="115" y="169"/>
                      <a:pt x="115" y="169"/>
                      <a:pt x="115" y="169"/>
                    </a:cubicBezTo>
                    <a:cubicBezTo>
                      <a:pt x="116" y="171"/>
                      <a:pt x="118" y="172"/>
                      <a:pt x="118" y="175"/>
                    </a:cubicBezTo>
                    <a:cubicBezTo>
                      <a:pt x="119" y="177"/>
                      <a:pt x="119" y="178"/>
                      <a:pt x="118" y="178"/>
                    </a:cubicBezTo>
                    <a:cubicBezTo>
                      <a:pt x="118" y="179"/>
                      <a:pt x="117" y="179"/>
                      <a:pt x="117" y="179"/>
                    </a:cubicBezTo>
                    <a:cubicBezTo>
                      <a:pt x="117" y="179"/>
                      <a:pt x="117" y="181"/>
                      <a:pt x="117" y="181"/>
                    </a:cubicBezTo>
                    <a:cubicBezTo>
                      <a:pt x="118" y="181"/>
                      <a:pt x="119" y="180"/>
                      <a:pt x="119" y="179"/>
                    </a:cubicBezTo>
                    <a:cubicBezTo>
                      <a:pt x="120" y="179"/>
                      <a:pt x="121" y="179"/>
                      <a:pt x="122" y="178"/>
                    </a:cubicBezTo>
                    <a:cubicBezTo>
                      <a:pt x="123" y="177"/>
                      <a:pt x="123" y="175"/>
                      <a:pt x="124" y="175"/>
                    </a:cubicBezTo>
                    <a:cubicBezTo>
                      <a:pt x="125" y="174"/>
                      <a:pt x="125" y="176"/>
                      <a:pt x="126" y="177"/>
                    </a:cubicBezTo>
                    <a:cubicBezTo>
                      <a:pt x="127" y="177"/>
                      <a:pt x="128" y="176"/>
                      <a:pt x="129" y="176"/>
                    </a:cubicBezTo>
                    <a:cubicBezTo>
                      <a:pt x="130" y="177"/>
                      <a:pt x="132" y="177"/>
                      <a:pt x="133" y="177"/>
                    </a:cubicBezTo>
                    <a:cubicBezTo>
                      <a:pt x="133" y="177"/>
                      <a:pt x="134" y="177"/>
                      <a:pt x="135" y="176"/>
                    </a:cubicBezTo>
                    <a:cubicBezTo>
                      <a:pt x="135" y="174"/>
                      <a:pt x="135" y="173"/>
                      <a:pt x="136" y="175"/>
                    </a:cubicBezTo>
                    <a:cubicBezTo>
                      <a:pt x="137" y="175"/>
                      <a:pt x="137" y="177"/>
                      <a:pt x="138" y="177"/>
                    </a:cubicBezTo>
                    <a:cubicBezTo>
                      <a:pt x="138" y="177"/>
                      <a:pt x="139" y="177"/>
                      <a:pt x="139" y="178"/>
                    </a:cubicBezTo>
                    <a:cubicBezTo>
                      <a:pt x="139" y="180"/>
                      <a:pt x="138" y="180"/>
                      <a:pt x="138" y="180"/>
                    </a:cubicBezTo>
                    <a:cubicBezTo>
                      <a:pt x="137" y="180"/>
                      <a:pt x="136" y="178"/>
                      <a:pt x="135" y="180"/>
                    </a:cubicBezTo>
                    <a:cubicBezTo>
                      <a:pt x="134" y="181"/>
                      <a:pt x="134" y="181"/>
                      <a:pt x="133" y="182"/>
                    </a:cubicBezTo>
                    <a:cubicBezTo>
                      <a:pt x="133" y="183"/>
                      <a:pt x="132" y="184"/>
                      <a:pt x="131" y="183"/>
                    </a:cubicBezTo>
                    <a:cubicBezTo>
                      <a:pt x="131" y="183"/>
                      <a:pt x="130" y="182"/>
                      <a:pt x="129" y="181"/>
                    </a:cubicBezTo>
                    <a:cubicBezTo>
                      <a:pt x="128" y="181"/>
                      <a:pt x="127" y="182"/>
                      <a:pt x="126" y="182"/>
                    </a:cubicBezTo>
                    <a:cubicBezTo>
                      <a:pt x="124" y="182"/>
                      <a:pt x="124" y="182"/>
                      <a:pt x="123" y="184"/>
                    </a:cubicBezTo>
                    <a:cubicBezTo>
                      <a:pt x="123" y="185"/>
                      <a:pt x="122" y="186"/>
                      <a:pt x="121" y="186"/>
                    </a:cubicBezTo>
                    <a:cubicBezTo>
                      <a:pt x="120" y="185"/>
                      <a:pt x="119" y="184"/>
                      <a:pt x="119" y="186"/>
                    </a:cubicBezTo>
                    <a:cubicBezTo>
                      <a:pt x="118" y="188"/>
                      <a:pt x="119" y="190"/>
                      <a:pt x="119" y="191"/>
                    </a:cubicBezTo>
                    <a:cubicBezTo>
                      <a:pt x="118" y="194"/>
                      <a:pt x="117" y="196"/>
                      <a:pt x="119" y="198"/>
                    </a:cubicBezTo>
                    <a:cubicBezTo>
                      <a:pt x="120" y="199"/>
                      <a:pt x="122" y="199"/>
                      <a:pt x="123" y="198"/>
                    </a:cubicBezTo>
                    <a:cubicBezTo>
                      <a:pt x="124" y="198"/>
                      <a:pt x="124" y="196"/>
                      <a:pt x="125" y="198"/>
                    </a:cubicBezTo>
                    <a:cubicBezTo>
                      <a:pt x="126" y="202"/>
                      <a:pt x="125" y="205"/>
                      <a:pt x="125" y="208"/>
                    </a:cubicBezTo>
                    <a:cubicBezTo>
                      <a:pt x="125" y="213"/>
                      <a:pt x="123" y="211"/>
                      <a:pt x="122" y="208"/>
                    </a:cubicBezTo>
                    <a:cubicBezTo>
                      <a:pt x="120" y="205"/>
                      <a:pt x="120" y="202"/>
                      <a:pt x="118" y="204"/>
                    </a:cubicBezTo>
                    <a:cubicBezTo>
                      <a:pt x="117" y="205"/>
                      <a:pt x="117" y="205"/>
                      <a:pt x="117" y="208"/>
                    </a:cubicBezTo>
                    <a:cubicBezTo>
                      <a:pt x="117" y="210"/>
                      <a:pt x="116" y="212"/>
                      <a:pt x="116" y="214"/>
                    </a:cubicBezTo>
                    <a:cubicBezTo>
                      <a:pt x="116" y="216"/>
                      <a:pt x="116" y="218"/>
                      <a:pt x="116" y="220"/>
                    </a:cubicBezTo>
                    <a:cubicBezTo>
                      <a:pt x="116" y="222"/>
                      <a:pt x="115" y="224"/>
                      <a:pt x="116" y="226"/>
                    </a:cubicBezTo>
                    <a:cubicBezTo>
                      <a:pt x="117" y="229"/>
                      <a:pt x="116" y="233"/>
                      <a:pt x="114" y="234"/>
                    </a:cubicBezTo>
                    <a:cubicBezTo>
                      <a:pt x="112" y="234"/>
                      <a:pt x="113" y="239"/>
                      <a:pt x="111" y="239"/>
                    </a:cubicBezTo>
                    <a:cubicBezTo>
                      <a:pt x="110" y="239"/>
                      <a:pt x="110" y="237"/>
                      <a:pt x="109" y="236"/>
                    </a:cubicBezTo>
                    <a:cubicBezTo>
                      <a:pt x="109" y="235"/>
                      <a:pt x="108" y="234"/>
                      <a:pt x="108" y="234"/>
                    </a:cubicBezTo>
                    <a:cubicBezTo>
                      <a:pt x="108" y="233"/>
                      <a:pt x="107" y="233"/>
                      <a:pt x="107" y="233"/>
                    </a:cubicBezTo>
                    <a:cubicBezTo>
                      <a:pt x="106" y="233"/>
                      <a:pt x="105" y="235"/>
                      <a:pt x="104" y="236"/>
                    </a:cubicBezTo>
                    <a:cubicBezTo>
                      <a:pt x="103" y="238"/>
                      <a:pt x="103" y="238"/>
                      <a:pt x="102" y="240"/>
                    </a:cubicBezTo>
                    <a:cubicBezTo>
                      <a:pt x="101" y="241"/>
                      <a:pt x="101" y="241"/>
                      <a:pt x="100" y="243"/>
                    </a:cubicBezTo>
                    <a:cubicBezTo>
                      <a:pt x="99" y="245"/>
                      <a:pt x="98" y="243"/>
                      <a:pt x="97" y="243"/>
                    </a:cubicBezTo>
                    <a:cubicBezTo>
                      <a:pt x="96" y="244"/>
                      <a:pt x="97" y="250"/>
                      <a:pt x="95" y="246"/>
                    </a:cubicBezTo>
                    <a:cubicBezTo>
                      <a:pt x="94" y="244"/>
                      <a:pt x="94" y="243"/>
                      <a:pt x="94" y="241"/>
                    </a:cubicBezTo>
                    <a:cubicBezTo>
                      <a:pt x="93" y="240"/>
                      <a:pt x="93" y="239"/>
                      <a:pt x="93" y="238"/>
                    </a:cubicBezTo>
                    <a:cubicBezTo>
                      <a:pt x="93" y="236"/>
                      <a:pt x="92" y="238"/>
                      <a:pt x="92" y="239"/>
                    </a:cubicBezTo>
                    <a:cubicBezTo>
                      <a:pt x="91" y="240"/>
                      <a:pt x="90" y="239"/>
                      <a:pt x="90" y="241"/>
                    </a:cubicBezTo>
                    <a:cubicBezTo>
                      <a:pt x="90" y="243"/>
                      <a:pt x="88" y="243"/>
                      <a:pt x="87" y="244"/>
                    </a:cubicBezTo>
                    <a:cubicBezTo>
                      <a:pt x="85" y="246"/>
                      <a:pt x="84" y="243"/>
                      <a:pt x="83" y="239"/>
                    </a:cubicBezTo>
                    <a:cubicBezTo>
                      <a:pt x="83" y="237"/>
                      <a:pt x="82" y="235"/>
                      <a:pt x="82" y="233"/>
                    </a:cubicBezTo>
                    <a:cubicBezTo>
                      <a:pt x="81" y="231"/>
                      <a:pt x="82" y="229"/>
                      <a:pt x="82" y="227"/>
                    </a:cubicBezTo>
                    <a:cubicBezTo>
                      <a:pt x="82" y="224"/>
                      <a:pt x="82" y="222"/>
                      <a:pt x="82" y="220"/>
                    </a:cubicBezTo>
                    <a:cubicBezTo>
                      <a:pt x="82" y="219"/>
                      <a:pt x="83" y="218"/>
                      <a:pt x="83" y="218"/>
                    </a:cubicBezTo>
                    <a:cubicBezTo>
                      <a:pt x="83" y="216"/>
                      <a:pt x="83" y="215"/>
                      <a:pt x="83" y="213"/>
                    </a:cubicBezTo>
                    <a:cubicBezTo>
                      <a:pt x="83" y="211"/>
                      <a:pt x="83" y="208"/>
                      <a:pt x="83" y="206"/>
                    </a:cubicBezTo>
                    <a:cubicBezTo>
                      <a:pt x="83" y="205"/>
                      <a:pt x="83" y="201"/>
                      <a:pt x="82" y="202"/>
                    </a:cubicBezTo>
                    <a:cubicBezTo>
                      <a:pt x="81" y="203"/>
                      <a:pt x="81" y="204"/>
                      <a:pt x="80" y="205"/>
                    </a:cubicBezTo>
                    <a:cubicBezTo>
                      <a:pt x="79" y="205"/>
                      <a:pt x="78" y="204"/>
                      <a:pt x="77" y="206"/>
                    </a:cubicBezTo>
                    <a:cubicBezTo>
                      <a:pt x="76" y="209"/>
                      <a:pt x="74" y="213"/>
                      <a:pt x="75" y="216"/>
                    </a:cubicBezTo>
                    <a:cubicBezTo>
                      <a:pt x="75" y="218"/>
                      <a:pt x="75" y="220"/>
                      <a:pt x="76" y="221"/>
                    </a:cubicBezTo>
                    <a:cubicBezTo>
                      <a:pt x="76" y="222"/>
                      <a:pt x="76" y="223"/>
                      <a:pt x="76" y="224"/>
                    </a:cubicBezTo>
                    <a:cubicBezTo>
                      <a:pt x="76" y="226"/>
                      <a:pt x="76" y="228"/>
                      <a:pt x="77" y="229"/>
                    </a:cubicBezTo>
                    <a:cubicBezTo>
                      <a:pt x="77" y="230"/>
                      <a:pt x="78" y="233"/>
                      <a:pt x="78" y="234"/>
                    </a:cubicBezTo>
                    <a:cubicBezTo>
                      <a:pt x="78" y="236"/>
                      <a:pt x="78" y="237"/>
                      <a:pt x="78" y="240"/>
                    </a:cubicBezTo>
                    <a:cubicBezTo>
                      <a:pt x="78" y="242"/>
                      <a:pt x="78" y="244"/>
                      <a:pt x="77" y="246"/>
                    </a:cubicBezTo>
                    <a:cubicBezTo>
                      <a:pt x="77" y="248"/>
                      <a:pt x="76" y="247"/>
                      <a:pt x="75" y="247"/>
                    </a:cubicBezTo>
                    <a:cubicBezTo>
                      <a:pt x="73" y="247"/>
                      <a:pt x="73" y="247"/>
                      <a:pt x="72" y="249"/>
                    </a:cubicBezTo>
                    <a:cubicBezTo>
                      <a:pt x="71" y="251"/>
                      <a:pt x="70" y="250"/>
                      <a:pt x="69" y="251"/>
                    </a:cubicBezTo>
                    <a:cubicBezTo>
                      <a:pt x="68" y="252"/>
                      <a:pt x="66" y="252"/>
                      <a:pt x="65" y="253"/>
                    </a:cubicBezTo>
                    <a:cubicBezTo>
                      <a:pt x="65" y="255"/>
                      <a:pt x="64" y="257"/>
                      <a:pt x="64" y="259"/>
                    </a:cubicBezTo>
                    <a:cubicBezTo>
                      <a:pt x="63" y="261"/>
                      <a:pt x="63" y="264"/>
                      <a:pt x="62" y="265"/>
                    </a:cubicBezTo>
                    <a:cubicBezTo>
                      <a:pt x="62" y="267"/>
                      <a:pt x="63" y="269"/>
                      <a:pt x="61" y="270"/>
                    </a:cubicBezTo>
                    <a:cubicBezTo>
                      <a:pt x="60" y="271"/>
                      <a:pt x="60" y="272"/>
                      <a:pt x="60" y="274"/>
                    </a:cubicBezTo>
                    <a:cubicBezTo>
                      <a:pt x="59" y="274"/>
                      <a:pt x="58" y="275"/>
                      <a:pt x="58" y="275"/>
                    </a:cubicBezTo>
                    <a:cubicBezTo>
                      <a:pt x="57" y="275"/>
                      <a:pt x="56" y="277"/>
                      <a:pt x="56" y="277"/>
                    </a:cubicBezTo>
                    <a:cubicBezTo>
                      <a:pt x="55" y="277"/>
                      <a:pt x="55" y="274"/>
                      <a:pt x="54" y="276"/>
                    </a:cubicBezTo>
                    <a:cubicBezTo>
                      <a:pt x="54" y="278"/>
                      <a:pt x="54" y="279"/>
                      <a:pt x="53" y="281"/>
                    </a:cubicBezTo>
                    <a:cubicBezTo>
                      <a:pt x="52" y="282"/>
                      <a:pt x="53" y="284"/>
                      <a:pt x="52" y="286"/>
                    </a:cubicBezTo>
                    <a:cubicBezTo>
                      <a:pt x="52" y="287"/>
                      <a:pt x="51" y="290"/>
                      <a:pt x="50" y="291"/>
                    </a:cubicBezTo>
                    <a:cubicBezTo>
                      <a:pt x="49" y="292"/>
                      <a:pt x="48" y="291"/>
                      <a:pt x="48" y="294"/>
                    </a:cubicBezTo>
                    <a:cubicBezTo>
                      <a:pt x="47" y="296"/>
                      <a:pt x="45" y="295"/>
                      <a:pt x="45" y="293"/>
                    </a:cubicBezTo>
                    <a:cubicBezTo>
                      <a:pt x="45" y="292"/>
                      <a:pt x="44" y="292"/>
                      <a:pt x="43" y="292"/>
                    </a:cubicBezTo>
                    <a:cubicBezTo>
                      <a:pt x="42" y="292"/>
                      <a:pt x="41" y="290"/>
                      <a:pt x="40" y="291"/>
                    </a:cubicBezTo>
                    <a:cubicBezTo>
                      <a:pt x="37" y="295"/>
                      <a:pt x="41" y="296"/>
                      <a:pt x="41" y="300"/>
                    </a:cubicBezTo>
                    <a:cubicBezTo>
                      <a:pt x="40" y="307"/>
                      <a:pt x="35" y="303"/>
                      <a:pt x="34" y="302"/>
                    </a:cubicBezTo>
                    <a:cubicBezTo>
                      <a:pt x="32" y="301"/>
                      <a:pt x="31" y="303"/>
                      <a:pt x="30" y="304"/>
                    </a:cubicBezTo>
                    <a:cubicBezTo>
                      <a:pt x="29" y="305"/>
                      <a:pt x="28" y="306"/>
                      <a:pt x="29" y="308"/>
                    </a:cubicBezTo>
                    <a:cubicBezTo>
                      <a:pt x="29" y="313"/>
                      <a:pt x="32" y="313"/>
                      <a:pt x="34" y="314"/>
                    </a:cubicBezTo>
                    <a:cubicBezTo>
                      <a:pt x="35" y="315"/>
                      <a:pt x="37" y="316"/>
                      <a:pt x="38" y="317"/>
                    </a:cubicBezTo>
                    <a:cubicBezTo>
                      <a:pt x="39" y="319"/>
                      <a:pt x="38" y="320"/>
                      <a:pt x="38" y="322"/>
                    </a:cubicBezTo>
                    <a:cubicBezTo>
                      <a:pt x="38" y="323"/>
                      <a:pt x="39" y="325"/>
                      <a:pt x="39" y="325"/>
                    </a:cubicBezTo>
                    <a:cubicBezTo>
                      <a:pt x="41" y="326"/>
                      <a:pt x="41" y="329"/>
                      <a:pt x="41" y="331"/>
                    </a:cubicBezTo>
                    <a:cubicBezTo>
                      <a:pt x="42" y="336"/>
                      <a:pt x="40" y="337"/>
                      <a:pt x="40" y="341"/>
                    </a:cubicBezTo>
                    <a:cubicBezTo>
                      <a:pt x="40" y="343"/>
                      <a:pt x="39" y="344"/>
                      <a:pt x="39" y="345"/>
                    </a:cubicBezTo>
                    <a:cubicBezTo>
                      <a:pt x="39" y="346"/>
                      <a:pt x="38" y="347"/>
                      <a:pt x="38" y="348"/>
                    </a:cubicBezTo>
                    <a:cubicBezTo>
                      <a:pt x="38" y="350"/>
                      <a:pt x="38" y="353"/>
                      <a:pt x="37" y="354"/>
                    </a:cubicBezTo>
                    <a:cubicBezTo>
                      <a:pt x="34" y="357"/>
                      <a:pt x="31" y="355"/>
                      <a:pt x="29" y="355"/>
                    </a:cubicBezTo>
                    <a:cubicBezTo>
                      <a:pt x="27" y="355"/>
                      <a:pt x="25" y="355"/>
                      <a:pt x="24" y="354"/>
                    </a:cubicBezTo>
                    <a:cubicBezTo>
                      <a:pt x="22" y="354"/>
                      <a:pt x="20" y="355"/>
                      <a:pt x="18" y="356"/>
                    </a:cubicBezTo>
                    <a:cubicBezTo>
                      <a:pt x="16" y="357"/>
                      <a:pt x="14" y="358"/>
                      <a:pt x="13" y="357"/>
                    </a:cubicBezTo>
                    <a:cubicBezTo>
                      <a:pt x="12" y="357"/>
                      <a:pt x="10" y="355"/>
                      <a:pt x="9" y="355"/>
                    </a:cubicBezTo>
                    <a:cubicBezTo>
                      <a:pt x="8" y="355"/>
                      <a:pt x="6" y="364"/>
                      <a:pt x="6" y="365"/>
                    </a:cubicBezTo>
                    <a:cubicBezTo>
                      <a:pt x="6" y="368"/>
                      <a:pt x="7" y="370"/>
                      <a:pt x="7" y="372"/>
                    </a:cubicBezTo>
                    <a:cubicBezTo>
                      <a:pt x="7" y="375"/>
                      <a:pt x="6" y="379"/>
                      <a:pt x="6" y="382"/>
                    </a:cubicBezTo>
                    <a:cubicBezTo>
                      <a:pt x="5" y="387"/>
                      <a:pt x="3" y="393"/>
                      <a:pt x="1" y="399"/>
                    </a:cubicBezTo>
                    <a:cubicBezTo>
                      <a:pt x="0" y="401"/>
                      <a:pt x="0" y="403"/>
                      <a:pt x="0" y="405"/>
                    </a:cubicBezTo>
                    <a:cubicBezTo>
                      <a:pt x="1" y="405"/>
                      <a:pt x="1" y="405"/>
                      <a:pt x="1" y="406"/>
                    </a:cubicBezTo>
                    <a:cubicBezTo>
                      <a:pt x="14" y="400"/>
                      <a:pt x="26" y="394"/>
                      <a:pt x="39" y="388"/>
                    </a:cubicBezTo>
                    <a:cubicBezTo>
                      <a:pt x="39" y="388"/>
                      <a:pt x="39" y="388"/>
                      <a:pt x="39" y="388"/>
                    </a:cubicBezTo>
                    <a:cubicBezTo>
                      <a:pt x="39" y="385"/>
                      <a:pt x="40" y="383"/>
                      <a:pt x="41" y="380"/>
                    </a:cubicBezTo>
                    <a:cubicBezTo>
                      <a:pt x="42" y="376"/>
                      <a:pt x="46" y="373"/>
                      <a:pt x="48" y="372"/>
                    </a:cubicBezTo>
                    <a:cubicBezTo>
                      <a:pt x="49" y="371"/>
                      <a:pt x="50" y="372"/>
                      <a:pt x="51" y="370"/>
                    </a:cubicBezTo>
                    <a:cubicBezTo>
                      <a:pt x="52" y="368"/>
                      <a:pt x="53" y="367"/>
                      <a:pt x="53" y="364"/>
                    </a:cubicBezTo>
                    <a:cubicBezTo>
                      <a:pt x="53" y="361"/>
                      <a:pt x="52" y="358"/>
                      <a:pt x="54" y="355"/>
                    </a:cubicBezTo>
                    <a:cubicBezTo>
                      <a:pt x="56" y="352"/>
                      <a:pt x="59" y="350"/>
                      <a:pt x="61" y="352"/>
                    </a:cubicBezTo>
                    <a:cubicBezTo>
                      <a:pt x="62" y="353"/>
                      <a:pt x="62" y="355"/>
                      <a:pt x="63" y="354"/>
                    </a:cubicBezTo>
                    <a:cubicBezTo>
                      <a:pt x="65" y="353"/>
                      <a:pt x="66" y="352"/>
                      <a:pt x="67" y="350"/>
                    </a:cubicBezTo>
                    <a:cubicBezTo>
                      <a:pt x="68" y="348"/>
                      <a:pt x="69" y="346"/>
                      <a:pt x="70" y="345"/>
                    </a:cubicBezTo>
                    <a:cubicBezTo>
                      <a:pt x="71" y="343"/>
                      <a:pt x="72" y="342"/>
                      <a:pt x="73" y="340"/>
                    </a:cubicBezTo>
                    <a:cubicBezTo>
                      <a:pt x="74" y="338"/>
                      <a:pt x="78" y="339"/>
                      <a:pt x="79" y="341"/>
                    </a:cubicBezTo>
                    <a:cubicBezTo>
                      <a:pt x="80" y="345"/>
                      <a:pt x="79" y="352"/>
                      <a:pt x="80" y="356"/>
                    </a:cubicBezTo>
                    <a:cubicBezTo>
                      <a:pt x="81" y="358"/>
                      <a:pt x="82" y="361"/>
                      <a:pt x="84" y="362"/>
                    </a:cubicBezTo>
                    <a:cubicBezTo>
                      <a:pt x="87" y="360"/>
                      <a:pt x="90" y="358"/>
                      <a:pt x="93" y="357"/>
                    </a:cubicBezTo>
                    <a:cubicBezTo>
                      <a:pt x="91" y="355"/>
                      <a:pt x="90" y="354"/>
                      <a:pt x="90" y="350"/>
                    </a:cubicBezTo>
                    <a:cubicBezTo>
                      <a:pt x="90" y="346"/>
                      <a:pt x="88" y="342"/>
                      <a:pt x="87" y="338"/>
                    </a:cubicBezTo>
                    <a:cubicBezTo>
                      <a:pt x="86" y="337"/>
                      <a:pt x="86" y="336"/>
                      <a:pt x="85" y="335"/>
                    </a:cubicBezTo>
                    <a:cubicBezTo>
                      <a:pt x="85" y="334"/>
                      <a:pt x="85" y="331"/>
                      <a:pt x="86" y="331"/>
                    </a:cubicBezTo>
                    <a:cubicBezTo>
                      <a:pt x="87" y="331"/>
                      <a:pt x="87" y="332"/>
                      <a:pt x="88" y="333"/>
                    </a:cubicBezTo>
                    <a:cubicBezTo>
                      <a:pt x="89" y="335"/>
                      <a:pt x="90" y="335"/>
                      <a:pt x="91" y="334"/>
                    </a:cubicBezTo>
                    <a:cubicBezTo>
                      <a:pt x="93" y="334"/>
                      <a:pt x="95" y="331"/>
                      <a:pt x="96" y="335"/>
                    </a:cubicBezTo>
                    <a:cubicBezTo>
                      <a:pt x="96" y="337"/>
                      <a:pt x="96" y="339"/>
                      <a:pt x="97" y="340"/>
                    </a:cubicBezTo>
                    <a:cubicBezTo>
                      <a:pt x="97" y="343"/>
                      <a:pt x="99" y="343"/>
                      <a:pt x="100" y="343"/>
                    </a:cubicBezTo>
                    <a:cubicBezTo>
                      <a:pt x="101" y="344"/>
                      <a:pt x="101" y="346"/>
                      <a:pt x="101" y="347"/>
                    </a:cubicBezTo>
                    <a:cubicBezTo>
                      <a:pt x="102" y="348"/>
                      <a:pt x="102" y="349"/>
                      <a:pt x="103" y="350"/>
                    </a:cubicBezTo>
                    <a:cubicBezTo>
                      <a:pt x="114" y="342"/>
                      <a:pt x="125" y="334"/>
                      <a:pt x="136" y="326"/>
                    </a:cubicBezTo>
                    <a:cubicBezTo>
                      <a:pt x="137" y="324"/>
                      <a:pt x="137" y="321"/>
                      <a:pt x="138" y="319"/>
                    </a:cubicBezTo>
                    <a:cubicBezTo>
                      <a:pt x="139" y="316"/>
                      <a:pt x="140" y="313"/>
                      <a:pt x="142" y="311"/>
                    </a:cubicBezTo>
                    <a:cubicBezTo>
                      <a:pt x="144" y="310"/>
                      <a:pt x="144" y="313"/>
                      <a:pt x="145" y="315"/>
                    </a:cubicBezTo>
                    <a:cubicBezTo>
                      <a:pt x="145" y="316"/>
                      <a:pt x="146" y="317"/>
                      <a:pt x="145" y="318"/>
                    </a:cubicBezTo>
                    <a:cubicBezTo>
                      <a:pt x="145" y="319"/>
                      <a:pt x="145" y="319"/>
                      <a:pt x="145" y="319"/>
                    </a:cubicBezTo>
                    <a:cubicBezTo>
                      <a:pt x="147" y="317"/>
                      <a:pt x="150" y="315"/>
                      <a:pt x="152" y="314"/>
                    </a:cubicBezTo>
                    <a:cubicBezTo>
                      <a:pt x="152" y="313"/>
                      <a:pt x="153" y="311"/>
                      <a:pt x="153" y="311"/>
                    </a:cubicBezTo>
                    <a:cubicBezTo>
                      <a:pt x="155" y="309"/>
                      <a:pt x="157" y="307"/>
                      <a:pt x="159" y="304"/>
                    </a:cubicBezTo>
                    <a:cubicBezTo>
                      <a:pt x="159" y="304"/>
                      <a:pt x="161" y="302"/>
                      <a:pt x="161" y="304"/>
                    </a:cubicBezTo>
                    <a:cubicBezTo>
                      <a:pt x="161" y="305"/>
                      <a:pt x="160" y="306"/>
                      <a:pt x="160" y="306"/>
                    </a:cubicBezTo>
                    <a:cubicBezTo>
                      <a:pt x="160" y="307"/>
                      <a:pt x="159" y="307"/>
                      <a:pt x="159" y="308"/>
                    </a:cubicBezTo>
                    <a:cubicBezTo>
                      <a:pt x="205" y="271"/>
                      <a:pt x="245" y="234"/>
                      <a:pt x="284" y="209"/>
                    </a:cubicBezTo>
                    <a:cubicBezTo>
                      <a:pt x="288" y="207"/>
                      <a:pt x="292" y="204"/>
                      <a:pt x="296" y="202"/>
                    </a:cubicBezTo>
                    <a:cubicBezTo>
                      <a:pt x="293" y="131"/>
                      <a:pt x="280" y="64"/>
                      <a:pt x="259" y="0"/>
                    </a:cubicBezTo>
                    <a:cubicBezTo>
                      <a:pt x="258" y="0"/>
                      <a:pt x="258" y="1"/>
                      <a:pt x="257" y="2"/>
                    </a:cubicBezTo>
                    <a:close/>
                    <a:moveTo>
                      <a:pt x="146" y="170"/>
                    </a:moveTo>
                    <a:cubicBezTo>
                      <a:pt x="146" y="171"/>
                      <a:pt x="146" y="172"/>
                      <a:pt x="146" y="173"/>
                    </a:cubicBezTo>
                    <a:cubicBezTo>
                      <a:pt x="145" y="174"/>
                      <a:pt x="145" y="176"/>
                      <a:pt x="145" y="177"/>
                    </a:cubicBezTo>
                    <a:cubicBezTo>
                      <a:pt x="145" y="178"/>
                      <a:pt x="143" y="180"/>
                      <a:pt x="142" y="178"/>
                    </a:cubicBezTo>
                    <a:cubicBezTo>
                      <a:pt x="141" y="176"/>
                      <a:pt x="142" y="174"/>
                      <a:pt x="141" y="172"/>
                    </a:cubicBezTo>
                    <a:cubicBezTo>
                      <a:pt x="141" y="170"/>
                      <a:pt x="140" y="168"/>
                      <a:pt x="139" y="166"/>
                    </a:cubicBezTo>
                    <a:cubicBezTo>
                      <a:pt x="139" y="163"/>
                      <a:pt x="136" y="156"/>
                      <a:pt x="139" y="157"/>
                    </a:cubicBezTo>
                    <a:cubicBezTo>
                      <a:pt x="140" y="157"/>
                      <a:pt x="141" y="158"/>
                      <a:pt x="142" y="158"/>
                    </a:cubicBezTo>
                    <a:cubicBezTo>
                      <a:pt x="143" y="159"/>
                      <a:pt x="143" y="161"/>
                      <a:pt x="143" y="162"/>
                    </a:cubicBezTo>
                    <a:cubicBezTo>
                      <a:pt x="144" y="164"/>
                      <a:pt x="145" y="164"/>
                      <a:pt x="146" y="165"/>
                    </a:cubicBezTo>
                    <a:cubicBezTo>
                      <a:pt x="146" y="166"/>
                      <a:pt x="147" y="169"/>
                      <a:pt x="146" y="170"/>
                    </a:cubicBezTo>
                    <a:close/>
                    <a:moveTo>
                      <a:pt x="155" y="167"/>
                    </a:moveTo>
                    <a:cubicBezTo>
                      <a:pt x="154" y="167"/>
                      <a:pt x="154" y="168"/>
                      <a:pt x="154" y="168"/>
                    </a:cubicBezTo>
                    <a:cubicBezTo>
                      <a:pt x="153" y="166"/>
                      <a:pt x="153" y="165"/>
                      <a:pt x="152" y="163"/>
                    </a:cubicBezTo>
                    <a:cubicBezTo>
                      <a:pt x="151" y="161"/>
                      <a:pt x="150" y="160"/>
                      <a:pt x="150" y="158"/>
                    </a:cubicBezTo>
                    <a:cubicBezTo>
                      <a:pt x="149" y="157"/>
                      <a:pt x="149" y="155"/>
                      <a:pt x="149" y="154"/>
                    </a:cubicBezTo>
                    <a:cubicBezTo>
                      <a:pt x="149" y="152"/>
                      <a:pt x="149" y="150"/>
                      <a:pt x="149" y="148"/>
                    </a:cubicBezTo>
                    <a:cubicBezTo>
                      <a:pt x="150" y="144"/>
                      <a:pt x="152" y="153"/>
                      <a:pt x="153" y="155"/>
                    </a:cubicBezTo>
                    <a:cubicBezTo>
                      <a:pt x="153" y="157"/>
                      <a:pt x="153" y="159"/>
                      <a:pt x="154" y="161"/>
                    </a:cubicBezTo>
                    <a:cubicBezTo>
                      <a:pt x="154" y="163"/>
                      <a:pt x="155" y="165"/>
                      <a:pt x="155" y="167"/>
                    </a:cubicBezTo>
                    <a:close/>
                    <a:moveTo>
                      <a:pt x="163" y="199"/>
                    </a:moveTo>
                    <a:cubicBezTo>
                      <a:pt x="163" y="201"/>
                      <a:pt x="161" y="201"/>
                      <a:pt x="161" y="199"/>
                    </a:cubicBezTo>
                    <a:cubicBezTo>
                      <a:pt x="161" y="198"/>
                      <a:pt x="161" y="197"/>
                      <a:pt x="160" y="196"/>
                    </a:cubicBezTo>
                    <a:cubicBezTo>
                      <a:pt x="160" y="195"/>
                      <a:pt x="159" y="195"/>
                      <a:pt x="159" y="193"/>
                    </a:cubicBezTo>
                    <a:cubicBezTo>
                      <a:pt x="158" y="190"/>
                      <a:pt x="160" y="193"/>
                      <a:pt x="161" y="193"/>
                    </a:cubicBezTo>
                    <a:cubicBezTo>
                      <a:pt x="162" y="194"/>
                      <a:pt x="162" y="194"/>
                      <a:pt x="162" y="195"/>
                    </a:cubicBezTo>
                    <a:cubicBezTo>
                      <a:pt x="163" y="197"/>
                      <a:pt x="164" y="197"/>
                      <a:pt x="163"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64"/>
              <p:cNvSpPr>
                <a:spLocks/>
              </p:cNvSpPr>
              <p:nvPr/>
            </p:nvSpPr>
            <p:spPr bwMode="auto">
              <a:xfrm>
                <a:off x="3497263" y="3898900"/>
                <a:ext cx="34925" cy="63500"/>
              </a:xfrm>
              <a:custGeom>
                <a:avLst/>
                <a:gdLst>
                  <a:gd name="T0" fmla="*/ 7 w 46"/>
                  <a:gd name="T1" fmla="*/ 3 h 83"/>
                  <a:gd name="T2" fmla="*/ 4 w 46"/>
                  <a:gd name="T3" fmla="*/ 3 h 83"/>
                  <a:gd name="T4" fmla="*/ 2 w 46"/>
                  <a:gd name="T5" fmla="*/ 1 h 83"/>
                  <a:gd name="T6" fmla="*/ 0 w 46"/>
                  <a:gd name="T7" fmla="*/ 3 h 83"/>
                  <a:gd name="T8" fmla="*/ 3 w 46"/>
                  <a:gd name="T9" fmla="*/ 11 h 83"/>
                  <a:gd name="T10" fmla="*/ 6 w 46"/>
                  <a:gd name="T11" fmla="*/ 16 h 83"/>
                  <a:gd name="T12" fmla="*/ 9 w 46"/>
                  <a:gd name="T13" fmla="*/ 19 h 83"/>
                  <a:gd name="T14" fmla="*/ 10 w 46"/>
                  <a:gd name="T15" fmla="*/ 26 h 83"/>
                  <a:gd name="T16" fmla="*/ 16 w 46"/>
                  <a:gd name="T17" fmla="*/ 35 h 83"/>
                  <a:gd name="T18" fmla="*/ 19 w 46"/>
                  <a:gd name="T19" fmla="*/ 40 h 83"/>
                  <a:gd name="T20" fmla="*/ 22 w 46"/>
                  <a:gd name="T21" fmla="*/ 41 h 83"/>
                  <a:gd name="T22" fmla="*/ 24 w 46"/>
                  <a:gd name="T23" fmla="*/ 40 h 83"/>
                  <a:gd name="T24" fmla="*/ 23 w 46"/>
                  <a:gd name="T25" fmla="*/ 35 h 83"/>
                  <a:gd name="T26" fmla="*/ 25 w 46"/>
                  <a:gd name="T27" fmla="*/ 35 h 83"/>
                  <a:gd name="T28" fmla="*/ 27 w 46"/>
                  <a:gd name="T29" fmla="*/ 39 h 83"/>
                  <a:gd name="T30" fmla="*/ 28 w 46"/>
                  <a:gd name="T31" fmla="*/ 36 h 83"/>
                  <a:gd name="T32" fmla="*/ 30 w 46"/>
                  <a:gd name="T33" fmla="*/ 36 h 83"/>
                  <a:gd name="T34" fmla="*/ 29 w 46"/>
                  <a:gd name="T35" fmla="*/ 42 h 83"/>
                  <a:gd name="T36" fmla="*/ 26 w 46"/>
                  <a:gd name="T37" fmla="*/ 42 h 83"/>
                  <a:gd name="T38" fmla="*/ 25 w 46"/>
                  <a:gd name="T39" fmla="*/ 45 h 83"/>
                  <a:gd name="T40" fmla="*/ 23 w 46"/>
                  <a:gd name="T41" fmla="*/ 48 h 83"/>
                  <a:gd name="T42" fmla="*/ 26 w 46"/>
                  <a:gd name="T43" fmla="*/ 52 h 83"/>
                  <a:gd name="T44" fmla="*/ 29 w 46"/>
                  <a:gd name="T45" fmla="*/ 54 h 83"/>
                  <a:gd name="T46" fmla="*/ 32 w 46"/>
                  <a:gd name="T47" fmla="*/ 58 h 83"/>
                  <a:gd name="T48" fmla="*/ 30 w 46"/>
                  <a:gd name="T49" fmla="*/ 59 h 83"/>
                  <a:gd name="T50" fmla="*/ 28 w 46"/>
                  <a:gd name="T51" fmla="*/ 60 h 83"/>
                  <a:gd name="T52" fmla="*/ 31 w 46"/>
                  <a:gd name="T53" fmla="*/ 64 h 83"/>
                  <a:gd name="T54" fmla="*/ 35 w 46"/>
                  <a:gd name="T55" fmla="*/ 68 h 83"/>
                  <a:gd name="T56" fmla="*/ 37 w 46"/>
                  <a:gd name="T57" fmla="*/ 71 h 83"/>
                  <a:gd name="T58" fmla="*/ 40 w 46"/>
                  <a:gd name="T59" fmla="*/ 72 h 83"/>
                  <a:gd name="T60" fmla="*/ 39 w 46"/>
                  <a:gd name="T61" fmla="*/ 75 h 83"/>
                  <a:gd name="T62" fmla="*/ 44 w 46"/>
                  <a:gd name="T63" fmla="*/ 83 h 83"/>
                  <a:gd name="T64" fmla="*/ 42 w 46"/>
                  <a:gd name="T65" fmla="*/ 68 h 83"/>
                  <a:gd name="T66" fmla="*/ 42 w 46"/>
                  <a:gd name="T67" fmla="*/ 63 h 83"/>
                  <a:gd name="T68" fmla="*/ 41 w 46"/>
                  <a:gd name="T69" fmla="*/ 57 h 83"/>
                  <a:gd name="T70" fmla="*/ 42 w 46"/>
                  <a:gd name="T71" fmla="*/ 53 h 83"/>
                  <a:gd name="T72" fmla="*/ 41 w 46"/>
                  <a:gd name="T73" fmla="*/ 48 h 83"/>
                  <a:gd name="T74" fmla="*/ 41 w 46"/>
                  <a:gd name="T75" fmla="*/ 43 h 83"/>
                  <a:gd name="T76" fmla="*/ 43 w 46"/>
                  <a:gd name="T77" fmla="*/ 41 h 83"/>
                  <a:gd name="T78" fmla="*/ 46 w 46"/>
                  <a:gd name="T79" fmla="*/ 40 h 83"/>
                  <a:gd name="T80" fmla="*/ 44 w 46"/>
                  <a:gd name="T81" fmla="*/ 36 h 83"/>
                  <a:gd name="T82" fmla="*/ 41 w 46"/>
                  <a:gd name="T83" fmla="*/ 33 h 83"/>
                  <a:gd name="T84" fmla="*/ 39 w 46"/>
                  <a:gd name="T85" fmla="*/ 31 h 83"/>
                  <a:gd name="T86" fmla="*/ 37 w 46"/>
                  <a:gd name="T87" fmla="*/ 29 h 83"/>
                  <a:gd name="T88" fmla="*/ 34 w 46"/>
                  <a:gd name="T89" fmla="*/ 26 h 83"/>
                  <a:gd name="T90" fmla="*/ 31 w 46"/>
                  <a:gd name="T91" fmla="*/ 23 h 83"/>
                  <a:gd name="T92" fmla="*/ 28 w 46"/>
                  <a:gd name="T93" fmla="*/ 16 h 83"/>
                  <a:gd name="T94" fmla="*/ 28 w 46"/>
                  <a:gd name="T95" fmla="*/ 17 h 83"/>
                  <a:gd name="T96" fmla="*/ 26 w 46"/>
                  <a:gd name="T97" fmla="*/ 14 h 83"/>
                  <a:gd name="T98" fmla="*/ 25 w 46"/>
                  <a:gd name="T99" fmla="*/ 11 h 83"/>
                  <a:gd name="T100" fmla="*/ 22 w 46"/>
                  <a:gd name="T101" fmla="*/ 8 h 83"/>
                  <a:gd name="T102" fmla="*/ 18 w 46"/>
                  <a:gd name="T103" fmla="*/ 3 h 83"/>
                  <a:gd name="T104" fmla="*/ 18 w 46"/>
                  <a:gd name="T105" fmla="*/ 6 h 83"/>
                  <a:gd name="T106" fmla="*/ 20 w 46"/>
                  <a:gd name="T107" fmla="*/ 15 h 83"/>
                  <a:gd name="T108" fmla="*/ 13 w 46"/>
                  <a:gd name="T109" fmla="*/ 8 h 83"/>
                  <a:gd name="T110" fmla="*/ 13 w 46"/>
                  <a:gd name="T111" fmla="*/ 13 h 83"/>
                  <a:gd name="T112" fmla="*/ 10 w 46"/>
                  <a:gd name="T113" fmla="*/ 9 h 83"/>
                  <a:gd name="T114" fmla="*/ 10 w 46"/>
                  <a:gd name="T115" fmla="*/ 6 h 83"/>
                  <a:gd name="T116" fmla="*/ 7 w 46"/>
                  <a:gd name="T11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83">
                    <a:moveTo>
                      <a:pt x="7" y="3"/>
                    </a:moveTo>
                    <a:cubicBezTo>
                      <a:pt x="7" y="4"/>
                      <a:pt x="6" y="5"/>
                      <a:pt x="4" y="3"/>
                    </a:cubicBezTo>
                    <a:cubicBezTo>
                      <a:pt x="3" y="1"/>
                      <a:pt x="3" y="0"/>
                      <a:pt x="2" y="1"/>
                    </a:cubicBezTo>
                    <a:cubicBezTo>
                      <a:pt x="1" y="1"/>
                      <a:pt x="0" y="2"/>
                      <a:pt x="0" y="3"/>
                    </a:cubicBezTo>
                    <a:cubicBezTo>
                      <a:pt x="0" y="5"/>
                      <a:pt x="3" y="9"/>
                      <a:pt x="3" y="11"/>
                    </a:cubicBezTo>
                    <a:cubicBezTo>
                      <a:pt x="4" y="13"/>
                      <a:pt x="4" y="14"/>
                      <a:pt x="6" y="16"/>
                    </a:cubicBezTo>
                    <a:cubicBezTo>
                      <a:pt x="7" y="17"/>
                      <a:pt x="8" y="18"/>
                      <a:pt x="9" y="19"/>
                    </a:cubicBezTo>
                    <a:cubicBezTo>
                      <a:pt x="11" y="22"/>
                      <a:pt x="8" y="24"/>
                      <a:pt x="10" y="26"/>
                    </a:cubicBezTo>
                    <a:cubicBezTo>
                      <a:pt x="12" y="30"/>
                      <a:pt x="14" y="32"/>
                      <a:pt x="16" y="35"/>
                    </a:cubicBezTo>
                    <a:cubicBezTo>
                      <a:pt x="18" y="37"/>
                      <a:pt x="18" y="39"/>
                      <a:pt x="19" y="40"/>
                    </a:cubicBezTo>
                    <a:cubicBezTo>
                      <a:pt x="20" y="42"/>
                      <a:pt x="21" y="42"/>
                      <a:pt x="22" y="41"/>
                    </a:cubicBezTo>
                    <a:cubicBezTo>
                      <a:pt x="23" y="41"/>
                      <a:pt x="24" y="41"/>
                      <a:pt x="24" y="40"/>
                    </a:cubicBezTo>
                    <a:cubicBezTo>
                      <a:pt x="24" y="38"/>
                      <a:pt x="23" y="37"/>
                      <a:pt x="23" y="35"/>
                    </a:cubicBezTo>
                    <a:cubicBezTo>
                      <a:pt x="23" y="35"/>
                      <a:pt x="24" y="34"/>
                      <a:pt x="25" y="35"/>
                    </a:cubicBezTo>
                    <a:cubicBezTo>
                      <a:pt x="26" y="36"/>
                      <a:pt x="26" y="37"/>
                      <a:pt x="27" y="39"/>
                    </a:cubicBezTo>
                    <a:cubicBezTo>
                      <a:pt x="28" y="40"/>
                      <a:pt x="28" y="36"/>
                      <a:pt x="28" y="36"/>
                    </a:cubicBezTo>
                    <a:cubicBezTo>
                      <a:pt x="28" y="35"/>
                      <a:pt x="29" y="34"/>
                      <a:pt x="30" y="36"/>
                    </a:cubicBezTo>
                    <a:cubicBezTo>
                      <a:pt x="31" y="40"/>
                      <a:pt x="32" y="43"/>
                      <a:pt x="29" y="42"/>
                    </a:cubicBezTo>
                    <a:cubicBezTo>
                      <a:pt x="28" y="42"/>
                      <a:pt x="27" y="41"/>
                      <a:pt x="26" y="42"/>
                    </a:cubicBezTo>
                    <a:cubicBezTo>
                      <a:pt x="26" y="43"/>
                      <a:pt x="26" y="45"/>
                      <a:pt x="25" y="45"/>
                    </a:cubicBezTo>
                    <a:cubicBezTo>
                      <a:pt x="23" y="45"/>
                      <a:pt x="21" y="44"/>
                      <a:pt x="23" y="48"/>
                    </a:cubicBezTo>
                    <a:cubicBezTo>
                      <a:pt x="24" y="49"/>
                      <a:pt x="25" y="51"/>
                      <a:pt x="26" y="52"/>
                    </a:cubicBezTo>
                    <a:cubicBezTo>
                      <a:pt x="27" y="54"/>
                      <a:pt x="28" y="54"/>
                      <a:pt x="29" y="54"/>
                    </a:cubicBezTo>
                    <a:cubicBezTo>
                      <a:pt x="30" y="55"/>
                      <a:pt x="31" y="57"/>
                      <a:pt x="32" y="58"/>
                    </a:cubicBezTo>
                    <a:cubicBezTo>
                      <a:pt x="32" y="60"/>
                      <a:pt x="31" y="59"/>
                      <a:pt x="30" y="59"/>
                    </a:cubicBezTo>
                    <a:cubicBezTo>
                      <a:pt x="30" y="59"/>
                      <a:pt x="28" y="58"/>
                      <a:pt x="28" y="60"/>
                    </a:cubicBezTo>
                    <a:cubicBezTo>
                      <a:pt x="29" y="61"/>
                      <a:pt x="30" y="63"/>
                      <a:pt x="31" y="64"/>
                    </a:cubicBezTo>
                    <a:cubicBezTo>
                      <a:pt x="32" y="65"/>
                      <a:pt x="33" y="66"/>
                      <a:pt x="35" y="68"/>
                    </a:cubicBezTo>
                    <a:cubicBezTo>
                      <a:pt x="35" y="69"/>
                      <a:pt x="36" y="70"/>
                      <a:pt x="37" y="71"/>
                    </a:cubicBezTo>
                    <a:cubicBezTo>
                      <a:pt x="38" y="73"/>
                      <a:pt x="39" y="72"/>
                      <a:pt x="40" y="72"/>
                    </a:cubicBezTo>
                    <a:cubicBezTo>
                      <a:pt x="40" y="73"/>
                      <a:pt x="39" y="74"/>
                      <a:pt x="39" y="75"/>
                    </a:cubicBezTo>
                    <a:cubicBezTo>
                      <a:pt x="39" y="77"/>
                      <a:pt x="42" y="81"/>
                      <a:pt x="44" y="83"/>
                    </a:cubicBezTo>
                    <a:cubicBezTo>
                      <a:pt x="44" y="78"/>
                      <a:pt x="43" y="73"/>
                      <a:pt x="42" y="68"/>
                    </a:cubicBezTo>
                    <a:cubicBezTo>
                      <a:pt x="42" y="65"/>
                      <a:pt x="43" y="65"/>
                      <a:pt x="42" y="63"/>
                    </a:cubicBezTo>
                    <a:cubicBezTo>
                      <a:pt x="42" y="61"/>
                      <a:pt x="42" y="59"/>
                      <a:pt x="41" y="57"/>
                    </a:cubicBezTo>
                    <a:cubicBezTo>
                      <a:pt x="41" y="55"/>
                      <a:pt x="41" y="53"/>
                      <a:pt x="42" y="53"/>
                    </a:cubicBezTo>
                    <a:cubicBezTo>
                      <a:pt x="42" y="52"/>
                      <a:pt x="41" y="50"/>
                      <a:pt x="41" y="48"/>
                    </a:cubicBezTo>
                    <a:cubicBezTo>
                      <a:pt x="40" y="46"/>
                      <a:pt x="40" y="45"/>
                      <a:pt x="41" y="43"/>
                    </a:cubicBezTo>
                    <a:cubicBezTo>
                      <a:pt x="41" y="42"/>
                      <a:pt x="41" y="40"/>
                      <a:pt x="43" y="41"/>
                    </a:cubicBezTo>
                    <a:cubicBezTo>
                      <a:pt x="44" y="41"/>
                      <a:pt x="46" y="41"/>
                      <a:pt x="46" y="40"/>
                    </a:cubicBezTo>
                    <a:cubicBezTo>
                      <a:pt x="46" y="39"/>
                      <a:pt x="44" y="38"/>
                      <a:pt x="44" y="36"/>
                    </a:cubicBezTo>
                    <a:cubicBezTo>
                      <a:pt x="43" y="34"/>
                      <a:pt x="42" y="35"/>
                      <a:pt x="41" y="33"/>
                    </a:cubicBezTo>
                    <a:cubicBezTo>
                      <a:pt x="40" y="32"/>
                      <a:pt x="40" y="32"/>
                      <a:pt x="39" y="31"/>
                    </a:cubicBezTo>
                    <a:cubicBezTo>
                      <a:pt x="39" y="30"/>
                      <a:pt x="38" y="29"/>
                      <a:pt x="37" y="29"/>
                    </a:cubicBezTo>
                    <a:cubicBezTo>
                      <a:pt x="36" y="28"/>
                      <a:pt x="35" y="28"/>
                      <a:pt x="34" y="26"/>
                    </a:cubicBezTo>
                    <a:cubicBezTo>
                      <a:pt x="33" y="25"/>
                      <a:pt x="32" y="24"/>
                      <a:pt x="31" y="23"/>
                    </a:cubicBezTo>
                    <a:cubicBezTo>
                      <a:pt x="31" y="21"/>
                      <a:pt x="30" y="17"/>
                      <a:pt x="28" y="16"/>
                    </a:cubicBezTo>
                    <a:cubicBezTo>
                      <a:pt x="28" y="17"/>
                      <a:pt x="28" y="17"/>
                      <a:pt x="28" y="17"/>
                    </a:cubicBezTo>
                    <a:cubicBezTo>
                      <a:pt x="27" y="16"/>
                      <a:pt x="26" y="15"/>
                      <a:pt x="26" y="14"/>
                    </a:cubicBezTo>
                    <a:cubicBezTo>
                      <a:pt x="26" y="13"/>
                      <a:pt x="26" y="12"/>
                      <a:pt x="25" y="11"/>
                    </a:cubicBezTo>
                    <a:cubicBezTo>
                      <a:pt x="24" y="10"/>
                      <a:pt x="23" y="9"/>
                      <a:pt x="22" y="8"/>
                    </a:cubicBezTo>
                    <a:cubicBezTo>
                      <a:pt x="21" y="6"/>
                      <a:pt x="20" y="3"/>
                      <a:pt x="18" y="3"/>
                    </a:cubicBezTo>
                    <a:cubicBezTo>
                      <a:pt x="17" y="3"/>
                      <a:pt x="17" y="5"/>
                      <a:pt x="18" y="6"/>
                    </a:cubicBezTo>
                    <a:cubicBezTo>
                      <a:pt x="19" y="9"/>
                      <a:pt x="21" y="13"/>
                      <a:pt x="20" y="15"/>
                    </a:cubicBezTo>
                    <a:cubicBezTo>
                      <a:pt x="19" y="17"/>
                      <a:pt x="15" y="9"/>
                      <a:pt x="13" y="8"/>
                    </a:cubicBezTo>
                    <a:cubicBezTo>
                      <a:pt x="12" y="8"/>
                      <a:pt x="14" y="13"/>
                      <a:pt x="13" y="13"/>
                    </a:cubicBezTo>
                    <a:cubicBezTo>
                      <a:pt x="12" y="12"/>
                      <a:pt x="10" y="10"/>
                      <a:pt x="10" y="9"/>
                    </a:cubicBezTo>
                    <a:cubicBezTo>
                      <a:pt x="9" y="7"/>
                      <a:pt x="11" y="7"/>
                      <a:pt x="10" y="6"/>
                    </a:cubicBezTo>
                    <a:cubicBezTo>
                      <a:pt x="9" y="4"/>
                      <a:pt x="8" y="2"/>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65"/>
              <p:cNvSpPr>
                <a:spLocks/>
              </p:cNvSpPr>
              <p:nvPr/>
            </p:nvSpPr>
            <p:spPr bwMode="auto">
              <a:xfrm>
                <a:off x="3046413" y="4576763"/>
                <a:ext cx="17463" cy="7938"/>
              </a:xfrm>
              <a:custGeom>
                <a:avLst/>
                <a:gdLst>
                  <a:gd name="T0" fmla="*/ 3 w 22"/>
                  <a:gd name="T1" fmla="*/ 6 h 9"/>
                  <a:gd name="T2" fmla="*/ 9 w 22"/>
                  <a:gd name="T3" fmla="*/ 7 h 9"/>
                  <a:gd name="T4" fmla="*/ 17 w 22"/>
                  <a:gd name="T5" fmla="*/ 9 h 9"/>
                  <a:gd name="T6" fmla="*/ 21 w 22"/>
                  <a:gd name="T7" fmla="*/ 7 h 9"/>
                  <a:gd name="T8" fmla="*/ 13 w 22"/>
                  <a:gd name="T9" fmla="*/ 5 h 9"/>
                  <a:gd name="T10" fmla="*/ 4 w 22"/>
                  <a:gd name="T11" fmla="*/ 0 h 9"/>
                  <a:gd name="T12" fmla="*/ 3 w 22"/>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3" y="6"/>
                    </a:moveTo>
                    <a:cubicBezTo>
                      <a:pt x="4" y="7"/>
                      <a:pt x="7" y="7"/>
                      <a:pt x="9" y="7"/>
                    </a:cubicBezTo>
                    <a:cubicBezTo>
                      <a:pt x="12" y="8"/>
                      <a:pt x="14" y="9"/>
                      <a:pt x="17" y="9"/>
                    </a:cubicBezTo>
                    <a:cubicBezTo>
                      <a:pt x="18" y="9"/>
                      <a:pt x="22" y="9"/>
                      <a:pt x="21" y="7"/>
                    </a:cubicBezTo>
                    <a:cubicBezTo>
                      <a:pt x="20" y="5"/>
                      <a:pt x="16" y="6"/>
                      <a:pt x="13" y="5"/>
                    </a:cubicBezTo>
                    <a:cubicBezTo>
                      <a:pt x="9" y="5"/>
                      <a:pt x="9" y="1"/>
                      <a:pt x="4" y="0"/>
                    </a:cubicBezTo>
                    <a:cubicBezTo>
                      <a:pt x="0" y="0"/>
                      <a:pt x="0" y="4"/>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66"/>
              <p:cNvSpPr>
                <a:spLocks/>
              </p:cNvSpPr>
              <p:nvPr/>
            </p:nvSpPr>
            <p:spPr bwMode="auto">
              <a:xfrm>
                <a:off x="3059113" y="4560888"/>
                <a:ext cx="4763" cy="6350"/>
              </a:xfrm>
              <a:custGeom>
                <a:avLst/>
                <a:gdLst>
                  <a:gd name="T0" fmla="*/ 8 w 8"/>
                  <a:gd name="T1" fmla="*/ 5 h 7"/>
                  <a:gd name="T2" fmla="*/ 8 w 8"/>
                  <a:gd name="T3" fmla="*/ 2 h 7"/>
                  <a:gd name="T4" fmla="*/ 3 w 8"/>
                  <a:gd name="T5" fmla="*/ 4 h 7"/>
                  <a:gd name="T6" fmla="*/ 8 w 8"/>
                  <a:gd name="T7" fmla="*/ 5 h 7"/>
                </a:gdLst>
                <a:ahLst/>
                <a:cxnLst>
                  <a:cxn ang="0">
                    <a:pos x="T0" y="T1"/>
                  </a:cxn>
                  <a:cxn ang="0">
                    <a:pos x="T2" y="T3"/>
                  </a:cxn>
                  <a:cxn ang="0">
                    <a:pos x="T4" y="T5"/>
                  </a:cxn>
                  <a:cxn ang="0">
                    <a:pos x="T6" y="T7"/>
                  </a:cxn>
                </a:cxnLst>
                <a:rect l="0" t="0" r="r" b="b"/>
                <a:pathLst>
                  <a:path w="8" h="7">
                    <a:moveTo>
                      <a:pt x="8" y="5"/>
                    </a:moveTo>
                    <a:cubicBezTo>
                      <a:pt x="8" y="5"/>
                      <a:pt x="8" y="2"/>
                      <a:pt x="8" y="2"/>
                    </a:cubicBezTo>
                    <a:cubicBezTo>
                      <a:pt x="4" y="0"/>
                      <a:pt x="0" y="0"/>
                      <a:pt x="3" y="4"/>
                    </a:cubicBezTo>
                    <a:cubicBezTo>
                      <a:pt x="4" y="5"/>
                      <a:pt x="7" y="7"/>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67"/>
              <p:cNvSpPr>
                <a:spLocks/>
              </p:cNvSpPr>
              <p:nvPr/>
            </p:nvSpPr>
            <p:spPr bwMode="auto">
              <a:xfrm>
                <a:off x="3051176" y="4573588"/>
                <a:ext cx="9525" cy="6350"/>
              </a:xfrm>
              <a:custGeom>
                <a:avLst/>
                <a:gdLst>
                  <a:gd name="T0" fmla="*/ 1 w 12"/>
                  <a:gd name="T1" fmla="*/ 3 h 9"/>
                  <a:gd name="T2" fmla="*/ 11 w 12"/>
                  <a:gd name="T3" fmla="*/ 6 h 9"/>
                  <a:gd name="T4" fmla="*/ 1 w 12"/>
                  <a:gd name="T5" fmla="*/ 3 h 9"/>
                </a:gdLst>
                <a:ahLst/>
                <a:cxnLst>
                  <a:cxn ang="0">
                    <a:pos x="T0" y="T1"/>
                  </a:cxn>
                  <a:cxn ang="0">
                    <a:pos x="T2" y="T3"/>
                  </a:cxn>
                  <a:cxn ang="0">
                    <a:pos x="T4" y="T5"/>
                  </a:cxn>
                </a:cxnLst>
                <a:rect l="0" t="0" r="r" b="b"/>
                <a:pathLst>
                  <a:path w="12" h="9">
                    <a:moveTo>
                      <a:pt x="1" y="3"/>
                    </a:moveTo>
                    <a:cubicBezTo>
                      <a:pt x="1" y="6"/>
                      <a:pt x="9" y="9"/>
                      <a:pt x="11" y="6"/>
                    </a:cubicBezTo>
                    <a:cubicBezTo>
                      <a:pt x="12" y="1"/>
                      <a:pt x="0" y="0"/>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68"/>
              <p:cNvSpPr>
                <a:spLocks/>
              </p:cNvSpPr>
              <p:nvPr/>
            </p:nvSpPr>
            <p:spPr bwMode="auto">
              <a:xfrm>
                <a:off x="3167063" y="4713288"/>
                <a:ext cx="3175" cy="3175"/>
              </a:xfrm>
              <a:custGeom>
                <a:avLst/>
                <a:gdLst>
                  <a:gd name="T0" fmla="*/ 1 w 5"/>
                  <a:gd name="T1" fmla="*/ 1 h 5"/>
                  <a:gd name="T2" fmla="*/ 1 w 5"/>
                  <a:gd name="T3" fmla="*/ 4 h 5"/>
                  <a:gd name="T4" fmla="*/ 4 w 5"/>
                  <a:gd name="T5" fmla="*/ 4 h 5"/>
                  <a:gd name="T6" fmla="*/ 3 w 5"/>
                  <a:gd name="T7" fmla="*/ 2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2"/>
                      <a:pt x="1" y="3"/>
                      <a:pt x="1" y="4"/>
                    </a:cubicBezTo>
                    <a:cubicBezTo>
                      <a:pt x="1" y="4"/>
                      <a:pt x="4" y="5"/>
                      <a:pt x="4" y="4"/>
                    </a:cubicBezTo>
                    <a:cubicBezTo>
                      <a:pt x="5" y="3"/>
                      <a:pt x="4" y="2"/>
                      <a:pt x="3" y="2"/>
                    </a:cubicBezTo>
                    <a:cubicBezTo>
                      <a:pt x="3"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69"/>
              <p:cNvSpPr>
                <a:spLocks/>
              </p:cNvSpPr>
              <p:nvPr/>
            </p:nvSpPr>
            <p:spPr bwMode="auto">
              <a:xfrm>
                <a:off x="3048001" y="4562475"/>
                <a:ext cx="6350" cy="4763"/>
              </a:xfrm>
              <a:custGeom>
                <a:avLst/>
                <a:gdLst>
                  <a:gd name="T0" fmla="*/ 5 w 9"/>
                  <a:gd name="T1" fmla="*/ 1 h 6"/>
                  <a:gd name="T2" fmla="*/ 6 w 9"/>
                  <a:gd name="T3" fmla="*/ 5 h 6"/>
                  <a:gd name="T4" fmla="*/ 8 w 9"/>
                  <a:gd name="T5" fmla="*/ 2 h 6"/>
                  <a:gd name="T6" fmla="*/ 5 w 9"/>
                  <a:gd name="T7" fmla="*/ 1 h 6"/>
                </a:gdLst>
                <a:ahLst/>
                <a:cxnLst>
                  <a:cxn ang="0">
                    <a:pos x="T0" y="T1"/>
                  </a:cxn>
                  <a:cxn ang="0">
                    <a:pos x="T2" y="T3"/>
                  </a:cxn>
                  <a:cxn ang="0">
                    <a:pos x="T4" y="T5"/>
                  </a:cxn>
                  <a:cxn ang="0">
                    <a:pos x="T6" y="T7"/>
                  </a:cxn>
                </a:cxnLst>
                <a:rect l="0" t="0" r="r" b="b"/>
                <a:pathLst>
                  <a:path w="9" h="6">
                    <a:moveTo>
                      <a:pt x="5" y="1"/>
                    </a:moveTo>
                    <a:cubicBezTo>
                      <a:pt x="0" y="0"/>
                      <a:pt x="2" y="6"/>
                      <a:pt x="6" y="5"/>
                    </a:cubicBezTo>
                    <a:cubicBezTo>
                      <a:pt x="9" y="5"/>
                      <a:pt x="8" y="3"/>
                      <a:pt x="8" y="2"/>
                    </a:cubicBezTo>
                    <a:cubicBezTo>
                      <a:pt x="8"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70"/>
              <p:cNvSpPr>
                <a:spLocks/>
              </p:cNvSpPr>
              <p:nvPr/>
            </p:nvSpPr>
            <p:spPr bwMode="auto">
              <a:xfrm>
                <a:off x="3095626" y="4567238"/>
                <a:ext cx="4763" cy="4763"/>
              </a:xfrm>
              <a:custGeom>
                <a:avLst/>
                <a:gdLst>
                  <a:gd name="T0" fmla="*/ 6 w 7"/>
                  <a:gd name="T1" fmla="*/ 5 h 6"/>
                  <a:gd name="T2" fmla="*/ 4 w 7"/>
                  <a:gd name="T3" fmla="*/ 1 h 6"/>
                  <a:gd name="T4" fmla="*/ 4 w 7"/>
                  <a:gd name="T5" fmla="*/ 1 h 6"/>
                  <a:gd name="T6" fmla="*/ 2 w 7"/>
                  <a:gd name="T7" fmla="*/ 5 h 6"/>
                  <a:gd name="T8" fmla="*/ 6 w 7"/>
                  <a:gd name="T9" fmla="*/ 5 h 6"/>
                </a:gdLst>
                <a:ahLst/>
                <a:cxnLst>
                  <a:cxn ang="0">
                    <a:pos x="T0" y="T1"/>
                  </a:cxn>
                  <a:cxn ang="0">
                    <a:pos x="T2" y="T3"/>
                  </a:cxn>
                  <a:cxn ang="0">
                    <a:pos x="T4" y="T5"/>
                  </a:cxn>
                  <a:cxn ang="0">
                    <a:pos x="T6" y="T7"/>
                  </a:cxn>
                  <a:cxn ang="0">
                    <a:pos x="T8" y="T9"/>
                  </a:cxn>
                </a:cxnLst>
                <a:rect l="0" t="0" r="r" b="b"/>
                <a:pathLst>
                  <a:path w="7" h="6">
                    <a:moveTo>
                      <a:pt x="6" y="5"/>
                    </a:moveTo>
                    <a:cubicBezTo>
                      <a:pt x="7" y="3"/>
                      <a:pt x="6" y="2"/>
                      <a:pt x="4" y="1"/>
                    </a:cubicBezTo>
                    <a:cubicBezTo>
                      <a:pt x="4" y="1"/>
                      <a:pt x="4" y="1"/>
                      <a:pt x="4" y="1"/>
                    </a:cubicBezTo>
                    <a:cubicBezTo>
                      <a:pt x="0" y="0"/>
                      <a:pt x="0" y="4"/>
                      <a:pt x="2" y="5"/>
                    </a:cubicBezTo>
                    <a:cubicBezTo>
                      <a:pt x="4" y="6"/>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71"/>
              <p:cNvSpPr>
                <a:spLocks/>
              </p:cNvSpPr>
              <p:nvPr/>
            </p:nvSpPr>
            <p:spPr bwMode="auto">
              <a:xfrm>
                <a:off x="3043238" y="4572000"/>
                <a:ext cx="6350" cy="3175"/>
              </a:xfrm>
              <a:custGeom>
                <a:avLst/>
                <a:gdLst>
                  <a:gd name="T0" fmla="*/ 2 w 8"/>
                  <a:gd name="T1" fmla="*/ 0 h 5"/>
                  <a:gd name="T2" fmla="*/ 1 w 8"/>
                  <a:gd name="T3" fmla="*/ 3 h 5"/>
                  <a:gd name="T4" fmla="*/ 6 w 8"/>
                  <a:gd name="T5" fmla="*/ 5 h 5"/>
                  <a:gd name="T6" fmla="*/ 7 w 8"/>
                  <a:gd name="T7" fmla="*/ 2 h 5"/>
                  <a:gd name="T8" fmla="*/ 2 w 8"/>
                  <a:gd name="T9" fmla="*/ 0 h 5"/>
                </a:gdLst>
                <a:ahLst/>
                <a:cxnLst>
                  <a:cxn ang="0">
                    <a:pos x="T0" y="T1"/>
                  </a:cxn>
                  <a:cxn ang="0">
                    <a:pos x="T2" y="T3"/>
                  </a:cxn>
                  <a:cxn ang="0">
                    <a:pos x="T4" y="T5"/>
                  </a:cxn>
                  <a:cxn ang="0">
                    <a:pos x="T6" y="T7"/>
                  </a:cxn>
                  <a:cxn ang="0">
                    <a:pos x="T8" y="T9"/>
                  </a:cxn>
                </a:cxnLst>
                <a:rect l="0" t="0" r="r" b="b"/>
                <a:pathLst>
                  <a:path w="8" h="5">
                    <a:moveTo>
                      <a:pt x="2" y="0"/>
                    </a:moveTo>
                    <a:cubicBezTo>
                      <a:pt x="0" y="0"/>
                      <a:pt x="0" y="2"/>
                      <a:pt x="1" y="3"/>
                    </a:cubicBezTo>
                    <a:cubicBezTo>
                      <a:pt x="2" y="4"/>
                      <a:pt x="4" y="5"/>
                      <a:pt x="6" y="5"/>
                    </a:cubicBezTo>
                    <a:cubicBezTo>
                      <a:pt x="8" y="5"/>
                      <a:pt x="7" y="3"/>
                      <a:pt x="7" y="2"/>
                    </a:cubicBezTo>
                    <a:cubicBezTo>
                      <a:pt x="5" y="2"/>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72"/>
              <p:cNvSpPr>
                <a:spLocks/>
              </p:cNvSpPr>
              <p:nvPr/>
            </p:nvSpPr>
            <p:spPr bwMode="auto">
              <a:xfrm>
                <a:off x="3162301" y="4708525"/>
                <a:ext cx="6350" cy="4763"/>
              </a:xfrm>
              <a:custGeom>
                <a:avLst/>
                <a:gdLst>
                  <a:gd name="T0" fmla="*/ 5 w 7"/>
                  <a:gd name="T1" fmla="*/ 1 h 5"/>
                  <a:gd name="T2" fmla="*/ 3 w 7"/>
                  <a:gd name="T3" fmla="*/ 2 h 5"/>
                  <a:gd name="T4" fmla="*/ 2 w 7"/>
                  <a:gd name="T5" fmla="*/ 4 h 5"/>
                  <a:gd name="T6" fmla="*/ 6 w 7"/>
                  <a:gd name="T7" fmla="*/ 5 h 5"/>
                  <a:gd name="T8" fmla="*/ 6 w 7"/>
                  <a:gd name="T9" fmla="*/ 3 h 5"/>
                  <a:gd name="T10" fmla="*/ 5 w 7"/>
                  <a:gd name="T11" fmla="*/ 2 h 5"/>
                  <a:gd name="T12" fmla="*/ 5 w 7"/>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5" y="1"/>
                    </a:moveTo>
                    <a:cubicBezTo>
                      <a:pt x="3" y="0"/>
                      <a:pt x="0" y="2"/>
                      <a:pt x="3" y="2"/>
                    </a:cubicBezTo>
                    <a:cubicBezTo>
                      <a:pt x="4" y="3"/>
                      <a:pt x="2" y="4"/>
                      <a:pt x="2" y="4"/>
                    </a:cubicBezTo>
                    <a:cubicBezTo>
                      <a:pt x="2" y="5"/>
                      <a:pt x="6" y="5"/>
                      <a:pt x="6" y="5"/>
                    </a:cubicBezTo>
                    <a:cubicBezTo>
                      <a:pt x="7" y="4"/>
                      <a:pt x="6" y="3"/>
                      <a:pt x="6" y="3"/>
                    </a:cubicBezTo>
                    <a:cubicBezTo>
                      <a:pt x="5" y="2"/>
                      <a:pt x="5" y="2"/>
                      <a:pt x="5" y="2"/>
                    </a:cubicBezTo>
                    <a:cubicBezTo>
                      <a:pt x="5"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73"/>
              <p:cNvSpPr>
                <a:spLocks/>
              </p:cNvSpPr>
              <p:nvPr/>
            </p:nvSpPr>
            <p:spPr bwMode="auto">
              <a:xfrm>
                <a:off x="3132138" y="4456113"/>
                <a:ext cx="11113" cy="7938"/>
              </a:xfrm>
              <a:custGeom>
                <a:avLst/>
                <a:gdLst>
                  <a:gd name="T0" fmla="*/ 11 w 15"/>
                  <a:gd name="T1" fmla="*/ 3 h 9"/>
                  <a:gd name="T2" fmla="*/ 3 w 15"/>
                  <a:gd name="T3" fmla="*/ 2 h 9"/>
                  <a:gd name="T4" fmla="*/ 2 w 15"/>
                  <a:gd name="T5" fmla="*/ 4 h 9"/>
                  <a:gd name="T6" fmla="*/ 8 w 15"/>
                  <a:gd name="T7" fmla="*/ 4 h 9"/>
                  <a:gd name="T8" fmla="*/ 13 w 15"/>
                  <a:gd name="T9" fmla="*/ 8 h 9"/>
                  <a:gd name="T10" fmla="*/ 14 w 15"/>
                  <a:gd name="T11" fmla="*/ 4 h 9"/>
                  <a:gd name="T12" fmla="*/ 11 w 1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1" y="3"/>
                    </a:moveTo>
                    <a:cubicBezTo>
                      <a:pt x="11" y="0"/>
                      <a:pt x="5" y="1"/>
                      <a:pt x="3" y="2"/>
                    </a:cubicBezTo>
                    <a:cubicBezTo>
                      <a:pt x="1" y="2"/>
                      <a:pt x="0" y="3"/>
                      <a:pt x="2" y="4"/>
                    </a:cubicBezTo>
                    <a:cubicBezTo>
                      <a:pt x="4" y="4"/>
                      <a:pt x="6" y="4"/>
                      <a:pt x="8" y="4"/>
                    </a:cubicBezTo>
                    <a:cubicBezTo>
                      <a:pt x="10" y="4"/>
                      <a:pt x="10" y="9"/>
                      <a:pt x="13" y="8"/>
                    </a:cubicBezTo>
                    <a:cubicBezTo>
                      <a:pt x="14" y="7"/>
                      <a:pt x="15" y="5"/>
                      <a:pt x="14" y="4"/>
                    </a:cubicBezTo>
                    <a:cubicBezTo>
                      <a:pt x="13" y="3"/>
                      <a:pt x="10"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74"/>
              <p:cNvSpPr>
                <a:spLocks/>
              </p:cNvSpPr>
              <p:nvPr/>
            </p:nvSpPr>
            <p:spPr bwMode="auto">
              <a:xfrm>
                <a:off x="3127376" y="4495800"/>
                <a:ext cx="14288" cy="3175"/>
              </a:xfrm>
              <a:custGeom>
                <a:avLst/>
                <a:gdLst>
                  <a:gd name="T0" fmla="*/ 10 w 18"/>
                  <a:gd name="T1" fmla="*/ 2 h 6"/>
                  <a:gd name="T2" fmla="*/ 3 w 18"/>
                  <a:gd name="T3" fmla="*/ 0 h 6"/>
                  <a:gd name="T4" fmla="*/ 3 w 18"/>
                  <a:gd name="T5" fmla="*/ 4 h 6"/>
                  <a:gd name="T6" fmla="*/ 7 w 18"/>
                  <a:gd name="T7" fmla="*/ 5 h 6"/>
                  <a:gd name="T8" fmla="*/ 12 w 18"/>
                  <a:gd name="T9" fmla="*/ 5 h 6"/>
                  <a:gd name="T10" fmla="*/ 18 w 18"/>
                  <a:gd name="T11" fmla="*/ 3 h 6"/>
                  <a:gd name="T12" fmla="*/ 10 w 1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0" y="2"/>
                    </a:moveTo>
                    <a:cubicBezTo>
                      <a:pt x="7" y="2"/>
                      <a:pt x="6" y="1"/>
                      <a:pt x="3" y="0"/>
                    </a:cubicBezTo>
                    <a:cubicBezTo>
                      <a:pt x="1" y="0"/>
                      <a:pt x="0" y="4"/>
                      <a:pt x="3" y="4"/>
                    </a:cubicBezTo>
                    <a:cubicBezTo>
                      <a:pt x="5" y="4"/>
                      <a:pt x="5" y="5"/>
                      <a:pt x="7" y="5"/>
                    </a:cubicBezTo>
                    <a:cubicBezTo>
                      <a:pt x="8" y="5"/>
                      <a:pt x="10" y="5"/>
                      <a:pt x="12" y="5"/>
                    </a:cubicBezTo>
                    <a:cubicBezTo>
                      <a:pt x="14" y="5"/>
                      <a:pt x="18" y="6"/>
                      <a:pt x="18" y="3"/>
                    </a:cubicBezTo>
                    <a:cubicBezTo>
                      <a:pt x="16" y="1"/>
                      <a:pt x="13"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75"/>
              <p:cNvSpPr>
                <a:spLocks/>
              </p:cNvSpPr>
              <p:nvPr/>
            </p:nvSpPr>
            <p:spPr bwMode="auto">
              <a:xfrm>
                <a:off x="3186113" y="4527550"/>
                <a:ext cx="9525" cy="4763"/>
              </a:xfrm>
              <a:custGeom>
                <a:avLst/>
                <a:gdLst>
                  <a:gd name="T0" fmla="*/ 2 w 13"/>
                  <a:gd name="T1" fmla="*/ 3 h 6"/>
                  <a:gd name="T2" fmla="*/ 8 w 13"/>
                  <a:gd name="T3" fmla="*/ 6 h 6"/>
                  <a:gd name="T4" fmla="*/ 11 w 13"/>
                  <a:gd name="T5" fmla="*/ 5 h 6"/>
                  <a:gd name="T6" fmla="*/ 11 w 13"/>
                  <a:gd name="T7" fmla="*/ 3 h 6"/>
                  <a:gd name="T8" fmla="*/ 5 w 13"/>
                  <a:gd name="T9" fmla="*/ 1 h 6"/>
                  <a:gd name="T10" fmla="*/ 2 w 13"/>
                  <a:gd name="T11" fmla="*/ 3 h 6"/>
                </a:gdLst>
                <a:ahLst/>
                <a:cxnLst>
                  <a:cxn ang="0">
                    <a:pos x="T0" y="T1"/>
                  </a:cxn>
                  <a:cxn ang="0">
                    <a:pos x="T2" y="T3"/>
                  </a:cxn>
                  <a:cxn ang="0">
                    <a:pos x="T4" y="T5"/>
                  </a:cxn>
                  <a:cxn ang="0">
                    <a:pos x="T6" y="T7"/>
                  </a:cxn>
                  <a:cxn ang="0">
                    <a:pos x="T8" y="T9"/>
                  </a:cxn>
                  <a:cxn ang="0">
                    <a:pos x="T10" y="T11"/>
                  </a:cxn>
                </a:cxnLst>
                <a:rect l="0" t="0" r="r" b="b"/>
                <a:pathLst>
                  <a:path w="13" h="6">
                    <a:moveTo>
                      <a:pt x="2" y="3"/>
                    </a:moveTo>
                    <a:cubicBezTo>
                      <a:pt x="4" y="4"/>
                      <a:pt x="5" y="6"/>
                      <a:pt x="8" y="6"/>
                    </a:cubicBezTo>
                    <a:cubicBezTo>
                      <a:pt x="9" y="6"/>
                      <a:pt x="10" y="5"/>
                      <a:pt x="11" y="5"/>
                    </a:cubicBezTo>
                    <a:cubicBezTo>
                      <a:pt x="13" y="5"/>
                      <a:pt x="13" y="3"/>
                      <a:pt x="11" y="3"/>
                    </a:cubicBezTo>
                    <a:cubicBezTo>
                      <a:pt x="8" y="4"/>
                      <a:pt x="7" y="2"/>
                      <a:pt x="5" y="1"/>
                    </a:cubicBezTo>
                    <a:cubicBezTo>
                      <a:pt x="2"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76"/>
              <p:cNvSpPr>
                <a:spLocks/>
              </p:cNvSpPr>
              <p:nvPr/>
            </p:nvSpPr>
            <p:spPr bwMode="auto">
              <a:xfrm>
                <a:off x="3095626" y="4468813"/>
                <a:ext cx="3175" cy="3175"/>
              </a:xfrm>
              <a:custGeom>
                <a:avLst/>
                <a:gdLst>
                  <a:gd name="T0" fmla="*/ 5 w 5"/>
                  <a:gd name="T1" fmla="*/ 2 h 3"/>
                  <a:gd name="T2" fmla="*/ 2 w 5"/>
                  <a:gd name="T3" fmla="*/ 2 h 3"/>
                  <a:gd name="T4" fmla="*/ 5 w 5"/>
                  <a:gd name="T5" fmla="*/ 2 h 3"/>
                </a:gdLst>
                <a:ahLst/>
                <a:cxnLst>
                  <a:cxn ang="0">
                    <a:pos x="T0" y="T1"/>
                  </a:cxn>
                  <a:cxn ang="0">
                    <a:pos x="T2" y="T3"/>
                  </a:cxn>
                  <a:cxn ang="0">
                    <a:pos x="T4" y="T5"/>
                  </a:cxn>
                </a:cxnLst>
                <a:rect l="0" t="0" r="r" b="b"/>
                <a:pathLst>
                  <a:path w="5" h="3">
                    <a:moveTo>
                      <a:pt x="5" y="2"/>
                    </a:moveTo>
                    <a:cubicBezTo>
                      <a:pt x="5" y="0"/>
                      <a:pt x="0" y="2"/>
                      <a:pt x="2" y="2"/>
                    </a:cubicBezTo>
                    <a:cubicBezTo>
                      <a:pt x="3" y="2"/>
                      <a:pt x="5" y="3"/>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77"/>
              <p:cNvSpPr>
                <a:spLocks/>
              </p:cNvSpPr>
              <p:nvPr/>
            </p:nvSpPr>
            <p:spPr bwMode="auto">
              <a:xfrm>
                <a:off x="3151188" y="4476750"/>
                <a:ext cx="41275" cy="19050"/>
              </a:xfrm>
              <a:custGeom>
                <a:avLst/>
                <a:gdLst>
                  <a:gd name="T0" fmla="*/ 52 w 56"/>
                  <a:gd name="T1" fmla="*/ 6 h 25"/>
                  <a:gd name="T2" fmla="*/ 48 w 56"/>
                  <a:gd name="T3" fmla="*/ 6 h 25"/>
                  <a:gd name="T4" fmla="*/ 45 w 56"/>
                  <a:gd name="T5" fmla="*/ 3 h 25"/>
                  <a:gd name="T6" fmla="*/ 41 w 56"/>
                  <a:gd name="T7" fmla="*/ 1 h 25"/>
                  <a:gd name="T8" fmla="*/ 27 w 56"/>
                  <a:gd name="T9" fmla="*/ 4 h 25"/>
                  <a:gd name="T10" fmla="*/ 21 w 56"/>
                  <a:gd name="T11" fmla="*/ 4 h 25"/>
                  <a:gd name="T12" fmla="*/ 15 w 56"/>
                  <a:gd name="T13" fmla="*/ 5 h 25"/>
                  <a:gd name="T14" fmla="*/ 15 w 56"/>
                  <a:gd name="T15" fmla="*/ 11 h 25"/>
                  <a:gd name="T16" fmla="*/ 18 w 56"/>
                  <a:gd name="T17" fmla="*/ 16 h 25"/>
                  <a:gd name="T18" fmla="*/ 13 w 56"/>
                  <a:gd name="T19" fmla="*/ 18 h 25"/>
                  <a:gd name="T20" fmla="*/ 6 w 56"/>
                  <a:gd name="T21" fmla="*/ 21 h 25"/>
                  <a:gd name="T22" fmla="*/ 3 w 56"/>
                  <a:gd name="T23" fmla="*/ 24 h 25"/>
                  <a:gd name="T24" fmla="*/ 19 w 56"/>
                  <a:gd name="T25" fmla="*/ 21 h 25"/>
                  <a:gd name="T26" fmla="*/ 28 w 56"/>
                  <a:gd name="T27" fmla="*/ 20 h 25"/>
                  <a:gd name="T28" fmla="*/ 33 w 56"/>
                  <a:gd name="T29" fmla="*/ 15 h 25"/>
                  <a:gd name="T30" fmla="*/ 35 w 56"/>
                  <a:gd name="T31" fmla="*/ 13 h 25"/>
                  <a:gd name="T32" fmla="*/ 39 w 56"/>
                  <a:gd name="T33" fmla="*/ 12 h 25"/>
                  <a:gd name="T34" fmla="*/ 48 w 56"/>
                  <a:gd name="T35" fmla="*/ 10 h 25"/>
                  <a:gd name="T36" fmla="*/ 52 w 56"/>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25">
                    <a:moveTo>
                      <a:pt x="52" y="6"/>
                    </a:moveTo>
                    <a:cubicBezTo>
                      <a:pt x="51" y="6"/>
                      <a:pt x="49" y="6"/>
                      <a:pt x="48" y="6"/>
                    </a:cubicBezTo>
                    <a:cubicBezTo>
                      <a:pt x="46" y="6"/>
                      <a:pt x="46" y="4"/>
                      <a:pt x="45" y="3"/>
                    </a:cubicBezTo>
                    <a:cubicBezTo>
                      <a:pt x="43" y="3"/>
                      <a:pt x="43" y="0"/>
                      <a:pt x="41" y="1"/>
                    </a:cubicBezTo>
                    <a:cubicBezTo>
                      <a:pt x="36" y="2"/>
                      <a:pt x="32" y="4"/>
                      <a:pt x="27" y="4"/>
                    </a:cubicBezTo>
                    <a:cubicBezTo>
                      <a:pt x="25" y="5"/>
                      <a:pt x="23" y="4"/>
                      <a:pt x="21" y="4"/>
                    </a:cubicBezTo>
                    <a:cubicBezTo>
                      <a:pt x="19" y="4"/>
                      <a:pt x="18" y="5"/>
                      <a:pt x="15" y="5"/>
                    </a:cubicBezTo>
                    <a:cubicBezTo>
                      <a:pt x="15" y="6"/>
                      <a:pt x="14" y="10"/>
                      <a:pt x="15" y="11"/>
                    </a:cubicBezTo>
                    <a:cubicBezTo>
                      <a:pt x="16" y="13"/>
                      <a:pt x="17" y="14"/>
                      <a:pt x="18" y="16"/>
                    </a:cubicBezTo>
                    <a:cubicBezTo>
                      <a:pt x="18" y="18"/>
                      <a:pt x="15" y="17"/>
                      <a:pt x="13" y="18"/>
                    </a:cubicBezTo>
                    <a:cubicBezTo>
                      <a:pt x="9" y="20"/>
                      <a:pt x="10" y="22"/>
                      <a:pt x="6" y="21"/>
                    </a:cubicBezTo>
                    <a:cubicBezTo>
                      <a:pt x="3" y="21"/>
                      <a:pt x="0" y="24"/>
                      <a:pt x="3" y="24"/>
                    </a:cubicBezTo>
                    <a:cubicBezTo>
                      <a:pt x="9" y="24"/>
                      <a:pt x="14" y="25"/>
                      <a:pt x="19" y="21"/>
                    </a:cubicBezTo>
                    <a:cubicBezTo>
                      <a:pt x="22" y="19"/>
                      <a:pt x="25" y="21"/>
                      <a:pt x="28" y="20"/>
                    </a:cubicBezTo>
                    <a:cubicBezTo>
                      <a:pt x="31" y="20"/>
                      <a:pt x="30" y="17"/>
                      <a:pt x="33" y="15"/>
                    </a:cubicBezTo>
                    <a:cubicBezTo>
                      <a:pt x="35" y="15"/>
                      <a:pt x="34" y="14"/>
                      <a:pt x="35" y="13"/>
                    </a:cubicBezTo>
                    <a:cubicBezTo>
                      <a:pt x="36" y="12"/>
                      <a:pt x="38" y="12"/>
                      <a:pt x="39" y="12"/>
                    </a:cubicBezTo>
                    <a:cubicBezTo>
                      <a:pt x="42" y="13"/>
                      <a:pt x="45" y="10"/>
                      <a:pt x="48" y="10"/>
                    </a:cubicBezTo>
                    <a:cubicBezTo>
                      <a:pt x="49" y="9"/>
                      <a:pt x="56" y="7"/>
                      <a:pt x="5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78"/>
              <p:cNvSpPr>
                <a:spLocks/>
              </p:cNvSpPr>
              <p:nvPr/>
            </p:nvSpPr>
            <p:spPr bwMode="auto">
              <a:xfrm>
                <a:off x="3162301" y="4714875"/>
                <a:ext cx="3175" cy="1588"/>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1" y="2"/>
                      <a:pt x="4" y="2"/>
                      <a:pt x="4" y="1"/>
                    </a:cubicBezTo>
                    <a:cubicBezTo>
                      <a:pt x="4"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79"/>
              <p:cNvSpPr>
                <a:spLocks/>
              </p:cNvSpPr>
              <p:nvPr/>
            </p:nvSpPr>
            <p:spPr bwMode="auto">
              <a:xfrm>
                <a:off x="3100388" y="4465638"/>
                <a:ext cx="12700" cy="6350"/>
              </a:xfrm>
              <a:custGeom>
                <a:avLst/>
                <a:gdLst>
                  <a:gd name="T0" fmla="*/ 14 w 18"/>
                  <a:gd name="T1" fmla="*/ 5 h 10"/>
                  <a:gd name="T2" fmla="*/ 16 w 18"/>
                  <a:gd name="T3" fmla="*/ 0 h 10"/>
                  <a:gd name="T4" fmla="*/ 13 w 18"/>
                  <a:gd name="T5" fmla="*/ 4 h 10"/>
                  <a:gd name="T6" fmla="*/ 7 w 18"/>
                  <a:gd name="T7" fmla="*/ 6 h 10"/>
                  <a:gd name="T8" fmla="*/ 1 w 18"/>
                  <a:gd name="T9" fmla="*/ 8 h 10"/>
                  <a:gd name="T10" fmla="*/ 14 w 18"/>
                  <a:gd name="T11" fmla="*/ 5 h 10"/>
                </a:gdLst>
                <a:ahLst/>
                <a:cxnLst>
                  <a:cxn ang="0">
                    <a:pos x="T0" y="T1"/>
                  </a:cxn>
                  <a:cxn ang="0">
                    <a:pos x="T2" y="T3"/>
                  </a:cxn>
                  <a:cxn ang="0">
                    <a:pos x="T4" y="T5"/>
                  </a:cxn>
                  <a:cxn ang="0">
                    <a:pos x="T6" y="T7"/>
                  </a:cxn>
                  <a:cxn ang="0">
                    <a:pos x="T8" y="T9"/>
                  </a:cxn>
                  <a:cxn ang="0">
                    <a:pos x="T10" y="T11"/>
                  </a:cxn>
                </a:cxnLst>
                <a:rect l="0" t="0" r="r" b="b"/>
                <a:pathLst>
                  <a:path w="18" h="10">
                    <a:moveTo>
                      <a:pt x="14" y="5"/>
                    </a:moveTo>
                    <a:cubicBezTo>
                      <a:pt x="15" y="4"/>
                      <a:pt x="18" y="1"/>
                      <a:pt x="16" y="0"/>
                    </a:cubicBezTo>
                    <a:cubicBezTo>
                      <a:pt x="15" y="0"/>
                      <a:pt x="14" y="3"/>
                      <a:pt x="13" y="4"/>
                    </a:cubicBezTo>
                    <a:cubicBezTo>
                      <a:pt x="12" y="5"/>
                      <a:pt x="9" y="6"/>
                      <a:pt x="7" y="6"/>
                    </a:cubicBezTo>
                    <a:cubicBezTo>
                      <a:pt x="7" y="6"/>
                      <a:pt x="0" y="6"/>
                      <a:pt x="1" y="8"/>
                    </a:cubicBezTo>
                    <a:cubicBezTo>
                      <a:pt x="3" y="10"/>
                      <a:pt x="13" y="6"/>
                      <a:pt x="1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80"/>
              <p:cNvSpPr>
                <a:spLocks/>
              </p:cNvSpPr>
              <p:nvPr/>
            </p:nvSpPr>
            <p:spPr bwMode="auto">
              <a:xfrm>
                <a:off x="2681288" y="4108450"/>
                <a:ext cx="15875" cy="7938"/>
              </a:xfrm>
              <a:custGeom>
                <a:avLst/>
                <a:gdLst>
                  <a:gd name="T0" fmla="*/ 5 w 21"/>
                  <a:gd name="T1" fmla="*/ 8 h 11"/>
                  <a:gd name="T2" fmla="*/ 13 w 21"/>
                  <a:gd name="T3" fmla="*/ 8 h 11"/>
                  <a:gd name="T4" fmla="*/ 17 w 21"/>
                  <a:gd name="T5" fmla="*/ 5 h 11"/>
                  <a:gd name="T6" fmla="*/ 21 w 21"/>
                  <a:gd name="T7" fmla="*/ 0 h 11"/>
                  <a:gd name="T8" fmla="*/ 1 w 21"/>
                  <a:gd name="T9" fmla="*/ 2 h 11"/>
                  <a:gd name="T10" fmla="*/ 0 w 21"/>
                  <a:gd name="T11" fmla="*/ 3 h 11"/>
                  <a:gd name="T12" fmla="*/ 5 w 21"/>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21" h="11">
                    <a:moveTo>
                      <a:pt x="5" y="8"/>
                    </a:moveTo>
                    <a:cubicBezTo>
                      <a:pt x="7" y="8"/>
                      <a:pt x="10" y="11"/>
                      <a:pt x="13" y="8"/>
                    </a:cubicBezTo>
                    <a:cubicBezTo>
                      <a:pt x="14" y="6"/>
                      <a:pt x="16" y="5"/>
                      <a:pt x="17" y="5"/>
                    </a:cubicBezTo>
                    <a:cubicBezTo>
                      <a:pt x="19" y="4"/>
                      <a:pt x="20" y="2"/>
                      <a:pt x="21" y="0"/>
                    </a:cubicBezTo>
                    <a:cubicBezTo>
                      <a:pt x="14" y="0"/>
                      <a:pt x="7" y="1"/>
                      <a:pt x="1" y="2"/>
                    </a:cubicBezTo>
                    <a:cubicBezTo>
                      <a:pt x="1" y="2"/>
                      <a:pt x="0" y="3"/>
                      <a:pt x="0" y="3"/>
                    </a:cubicBezTo>
                    <a:cubicBezTo>
                      <a:pt x="1" y="7"/>
                      <a:pt x="3" y="9"/>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81"/>
              <p:cNvSpPr>
                <a:spLocks/>
              </p:cNvSpPr>
              <p:nvPr/>
            </p:nvSpPr>
            <p:spPr bwMode="auto">
              <a:xfrm>
                <a:off x="3167063" y="4721225"/>
                <a:ext cx="4763" cy="3175"/>
              </a:xfrm>
              <a:custGeom>
                <a:avLst/>
                <a:gdLst>
                  <a:gd name="T0" fmla="*/ 5 w 6"/>
                  <a:gd name="T1" fmla="*/ 2 h 3"/>
                  <a:gd name="T2" fmla="*/ 5 w 6"/>
                  <a:gd name="T3" fmla="*/ 1 h 3"/>
                  <a:gd name="T4" fmla="*/ 2 w 6"/>
                  <a:gd name="T5" fmla="*/ 0 h 3"/>
                  <a:gd name="T6" fmla="*/ 1 w 6"/>
                  <a:gd name="T7" fmla="*/ 0 h 3"/>
                  <a:gd name="T8" fmla="*/ 1 w 6"/>
                  <a:gd name="T9" fmla="*/ 2 h 3"/>
                  <a:gd name="T10" fmla="*/ 5 w 6"/>
                  <a:gd name="T11" fmla="*/ 2 h 3"/>
                </a:gdLst>
                <a:ahLst/>
                <a:cxnLst>
                  <a:cxn ang="0">
                    <a:pos x="T0" y="T1"/>
                  </a:cxn>
                  <a:cxn ang="0">
                    <a:pos x="T2" y="T3"/>
                  </a:cxn>
                  <a:cxn ang="0">
                    <a:pos x="T4" y="T5"/>
                  </a:cxn>
                  <a:cxn ang="0">
                    <a:pos x="T6" y="T7"/>
                  </a:cxn>
                  <a:cxn ang="0">
                    <a:pos x="T8" y="T9"/>
                  </a:cxn>
                  <a:cxn ang="0">
                    <a:pos x="T10" y="T11"/>
                  </a:cxn>
                </a:cxnLst>
                <a:rect l="0" t="0" r="r" b="b"/>
                <a:pathLst>
                  <a:path w="6" h="3">
                    <a:moveTo>
                      <a:pt x="5" y="2"/>
                    </a:moveTo>
                    <a:cubicBezTo>
                      <a:pt x="6" y="2"/>
                      <a:pt x="5" y="1"/>
                      <a:pt x="5" y="1"/>
                    </a:cubicBezTo>
                    <a:cubicBezTo>
                      <a:pt x="4" y="0"/>
                      <a:pt x="3" y="1"/>
                      <a:pt x="2" y="0"/>
                    </a:cubicBezTo>
                    <a:cubicBezTo>
                      <a:pt x="2" y="0"/>
                      <a:pt x="1" y="0"/>
                      <a:pt x="1" y="0"/>
                    </a:cubicBezTo>
                    <a:cubicBezTo>
                      <a:pt x="0" y="1"/>
                      <a:pt x="0" y="1"/>
                      <a:pt x="1" y="2"/>
                    </a:cubicBezTo>
                    <a:cubicBezTo>
                      <a:pt x="1" y="3"/>
                      <a:pt x="4"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82"/>
              <p:cNvSpPr>
                <a:spLocks/>
              </p:cNvSpPr>
              <p:nvPr/>
            </p:nvSpPr>
            <p:spPr bwMode="auto">
              <a:xfrm>
                <a:off x="3160713" y="4713288"/>
                <a:ext cx="3175" cy="1588"/>
              </a:xfrm>
              <a:custGeom>
                <a:avLst/>
                <a:gdLst>
                  <a:gd name="T0" fmla="*/ 2 w 4"/>
                  <a:gd name="T1" fmla="*/ 1 h 2"/>
                  <a:gd name="T2" fmla="*/ 4 w 4"/>
                  <a:gd name="T3" fmla="*/ 1 h 2"/>
                  <a:gd name="T4" fmla="*/ 2 w 4"/>
                  <a:gd name="T5" fmla="*/ 1 h 2"/>
                </a:gdLst>
                <a:ahLst/>
                <a:cxnLst>
                  <a:cxn ang="0">
                    <a:pos x="T0" y="T1"/>
                  </a:cxn>
                  <a:cxn ang="0">
                    <a:pos x="T2" y="T3"/>
                  </a:cxn>
                  <a:cxn ang="0">
                    <a:pos x="T4" y="T5"/>
                  </a:cxn>
                </a:cxnLst>
                <a:rect l="0" t="0" r="r" b="b"/>
                <a:pathLst>
                  <a:path w="4" h="2">
                    <a:moveTo>
                      <a:pt x="2" y="1"/>
                    </a:moveTo>
                    <a:cubicBezTo>
                      <a:pt x="0" y="2"/>
                      <a:pt x="4" y="2"/>
                      <a:pt x="4" y="1"/>
                    </a:cubicBezTo>
                    <a:cubicBezTo>
                      <a:pt x="4" y="1"/>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83"/>
              <p:cNvSpPr>
                <a:spLocks/>
              </p:cNvSpPr>
              <p:nvPr/>
            </p:nvSpPr>
            <p:spPr bwMode="auto">
              <a:xfrm>
                <a:off x="3171826" y="4725988"/>
                <a:ext cx="3175" cy="3175"/>
              </a:xfrm>
              <a:custGeom>
                <a:avLst/>
                <a:gdLst>
                  <a:gd name="T0" fmla="*/ 5 w 6"/>
                  <a:gd name="T1" fmla="*/ 3 h 3"/>
                  <a:gd name="T2" fmla="*/ 2 w 6"/>
                  <a:gd name="T3" fmla="*/ 1 h 3"/>
                  <a:gd name="T4" fmla="*/ 1 w 6"/>
                  <a:gd name="T5" fmla="*/ 2 h 3"/>
                  <a:gd name="T6" fmla="*/ 5 w 6"/>
                  <a:gd name="T7" fmla="*/ 3 h 3"/>
                </a:gdLst>
                <a:ahLst/>
                <a:cxnLst>
                  <a:cxn ang="0">
                    <a:pos x="T0" y="T1"/>
                  </a:cxn>
                  <a:cxn ang="0">
                    <a:pos x="T2" y="T3"/>
                  </a:cxn>
                  <a:cxn ang="0">
                    <a:pos x="T4" y="T5"/>
                  </a:cxn>
                  <a:cxn ang="0">
                    <a:pos x="T6" y="T7"/>
                  </a:cxn>
                </a:cxnLst>
                <a:rect l="0" t="0" r="r" b="b"/>
                <a:pathLst>
                  <a:path w="6" h="3">
                    <a:moveTo>
                      <a:pt x="5" y="3"/>
                    </a:moveTo>
                    <a:cubicBezTo>
                      <a:pt x="6" y="2"/>
                      <a:pt x="4" y="0"/>
                      <a:pt x="2" y="1"/>
                    </a:cubicBezTo>
                    <a:cubicBezTo>
                      <a:pt x="0" y="2"/>
                      <a:pt x="0" y="2"/>
                      <a:pt x="1" y="2"/>
                    </a:cubicBezTo>
                    <a:cubicBezTo>
                      <a:pt x="2" y="2"/>
                      <a:pt x="4"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84"/>
              <p:cNvSpPr>
                <a:spLocks/>
              </p:cNvSpPr>
              <p:nvPr/>
            </p:nvSpPr>
            <p:spPr bwMode="auto">
              <a:xfrm>
                <a:off x="3173413" y="4729163"/>
                <a:ext cx="4763" cy="0"/>
              </a:xfrm>
              <a:custGeom>
                <a:avLst/>
                <a:gdLst>
                  <a:gd name="T0" fmla="*/ 4 w 7"/>
                  <a:gd name="T1" fmla="*/ 1 w 7"/>
                  <a:gd name="T2" fmla="*/ 7 w 7"/>
                  <a:gd name="T3" fmla="*/ 4 w 7"/>
                </a:gdLst>
                <a:ahLst/>
                <a:cxnLst>
                  <a:cxn ang="0">
                    <a:pos x="T0" y="0"/>
                  </a:cxn>
                  <a:cxn ang="0">
                    <a:pos x="T1" y="0"/>
                  </a:cxn>
                  <a:cxn ang="0">
                    <a:pos x="T2" y="0"/>
                  </a:cxn>
                  <a:cxn ang="0">
                    <a:pos x="T3" y="0"/>
                  </a:cxn>
                </a:cxnLst>
                <a:rect l="0" t="0" r="r" b="b"/>
                <a:pathLst>
                  <a:path w="7">
                    <a:moveTo>
                      <a:pt x="4" y="0"/>
                    </a:moveTo>
                    <a:cubicBezTo>
                      <a:pt x="3" y="0"/>
                      <a:pt x="0" y="0"/>
                      <a:pt x="1" y="0"/>
                    </a:cubicBezTo>
                    <a:cubicBezTo>
                      <a:pt x="3" y="0"/>
                      <a:pt x="5" y="0"/>
                      <a:pt x="7" y="0"/>
                    </a:cubicBezTo>
                    <a:cubicBezTo>
                      <a:pt x="7"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85"/>
              <p:cNvSpPr>
                <a:spLocks/>
              </p:cNvSpPr>
              <p:nvPr/>
            </p:nvSpPr>
            <p:spPr bwMode="auto">
              <a:xfrm>
                <a:off x="2679701" y="4108450"/>
                <a:ext cx="661988" cy="620713"/>
              </a:xfrm>
              <a:custGeom>
                <a:avLst/>
                <a:gdLst>
                  <a:gd name="T0" fmla="*/ 685 w 875"/>
                  <a:gd name="T1" fmla="*/ 812 h 823"/>
                  <a:gd name="T2" fmla="*/ 688 w 875"/>
                  <a:gd name="T3" fmla="*/ 801 h 823"/>
                  <a:gd name="T4" fmla="*/ 700 w 875"/>
                  <a:gd name="T5" fmla="*/ 785 h 823"/>
                  <a:gd name="T6" fmla="*/ 719 w 875"/>
                  <a:gd name="T7" fmla="*/ 766 h 823"/>
                  <a:gd name="T8" fmla="*/ 757 w 875"/>
                  <a:gd name="T9" fmla="*/ 747 h 823"/>
                  <a:gd name="T10" fmla="*/ 788 w 875"/>
                  <a:gd name="T11" fmla="*/ 718 h 823"/>
                  <a:gd name="T12" fmla="*/ 810 w 875"/>
                  <a:gd name="T13" fmla="*/ 710 h 823"/>
                  <a:gd name="T14" fmla="*/ 845 w 875"/>
                  <a:gd name="T15" fmla="*/ 662 h 823"/>
                  <a:gd name="T16" fmla="*/ 842 w 875"/>
                  <a:gd name="T17" fmla="*/ 617 h 823"/>
                  <a:gd name="T18" fmla="*/ 813 w 875"/>
                  <a:gd name="T19" fmla="*/ 613 h 823"/>
                  <a:gd name="T20" fmla="*/ 790 w 875"/>
                  <a:gd name="T21" fmla="*/ 620 h 823"/>
                  <a:gd name="T22" fmla="*/ 786 w 875"/>
                  <a:gd name="T23" fmla="*/ 593 h 823"/>
                  <a:gd name="T24" fmla="*/ 736 w 875"/>
                  <a:gd name="T25" fmla="*/ 575 h 823"/>
                  <a:gd name="T26" fmla="*/ 697 w 875"/>
                  <a:gd name="T27" fmla="*/ 564 h 823"/>
                  <a:gd name="T28" fmla="*/ 657 w 875"/>
                  <a:gd name="T29" fmla="*/ 560 h 823"/>
                  <a:gd name="T30" fmla="*/ 648 w 875"/>
                  <a:gd name="T31" fmla="*/ 556 h 823"/>
                  <a:gd name="T32" fmla="*/ 576 w 875"/>
                  <a:gd name="T33" fmla="*/ 576 h 823"/>
                  <a:gd name="T34" fmla="*/ 543 w 875"/>
                  <a:gd name="T35" fmla="*/ 540 h 823"/>
                  <a:gd name="T36" fmla="*/ 515 w 875"/>
                  <a:gd name="T37" fmla="*/ 507 h 823"/>
                  <a:gd name="T38" fmla="*/ 466 w 875"/>
                  <a:gd name="T39" fmla="*/ 517 h 823"/>
                  <a:gd name="T40" fmla="*/ 430 w 875"/>
                  <a:gd name="T41" fmla="*/ 463 h 823"/>
                  <a:gd name="T42" fmla="*/ 491 w 875"/>
                  <a:gd name="T43" fmla="*/ 435 h 823"/>
                  <a:gd name="T44" fmla="*/ 561 w 875"/>
                  <a:gd name="T45" fmla="*/ 464 h 823"/>
                  <a:gd name="T46" fmla="*/ 571 w 875"/>
                  <a:gd name="T47" fmla="*/ 410 h 823"/>
                  <a:gd name="T48" fmla="*/ 617 w 875"/>
                  <a:gd name="T49" fmla="*/ 360 h 823"/>
                  <a:gd name="T50" fmla="*/ 655 w 875"/>
                  <a:gd name="T51" fmla="*/ 320 h 823"/>
                  <a:gd name="T52" fmla="*/ 553 w 875"/>
                  <a:gd name="T53" fmla="*/ 318 h 823"/>
                  <a:gd name="T54" fmla="*/ 576 w 875"/>
                  <a:gd name="T55" fmla="*/ 281 h 823"/>
                  <a:gd name="T56" fmla="*/ 542 w 875"/>
                  <a:gd name="T57" fmla="*/ 274 h 823"/>
                  <a:gd name="T58" fmla="*/ 502 w 875"/>
                  <a:gd name="T59" fmla="*/ 307 h 823"/>
                  <a:gd name="T60" fmla="*/ 504 w 875"/>
                  <a:gd name="T61" fmla="*/ 252 h 823"/>
                  <a:gd name="T62" fmla="*/ 476 w 875"/>
                  <a:gd name="T63" fmla="*/ 243 h 823"/>
                  <a:gd name="T64" fmla="*/ 16 w 875"/>
                  <a:gd name="T65" fmla="*/ 22 h 823"/>
                  <a:gd name="T66" fmla="*/ 6 w 875"/>
                  <a:gd name="T67" fmla="*/ 60 h 823"/>
                  <a:gd name="T68" fmla="*/ 14 w 875"/>
                  <a:gd name="T69" fmla="*/ 85 h 823"/>
                  <a:gd name="T70" fmla="*/ 34 w 875"/>
                  <a:gd name="T71" fmla="*/ 82 h 823"/>
                  <a:gd name="T72" fmla="*/ 23 w 875"/>
                  <a:gd name="T73" fmla="*/ 123 h 823"/>
                  <a:gd name="T74" fmla="*/ 50 w 875"/>
                  <a:gd name="T75" fmla="*/ 75 h 823"/>
                  <a:gd name="T76" fmla="*/ 58 w 875"/>
                  <a:gd name="T77" fmla="*/ 61 h 823"/>
                  <a:gd name="T78" fmla="*/ 84 w 875"/>
                  <a:gd name="T79" fmla="*/ 54 h 823"/>
                  <a:gd name="T80" fmla="*/ 128 w 875"/>
                  <a:gd name="T81" fmla="*/ 73 h 823"/>
                  <a:gd name="T82" fmla="*/ 144 w 875"/>
                  <a:gd name="T83" fmla="*/ 101 h 823"/>
                  <a:gd name="T84" fmla="*/ 159 w 875"/>
                  <a:gd name="T85" fmla="*/ 136 h 823"/>
                  <a:gd name="T86" fmla="*/ 179 w 875"/>
                  <a:gd name="T87" fmla="*/ 174 h 823"/>
                  <a:gd name="T88" fmla="*/ 206 w 875"/>
                  <a:gd name="T89" fmla="*/ 235 h 823"/>
                  <a:gd name="T90" fmla="*/ 221 w 875"/>
                  <a:gd name="T91" fmla="*/ 330 h 823"/>
                  <a:gd name="T92" fmla="*/ 307 w 875"/>
                  <a:gd name="T93" fmla="*/ 445 h 823"/>
                  <a:gd name="T94" fmla="*/ 323 w 875"/>
                  <a:gd name="T95" fmla="*/ 456 h 823"/>
                  <a:gd name="T96" fmla="*/ 304 w 875"/>
                  <a:gd name="T97" fmla="*/ 419 h 823"/>
                  <a:gd name="T98" fmla="*/ 367 w 875"/>
                  <a:gd name="T99" fmla="*/ 497 h 823"/>
                  <a:gd name="T100" fmla="*/ 472 w 875"/>
                  <a:gd name="T101" fmla="*/ 539 h 823"/>
                  <a:gd name="T102" fmla="*/ 527 w 875"/>
                  <a:gd name="T103" fmla="*/ 579 h 823"/>
                  <a:gd name="T104" fmla="*/ 593 w 875"/>
                  <a:gd name="T105" fmla="*/ 595 h 823"/>
                  <a:gd name="T106" fmla="*/ 570 w 875"/>
                  <a:gd name="T107" fmla="*/ 626 h 823"/>
                  <a:gd name="T108" fmla="*/ 571 w 875"/>
                  <a:gd name="T109" fmla="*/ 644 h 823"/>
                  <a:gd name="T110" fmla="*/ 588 w 875"/>
                  <a:gd name="T111" fmla="*/ 685 h 823"/>
                  <a:gd name="T112" fmla="*/ 625 w 875"/>
                  <a:gd name="T113" fmla="*/ 708 h 823"/>
                  <a:gd name="T114" fmla="*/ 643 w 875"/>
                  <a:gd name="T115" fmla="*/ 731 h 823"/>
                  <a:gd name="T116" fmla="*/ 639 w 875"/>
                  <a:gd name="T117" fmla="*/ 754 h 823"/>
                  <a:gd name="T118" fmla="*/ 638 w 875"/>
                  <a:gd name="T119" fmla="*/ 786 h 823"/>
                  <a:gd name="T120" fmla="*/ 650 w 875"/>
                  <a:gd name="T121" fmla="*/ 807 h 823"/>
                  <a:gd name="T122" fmla="*/ 651 w 875"/>
                  <a:gd name="T123" fmla="*/ 812 h 823"/>
                  <a:gd name="T124" fmla="*/ 658 w 875"/>
                  <a:gd name="T125" fmla="*/ 821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5" h="823">
                    <a:moveTo>
                      <a:pt x="687" y="822"/>
                    </a:moveTo>
                    <a:cubicBezTo>
                      <a:pt x="685" y="822"/>
                      <a:pt x="683" y="822"/>
                      <a:pt x="683" y="822"/>
                    </a:cubicBezTo>
                    <a:cubicBezTo>
                      <a:pt x="683" y="821"/>
                      <a:pt x="686" y="821"/>
                      <a:pt x="686" y="821"/>
                    </a:cubicBezTo>
                    <a:cubicBezTo>
                      <a:pt x="686" y="821"/>
                      <a:pt x="684" y="820"/>
                      <a:pt x="683" y="820"/>
                    </a:cubicBezTo>
                    <a:cubicBezTo>
                      <a:pt x="683" y="820"/>
                      <a:pt x="682" y="819"/>
                      <a:pt x="682" y="819"/>
                    </a:cubicBezTo>
                    <a:cubicBezTo>
                      <a:pt x="681" y="818"/>
                      <a:pt x="679" y="817"/>
                      <a:pt x="682" y="816"/>
                    </a:cubicBezTo>
                    <a:cubicBezTo>
                      <a:pt x="683" y="816"/>
                      <a:pt x="684" y="816"/>
                      <a:pt x="685" y="815"/>
                    </a:cubicBezTo>
                    <a:cubicBezTo>
                      <a:pt x="685" y="815"/>
                      <a:pt x="685" y="814"/>
                      <a:pt x="685" y="814"/>
                    </a:cubicBezTo>
                    <a:cubicBezTo>
                      <a:pt x="685" y="813"/>
                      <a:pt x="685" y="813"/>
                      <a:pt x="685" y="812"/>
                    </a:cubicBezTo>
                    <a:cubicBezTo>
                      <a:pt x="685" y="812"/>
                      <a:pt x="685" y="812"/>
                      <a:pt x="686" y="812"/>
                    </a:cubicBezTo>
                    <a:cubicBezTo>
                      <a:pt x="687" y="811"/>
                      <a:pt x="687" y="811"/>
                      <a:pt x="688" y="811"/>
                    </a:cubicBezTo>
                    <a:cubicBezTo>
                      <a:pt x="689" y="810"/>
                      <a:pt x="690" y="810"/>
                      <a:pt x="691" y="809"/>
                    </a:cubicBezTo>
                    <a:cubicBezTo>
                      <a:pt x="692" y="809"/>
                      <a:pt x="692" y="808"/>
                      <a:pt x="691" y="807"/>
                    </a:cubicBezTo>
                    <a:cubicBezTo>
                      <a:pt x="691" y="807"/>
                      <a:pt x="689" y="807"/>
                      <a:pt x="687" y="807"/>
                    </a:cubicBezTo>
                    <a:cubicBezTo>
                      <a:pt x="686" y="807"/>
                      <a:pt x="683" y="807"/>
                      <a:pt x="682" y="806"/>
                    </a:cubicBezTo>
                    <a:cubicBezTo>
                      <a:pt x="681" y="806"/>
                      <a:pt x="680" y="804"/>
                      <a:pt x="681" y="803"/>
                    </a:cubicBezTo>
                    <a:cubicBezTo>
                      <a:pt x="682" y="803"/>
                      <a:pt x="682" y="802"/>
                      <a:pt x="683" y="802"/>
                    </a:cubicBezTo>
                    <a:cubicBezTo>
                      <a:pt x="685" y="801"/>
                      <a:pt x="686" y="801"/>
                      <a:pt x="688" y="801"/>
                    </a:cubicBezTo>
                    <a:cubicBezTo>
                      <a:pt x="690" y="800"/>
                      <a:pt x="689" y="798"/>
                      <a:pt x="689" y="797"/>
                    </a:cubicBezTo>
                    <a:cubicBezTo>
                      <a:pt x="689" y="796"/>
                      <a:pt x="691" y="796"/>
                      <a:pt x="691" y="795"/>
                    </a:cubicBezTo>
                    <a:cubicBezTo>
                      <a:pt x="692" y="794"/>
                      <a:pt x="689" y="795"/>
                      <a:pt x="690" y="794"/>
                    </a:cubicBezTo>
                    <a:cubicBezTo>
                      <a:pt x="690" y="793"/>
                      <a:pt x="691" y="793"/>
                      <a:pt x="689" y="792"/>
                    </a:cubicBezTo>
                    <a:cubicBezTo>
                      <a:pt x="688" y="792"/>
                      <a:pt x="688" y="791"/>
                      <a:pt x="687" y="790"/>
                    </a:cubicBezTo>
                    <a:cubicBezTo>
                      <a:pt x="687" y="790"/>
                      <a:pt x="686" y="788"/>
                      <a:pt x="689" y="788"/>
                    </a:cubicBezTo>
                    <a:cubicBezTo>
                      <a:pt x="690" y="789"/>
                      <a:pt x="692" y="789"/>
                      <a:pt x="693" y="789"/>
                    </a:cubicBezTo>
                    <a:cubicBezTo>
                      <a:pt x="696" y="789"/>
                      <a:pt x="702" y="788"/>
                      <a:pt x="699" y="786"/>
                    </a:cubicBezTo>
                    <a:cubicBezTo>
                      <a:pt x="699" y="786"/>
                      <a:pt x="699" y="786"/>
                      <a:pt x="700" y="785"/>
                    </a:cubicBezTo>
                    <a:cubicBezTo>
                      <a:pt x="701" y="785"/>
                      <a:pt x="701" y="784"/>
                      <a:pt x="701" y="784"/>
                    </a:cubicBezTo>
                    <a:cubicBezTo>
                      <a:pt x="701" y="783"/>
                      <a:pt x="700" y="782"/>
                      <a:pt x="702" y="781"/>
                    </a:cubicBezTo>
                    <a:cubicBezTo>
                      <a:pt x="703" y="781"/>
                      <a:pt x="705" y="781"/>
                      <a:pt x="707" y="781"/>
                    </a:cubicBezTo>
                    <a:cubicBezTo>
                      <a:pt x="709" y="781"/>
                      <a:pt x="711" y="780"/>
                      <a:pt x="713" y="780"/>
                    </a:cubicBezTo>
                    <a:cubicBezTo>
                      <a:pt x="717" y="779"/>
                      <a:pt x="721" y="778"/>
                      <a:pt x="723" y="776"/>
                    </a:cubicBezTo>
                    <a:cubicBezTo>
                      <a:pt x="725" y="775"/>
                      <a:pt x="728" y="773"/>
                      <a:pt x="728" y="771"/>
                    </a:cubicBezTo>
                    <a:cubicBezTo>
                      <a:pt x="728" y="770"/>
                      <a:pt x="726" y="770"/>
                      <a:pt x="725" y="770"/>
                    </a:cubicBezTo>
                    <a:cubicBezTo>
                      <a:pt x="724" y="769"/>
                      <a:pt x="725" y="768"/>
                      <a:pt x="725" y="768"/>
                    </a:cubicBezTo>
                    <a:cubicBezTo>
                      <a:pt x="724" y="766"/>
                      <a:pt x="721" y="767"/>
                      <a:pt x="719" y="766"/>
                    </a:cubicBezTo>
                    <a:cubicBezTo>
                      <a:pt x="717" y="766"/>
                      <a:pt x="717" y="763"/>
                      <a:pt x="719" y="764"/>
                    </a:cubicBezTo>
                    <a:cubicBezTo>
                      <a:pt x="720" y="764"/>
                      <a:pt x="721" y="764"/>
                      <a:pt x="724" y="764"/>
                    </a:cubicBezTo>
                    <a:cubicBezTo>
                      <a:pt x="726" y="764"/>
                      <a:pt x="726" y="765"/>
                      <a:pt x="728" y="765"/>
                    </a:cubicBezTo>
                    <a:cubicBezTo>
                      <a:pt x="733" y="765"/>
                      <a:pt x="738" y="764"/>
                      <a:pt x="742" y="762"/>
                    </a:cubicBezTo>
                    <a:cubicBezTo>
                      <a:pt x="743" y="761"/>
                      <a:pt x="743" y="760"/>
                      <a:pt x="745" y="759"/>
                    </a:cubicBezTo>
                    <a:cubicBezTo>
                      <a:pt x="747" y="759"/>
                      <a:pt x="748" y="758"/>
                      <a:pt x="749" y="757"/>
                    </a:cubicBezTo>
                    <a:cubicBezTo>
                      <a:pt x="750" y="756"/>
                      <a:pt x="750" y="754"/>
                      <a:pt x="751" y="753"/>
                    </a:cubicBezTo>
                    <a:cubicBezTo>
                      <a:pt x="753" y="752"/>
                      <a:pt x="752" y="751"/>
                      <a:pt x="753" y="750"/>
                    </a:cubicBezTo>
                    <a:cubicBezTo>
                      <a:pt x="754" y="749"/>
                      <a:pt x="756" y="748"/>
                      <a:pt x="757" y="747"/>
                    </a:cubicBezTo>
                    <a:cubicBezTo>
                      <a:pt x="758" y="746"/>
                      <a:pt x="759" y="745"/>
                      <a:pt x="761" y="745"/>
                    </a:cubicBezTo>
                    <a:cubicBezTo>
                      <a:pt x="761" y="746"/>
                      <a:pt x="760" y="747"/>
                      <a:pt x="761" y="746"/>
                    </a:cubicBezTo>
                    <a:cubicBezTo>
                      <a:pt x="763" y="746"/>
                      <a:pt x="762" y="745"/>
                      <a:pt x="763" y="744"/>
                    </a:cubicBezTo>
                    <a:cubicBezTo>
                      <a:pt x="763" y="743"/>
                      <a:pt x="765" y="742"/>
                      <a:pt x="766" y="741"/>
                    </a:cubicBezTo>
                    <a:cubicBezTo>
                      <a:pt x="767" y="740"/>
                      <a:pt x="768" y="739"/>
                      <a:pt x="769" y="739"/>
                    </a:cubicBezTo>
                    <a:cubicBezTo>
                      <a:pt x="774" y="736"/>
                      <a:pt x="773" y="734"/>
                      <a:pt x="773" y="731"/>
                    </a:cubicBezTo>
                    <a:cubicBezTo>
                      <a:pt x="774" y="730"/>
                      <a:pt x="774" y="729"/>
                      <a:pt x="775" y="727"/>
                    </a:cubicBezTo>
                    <a:cubicBezTo>
                      <a:pt x="775" y="726"/>
                      <a:pt x="776" y="725"/>
                      <a:pt x="778" y="724"/>
                    </a:cubicBezTo>
                    <a:cubicBezTo>
                      <a:pt x="780" y="722"/>
                      <a:pt x="784" y="720"/>
                      <a:pt x="788" y="718"/>
                    </a:cubicBezTo>
                    <a:cubicBezTo>
                      <a:pt x="790" y="717"/>
                      <a:pt x="791" y="717"/>
                      <a:pt x="793" y="717"/>
                    </a:cubicBezTo>
                    <a:cubicBezTo>
                      <a:pt x="794" y="717"/>
                      <a:pt x="794" y="715"/>
                      <a:pt x="795" y="715"/>
                    </a:cubicBezTo>
                    <a:cubicBezTo>
                      <a:pt x="796" y="714"/>
                      <a:pt x="797" y="713"/>
                      <a:pt x="799" y="712"/>
                    </a:cubicBezTo>
                    <a:cubicBezTo>
                      <a:pt x="799" y="712"/>
                      <a:pt x="800" y="711"/>
                      <a:pt x="801" y="711"/>
                    </a:cubicBezTo>
                    <a:cubicBezTo>
                      <a:pt x="802" y="711"/>
                      <a:pt x="801" y="712"/>
                      <a:pt x="801" y="712"/>
                    </a:cubicBezTo>
                    <a:cubicBezTo>
                      <a:pt x="802" y="712"/>
                      <a:pt x="803" y="711"/>
                      <a:pt x="805" y="711"/>
                    </a:cubicBezTo>
                    <a:cubicBezTo>
                      <a:pt x="806" y="711"/>
                      <a:pt x="806" y="711"/>
                      <a:pt x="807" y="710"/>
                    </a:cubicBezTo>
                    <a:cubicBezTo>
                      <a:pt x="808" y="709"/>
                      <a:pt x="807" y="710"/>
                      <a:pt x="807" y="711"/>
                    </a:cubicBezTo>
                    <a:cubicBezTo>
                      <a:pt x="807" y="711"/>
                      <a:pt x="809" y="710"/>
                      <a:pt x="810" y="710"/>
                    </a:cubicBezTo>
                    <a:cubicBezTo>
                      <a:pt x="813" y="709"/>
                      <a:pt x="813" y="708"/>
                      <a:pt x="815" y="706"/>
                    </a:cubicBezTo>
                    <a:cubicBezTo>
                      <a:pt x="817" y="705"/>
                      <a:pt x="819" y="705"/>
                      <a:pt x="820" y="704"/>
                    </a:cubicBezTo>
                    <a:cubicBezTo>
                      <a:pt x="821" y="702"/>
                      <a:pt x="820" y="701"/>
                      <a:pt x="822" y="700"/>
                    </a:cubicBezTo>
                    <a:cubicBezTo>
                      <a:pt x="823" y="699"/>
                      <a:pt x="824" y="698"/>
                      <a:pt x="825" y="697"/>
                    </a:cubicBezTo>
                    <a:cubicBezTo>
                      <a:pt x="828" y="694"/>
                      <a:pt x="831" y="692"/>
                      <a:pt x="830" y="690"/>
                    </a:cubicBezTo>
                    <a:cubicBezTo>
                      <a:pt x="830" y="688"/>
                      <a:pt x="832" y="687"/>
                      <a:pt x="834" y="685"/>
                    </a:cubicBezTo>
                    <a:cubicBezTo>
                      <a:pt x="836" y="682"/>
                      <a:pt x="837" y="679"/>
                      <a:pt x="838" y="677"/>
                    </a:cubicBezTo>
                    <a:cubicBezTo>
                      <a:pt x="839" y="674"/>
                      <a:pt x="838" y="672"/>
                      <a:pt x="838" y="670"/>
                    </a:cubicBezTo>
                    <a:cubicBezTo>
                      <a:pt x="838" y="668"/>
                      <a:pt x="841" y="661"/>
                      <a:pt x="845" y="662"/>
                    </a:cubicBezTo>
                    <a:cubicBezTo>
                      <a:pt x="848" y="662"/>
                      <a:pt x="853" y="654"/>
                      <a:pt x="854" y="653"/>
                    </a:cubicBezTo>
                    <a:cubicBezTo>
                      <a:pt x="855" y="650"/>
                      <a:pt x="859" y="648"/>
                      <a:pt x="861" y="646"/>
                    </a:cubicBezTo>
                    <a:cubicBezTo>
                      <a:pt x="864" y="643"/>
                      <a:pt x="867" y="640"/>
                      <a:pt x="870" y="637"/>
                    </a:cubicBezTo>
                    <a:cubicBezTo>
                      <a:pt x="875" y="632"/>
                      <a:pt x="874" y="627"/>
                      <a:pt x="874" y="622"/>
                    </a:cubicBezTo>
                    <a:cubicBezTo>
                      <a:pt x="874" y="618"/>
                      <a:pt x="866" y="623"/>
                      <a:pt x="863" y="621"/>
                    </a:cubicBezTo>
                    <a:cubicBezTo>
                      <a:pt x="862" y="619"/>
                      <a:pt x="859" y="619"/>
                      <a:pt x="856" y="618"/>
                    </a:cubicBezTo>
                    <a:cubicBezTo>
                      <a:pt x="855" y="617"/>
                      <a:pt x="853" y="615"/>
                      <a:pt x="850" y="615"/>
                    </a:cubicBezTo>
                    <a:cubicBezTo>
                      <a:pt x="849" y="615"/>
                      <a:pt x="848" y="615"/>
                      <a:pt x="847" y="615"/>
                    </a:cubicBezTo>
                    <a:cubicBezTo>
                      <a:pt x="845" y="616"/>
                      <a:pt x="843" y="617"/>
                      <a:pt x="842" y="617"/>
                    </a:cubicBezTo>
                    <a:cubicBezTo>
                      <a:pt x="840" y="618"/>
                      <a:pt x="839" y="618"/>
                      <a:pt x="838" y="617"/>
                    </a:cubicBezTo>
                    <a:cubicBezTo>
                      <a:pt x="837" y="617"/>
                      <a:pt x="836" y="618"/>
                      <a:pt x="835" y="618"/>
                    </a:cubicBezTo>
                    <a:cubicBezTo>
                      <a:pt x="833" y="618"/>
                      <a:pt x="832" y="617"/>
                      <a:pt x="829" y="617"/>
                    </a:cubicBezTo>
                    <a:cubicBezTo>
                      <a:pt x="826" y="617"/>
                      <a:pt x="824" y="621"/>
                      <a:pt x="821" y="621"/>
                    </a:cubicBezTo>
                    <a:cubicBezTo>
                      <a:pt x="821" y="621"/>
                      <a:pt x="820" y="620"/>
                      <a:pt x="821" y="620"/>
                    </a:cubicBezTo>
                    <a:cubicBezTo>
                      <a:pt x="822" y="619"/>
                      <a:pt x="823" y="618"/>
                      <a:pt x="823" y="617"/>
                    </a:cubicBezTo>
                    <a:cubicBezTo>
                      <a:pt x="822" y="616"/>
                      <a:pt x="820" y="614"/>
                      <a:pt x="818" y="614"/>
                    </a:cubicBezTo>
                    <a:cubicBezTo>
                      <a:pt x="817" y="613"/>
                      <a:pt x="816" y="614"/>
                      <a:pt x="815" y="613"/>
                    </a:cubicBezTo>
                    <a:cubicBezTo>
                      <a:pt x="815" y="613"/>
                      <a:pt x="814" y="612"/>
                      <a:pt x="813" y="613"/>
                    </a:cubicBezTo>
                    <a:cubicBezTo>
                      <a:pt x="811" y="613"/>
                      <a:pt x="810" y="613"/>
                      <a:pt x="809" y="613"/>
                    </a:cubicBezTo>
                    <a:cubicBezTo>
                      <a:pt x="808" y="613"/>
                      <a:pt x="807" y="612"/>
                      <a:pt x="806" y="612"/>
                    </a:cubicBezTo>
                    <a:cubicBezTo>
                      <a:pt x="800" y="613"/>
                      <a:pt x="799" y="617"/>
                      <a:pt x="795" y="619"/>
                    </a:cubicBezTo>
                    <a:cubicBezTo>
                      <a:pt x="794" y="620"/>
                      <a:pt x="796" y="616"/>
                      <a:pt x="796" y="616"/>
                    </a:cubicBezTo>
                    <a:cubicBezTo>
                      <a:pt x="797" y="615"/>
                      <a:pt x="800" y="613"/>
                      <a:pt x="799" y="612"/>
                    </a:cubicBezTo>
                    <a:cubicBezTo>
                      <a:pt x="799" y="611"/>
                      <a:pt x="794" y="613"/>
                      <a:pt x="792" y="613"/>
                    </a:cubicBezTo>
                    <a:cubicBezTo>
                      <a:pt x="790" y="612"/>
                      <a:pt x="786" y="612"/>
                      <a:pt x="784" y="615"/>
                    </a:cubicBezTo>
                    <a:cubicBezTo>
                      <a:pt x="783" y="617"/>
                      <a:pt x="782" y="620"/>
                      <a:pt x="783" y="621"/>
                    </a:cubicBezTo>
                    <a:cubicBezTo>
                      <a:pt x="784" y="623"/>
                      <a:pt x="787" y="621"/>
                      <a:pt x="790" y="620"/>
                    </a:cubicBezTo>
                    <a:cubicBezTo>
                      <a:pt x="792" y="620"/>
                      <a:pt x="793" y="621"/>
                      <a:pt x="791" y="621"/>
                    </a:cubicBezTo>
                    <a:cubicBezTo>
                      <a:pt x="789" y="622"/>
                      <a:pt x="783" y="623"/>
                      <a:pt x="782" y="623"/>
                    </a:cubicBezTo>
                    <a:cubicBezTo>
                      <a:pt x="781" y="623"/>
                      <a:pt x="782" y="618"/>
                      <a:pt x="780" y="619"/>
                    </a:cubicBezTo>
                    <a:cubicBezTo>
                      <a:pt x="778" y="620"/>
                      <a:pt x="775" y="623"/>
                      <a:pt x="772" y="623"/>
                    </a:cubicBezTo>
                    <a:cubicBezTo>
                      <a:pt x="773" y="623"/>
                      <a:pt x="779" y="616"/>
                      <a:pt x="779" y="615"/>
                    </a:cubicBezTo>
                    <a:cubicBezTo>
                      <a:pt x="781" y="614"/>
                      <a:pt x="783" y="613"/>
                      <a:pt x="785" y="612"/>
                    </a:cubicBezTo>
                    <a:cubicBezTo>
                      <a:pt x="787" y="610"/>
                      <a:pt x="788" y="609"/>
                      <a:pt x="790" y="607"/>
                    </a:cubicBezTo>
                    <a:cubicBezTo>
                      <a:pt x="793" y="602"/>
                      <a:pt x="789" y="601"/>
                      <a:pt x="787" y="599"/>
                    </a:cubicBezTo>
                    <a:cubicBezTo>
                      <a:pt x="786" y="597"/>
                      <a:pt x="786" y="595"/>
                      <a:pt x="786" y="593"/>
                    </a:cubicBezTo>
                    <a:cubicBezTo>
                      <a:pt x="786" y="590"/>
                      <a:pt x="785" y="590"/>
                      <a:pt x="784" y="588"/>
                    </a:cubicBezTo>
                    <a:cubicBezTo>
                      <a:pt x="782" y="587"/>
                      <a:pt x="780" y="586"/>
                      <a:pt x="777" y="585"/>
                    </a:cubicBezTo>
                    <a:cubicBezTo>
                      <a:pt x="775" y="584"/>
                      <a:pt x="773" y="583"/>
                      <a:pt x="771" y="583"/>
                    </a:cubicBezTo>
                    <a:cubicBezTo>
                      <a:pt x="766" y="582"/>
                      <a:pt x="761" y="583"/>
                      <a:pt x="755" y="585"/>
                    </a:cubicBezTo>
                    <a:cubicBezTo>
                      <a:pt x="754" y="585"/>
                      <a:pt x="749" y="586"/>
                      <a:pt x="748" y="585"/>
                    </a:cubicBezTo>
                    <a:cubicBezTo>
                      <a:pt x="747" y="584"/>
                      <a:pt x="747" y="583"/>
                      <a:pt x="746" y="583"/>
                    </a:cubicBezTo>
                    <a:cubicBezTo>
                      <a:pt x="745" y="582"/>
                      <a:pt x="739" y="579"/>
                      <a:pt x="738" y="582"/>
                    </a:cubicBezTo>
                    <a:cubicBezTo>
                      <a:pt x="738" y="582"/>
                      <a:pt x="739" y="579"/>
                      <a:pt x="739" y="579"/>
                    </a:cubicBezTo>
                    <a:cubicBezTo>
                      <a:pt x="739" y="578"/>
                      <a:pt x="737" y="576"/>
                      <a:pt x="736" y="575"/>
                    </a:cubicBezTo>
                    <a:cubicBezTo>
                      <a:pt x="734" y="572"/>
                      <a:pt x="729" y="570"/>
                      <a:pt x="724" y="572"/>
                    </a:cubicBezTo>
                    <a:cubicBezTo>
                      <a:pt x="723" y="572"/>
                      <a:pt x="718" y="574"/>
                      <a:pt x="720" y="572"/>
                    </a:cubicBezTo>
                    <a:cubicBezTo>
                      <a:pt x="721" y="571"/>
                      <a:pt x="726" y="570"/>
                      <a:pt x="724" y="568"/>
                    </a:cubicBezTo>
                    <a:cubicBezTo>
                      <a:pt x="724" y="567"/>
                      <a:pt x="722" y="567"/>
                      <a:pt x="721" y="566"/>
                    </a:cubicBezTo>
                    <a:cubicBezTo>
                      <a:pt x="719" y="565"/>
                      <a:pt x="718" y="565"/>
                      <a:pt x="718" y="567"/>
                    </a:cubicBezTo>
                    <a:cubicBezTo>
                      <a:pt x="716" y="566"/>
                      <a:pt x="715" y="565"/>
                      <a:pt x="713" y="565"/>
                    </a:cubicBezTo>
                    <a:cubicBezTo>
                      <a:pt x="710" y="564"/>
                      <a:pt x="713" y="563"/>
                      <a:pt x="711" y="562"/>
                    </a:cubicBezTo>
                    <a:cubicBezTo>
                      <a:pt x="709" y="562"/>
                      <a:pt x="710" y="557"/>
                      <a:pt x="705" y="560"/>
                    </a:cubicBezTo>
                    <a:cubicBezTo>
                      <a:pt x="702" y="563"/>
                      <a:pt x="699" y="561"/>
                      <a:pt x="697" y="564"/>
                    </a:cubicBezTo>
                    <a:cubicBezTo>
                      <a:pt x="695" y="565"/>
                      <a:pt x="692" y="566"/>
                      <a:pt x="689" y="566"/>
                    </a:cubicBezTo>
                    <a:cubicBezTo>
                      <a:pt x="687" y="566"/>
                      <a:pt x="687" y="564"/>
                      <a:pt x="685" y="564"/>
                    </a:cubicBezTo>
                    <a:cubicBezTo>
                      <a:pt x="682" y="562"/>
                      <a:pt x="675" y="564"/>
                      <a:pt x="671" y="565"/>
                    </a:cubicBezTo>
                    <a:cubicBezTo>
                      <a:pt x="668" y="565"/>
                      <a:pt x="668" y="563"/>
                      <a:pt x="668" y="561"/>
                    </a:cubicBezTo>
                    <a:cubicBezTo>
                      <a:pt x="668" y="560"/>
                      <a:pt x="667" y="559"/>
                      <a:pt x="664" y="559"/>
                    </a:cubicBezTo>
                    <a:cubicBezTo>
                      <a:pt x="663" y="559"/>
                      <a:pt x="661" y="559"/>
                      <a:pt x="659" y="559"/>
                    </a:cubicBezTo>
                    <a:cubicBezTo>
                      <a:pt x="657" y="559"/>
                      <a:pt x="659" y="558"/>
                      <a:pt x="659" y="557"/>
                    </a:cubicBezTo>
                    <a:cubicBezTo>
                      <a:pt x="658" y="556"/>
                      <a:pt x="655" y="554"/>
                      <a:pt x="654" y="556"/>
                    </a:cubicBezTo>
                    <a:cubicBezTo>
                      <a:pt x="654" y="558"/>
                      <a:pt x="656" y="558"/>
                      <a:pt x="657" y="560"/>
                    </a:cubicBezTo>
                    <a:cubicBezTo>
                      <a:pt x="653" y="561"/>
                      <a:pt x="648" y="561"/>
                      <a:pt x="645" y="563"/>
                    </a:cubicBezTo>
                    <a:cubicBezTo>
                      <a:pt x="642" y="565"/>
                      <a:pt x="644" y="568"/>
                      <a:pt x="645" y="570"/>
                    </a:cubicBezTo>
                    <a:cubicBezTo>
                      <a:pt x="646" y="571"/>
                      <a:pt x="646" y="572"/>
                      <a:pt x="645" y="573"/>
                    </a:cubicBezTo>
                    <a:cubicBezTo>
                      <a:pt x="644" y="574"/>
                      <a:pt x="642" y="577"/>
                      <a:pt x="641" y="576"/>
                    </a:cubicBezTo>
                    <a:cubicBezTo>
                      <a:pt x="640" y="575"/>
                      <a:pt x="640" y="574"/>
                      <a:pt x="639" y="574"/>
                    </a:cubicBezTo>
                    <a:cubicBezTo>
                      <a:pt x="638" y="573"/>
                      <a:pt x="636" y="573"/>
                      <a:pt x="636" y="572"/>
                    </a:cubicBezTo>
                    <a:cubicBezTo>
                      <a:pt x="636" y="570"/>
                      <a:pt x="641" y="569"/>
                      <a:pt x="642" y="567"/>
                    </a:cubicBezTo>
                    <a:cubicBezTo>
                      <a:pt x="643" y="565"/>
                      <a:pt x="639" y="562"/>
                      <a:pt x="641" y="560"/>
                    </a:cubicBezTo>
                    <a:cubicBezTo>
                      <a:pt x="642" y="558"/>
                      <a:pt x="647" y="559"/>
                      <a:pt x="648" y="556"/>
                    </a:cubicBezTo>
                    <a:cubicBezTo>
                      <a:pt x="649" y="553"/>
                      <a:pt x="643" y="554"/>
                      <a:pt x="641" y="556"/>
                    </a:cubicBezTo>
                    <a:cubicBezTo>
                      <a:pt x="636" y="559"/>
                      <a:pt x="630" y="561"/>
                      <a:pt x="623" y="562"/>
                    </a:cubicBezTo>
                    <a:cubicBezTo>
                      <a:pt x="621" y="563"/>
                      <a:pt x="621" y="566"/>
                      <a:pt x="619" y="565"/>
                    </a:cubicBezTo>
                    <a:cubicBezTo>
                      <a:pt x="618" y="565"/>
                      <a:pt x="618" y="564"/>
                      <a:pt x="616" y="564"/>
                    </a:cubicBezTo>
                    <a:cubicBezTo>
                      <a:pt x="615" y="564"/>
                      <a:pt x="614" y="566"/>
                      <a:pt x="613" y="566"/>
                    </a:cubicBezTo>
                    <a:cubicBezTo>
                      <a:pt x="608" y="569"/>
                      <a:pt x="611" y="574"/>
                      <a:pt x="605" y="576"/>
                    </a:cubicBezTo>
                    <a:cubicBezTo>
                      <a:pt x="602" y="578"/>
                      <a:pt x="601" y="580"/>
                      <a:pt x="598" y="581"/>
                    </a:cubicBezTo>
                    <a:cubicBezTo>
                      <a:pt x="597" y="582"/>
                      <a:pt x="591" y="578"/>
                      <a:pt x="591" y="578"/>
                    </a:cubicBezTo>
                    <a:cubicBezTo>
                      <a:pt x="587" y="577"/>
                      <a:pt x="581" y="574"/>
                      <a:pt x="576" y="576"/>
                    </a:cubicBezTo>
                    <a:cubicBezTo>
                      <a:pt x="572" y="577"/>
                      <a:pt x="569" y="579"/>
                      <a:pt x="563" y="579"/>
                    </a:cubicBezTo>
                    <a:cubicBezTo>
                      <a:pt x="561" y="579"/>
                      <a:pt x="559" y="579"/>
                      <a:pt x="557" y="578"/>
                    </a:cubicBezTo>
                    <a:cubicBezTo>
                      <a:pt x="554" y="577"/>
                      <a:pt x="554" y="576"/>
                      <a:pt x="553" y="575"/>
                    </a:cubicBezTo>
                    <a:cubicBezTo>
                      <a:pt x="551" y="574"/>
                      <a:pt x="548" y="573"/>
                      <a:pt x="547" y="571"/>
                    </a:cubicBezTo>
                    <a:cubicBezTo>
                      <a:pt x="547" y="569"/>
                      <a:pt x="547" y="566"/>
                      <a:pt x="547" y="564"/>
                    </a:cubicBezTo>
                    <a:cubicBezTo>
                      <a:pt x="547" y="562"/>
                      <a:pt x="549" y="560"/>
                      <a:pt x="549" y="557"/>
                    </a:cubicBezTo>
                    <a:cubicBezTo>
                      <a:pt x="550" y="555"/>
                      <a:pt x="550" y="552"/>
                      <a:pt x="551" y="550"/>
                    </a:cubicBezTo>
                    <a:cubicBezTo>
                      <a:pt x="551" y="548"/>
                      <a:pt x="553" y="540"/>
                      <a:pt x="548" y="540"/>
                    </a:cubicBezTo>
                    <a:cubicBezTo>
                      <a:pt x="546" y="540"/>
                      <a:pt x="544" y="541"/>
                      <a:pt x="543" y="540"/>
                    </a:cubicBezTo>
                    <a:cubicBezTo>
                      <a:pt x="542" y="539"/>
                      <a:pt x="542" y="538"/>
                      <a:pt x="541" y="537"/>
                    </a:cubicBezTo>
                    <a:cubicBezTo>
                      <a:pt x="540" y="536"/>
                      <a:pt x="536" y="536"/>
                      <a:pt x="534" y="536"/>
                    </a:cubicBezTo>
                    <a:cubicBezTo>
                      <a:pt x="530" y="536"/>
                      <a:pt x="527" y="538"/>
                      <a:pt x="523" y="537"/>
                    </a:cubicBezTo>
                    <a:cubicBezTo>
                      <a:pt x="520" y="535"/>
                      <a:pt x="516" y="538"/>
                      <a:pt x="512" y="537"/>
                    </a:cubicBezTo>
                    <a:cubicBezTo>
                      <a:pt x="507" y="537"/>
                      <a:pt x="507" y="530"/>
                      <a:pt x="505" y="528"/>
                    </a:cubicBezTo>
                    <a:cubicBezTo>
                      <a:pt x="503" y="527"/>
                      <a:pt x="502" y="527"/>
                      <a:pt x="501" y="525"/>
                    </a:cubicBezTo>
                    <a:cubicBezTo>
                      <a:pt x="501" y="524"/>
                      <a:pt x="504" y="523"/>
                      <a:pt x="506" y="523"/>
                    </a:cubicBezTo>
                    <a:cubicBezTo>
                      <a:pt x="511" y="522"/>
                      <a:pt x="513" y="518"/>
                      <a:pt x="513" y="513"/>
                    </a:cubicBezTo>
                    <a:cubicBezTo>
                      <a:pt x="513" y="511"/>
                      <a:pt x="513" y="509"/>
                      <a:pt x="515" y="507"/>
                    </a:cubicBezTo>
                    <a:cubicBezTo>
                      <a:pt x="516" y="506"/>
                      <a:pt x="517" y="505"/>
                      <a:pt x="518" y="503"/>
                    </a:cubicBezTo>
                    <a:cubicBezTo>
                      <a:pt x="519" y="498"/>
                      <a:pt x="506" y="499"/>
                      <a:pt x="502" y="500"/>
                    </a:cubicBezTo>
                    <a:cubicBezTo>
                      <a:pt x="498" y="501"/>
                      <a:pt x="489" y="499"/>
                      <a:pt x="488" y="503"/>
                    </a:cubicBezTo>
                    <a:cubicBezTo>
                      <a:pt x="488" y="506"/>
                      <a:pt x="488" y="509"/>
                      <a:pt x="486" y="511"/>
                    </a:cubicBezTo>
                    <a:cubicBezTo>
                      <a:pt x="484" y="513"/>
                      <a:pt x="483" y="513"/>
                      <a:pt x="483" y="515"/>
                    </a:cubicBezTo>
                    <a:cubicBezTo>
                      <a:pt x="484" y="516"/>
                      <a:pt x="484" y="518"/>
                      <a:pt x="481" y="518"/>
                    </a:cubicBezTo>
                    <a:cubicBezTo>
                      <a:pt x="478" y="519"/>
                      <a:pt x="478" y="517"/>
                      <a:pt x="475" y="516"/>
                    </a:cubicBezTo>
                    <a:cubicBezTo>
                      <a:pt x="474" y="516"/>
                      <a:pt x="473" y="517"/>
                      <a:pt x="472" y="517"/>
                    </a:cubicBezTo>
                    <a:cubicBezTo>
                      <a:pt x="470" y="517"/>
                      <a:pt x="468" y="517"/>
                      <a:pt x="466" y="517"/>
                    </a:cubicBezTo>
                    <a:cubicBezTo>
                      <a:pt x="463" y="516"/>
                      <a:pt x="462" y="517"/>
                      <a:pt x="460" y="518"/>
                    </a:cubicBezTo>
                    <a:cubicBezTo>
                      <a:pt x="459" y="519"/>
                      <a:pt x="455" y="517"/>
                      <a:pt x="454" y="516"/>
                    </a:cubicBezTo>
                    <a:cubicBezTo>
                      <a:pt x="451" y="515"/>
                      <a:pt x="449" y="516"/>
                      <a:pt x="446" y="514"/>
                    </a:cubicBezTo>
                    <a:cubicBezTo>
                      <a:pt x="444" y="512"/>
                      <a:pt x="444" y="509"/>
                      <a:pt x="442" y="507"/>
                    </a:cubicBezTo>
                    <a:cubicBezTo>
                      <a:pt x="440" y="505"/>
                      <a:pt x="438" y="503"/>
                      <a:pt x="436" y="500"/>
                    </a:cubicBezTo>
                    <a:cubicBezTo>
                      <a:pt x="435" y="498"/>
                      <a:pt x="435" y="496"/>
                      <a:pt x="433" y="494"/>
                    </a:cubicBezTo>
                    <a:cubicBezTo>
                      <a:pt x="432" y="492"/>
                      <a:pt x="430" y="492"/>
                      <a:pt x="429" y="490"/>
                    </a:cubicBezTo>
                    <a:cubicBezTo>
                      <a:pt x="429" y="486"/>
                      <a:pt x="427" y="483"/>
                      <a:pt x="427" y="480"/>
                    </a:cubicBezTo>
                    <a:cubicBezTo>
                      <a:pt x="427" y="474"/>
                      <a:pt x="431" y="469"/>
                      <a:pt x="430" y="463"/>
                    </a:cubicBezTo>
                    <a:cubicBezTo>
                      <a:pt x="429" y="460"/>
                      <a:pt x="427" y="459"/>
                      <a:pt x="426" y="456"/>
                    </a:cubicBezTo>
                    <a:cubicBezTo>
                      <a:pt x="425" y="454"/>
                      <a:pt x="426" y="451"/>
                      <a:pt x="426" y="449"/>
                    </a:cubicBezTo>
                    <a:cubicBezTo>
                      <a:pt x="427" y="443"/>
                      <a:pt x="430" y="442"/>
                      <a:pt x="436" y="440"/>
                    </a:cubicBezTo>
                    <a:cubicBezTo>
                      <a:pt x="439" y="439"/>
                      <a:pt x="442" y="437"/>
                      <a:pt x="445" y="437"/>
                    </a:cubicBezTo>
                    <a:cubicBezTo>
                      <a:pt x="446" y="436"/>
                      <a:pt x="447" y="436"/>
                      <a:pt x="448" y="436"/>
                    </a:cubicBezTo>
                    <a:cubicBezTo>
                      <a:pt x="449" y="435"/>
                      <a:pt x="449" y="434"/>
                      <a:pt x="450" y="433"/>
                    </a:cubicBezTo>
                    <a:cubicBezTo>
                      <a:pt x="455" y="431"/>
                      <a:pt x="464" y="436"/>
                      <a:pt x="469" y="434"/>
                    </a:cubicBezTo>
                    <a:cubicBezTo>
                      <a:pt x="476" y="431"/>
                      <a:pt x="477" y="437"/>
                      <a:pt x="483" y="439"/>
                    </a:cubicBezTo>
                    <a:cubicBezTo>
                      <a:pt x="488" y="441"/>
                      <a:pt x="486" y="435"/>
                      <a:pt x="491" y="435"/>
                    </a:cubicBezTo>
                    <a:cubicBezTo>
                      <a:pt x="498" y="436"/>
                      <a:pt x="489" y="430"/>
                      <a:pt x="489" y="428"/>
                    </a:cubicBezTo>
                    <a:cubicBezTo>
                      <a:pt x="490" y="427"/>
                      <a:pt x="502" y="429"/>
                      <a:pt x="503" y="430"/>
                    </a:cubicBezTo>
                    <a:cubicBezTo>
                      <a:pt x="510" y="430"/>
                      <a:pt x="517" y="428"/>
                      <a:pt x="523" y="433"/>
                    </a:cubicBezTo>
                    <a:cubicBezTo>
                      <a:pt x="527" y="435"/>
                      <a:pt x="534" y="438"/>
                      <a:pt x="538" y="434"/>
                    </a:cubicBezTo>
                    <a:cubicBezTo>
                      <a:pt x="542" y="429"/>
                      <a:pt x="545" y="435"/>
                      <a:pt x="548" y="439"/>
                    </a:cubicBezTo>
                    <a:cubicBezTo>
                      <a:pt x="550" y="441"/>
                      <a:pt x="548" y="444"/>
                      <a:pt x="549" y="446"/>
                    </a:cubicBezTo>
                    <a:cubicBezTo>
                      <a:pt x="550" y="449"/>
                      <a:pt x="551" y="450"/>
                      <a:pt x="552" y="453"/>
                    </a:cubicBezTo>
                    <a:cubicBezTo>
                      <a:pt x="552" y="456"/>
                      <a:pt x="553" y="458"/>
                      <a:pt x="556" y="459"/>
                    </a:cubicBezTo>
                    <a:cubicBezTo>
                      <a:pt x="558" y="460"/>
                      <a:pt x="560" y="462"/>
                      <a:pt x="561" y="464"/>
                    </a:cubicBezTo>
                    <a:cubicBezTo>
                      <a:pt x="562" y="467"/>
                      <a:pt x="563" y="471"/>
                      <a:pt x="566" y="473"/>
                    </a:cubicBezTo>
                    <a:cubicBezTo>
                      <a:pt x="568" y="474"/>
                      <a:pt x="570" y="472"/>
                      <a:pt x="571" y="470"/>
                    </a:cubicBezTo>
                    <a:cubicBezTo>
                      <a:pt x="574" y="468"/>
                      <a:pt x="573" y="466"/>
                      <a:pt x="573" y="464"/>
                    </a:cubicBezTo>
                    <a:cubicBezTo>
                      <a:pt x="573" y="458"/>
                      <a:pt x="573" y="453"/>
                      <a:pt x="570" y="448"/>
                    </a:cubicBezTo>
                    <a:cubicBezTo>
                      <a:pt x="568" y="447"/>
                      <a:pt x="569" y="444"/>
                      <a:pt x="568" y="442"/>
                    </a:cubicBezTo>
                    <a:cubicBezTo>
                      <a:pt x="567" y="438"/>
                      <a:pt x="564" y="436"/>
                      <a:pt x="563" y="432"/>
                    </a:cubicBezTo>
                    <a:cubicBezTo>
                      <a:pt x="562" y="429"/>
                      <a:pt x="561" y="426"/>
                      <a:pt x="562" y="424"/>
                    </a:cubicBezTo>
                    <a:cubicBezTo>
                      <a:pt x="564" y="421"/>
                      <a:pt x="564" y="419"/>
                      <a:pt x="564" y="416"/>
                    </a:cubicBezTo>
                    <a:cubicBezTo>
                      <a:pt x="565" y="413"/>
                      <a:pt x="568" y="412"/>
                      <a:pt x="571" y="410"/>
                    </a:cubicBezTo>
                    <a:cubicBezTo>
                      <a:pt x="573" y="409"/>
                      <a:pt x="578" y="408"/>
                      <a:pt x="580" y="406"/>
                    </a:cubicBezTo>
                    <a:cubicBezTo>
                      <a:pt x="584" y="401"/>
                      <a:pt x="591" y="400"/>
                      <a:pt x="596" y="396"/>
                    </a:cubicBezTo>
                    <a:cubicBezTo>
                      <a:pt x="598" y="395"/>
                      <a:pt x="601" y="393"/>
                      <a:pt x="604" y="392"/>
                    </a:cubicBezTo>
                    <a:cubicBezTo>
                      <a:pt x="605" y="391"/>
                      <a:pt x="609" y="391"/>
                      <a:pt x="608" y="388"/>
                    </a:cubicBezTo>
                    <a:cubicBezTo>
                      <a:pt x="606" y="382"/>
                      <a:pt x="613" y="384"/>
                      <a:pt x="615" y="379"/>
                    </a:cubicBezTo>
                    <a:cubicBezTo>
                      <a:pt x="618" y="373"/>
                      <a:pt x="611" y="371"/>
                      <a:pt x="611" y="366"/>
                    </a:cubicBezTo>
                    <a:cubicBezTo>
                      <a:pt x="611" y="363"/>
                      <a:pt x="612" y="360"/>
                      <a:pt x="611" y="358"/>
                    </a:cubicBezTo>
                    <a:cubicBezTo>
                      <a:pt x="611" y="357"/>
                      <a:pt x="608" y="350"/>
                      <a:pt x="611" y="350"/>
                    </a:cubicBezTo>
                    <a:cubicBezTo>
                      <a:pt x="614" y="350"/>
                      <a:pt x="612" y="360"/>
                      <a:pt x="617" y="360"/>
                    </a:cubicBezTo>
                    <a:cubicBezTo>
                      <a:pt x="619" y="360"/>
                      <a:pt x="621" y="351"/>
                      <a:pt x="622" y="350"/>
                    </a:cubicBezTo>
                    <a:cubicBezTo>
                      <a:pt x="624" y="343"/>
                      <a:pt x="629" y="338"/>
                      <a:pt x="631" y="331"/>
                    </a:cubicBezTo>
                    <a:cubicBezTo>
                      <a:pt x="632" y="328"/>
                      <a:pt x="640" y="328"/>
                      <a:pt x="644" y="326"/>
                    </a:cubicBezTo>
                    <a:cubicBezTo>
                      <a:pt x="644" y="325"/>
                      <a:pt x="650" y="324"/>
                      <a:pt x="649" y="323"/>
                    </a:cubicBezTo>
                    <a:cubicBezTo>
                      <a:pt x="648" y="322"/>
                      <a:pt x="645" y="323"/>
                      <a:pt x="644" y="323"/>
                    </a:cubicBezTo>
                    <a:cubicBezTo>
                      <a:pt x="643" y="324"/>
                      <a:pt x="637" y="326"/>
                      <a:pt x="636" y="325"/>
                    </a:cubicBezTo>
                    <a:cubicBezTo>
                      <a:pt x="633" y="323"/>
                      <a:pt x="635" y="321"/>
                      <a:pt x="637" y="320"/>
                    </a:cubicBezTo>
                    <a:cubicBezTo>
                      <a:pt x="641" y="320"/>
                      <a:pt x="645" y="321"/>
                      <a:pt x="649" y="320"/>
                    </a:cubicBezTo>
                    <a:cubicBezTo>
                      <a:pt x="651" y="320"/>
                      <a:pt x="653" y="320"/>
                      <a:pt x="655" y="320"/>
                    </a:cubicBezTo>
                    <a:cubicBezTo>
                      <a:pt x="656" y="319"/>
                      <a:pt x="657" y="317"/>
                      <a:pt x="659" y="317"/>
                    </a:cubicBezTo>
                    <a:cubicBezTo>
                      <a:pt x="662" y="315"/>
                      <a:pt x="672" y="317"/>
                      <a:pt x="668" y="311"/>
                    </a:cubicBezTo>
                    <a:cubicBezTo>
                      <a:pt x="667" y="311"/>
                      <a:pt x="665" y="310"/>
                      <a:pt x="663" y="310"/>
                    </a:cubicBezTo>
                    <a:cubicBezTo>
                      <a:pt x="662" y="310"/>
                      <a:pt x="662" y="310"/>
                      <a:pt x="661" y="309"/>
                    </a:cubicBezTo>
                    <a:cubicBezTo>
                      <a:pt x="660" y="309"/>
                      <a:pt x="659" y="309"/>
                      <a:pt x="659" y="308"/>
                    </a:cubicBezTo>
                    <a:cubicBezTo>
                      <a:pt x="644" y="304"/>
                      <a:pt x="628" y="299"/>
                      <a:pt x="613" y="294"/>
                    </a:cubicBezTo>
                    <a:cubicBezTo>
                      <a:pt x="610" y="303"/>
                      <a:pt x="584" y="292"/>
                      <a:pt x="584" y="303"/>
                    </a:cubicBezTo>
                    <a:cubicBezTo>
                      <a:pt x="585" y="310"/>
                      <a:pt x="577" y="313"/>
                      <a:pt x="572" y="314"/>
                    </a:cubicBezTo>
                    <a:cubicBezTo>
                      <a:pt x="566" y="316"/>
                      <a:pt x="559" y="318"/>
                      <a:pt x="553" y="318"/>
                    </a:cubicBezTo>
                    <a:cubicBezTo>
                      <a:pt x="549" y="318"/>
                      <a:pt x="551" y="314"/>
                      <a:pt x="553" y="313"/>
                    </a:cubicBezTo>
                    <a:cubicBezTo>
                      <a:pt x="557" y="311"/>
                      <a:pt x="559" y="311"/>
                      <a:pt x="562" y="308"/>
                    </a:cubicBezTo>
                    <a:cubicBezTo>
                      <a:pt x="563" y="307"/>
                      <a:pt x="564" y="306"/>
                      <a:pt x="566" y="305"/>
                    </a:cubicBezTo>
                    <a:cubicBezTo>
                      <a:pt x="567" y="305"/>
                      <a:pt x="570" y="306"/>
                      <a:pt x="570" y="306"/>
                    </a:cubicBezTo>
                    <a:cubicBezTo>
                      <a:pt x="573" y="304"/>
                      <a:pt x="577" y="304"/>
                      <a:pt x="579" y="302"/>
                    </a:cubicBezTo>
                    <a:cubicBezTo>
                      <a:pt x="582" y="298"/>
                      <a:pt x="581" y="294"/>
                      <a:pt x="587" y="293"/>
                    </a:cubicBezTo>
                    <a:cubicBezTo>
                      <a:pt x="591" y="292"/>
                      <a:pt x="593" y="291"/>
                      <a:pt x="597" y="289"/>
                    </a:cubicBezTo>
                    <a:cubicBezTo>
                      <a:pt x="597" y="289"/>
                      <a:pt x="597" y="289"/>
                      <a:pt x="598" y="289"/>
                    </a:cubicBezTo>
                    <a:cubicBezTo>
                      <a:pt x="590" y="286"/>
                      <a:pt x="583" y="284"/>
                      <a:pt x="576" y="281"/>
                    </a:cubicBezTo>
                    <a:cubicBezTo>
                      <a:pt x="576" y="281"/>
                      <a:pt x="576" y="282"/>
                      <a:pt x="575" y="283"/>
                    </a:cubicBezTo>
                    <a:cubicBezTo>
                      <a:pt x="573" y="286"/>
                      <a:pt x="567" y="281"/>
                      <a:pt x="565" y="280"/>
                    </a:cubicBezTo>
                    <a:cubicBezTo>
                      <a:pt x="564" y="279"/>
                      <a:pt x="563" y="277"/>
                      <a:pt x="562" y="276"/>
                    </a:cubicBezTo>
                    <a:cubicBezTo>
                      <a:pt x="560" y="274"/>
                      <a:pt x="560" y="282"/>
                      <a:pt x="559" y="283"/>
                    </a:cubicBezTo>
                    <a:cubicBezTo>
                      <a:pt x="559" y="285"/>
                      <a:pt x="561" y="302"/>
                      <a:pt x="558" y="300"/>
                    </a:cubicBezTo>
                    <a:cubicBezTo>
                      <a:pt x="555" y="300"/>
                      <a:pt x="555" y="296"/>
                      <a:pt x="553" y="294"/>
                    </a:cubicBezTo>
                    <a:cubicBezTo>
                      <a:pt x="552" y="291"/>
                      <a:pt x="549" y="293"/>
                      <a:pt x="547" y="291"/>
                    </a:cubicBezTo>
                    <a:cubicBezTo>
                      <a:pt x="544" y="288"/>
                      <a:pt x="547" y="283"/>
                      <a:pt x="547" y="279"/>
                    </a:cubicBezTo>
                    <a:cubicBezTo>
                      <a:pt x="547" y="276"/>
                      <a:pt x="544" y="276"/>
                      <a:pt x="542" y="274"/>
                    </a:cubicBezTo>
                    <a:cubicBezTo>
                      <a:pt x="539" y="272"/>
                      <a:pt x="538" y="267"/>
                      <a:pt x="535" y="266"/>
                    </a:cubicBezTo>
                    <a:cubicBezTo>
                      <a:pt x="529" y="264"/>
                      <a:pt x="527" y="274"/>
                      <a:pt x="525" y="277"/>
                    </a:cubicBezTo>
                    <a:cubicBezTo>
                      <a:pt x="523" y="278"/>
                      <a:pt x="520" y="277"/>
                      <a:pt x="518" y="278"/>
                    </a:cubicBezTo>
                    <a:cubicBezTo>
                      <a:pt x="515" y="280"/>
                      <a:pt x="515" y="286"/>
                      <a:pt x="514" y="289"/>
                    </a:cubicBezTo>
                    <a:cubicBezTo>
                      <a:pt x="514" y="292"/>
                      <a:pt x="513" y="296"/>
                      <a:pt x="514" y="300"/>
                    </a:cubicBezTo>
                    <a:cubicBezTo>
                      <a:pt x="515" y="303"/>
                      <a:pt x="516" y="306"/>
                      <a:pt x="515" y="309"/>
                    </a:cubicBezTo>
                    <a:cubicBezTo>
                      <a:pt x="515" y="311"/>
                      <a:pt x="512" y="312"/>
                      <a:pt x="511" y="313"/>
                    </a:cubicBezTo>
                    <a:cubicBezTo>
                      <a:pt x="510" y="315"/>
                      <a:pt x="509" y="318"/>
                      <a:pt x="508" y="319"/>
                    </a:cubicBezTo>
                    <a:cubicBezTo>
                      <a:pt x="504" y="322"/>
                      <a:pt x="503" y="308"/>
                      <a:pt x="502" y="307"/>
                    </a:cubicBezTo>
                    <a:cubicBezTo>
                      <a:pt x="500" y="301"/>
                      <a:pt x="501" y="293"/>
                      <a:pt x="505" y="287"/>
                    </a:cubicBezTo>
                    <a:cubicBezTo>
                      <a:pt x="506" y="285"/>
                      <a:pt x="508" y="284"/>
                      <a:pt x="508" y="281"/>
                    </a:cubicBezTo>
                    <a:cubicBezTo>
                      <a:pt x="509" y="278"/>
                      <a:pt x="508" y="275"/>
                      <a:pt x="509" y="273"/>
                    </a:cubicBezTo>
                    <a:cubicBezTo>
                      <a:pt x="510" y="271"/>
                      <a:pt x="520" y="263"/>
                      <a:pt x="521" y="265"/>
                    </a:cubicBezTo>
                    <a:cubicBezTo>
                      <a:pt x="522" y="263"/>
                      <a:pt x="526" y="264"/>
                      <a:pt x="527" y="264"/>
                    </a:cubicBezTo>
                    <a:cubicBezTo>
                      <a:pt x="529" y="264"/>
                      <a:pt x="531" y="264"/>
                      <a:pt x="532" y="264"/>
                    </a:cubicBezTo>
                    <a:cubicBezTo>
                      <a:pt x="526" y="261"/>
                      <a:pt x="519" y="258"/>
                      <a:pt x="512" y="255"/>
                    </a:cubicBezTo>
                    <a:cubicBezTo>
                      <a:pt x="511" y="255"/>
                      <a:pt x="510" y="255"/>
                      <a:pt x="509" y="255"/>
                    </a:cubicBezTo>
                    <a:cubicBezTo>
                      <a:pt x="507" y="255"/>
                      <a:pt x="506" y="253"/>
                      <a:pt x="504" y="252"/>
                    </a:cubicBezTo>
                    <a:cubicBezTo>
                      <a:pt x="503" y="251"/>
                      <a:pt x="502" y="251"/>
                      <a:pt x="502" y="250"/>
                    </a:cubicBezTo>
                    <a:cubicBezTo>
                      <a:pt x="499" y="249"/>
                      <a:pt x="496" y="248"/>
                      <a:pt x="494" y="247"/>
                    </a:cubicBezTo>
                    <a:cubicBezTo>
                      <a:pt x="492" y="248"/>
                      <a:pt x="491" y="249"/>
                      <a:pt x="490" y="249"/>
                    </a:cubicBezTo>
                    <a:cubicBezTo>
                      <a:pt x="487" y="251"/>
                      <a:pt x="482" y="254"/>
                      <a:pt x="478" y="254"/>
                    </a:cubicBezTo>
                    <a:cubicBezTo>
                      <a:pt x="477" y="254"/>
                      <a:pt x="477" y="252"/>
                      <a:pt x="475" y="252"/>
                    </a:cubicBezTo>
                    <a:cubicBezTo>
                      <a:pt x="473" y="252"/>
                      <a:pt x="472" y="253"/>
                      <a:pt x="470" y="253"/>
                    </a:cubicBezTo>
                    <a:cubicBezTo>
                      <a:pt x="470" y="253"/>
                      <a:pt x="462" y="254"/>
                      <a:pt x="463" y="252"/>
                    </a:cubicBezTo>
                    <a:cubicBezTo>
                      <a:pt x="464" y="249"/>
                      <a:pt x="469" y="249"/>
                      <a:pt x="471" y="247"/>
                    </a:cubicBezTo>
                    <a:cubicBezTo>
                      <a:pt x="473" y="246"/>
                      <a:pt x="474" y="244"/>
                      <a:pt x="476" y="243"/>
                    </a:cubicBezTo>
                    <a:cubicBezTo>
                      <a:pt x="478" y="242"/>
                      <a:pt x="480" y="242"/>
                      <a:pt x="481" y="241"/>
                    </a:cubicBezTo>
                    <a:cubicBezTo>
                      <a:pt x="458" y="230"/>
                      <a:pt x="435" y="219"/>
                      <a:pt x="413" y="207"/>
                    </a:cubicBezTo>
                    <a:cubicBezTo>
                      <a:pt x="326" y="160"/>
                      <a:pt x="251" y="106"/>
                      <a:pt x="189" y="67"/>
                    </a:cubicBezTo>
                    <a:cubicBezTo>
                      <a:pt x="128" y="28"/>
                      <a:pt x="79" y="3"/>
                      <a:pt x="32" y="0"/>
                    </a:cubicBezTo>
                    <a:cubicBezTo>
                      <a:pt x="29" y="0"/>
                      <a:pt x="27" y="0"/>
                      <a:pt x="25" y="0"/>
                    </a:cubicBezTo>
                    <a:cubicBezTo>
                      <a:pt x="25" y="3"/>
                      <a:pt x="23" y="7"/>
                      <a:pt x="23" y="8"/>
                    </a:cubicBezTo>
                    <a:cubicBezTo>
                      <a:pt x="23" y="10"/>
                      <a:pt x="23" y="12"/>
                      <a:pt x="23" y="14"/>
                    </a:cubicBezTo>
                    <a:cubicBezTo>
                      <a:pt x="23" y="16"/>
                      <a:pt x="21" y="21"/>
                      <a:pt x="20" y="22"/>
                    </a:cubicBezTo>
                    <a:cubicBezTo>
                      <a:pt x="19" y="23"/>
                      <a:pt x="17" y="22"/>
                      <a:pt x="16" y="22"/>
                    </a:cubicBezTo>
                    <a:cubicBezTo>
                      <a:pt x="15" y="22"/>
                      <a:pt x="14" y="26"/>
                      <a:pt x="12" y="27"/>
                    </a:cubicBezTo>
                    <a:cubicBezTo>
                      <a:pt x="10" y="30"/>
                      <a:pt x="11" y="21"/>
                      <a:pt x="8" y="26"/>
                    </a:cubicBezTo>
                    <a:cubicBezTo>
                      <a:pt x="7" y="28"/>
                      <a:pt x="7" y="30"/>
                      <a:pt x="7" y="32"/>
                    </a:cubicBezTo>
                    <a:cubicBezTo>
                      <a:pt x="7" y="34"/>
                      <a:pt x="7" y="36"/>
                      <a:pt x="5" y="37"/>
                    </a:cubicBezTo>
                    <a:cubicBezTo>
                      <a:pt x="4" y="37"/>
                      <a:pt x="4" y="39"/>
                      <a:pt x="4" y="40"/>
                    </a:cubicBezTo>
                    <a:cubicBezTo>
                      <a:pt x="3" y="43"/>
                      <a:pt x="1" y="46"/>
                      <a:pt x="0" y="48"/>
                    </a:cubicBezTo>
                    <a:cubicBezTo>
                      <a:pt x="1" y="47"/>
                      <a:pt x="1" y="54"/>
                      <a:pt x="1" y="55"/>
                    </a:cubicBezTo>
                    <a:cubicBezTo>
                      <a:pt x="2" y="57"/>
                      <a:pt x="2" y="56"/>
                      <a:pt x="3" y="57"/>
                    </a:cubicBezTo>
                    <a:cubicBezTo>
                      <a:pt x="4" y="58"/>
                      <a:pt x="5" y="60"/>
                      <a:pt x="6" y="60"/>
                    </a:cubicBezTo>
                    <a:cubicBezTo>
                      <a:pt x="6" y="60"/>
                      <a:pt x="12" y="59"/>
                      <a:pt x="9" y="62"/>
                    </a:cubicBezTo>
                    <a:cubicBezTo>
                      <a:pt x="7" y="63"/>
                      <a:pt x="5" y="63"/>
                      <a:pt x="3" y="62"/>
                    </a:cubicBezTo>
                    <a:cubicBezTo>
                      <a:pt x="0" y="61"/>
                      <a:pt x="3" y="65"/>
                      <a:pt x="4" y="66"/>
                    </a:cubicBezTo>
                    <a:cubicBezTo>
                      <a:pt x="5" y="67"/>
                      <a:pt x="6" y="69"/>
                      <a:pt x="7" y="70"/>
                    </a:cubicBezTo>
                    <a:cubicBezTo>
                      <a:pt x="8" y="72"/>
                      <a:pt x="9" y="73"/>
                      <a:pt x="10" y="73"/>
                    </a:cubicBezTo>
                    <a:cubicBezTo>
                      <a:pt x="11" y="73"/>
                      <a:pt x="11" y="70"/>
                      <a:pt x="12" y="69"/>
                    </a:cubicBezTo>
                    <a:cubicBezTo>
                      <a:pt x="13" y="67"/>
                      <a:pt x="14" y="70"/>
                      <a:pt x="14" y="72"/>
                    </a:cubicBezTo>
                    <a:cubicBezTo>
                      <a:pt x="15" y="74"/>
                      <a:pt x="15" y="75"/>
                      <a:pt x="14" y="78"/>
                    </a:cubicBezTo>
                    <a:cubicBezTo>
                      <a:pt x="13" y="81"/>
                      <a:pt x="15" y="82"/>
                      <a:pt x="14" y="85"/>
                    </a:cubicBezTo>
                    <a:cubicBezTo>
                      <a:pt x="14" y="86"/>
                      <a:pt x="13" y="89"/>
                      <a:pt x="15" y="88"/>
                    </a:cubicBezTo>
                    <a:cubicBezTo>
                      <a:pt x="15" y="88"/>
                      <a:pt x="16" y="87"/>
                      <a:pt x="17" y="85"/>
                    </a:cubicBezTo>
                    <a:cubicBezTo>
                      <a:pt x="19" y="80"/>
                      <a:pt x="22" y="84"/>
                      <a:pt x="23" y="87"/>
                    </a:cubicBezTo>
                    <a:cubicBezTo>
                      <a:pt x="23" y="88"/>
                      <a:pt x="25" y="91"/>
                      <a:pt x="25" y="89"/>
                    </a:cubicBezTo>
                    <a:cubicBezTo>
                      <a:pt x="26" y="88"/>
                      <a:pt x="25" y="86"/>
                      <a:pt x="26" y="85"/>
                    </a:cubicBezTo>
                    <a:cubicBezTo>
                      <a:pt x="26" y="83"/>
                      <a:pt x="28" y="82"/>
                      <a:pt x="28" y="81"/>
                    </a:cubicBezTo>
                    <a:cubicBezTo>
                      <a:pt x="29" y="80"/>
                      <a:pt x="29" y="84"/>
                      <a:pt x="29" y="84"/>
                    </a:cubicBezTo>
                    <a:cubicBezTo>
                      <a:pt x="30" y="87"/>
                      <a:pt x="31" y="84"/>
                      <a:pt x="32" y="82"/>
                    </a:cubicBezTo>
                    <a:cubicBezTo>
                      <a:pt x="32" y="82"/>
                      <a:pt x="33" y="81"/>
                      <a:pt x="34" y="82"/>
                    </a:cubicBezTo>
                    <a:cubicBezTo>
                      <a:pt x="34" y="83"/>
                      <a:pt x="33" y="86"/>
                      <a:pt x="33" y="87"/>
                    </a:cubicBezTo>
                    <a:cubicBezTo>
                      <a:pt x="32" y="90"/>
                      <a:pt x="31" y="92"/>
                      <a:pt x="31" y="96"/>
                    </a:cubicBezTo>
                    <a:cubicBezTo>
                      <a:pt x="31" y="97"/>
                      <a:pt x="30" y="99"/>
                      <a:pt x="30" y="101"/>
                    </a:cubicBezTo>
                    <a:cubicBezTo>
                      <a:pt x="29" y="102"/>
                      <a:pt x="27" y="102"/>
                      <a:pt x="27" y="104"/>
                    </a:cubicBezTo>
                    <a:cubicBezTo>
                      <a:pt x="26" y="106"/>
                      <a:pt x="27" y="108"/>
                      <a:pt x="25" y="109"/>
                    </a:cubicBezTo>
                    <a:cubicBezTo>
                      <a:pt x="24" y="111"/>
                      <a:pt x="24" y="111"/>
                      <a:pt x="23" y="113"/>
                    </a:cubicBezTo>
                    <a:cubicBezTo>
                      <a:pt x="22" y="115"/>
                      <a:pt x="21" y="114"/>
                      <a:pt x="20" y="115"/>
                    </a:cubicBezTo>
                    <a:cubicBezTo>
                      <a:pt x="19" y="116"/>
                      <a:pt x="19" y="118"/>
                      <a:pt x="19" y="120"/>
                    </a:cubicBezTo>
                    <a:cubicBezTo>
                      <a:pt x="19" y="124"/>
                      <a:pt x="21" y="125"/>
                      <a:pt x="23" y="123"/>
                    </a:cubicBezTo>
                    <a:cubicBezTo>
                      <a:pt x="25" y="122"/>
                      <a:pt x="27" y="119"/>
                      <a:pt x="28" y="115"/>
                    </a:cubicBezTo>
                    <a:cubicBezTo>
                      <a:pt x="29" y="113"/>
                      <a:pt x="30" y="113"/>
                      <a:pt x="32" y="112"/>
                    </a:cubicBezTo>
                    <a:cubicBezTo>
                      <a:pt x="32" y="111"/>
                      <a:pt x="32" y="110"/>
                      <a:pt x="33" y="108"/>
                    </a:cubicBezTo>
                    <a:cubicBezTo>
                      <a:pt x="35" y="104"/>
                      <a:pt x="37" y="99"/>
                      <a:pt x="40" y="97"/>
                    </a:cubicBezTo>
                    <a:cubicBezTo>
                      <a:pt x="42" y="95"/>
                      <a:pt x="46" y="94"/>
                      <a:pt x="47" y="89"/>
                    </a:cubicBezTo>
                    <a:cubicBezTo>
                      <a:pt x="50" y="84"/>
                      <a:pt x="48" y="83"/>
                      <a:pt x="46" y="81"/>
                    </a:cubicBezTo>
                    <a:cubicBezTo>
                      <a:pt x="45" y="81"/>
                      <a:pt x="44" y="78"/>
                      <a:pt x="45" y="77"/>
                    </a:cubicBezTo>
                    <a:cubicBezTo>
                      <a:pt x="46" y="77"/>
                      <a:pt x="47" y="78"/>
                      <a:pt x="48" y="78"/>
                    </a:cubicBezTo>
                    <a:cubicBezTo>
                      <a:pt x="49" y="78"/>
                      <a:pt x="50" y="77"/>
                      <a:pt x="50" y="75"/>
                    </a:cubicBezTo>
                    <a:cubicBezTo>
                      <a:pt x="50" y="73"/>
                      <a:pt x="48" y="73"/>
                      <a:pt x="50" y="69"/>
                    </a:cubicBezTo>
                    <a:cubicBezTo>
                      <a:pt x="51" y="67"/>
                      <a:pt x="53" y="68"/>
                      <a:pt x="54" y="66"/>
                    </a:cubicBezTo>
                    <a:cubicBezTo>
                      <a:pt x="55" y="64"/>
                      <a:pt x="55" y="62"/>
                      <a:pt x="55" y="59"/>
                    </a:cubicBezTo>
                    <a:cubicBezTo>
                      <a:pt x="55" y="57"/>
                      <a:pt x="55" y="56"/>
                      <a:pt x="57" y="55"/>
                    </a:cubicBezTo>
                    <a:cubicBezTo>
                      <a:pt x="58" y="53"/>
                      <a:pt x="59" y="51"/>
                      <a:pt x="60" y="49"/>
                    </a:cubicBezTo>
                    <a:cubicBezTo>
                      <a:pt x="61" y="46"/>
                      <a:pt x="67" y="41"/>
                      <a:pt x="66" y="47"/>
                    </a:cubicBezTo>
                    <a:cubicBezTo>
                      <a:pt x="66" y="49"/>
                      <a:pt x="65" y="50"/>
                      <a:pt x="64" y="51"/>
                    </a:cubicBezTo>
                    <a:cubicBezTo>
                      <a:pt x="62" y="51"/>
                      <a:pt x="61" y="51"/>
                      <a:pt x="61" y="54"/>
                    </a:cubicBezTo>
                    <a:cubicBezTo>
                      <a:pt x="60" y="57"/>
                      <a:pt x="59" y="59"/>
                      <a:pt x="58" y="61"/>
                    </a:cubicBezTo>
                    <a:cubicBezTo>
                      <a:pt x="57" y="64"/>
                      <a:pt x="59" y="64"/>
                      <a:pt x="59" y="66"/>
                    </a:cubicBezTo>
                    <a:cubicBezTo>
                      <a:pt x="59" y="67"/>
                      <a:pt x="58" y="75"/>
                      <a:pt x="59" y="74"/>
                    </a:cubicBezTo>
                    <a:cubicBezTo>
                      <a:pt x="61" y="74"/>
                      <a:pt x="62" y="72"/>
                      <a:pt x="64" y="71"/>
                    </a:cubicBezTo>
                    <a:cubicBezTo>
                      <a:pt x="65" y="70"/>
                      <a:pt x="67" y="69"/>
                      <a:pt x="68" y="67"/>
                    </a:cubicBezTo>
                    <a:cubicBezTo>
                      <a:pt x="69" y="66"/>
                      <a:pt x="70" y="64"/>
                      <a:pt x="72" y="63"/>
                    </a:cubicBezTo>
                    <a:cubicBezTo>
                      <a:pt x="73" y="63"/>
                      <a:pt x="75" y="62"/>
                      <a:pt x="75" y="60"/>
                    </a:cubicBezTo>
                    <a:cubicBezTo>
                      <a:pt x="77" y="57"/>
                      <a:pt x="72" y="56"/>
                      <a:pt x="74" y="52"/>
                    </a:cubicBezTo>
                    <a:cubicBezTo>
                      <a:pt x="75" y="49"/>
                      <a:pt x="80" y="49"/>
                      <a:pt x="82" y="50"/>
                    </a:cubicBezTo>
                    <a:cubicBezTo>
                      <a:pt x="83" y="51"/>
                      <a:pt x="83" y="54"/>
                      <a:pt x="84" y="54"/>
                    </a:cubicBezTo>
                    <a:cubicBezTo>
                      <a:pt x="85" y="55"/>
                      <a:pt x="86" y="54"/>
                      <a:pt x="87" y="54"/>
                    </a:cubicBezTo>
                    <a:cubicBezTo>
                      <a:pt x="90" y="55"/>
                      <a:pt x="90" y="64"/>
                      <a:pt x="93" y="61"/>
                    </a:cubicBezTo>
                    <a:cubicBezTo>
                      <a:pt x="96" y="58"/>
                      <a:pt x="101" y="59"/>
                      <a:pt x="104" y="61"/>
                    </a:cubicBezTo>
                    <a:cubicBezTo>
                      <a:pt x="106" y="62"/>
                      <a:pt x="110" y="69"/>
                      <a:pt x="112" y="62"/>
                    </a:cubicBezTo>
                    <a:cubicBezTo>
                      <a:pt x="113" y="59"/>
                      <a:pt x="114" y="52"/>
                      <a:pt x="117" y="52"/>
                    </a:cubicBezTo>
                    <a:cubicBezTo>
                      <a:pt x="118" y="51"/>
                      <a:pt x="118" y="54"/>
                      <a:pt x="118" y="55"/>
                    </a:cubicBezTo>
                    <a:cubicBezTo>
                      <a:pt x="119" y="57"/>
                      <a:pt x="118" y="59"/>
                      <a:pt x="119" y="59"/>
                    </a:cubicBezTo>
                    <a:cubicBezTo>
                      <a:pt x="122" y="61"/>
                      <a:pt x="122" y="67"/>
                      <a:pt x="125" y="70"/>
                    </a:cubicBezTo>
                    <a:cubicBezTo>
                      <a:pt x="126" y="71"/>
                      <a:pt x="128" y="71"/>
                      <a:pt x="128" y="73"/>
                    </a:cubicBezTo>
                    <a:cubicBezTo>
                      <a:pt x="128" y="76"/>
                      <a:pt x="128" y="78"/>
                      <a:pt x="130" y="80"/>
                    </a:cubicBezTo>
                    <a:cubicBezTo>
                      <a:pt x="131" y="82"/>
                      <a:pt x="132" y="81"/>
                      <a:pt x="134" y="79"/>
                    </a:cubicBezTo>
                    <a:cubicBezTo>
                      <a:pt x="134" y="79"/>
                      <a:pt x="134" y="81"/>
                      <a:pt x="135" y="81"/>
                    </a:cubicBezTo>
                    <a:cubicBezTo>
                      <a:pt x="136" y="81"/>
                      <a:pt x="137" y="81"/>
                      <a:pt x="137" y="81"/>
                    </a:cubicBezTo>
                    <a:cubicBezTo>
                      <a:pt x="138" y="81"/>
                      <a:pt x="140" y="79"/>
                      <a:pt x="141" y="80"/>
                    </a:cubicBezTo>
                    <a:cubicBezTo>
                      <a:pt x="142" y="82"/>
                      <a:pt x="141" y="83"/>
                      <a:pt x="141" y="84"/>
                    </a:cubicBezTo>
                    <a:cubicBezTo>
                      <a:pt x="142" y="86"/>
                      <a:pt x="143" y="86"/>
                      <a:pt x="144" y="88"/>
                    </a:cubicBezTo>
                    <a:cubicBezTo>
                      <a:pt x="145" y="90"/>
                      <a:pt x="146" y="93"/>
                      <a:pt x="146" y="95"/>
                    </a:cubicBezTo>
                    <a:cubicBezTo>
                      <a:pt x="147" y="98"/>
                      <a:pt x="145" y="99"/>
                      <a:pt x="144" y="101"/>
                    </a:cubicBezTo>
                    <a:cubicBezTo>
                      <a:pt x="144" y="103"/>
                      <a:pt x="144" y="110"/>
                      <a:pt x="146" y="111"/>
                    </a:cubicBezTo>
                    <a:cubicBezTo>
                      <a:pt x="147" y="112"/>
                      <a:pt x="149" y="106"/>
                      <a:pt x="149" y="105"/>
                    </a:cubicBezTo>
                    <a:cubicBezTo>
                      <a:pt x="150" y="101"/>
                      <a:pt x="152" y="105"/>
                      <a:pt x="153" y="107"/>
                    </a:cubicBezTo>
                    <a:cubicBezTo>
                      <a:pt x="154" y="107"/>
                      <a:pt x="155" y="108"/>
                      <a:pt x="155" y="109"/>
                    </a:cubicBezTo>
                    <a:cubicBezTo>
                      <a:pt x="156" y="110"/>
                      <a:pt x="155" y="112"/>
                      <a:pt x="156" y="114"/>
                    </a:cubicBezTo>
                    <a:cubicBezTo>
                      <a:pt x="156" y="115"/>
                      <a:pt x="157" y="116"/>
                      <a:pt x="158" y="118"/>
                    </a:cubicBezTo>
                    <a:cubicBezTo>
                      <a:pt x="159" y="120"/>
                      <a:pt x="160" y="123"/>
                      <a:pt x="161" y="125"/>
                    </a:cubicBezTo>
                    <a:cubicBezTo>
                      <a:pt x="162" y="127"/>
                      <a:pt x="163" y="129"/>
                      <a:pt x="162" y="130"/>
                    </a:cubicBezTo>
                    <a:cubicBezTo>
                      <a:pt x="161" y="132"/>
                      <a:pt x="159" y="134"/>
                      <a:pt x="159" y="136"/>
                    </a:cubicBezTo>
                    <a:cubicBezTo>
                      <a:pt x="160" y="139"/>
                      <a:pt x="162" y="139"/>
                      <a:pt x="163" y="142"/>
                    </a:cubicBezTo>
                    <a:cubicBezTo>
                      <a:pt x="163" y="145"/>
                      <a:pt x="162" y="155"/>
                      <a:pt x="165" y="148"/>
                    </a:cubicBezTo>
                    <a:cubicBezTo>
                      <a:pt x="166" y="150"/>
                      <a:pt x="169" y="149"/>
                      <a:pt x="170" y="149"/>
                    </a:cubicBezTo>
                    <a:cubicBezTo>
                      <a:pt x="172" y="149"/>
                      <a:pt x="172" y="145"/>
                      <a:pt x="173" y="144"/>
                    </a:cubicBezTo>
                    <a:cubicBezTo>
                      <a:pt x="174" y="144"/>
                      <a:pt x="174" y="155"/>
                      <a:pt x="174" y="156"/>
                    </a:cubicBezTo>
                    <a:cubicBezTo>
                      <a:pt x="175" y="159"/>
                      <a:pt x="176" y="160"/>
                      <a:pt x="177" y="163"/>
                    </a:cubicBezTo>
                    <a:cubicBezTo>
                      <a:pt x="178" y="164"/>
                      <a:pt x="182" y="166"/>
                      <a:pt x="180" y="168"/>
                    </a:cubicBezTo>
                    <a:cubicBezTo>
                      <a:pt x="180" y="169"/>
                      <a:pt x="179" y="169"/>
                      <a:pt x="179" y="170"/>
                    </a:cubicBezTo>
                    <a:cubicBezTo>
                      <a:pt x="179" y="171"/>
                      <a:pt x="179" y="173"/>
                      <a:pt x="179" y="174"/>
                    </a:cubicBezTo>
                    <a:cubicBezTo>
                      <a:pt x="180" y="177"/>
                      <a:pt x="181" y="179"/>
                      <a:pt x="180" y="182"/>
                    </a:cubicBezTo>
                    <a:cubicBezTo>
                      <a:pt x="178" y="188"/>
                      <a:pt x="179" y="195"/>
                      <a:pt x="184" y="199"/>
                    </a:cubicBezTo>
                    <a:cubicBezTo>
                      <a:pt x="187" y="202"/>
                      <a:pt x="191" y="206"/>
                      <a:pt x="194" y="211"/>
                    </a:cubicBezTo>
                    <a:cubicBezTo>
                      <a:pt x="197" y="218"/>
                      <a:pt x="201" y="212"/>
                      <a:pt x="205" y="212"/>
                    </a:cubicBezTo>
                    <a:cubicBezTo>
                      <a:pt x="207" y="212"/>
                      <a:pt x="213" y="211"/>
                      <a:pt x="214" y="214"/>
                    </a:cubicBezTo>
                    <a:cubicBezTo>
                      <a:pt x="216" y="219"/>
                      <a:pt x="215" y="223"/>
                      <a:pt x="211" y="222"/>
                    </a:cubicBezTo>
                    <a:cubicBezTo>
                      <a:pt x="208" y="221"/>
                      <a:pt x="205" y="217"/>
                      <a:pt x="202" y="217"/>
                    </a:cubicBezTo>
                    <a:cubicBezTo>
                      <a:pt x="199" y="217"/>
                      <a:pt x="202" y="227"/>
                      <a:pt x="203" y="229"/>
                    </a:cubicBezTo>
                    <a:cubicBezTo>
                      <a:pt x="204" y="231"/>
                      <a:pt x="205" y="232"/>
                      <a:pt x="206" y="235"/>
                    </a:cubicBezTo>
                    <a:cubicBezTo>
                      <a:pt x="206" y="238"/>
                      <a:pt x="206" y="242"/>
                      <a:pt x="206" y="245"/>
                    </a:cubicBezTo>
                    <a:cubicBezTo>
                      <a:pt x="207" y="253"/>
                      <a:pt x="208" y="262"/>
                      <a:pt x="207" y="270"/>
                    </a:cubicBezTo>
                    <a:cubicBezTo>
                      <a:pt x="207" y="273"/>
                      <a:pt x="205" y="276"/>
                      <a:pt x="206" y="280"/>
                    </a:cubicBezTo>
                    <a:cubicBezTo>
                      <a:pt x="207" y="283"/>
                      <a:pt x="208" y="286"/>
                      <a:pt x="209" y="289"/>
                    </a:cubicBezTo>
                    <a:cubicBezTo>
                      <a:pt x="209" y="292"/>
                      <a:pt x="210" y="295"/>
                      <a:pt x="210" y="298"/>
                    </a:cubicBezTo>
                    <a:cubicBezTo>
                      <a:pt x="210" y="301"/>
                      <a:pt x="209" y="304"/>
                      <a:pt x="210" y="308"/>
                    </a:cubicBezTo>
                    <a:cubicBezTo>
                      <a:pt x="210" y="311"/>
                      <a:pt x="212" y="313"/>
                      <a:pt x="213" y="315"/>
                    </a:cubicBezTo>
                    <a:cubicBezTo>
                      <a:pt x="214" y="318"/>
                      <a:pt x="215" y="321"/>
                      <a:pt x="216" y="323"/>
                    </a:cubicBezTo>
                    <a:cubicBezTo>
                      <a:pt x="218" y="326"/>
                      <a:pt x="220" y="327"/>
                      <a:pt x="221" y="330"/>
                    </a:cubicBezTo>
                    <a:cubicBezTo>
                      <a:pt x="222" y="333"/>
                      <a:pt x="224" y="336"/>
                      <a:pt x="225" y="339"/>
                    </a:cubicBezTo>
                    <a:cubicBezTo>
                      <a:pt x="229" y="351"/>
                      <a:pt x="237" y="365"/>
                      <a:pt x="248" y="371"/>
                    </a:cubicBezTo>
                    <a:cubicBezTo>
                      <a:pt x="252" y="374"/>
                      <a:pt x="257" y="376"/>
                      <a:pt x="260" y="381"/>
                    </a:cubicBezTo>
                    <a:cubicBezTo>
                      <a:pt x="263" y="387"/>
                      <a:pt x="268" y="393"/>
                      <a:pt x="272" y="399"/>
                    </a:cubicBezTo>
                    <a:cubicBezTo>
                      <a:pt x="275" y="404"/>
                      <a:pt x="280" y="408"/>
                      <a:pt x="282" y="413"/>
                    </a:cubicBezTo>
                    <a:cubicBezTo>
                      <a:pt x="283" y="415"/>
                      <a:pt x="284" y="418"/>
                      <a:pt x="286" y="419"/>
                    </a:cubicBezTo>
                    <a:cubicBezTo>
                      <a:pt x="288" y="421"/>
                      <a:pt x="291" y="424"/>
                      <a:pt x="294" y="426"/>
                    </a:cubicBezTo>
                    <a:cubicBezTo>
                      <a:pt x="298" y="430"/>
                      <a:pt x="293" y="434"/>
                      <a:pt x="296" y="438"/>
                    </a:cubicBezTo>
                    <a:cubicBezTo>
                      <a:pt x="298" y="442"/>
                      <a:pt x="304" y="442"/>
                      <a:pt x="307" y="445"/>
                    </a:cubicBezTo>
                    <a:cubicBezTo>
                      <a:pt x="313" y="448"/>
                      <a:pt x="311" y="452"/>
                      <a:pt x="312" y="457"/>
                    </a:cubicBezTo>
                    <a:cubicBezTo>
                      <a:pt x="313" y="459"/>
                      <a:pt x="314" y="460"/>
                      <a:pt x="316" y="460"/>
                    </a:cubicBezTo>
                    <a:cubicBezTo>
                      <a:pt x="319" y="460"/>
                      <a:pt x="321" y="463"/>
                      <a:pt x="323" y="465"/>
                    </a:cubicBezTo>
                    <a:cubicBezTo>
                      <a:pt x="324" y="467"/>
                      <a:pt x="327" y="468"/>
                      <a:pt x="329" y="470"/>
                    </a:cubicBezTo>
                    <a:cubicBezTo>
                      <a:pt x="330" y="471"/>
                      <a:pt x="331" y="474"/>
                      <a:pt x="334" y="475"/>
                    </a:cubicBezTo>
                    <a:cubicBezTo>
                      <a:pt x="335" y="475"/>
                      <a:pt x="337" y="476"/>
                      <a:pt x="337" y="474"/>
                    </a:cubicBezTo>
                    <a:cubicBezTo>
                      <a:pt x="336" y="472"/>
                      <a:pt x="334" y="469"/>
                      <a:pt x="332" y="467"/>
                    </a:cubicBezTo>
                    <a:cubicBezTo>
                      <a:pt x="331" y="465"/>
                      <a:pt x="328" y="465"/>
                      <a:pt x="327" y="463"/>
                    </a:cubicBezTo>
                    <a:cubicBezTo>
                      <a:pt x="326" y="461"/>
                      <a:pt x="325" y="458"/>
                      <a:pt x="323" y="456"/>
                    </a:cubicBezTo>
                    <a:cubicBezTo>
                      <a:pt x="321" y="454"/>
                      <a:pt x="321" y="453"/>
                      <a:pt x="319" y="450"/>
                    </a:cubicBezTo>
                    <a:cubicBezTo>
                      <a:pt x="317" y="448"/>
                      <a:pt x="315" y="446"/>
                      <a:pt x="313" y="443"/>
                    </a:cubicBezTo>
                    <a:cubicBezTo>
                      <a:pt x="311" y="440"/>
                      <a:pt x="309" y="437"/>
                      <a:pt x="307" y="435"/>
                    </a:cubicBezTo>
                    <a:cubicBezTo>
                      <a:pt x="305" y="433"/>
                      <a:pt x="303" y="431"/>
                      <a:pt x="302" y="429"/>
                    </a:cubicBezTo>
                    <a:cubicBezTo>
                      <a:pt x="302" y="424"/>
                      <a:pt x="297" y="421"/>
                      <a:pt x="292" y="418"/>
                    </a:cubicBezTo>
                    <a:cubicBezTo>
                      <a:pt x="289" y="416"/>
                      <a:pt x="289" y="414"/>
                      <a:pt x="289" y="412"/>
                    </a:cubicBezTo>
                    <a:cubicBezTo>
                      <a:pt x="290" y="409"/>
                      <a:pt x="289" y="406"/>
                      <a:pt x="288" y="402"/>
                    </a:cubicBezTo>
                    <a:cubicBezTo>
                      <a:pt x="288" y="397"/>
                      <a:pt x="293" y="402"/>
                      <a:pt x="295" y="405"/>
                    </a:cubicBezTo>
                    <a:cubicBezTo>
                      <a:pt x="299" y="409"/>
                      <a:pt x="302" y="414"/>
                      <a:pt x="304" y="419"/>
                    </a:cubicBezTo>
                    <a:cubicBezTo>
                      <a:pt x="305" y="422"/>
                      <a:pt x="306" y="424"/>
                      <a:pt x="308" y="426"/>
                    </a:cubicBezTo>
                    <a:cubicBezTo>
                      <a:pt x="311" y="428"/>
                      <a:pt x="313" y="430"/>
                      <a:pt x="316" y="433"/>
                    </a:cubicBezTo>
                    <a:cubicBezTo>
                      <a:pt x="320" y="437"/>
                      <a:pt x="326" y="440"/>
                      <a:pt x="329" y="445"/>
                    </a:cubicBezTo>
                    <a:cubicBezTo>
                      <a:pt x="331" y="448"/>
                      <a:pt x="332" y="454"/>
                      <a:pt x="337" y="456"/>
                    </a:cubicBezTo>
                    <a:cubicBezTo>
                      <a:pt x="340" y="458"/>
                      <a:pt x="343" y="462"/>
                      <a:pt x="346" y="465"/>
                    </a:cubicBezTo>
                    <a:cubicBezTo>
                      <a:pt x="349" y="467"/>
                      <a:pt x="351" y="469"/>
                      <a:pt x="354" y="471"/>
                    </a:cubicBezTo>
                    <a:cubicBezTo>
                      <a:pt x="356" y="473"/>
                      <a:pt x="358" y="475"/>
                      <a:pt x="360" y="478"/>
                    </a:cubicBezTo>
                    <a:cubicBezTo>
                      <a:pt x="364" y="481"/>
                      <a:pt x="368" y="486"/>
                      <a:pt x="369" y="491"/>
                    </a:cubicBezTo>
                    <a:cubicBezTo>
                      <a:pt x="369" y="493"/>
                      <a:pt x="367" y="494"/>
                      <a:pt x="367" y="497"/>
                    </a:cubicBezTo>
                    <a:cubicBezTo>
                      <a:pt x="367" y="498"/>
                      <a:pt x="370" y="500"/>
                      <a:pt x="372" y="502"/>
                    </a:cubicBezTo>
                    <a:cubicBezTo>
                      <a:pt x="377" y="505"/>
                      <a:pt x="381" y="508"/>
                      <a:pt x="386" y="511"/>
                    </a:cubicBezTo>
                    <a:cubicBezTo>
                      <a:pt x="389" y="513"/>
                      <a:pt x="392" y="513"/>
                      <a:pt x="395" y="515"/>
                    </a:cubicBezTo>
                    <a:cubicBezTo>
                      <a:pt x="398" y="517"/>
                      <a:pt x="400" y="519"/>
                      <a:pt x="404" y="521"/>
                    </a:cubicBezTo>
                    <a:cubicBezTo>
                      <a:pt x="409" y="524"/>
                      <a:pt x="415" y="527"/>
                      <a:pt x="421" y="528"/>
                    </a:cubicBezTo>
                    <a:cubicBezTo>
                      <a:pt x="428" y="530"/>
                      <a:pt x="434" y="531"/>
                      <a:pt x="441" y="535"/>
                    </a:cubicBezTo>
                    <a:cubicBezTo>
                      <a:pt x="445" y="537"/>
                      <a:pt x="450" y="541"/>
                      <a:pt x="454" y="543"/>
                    </a:cubicBezTo>
                    <a:cubicBezTo>
                      <a:pt x="460" y="546"/>
                      <a:pt x="453" y="539"/>
                      <a:pt x="458" y="539"/>
                    </a:cubicBezTo>
                    <a:cubicBezTo>
                      <a:pt x="462" y="539"/>
                      <a:pt x="468" y="538"/>
                      <a:pt x="472" y="539"/>
                    </a:cubicBezTo>
                    <a:cubicBezTo>
                      <a:pt x="474" y="540"/>
                      <a:pt x="476" y="541"/>
                      <a:pt x="478" y="543"/>
                    </a:cubicBezTo>
                    <a:cubicBezTo>
                      <a:pt x="481" y="545"/>
                      <a:pt x="479" y="547"/>
                      <a:pt x="479" y="549"/>
                    </a:cubicBezTo>
                    <a:cubicBezTo>
                      <a:pt x="479" y="552"/>
                      <a:pt x="485" y="552"/>
                      <a:pt x="488" y="553"/>
                    </a:cubicBezTo>
                    <a:cubicBezTo>
                      <a:pt x="493" y="553"/>
                      <a:pt x="497" y="555"/>
                      <a:pt x="501" y="557"/>
                    </a:cubicBezTo>
                    <a:cubicBezTo>
                      <a:pt x="505" y="559"/>
                      <a:pt x="510" y="554"/>
                      <a:pt x="513" y="556"/>
                    </a:cubicBezTo>
                    <a:cubicBezTo>
                      <a:pt x="516" y="559"/>
                      <a:pt x="520" y="561"/>
                      <a:pt x="523" y="564"/>
                    </a:cubicBezTo>
                    <a:cubicBezTo>
                      <a:pt x="525" y="565"/>
                      <a:pt x="527" y="566"/>
                      <a:pt x="527" y="567"/>
                    </a:cubicBezTo>
                    <a:cubicBezTo>
                      <a:pt x="527" y="569"/>
                      <a:pt x="526" y="572"/>
                      <a:pt x="527" y="574"/>
                    </a:cubicBezTo>
                    <a:cubicBezTo>
                      <a:pt x="527" y="575"/>
                      <a:pt x="528" y="578"/>
                      <a:pt x="527" y="579"/>
                    </a:cubicBezTo>
                    <a:cubicBezTo>
                      <a:pt x="525" y="581"/>
                      <a:pt x="524" y="582"/>
                      <a:pt x="524" y="585"/>
                    </a:cubicBezTo>
                    <a:cubicBezTo>
                      <a:pt x="525" y="588"/>
                      <a:pt x="536" y="588"/>
                      <a:pt x="540" y="588"/>
                    </a:cubicBezTo>
                    <a:cubicBezTo>
                      <a:pt x="543" y="587"/>
                      <a:pt x="546" y="587"/>
                      <a:pt x="550" y="587"/>
                    </a:cubicBezTo>
                    <a:cubicBezTo>
                      <a:pt x="553" y="588"/>
                      <a:pt x="555" y="589"/>
                      <a:pt x="559" y="589"/>
                    </a:cubicBezTo>
                    <a:cubicBezTo>
                      <a:pt x="564" y="589"/>
                      <a:pt x="569" y="586"/>
                      <a:pt x="574" y="586"/>
                    </a:cubicBezTo>
                    <a:cubicBezTo>
                      <a:pt x="576" y="585"/>
                      <a:pt x="577" y="587"/>
                      <a:pt x="578" y="587"/>
                    </a:cubicBezTo>
                    <a:cubicBezTo>
                      <a:pt x="580" y="587"/>
                      <a:pt x="582" y="586"/>
                      <a:pt x="585" y="586"/>
                    </a:cubicBezTo>
                    <a:cubicBezTo>
                      <a:pt x="589" y="586"/>
                      <a:pt x="590" y="591"/>
                      <a:pt x="592" y="592"/>
                    </a:cubicBezTo>
                    <a:cubicBezTo>
                      <a:pt x="594" y="594"/>
                      <a:pt x="594" y="594"/>
                      <a:pt x="593" y="595"/>
                    </a:cubicBezTo>
                    <a:cubicBezTo>
                      <a:pt x="592" y="597"/>
                      <a:pt x="594" y="598"/>
                      <a:pt x="594" y="599"/>
                    </a:cubicBezTo>
                    <a:cubicBezTo>
                      <a:pt x="593" y="601"/>
                      <a:pt x="592" y="602"/>
                      <a:pt x="592" y="604"/>
                    </a:cubicBezTo>
                    <a:cubicBezTo>
                      <a:pt x="591" y="605"/>
                      <a:pt x="592" y="606"/>
                      <a:pt x="593" y="607"/>
                    </a:cubicBezTo>
                    <a:cubicBezTo>
                      <a:pt x="594" y="609"/>
                      <a:pt x="593" y="611"/>
                      <a:pt x="592" y="612"/>
                    </a:cubicBezTo>
                    <a:cubicBezTo>
                      <a:pt x="589" y="613"/>
                      <a:pt x="590" y="614"/>
                      <a:pt x="588" y="616"/>
                    </a:cubicBezTo>
                    <a:cubicBezTo>
                      <a:pt x="587" y="617"/>
                      <a:pt x="582" y="616"/>
                      <a:pt x="581" y="618"/>
                    </a:cubicBezTo>
                    <a:cubicBezTo>
                      <a:pt x="581" y="619"/>
                      <a:pt x="580" y="620"/>
                      <a:pt x="579" y="621"/>
                    </a:cubicBezTo>
                    <a:cubicBezTo>
                      <a:pt x="577" y="622"/>
                      <a:pt x="580" y="623"/>
                      <a:pt x="578" y="624"/>
                    </a:cubicBezTo>
                    <a:cubicBezTo>
                      <a:pt x="576" y="626"/>
                      <a:pt x="573" y="625"/>
                      <a:pt x="570" y="626"/>
                    </a:cubicBezTo>
                    <a:cubicBezTo>
                      <a:pt x="568" y="628"/>
                      <a:pt x="572" y="630"/>
                      <a:pt x="570" y="632"/>
                    </a:cubicBezTo>
                    <a:cubicBezTo>
                      <a:pt x="569" y="633"/>
                      <a:pt x="567" y="633"/>
                      <a:pt x="567" y="634"/>
                    </a:cubicBezTo>
                    <a:cubicBezTo>
                      <a:pt x="567" y="635"/>
                      <a:pt x="566" y="635"/>
                      <a:pt x="566" y="636"/>
                    </a:cubicBezTo>
                    <a:cubicBezTo>
                      <a:pt x="565" y="637"/>
                      <a:pt x="563" y="636"/>
                      <a:pt x="564" y="637"/>
                    </a:cubicBezTo>
                    <a:cubicBezTo>
                      <a:pt x="564" y="638"/>
                      <a:pt x="564" y="639"/>
                      <a:pt x="564" y="640"/>
                    </a:cubicBezTo>
                    <a:cubicBezTo>
                      <a:pt x="565" y="640"/>
                      <a:pt x="566" y="641"/>
                      <a:pt x="565" y="642"/>
                    </a:cubicBezTo>
                    <a:cubicBezTo>
                      <a:pt x="565" y="642"/>
                      <a:pt x="562" y="643"/>
                      <a:pt x="565" y="643"/>
                    </a:cubicBezTo>
                    <a:cubicBezTo>
                      <a:pt x="567" y="644"/>
                      <a:pt x="567" y="645"/>
                      <a:pt x="568" y="645"/>
                    </a:cubicBezTo>
                    <a:cubicBezTo>
                      <a:pt x="570" y="646"/>
                      <a:pt x="571" y="645"/>
                      <a:pt x="571" y="644"/>
                    </a:cubicBezTo>
                    <a:cubicBezTo>
                      <a:pt x="574" y="646"/>
                      <a:pt x="570" y="649"/>
                      <a:pt x="567" y="650"/>
                    </a:cubicBezTo>
                    <a:cubicBezTo>
                      <a:pt x="564" y="651"/>
                      <a:pt x="559" y="654"/>
                      <a:pt x="561" y="656"/>
                    </a:cubicBezTo>
                    <a:cubicBezTo>
                      <a:pt x="563" y="657"/>
                      <a:pt x="565" y="659"/>
                      <a:pt x="564" y="661"/>
                    </a:cubicBezTo>
                    <a:cubicBezTo>
                      <a:pt x="564" y="661"/>
                      <a:pt x="562" y="661"/>
                      <a:pt x="563" y="662"/>
                    </a:cubicBezTo>
                    <a:cubicBezTo>
                      <a:pt x="564" y="663"/>
                      <a:pt x="567" y="663"/>
                      <a:pt x="569" y="664"/>
                    </a:cubicBezTo>
                    <a:cubicBezTo>
                      <a:pt x="574" y="666"/>
                      <a:pt x="575" y="669"/>
                      <a:pt x="578" y="672"/>
                    </a:cubicBezTo>
                    <a:cubicBezTo>
                      <a:pt x="579" y="673"/>
                      <a:pt x="580" y="675"/>
                      <a:pt x="581" y="676"/>
                    </a:cubicBezTo>
                    <a:cubicBezTo>
                      <a:pt x="582" y="678"/>
                      <a:pt x="584" y="679"/>
                      <a:pt x="585" y="681"/>
                    </a:cubicBezTo>
                    <a:cubicBezTo>
                      <a:pt x="586" y="682"/>
                      <a:pt x="587" y="684"/>
                      <a:pt x="588" y="685"/>
                    </a:cubicBezTo>
                    <a:cubicBezTo>
                      <a:pt x="589" y="686"/>
                      <a:pt x="591" y="686"/>
                      <a:pt x="593" y="687"/>
                    </a:cubicBezTo>
                    <a:cubicBezTo>
                      <a:pt x="594" y="688"/>
                      <a:pt x="593" y="689"/>
                      <a:pt x="594" y="690"/>
                    </a:cubicBezTo>
                    <a:cubicBezTo>
                      <a:pt x="594" y="691"/>
                      <a:pt x="595" y="691"/>
                      <a:pt x="596" y="691"/>
                    </a:cubicBezTo>
                    <a:cubicBezTo>
                      <a:pt x="597" y="692"/>
                      <a:pt x="597" y="693"/>
                      <a:pt x="598" y="693"/>
                    </a:cubicBezTo>
                    <a:cubicBezTo>
                      <a:pt x="600" y="696"/>
                      <a:pt x="600" y="698"/>
                      <a:pt x="603" y="700"/>
                    </a:cubicBezTo>
                    <a:cubicBezTo>
                      <a:pt x="604" y="701"/>
                      <a:pt x="605" y="702"/>
                      <a:pt x="607" y="702"/>
                    </a:cubicBezTo>
                    <a:cubicBezTo>
                      <a:pt x="609" y="703"/>
                      <a:pt x="609" y="704"/>
                      <a:pt x="611" y="705"/>
                    </a:cubicBezTo>
                    <a:cubicBezTo>
                      <a:pt x="614" y="706"/>
                      <a:pt x="617" y="707"/>
                      <a:pt x="621" y="707"/>
                    </a:cubicBezTo>
                    <a:cubicBezTo>
                      <a:pt x="623" y="707"/>
                      <a:pt x="623" y="708"/>
                      <a:pt x="625" y="708"/>
                    </a:cubicBezTo>
                    <a:cubicBezTo>
                      <a:pt x="627" y="709"/>
                      <a:pt x="629" y="709"/>
                      <a:pt x="631" y="710"/>
                    </a:cubicBezTo>
                    <a:cubicBezTo>
                      <a:pt x="634" y="711"/>
                      <a:pt x="636" y="713"/>
                      <a:pt x="640" y="714"/>
                    </a:cubicBezTo>
                    <a:cubicBezTo>
                      <a:pt x="642" y="715"/>
                      <a:pt x="642" y="715"/>
                      <a:pt x="641" y="716"/>
                    </a:cubicBezTo>
                    <a:cubicBezTo>
                      <a:pt x="641" y="718"/>
                      <a:pt x="642" y="718"/>
                      <a:pt x="643" y="720"/>
                    </a:cubicBezTo>
                    <a:cubicBezTo>
                      <a:pt x="643" y="721"/>
                      <a:pt x="643" y="722"/>
                      <a:pt x="643" y="723"/>
                    </a:cubicBezTo>
                    <a:cubicBezTo>
                      <a:pt x="643" y="724"/>
                      <a:pt x="644" y="724"/>
                      <a:pt x="644" y="724"/>
                    </a:cubicBezTo>
                    <a:cubicBezTo>
                      <a:pt x="644" y="725"/>
                      <a:pt x="644" y="725"/>
                      <a:pt x="644" y="726"/>
                    </a:cubicBezTo>
                    <a:cubicBezTo>
                      <a:pt x="645" y="727"/>
                      <a:pt x="645" y="727"/>
                      <a:pt x="643" y="728"/>
                    </a:cubicBezTo>
                    <a:cubicBezTo>
                      <a:pt x="642" y="729"/>
                      <a:pt x="643" y="730"/>
                      <a:pt x="643" y="731"/>
                    </a:cubicBezTo>
                    <a:cubicBezTo>
                      <a:pt x="643" y="732"/>
                      <a:pt x="640" y="733"/>
                      <a:pt x="642" y="734"/>
                    </a:cubicBezTo>
                    <a:cubicBezTo>
                      <a:pt x="643" y="735"/>
                      <a:pt x="641" y="737"/>
                      <a:pt x="642" y="738"/>
                    </a:cubicBezTo>
                    <a:cubicBezTo>
                      <a:pt x="642" y="739"/>
                      <a:pt x="643" y="740"/>
                      <a:pt x="643" y="741"/>
                    </a:cubicBezTo>
                    <a:cubicBezTo>
                      <a:pt x="643" y="741"/>
                      <a:pt x="642" y="742"/>
                      <a:pt x="642" y="743"/>
                    </a:cubicBezTo>
                    <a:cubicBezTo>
                      <a:pt x="642" y="744"/>
                      <a:pt x="642" y="745"/>
                      <a:pt x="642" y="746"/>
                    </a:cubicBezTo>
                    <a:cubicBezTo>
                      <a:pt x="642" y="746"/>
                      <a:pt x="641" y="747"/>
                      <a:pt x="641" y="748"/>
                    </a:cubicBezTo>
                    <a:cubicBezTo>
                      <a:pt x="641" y="748"/>
                      <a:pt x="641" y="749"/>
                      <a:pt x="641" y="749"/>
                    </a:cubicBezTo>
                    <a:cubicBezTo>
                      <a:pt x="641" y="750"/>
                      <a:pt x="640" y="750"/>
                      <a:pt x="640" y="751"/>
                    </a:cubicBezTo>
                    <a:cubicBezTo>
                      <a:pt x="639" y="752"/>
                      <a:pt x="640" y="753"/>
                      <a:pt x="639" y="754"/>
                    </a:cubicBezTo>
                    <a:cubicBezTo>
                      <a:pt x="638" y="755"/>
                      <a:pt x="640" y="756"/>
                      <a:pt x="640" y="757"/>
                    </a:cubicBezTo>
                    <a:cubicBezTo>
                      <a:pt x="639" y="759"/>
                      <a:pt x="638" y="760"/>
                      <a:pt x="638" y="762"/>
                    </a:cubicBezTo>
                    <a:cubicBezTo>
                      <a:pt x="639" y="764"/>
                      <a:pt x="643" y="766"/>
                      <a:pt x="642" y="768"/>
                    </a:cubicBezTo>
                    <a:cubicBezTo>
                      <a:pt x="642" y="770"/>
                      <a:pt x="642" y="771"/>
                      <a:pt x="641" y="773"/>
                    </a:cubicBezTo>
                    <a:cubicBezTo>
                      <a:pt x="641" y="774"/>
                      <a:pt x="640" y="775"/>
                      <a:pt x="639" y="777"/>
                    </a:cubicBezTo>
                    <a:cubicBezTo>
                      <a:pt x="639" y="778"/>
                      <a:pt x="639" y="779"/>
                      <a:pt x="638" y="780"/>
                    </a:cubicBezTo>
                    <a:cubicBezTo>
                      <a:pt x="638" y="781"/>
                      <a:pt x="639" y="781"/>
                      <a:pt x="638" y="782"/>
                    </a:cubicBezTo>
                    <a:cubicBezTo>
                      <a:pt x="637" y="783"/>
                      <a:pt x="637" y="782"/>
                      <a:pt x="636" y="782"/>
                    </a:cubicBezTo>
                    <a:cubicBezTo>
                      <a:pt x="635" y="783"/>
                      <a:pt x="637" y="784"/>
                      <a:pt x="638" y="786"/>
                    </a:cubicBezTo>
                    <a:cubicBezTo>
                      <a:pt x="638" y="787"/>
                      <a:pt x="640" y="787"/>
                      <a:pt x="641" y="788"/>
                    </a:cubicBezTo>
                    <a:cubicBezTo>
                      <a:pt x="641" y="789"/>
                      <a:pt x="641" y="789"/>
                      <a:pt x="641" y="790"/>
                    </a:cubicBezTo>
                    <a:cubicBezTo>
                      <a:pt x="640" y="790"/>
                      <a:pt x="639" y="790"/>
                      <a:pt x="639" y="791"/>
                    </a:cubicBezTo>
                    <a:cubicBezTo>
                      <a:pt x="638" y="792"/>
                      <a:pt x="640" y="794"/>
                      <a:pt x="642" y="795"/>
                    </a:cubicBezTo>
                    <a:cubicBezTo>
                      <a:pt x="644" y="796"/>
                      <a:pt x="645" y="794"/>
                      <a:pt x="647" y="794"/>
                    </a:cubicBezTo>
                    <a:cubicBezTo>
                      <a:pt x="650" y="794"/>
                      <a:pt x="649" y="797"/>
                      <a:pt x="649" y="798"/>
                    </a:cubicBezTo>
                    <a:cubicBezTo>
                      <a:pt x="648" y="800"/>
                      <a:pt x="649" y="801"/>
                      <a:pt x="649" y="803"/>
                    </a:cubicBezTo>
                    <a:cubicBezTo>
                      <a:pt x="649" y="804"/>
                      <a:pt x="651" y="804"/>
                      <a:pt x="650" y="805"/>
                    </a:cubicBezTo>
                    <a:cubicBezTo>
                      <a:pt x="650" y="805"/>
                      <a:pt x="650" y="807"/>
                      <a:pt x="650" y="807"/>
                    </a:cubicBezTo>
                    <a:cubicBezTo>
                      <a:pt x="649" y="807"/>
                      <a:pt x="649" y="807"/>
                      <a:pt x="648" y="807"/>
                    </a:cubicBezTo>
                    <a:cubicBezTo>
                      <a:pt x="648" y="807"/>
                      <a:pt x="649" y="808"/>
                      <a:pt x="649" y="808"/>
                    </a:cubicBezTo>
                    <a:cubicBezTo>
                      <a:pt x="647" y="809"/>
                      <a:pt x="646" y="806"/>
                      <a:pt x="645" y="807"/>
                    </a:cubicBezTo>
                    <a:cubicBezTo>
                      <a:pt x="643" y="807"/>
                      <a:pt x="643" y="808"/>
                      <a:pt x="643" y="808"/>
                    </a:cubicBezTo>
                    <a:cubicBezTo>
                      <a:pt x="642" y="809"/>
                      <a:pt x="642" y="809"/>
                      <a:pt x="644" y="810"/>
                    </a:cubicBezTo>
                    <a:cubicBezTo>
                      <a:pt x="645" y="810"/>
                      <a:pt x="646" y="810"/>
                      <a:pt x="647" y="810"/>
                    </a:cubicBezTo>
                    <a:cubicBezTo>
                      <a:pt x="647" y="810"/>
                      <a:pt x="649" y="811"/>
                      <a:pt x="649" y="811"/>
                    </a:cubicBezTo>
                    <a:cubicBezTo>
                      <a:pt x="649" y="812"/>
                      <a:pt x="648" y="812"/>
                      <a:pt x="649" y="812"/>
                    </a:cubicBezTo>
                    <a:cubicBezTo>
                      <a:pt x="650" y="812"/>
                      <a:pt x="651" y="812"/>
                      <a:pt x="651" y="812"/>
                    </a:cubicBezTo>
                    <a:cubicBezTo>
                      <a:pt x="652" y="813"/>
                      <a:pt x="652" y="814"/>
                      <a:pt x="650" y="815"/>
                    </a:cubicBezTo>
                    <a:cubicBezTo>
                      <a:pt x="649" y="815"/>
                      <a:pt x="648" y="815"/>
                      <a:pt x="647" y="815"/>
                    </a:cubicBezTo>
                    <a:cubicBezTo>
                      <a:pt x="647" y="816"/>
                      <a:pt x="648" y="817"/>
                      <a:pt x="649" y="816"/>
                    </a:cubicBezTo>
                    <a:cubicBezTo>
                      <a:pt x="649" y="817"/>
                      <a:pt x="649" y="818"/>
                      <a:pt x="651" y="818"/>
                    </a:cubicBezTo>
                    <a:cubicBezTo>
                      <a:pt x="652" y="818"/>
                      <a:pt x="653" y="816"/>
                      <a:pt x="654" y="816"/>
                    </a:cubicBezTo>
                    <a:cubicBezTo>
                      <a:pt x="654" y="817"/>
                      <a:pt x="654" y="817"/>
                      <a:pt x="654" y="817"/>
                    </a:cubicBezTo>
                    <a:cubicBezTo>
                      <a:pt x="654" y="818"/>
                      <a:pt x="655" y="817"/>
                      <a:pt x="656" y="818"/>
                    </a:cubicBezTo>
                    <a:cubicBezTo>
                      <a:pt x="656" y="818"/>
                      <a:pt x="656" y="819"/>
                      <a:pt x="656" y="819"/>
                    </a:cubicBezTo>
                    <a:cubicBezTo>
                      <a:pt x="657" y="820"/>
                      <a:pt x="658" y="820"/>
                      <a:pt x="658" y="821"/>
                    </a:cubicBezTo>
                    <a:cubicBezTo>
                      <a:pt x="659" y="821"/>
                      <a:pt x="660" y="821"/>
                      <a:pt x="662" y="821"/>
                    </a:cubicBezTo>
                    <a:cubicBezTo>
                      <a:pt x="663" y="821"/>
                      <a:pt x="664" y="821"/>
                      <a:pt x="665" y="821"/>
                    </a:cubicBezTo>
                    <a:cubicBezTo>
                      <a:pt x="666" y="822"/>
                      <a:pt x="664" y="822"/>
                      <a:pt x="663" y="822"/>
                    </a:cubicBezTo>
                    <a:cubicBezTo>
                      <a:pt x="666" y="822"/>
                      <a:pt x="669" y="823"/>
                      <a:pt x="671" y="823"/>
                    </a:cubicBezTo>
                    <a:cubicBezTo>
                      <a:pt x="677" y="823"/>
                      <a:pt x="682" y="822"/>
                      <a:pt x="687" y="822"/>
                    </a:cubicBezTo>
                    <a:cubicBezTo>
                      <a:pt x="687" y="822"/>
                      <a:pt x="687" y="822"/>
                      <a:pt x="687" y="8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86"/>
              <p:cNvSpPr>
                <a:spLocks/>
              </p:cNvSpPr>
              <p:nvPr/>
            </p:nvSpPr>
            <p:spPr bwMode="auto">
              <a:xfrm>
                <a:off x="3084513" y="4470400"/>
                <a:ext cx="69850" cy="19050"/>
              </a:xfrm>
              <a:custGeom>
                <a:avLst/>
                <a:gdLst>
                  <a:gd name="T0" fmla="*/ 89 w 92"/>
                  <a:gd name="T1" fmla="*/ 13 h 24"/>
                  <a:gd name="T2" fmla="*/ 81 w 92"/>
                  <a:gd name="T3" fmla="*/ 11 h 24"/>
                  <a:gd name="T4" fmla="*/ 71 w 92"/>
                  <a:gd name="T5" fmla="*/ 9 h 24"/>
                  <a:gd name="T6" fmla="*/ 65 w 92"/>
                  <a:gd name="T7" fmla="*/ 8 h 24"/>
                  <a:gd name="T8" fmla="*/ 59 w 92"/>
                  <a:gd name="T9" fmla="*/ 5 h 24"/>
                  <a:gd name="T10" fmla="*/ 52 w 92"/>
                  <a:gd name="T11" fmla="*/ 4 h 24"/>
                  <a:gd name="T12" fmla="*/ 44 w 92"/>
                  <a:gd name="T13" fmla="*/ 2 h 24"/>
                  <a:gd name="T14" fmla="*/ 39 w 92"/>
                  <a:gd name="T15" fmla="*/ 1 h 24"/>
                  <a:gd name="T16" fmla="*/ 35 w 92"/>
                  <a:gd name="T17" fmla="*/ 0 h 24"/>
                  <a:gd name="T18" fmla="*/ 28 w 92"/>
                  <a:gd name="T19" fmla="*/ 6 h 24"/>
                  <a:gd name="T20" fmla="*/ 15 w 92"/>
                  <a:gd name="T21" fmla="*/ 6 h 24"/>
                  <a:gd name="T22" fmla="*/ 6 w 92"/>
                  <a:gd name="T23" fmla="*/ 12 h 24"/>
                  <a:gd name="T24" fmla="*/ 1 w 92"/>
                  <a:gd name="T25" fmla="*/ 15 h 24"/>
                  <a:gd name="T26" fmla="*/ 4 w 92"/>
                  <a:gd name="T27" fmla="*/ 17 h 24"/>
                  <a:gd name="T28" fmla="*/ 13 w 92"/>
                  <a:gd name="T29" fmla="*/ 14 h 24"/>
                  <a:gd name="T30" fmla="*/ 18 w 92"/>
                  <a:gd name="T31" fmla="*/ 12 h 24"/>
                  <a:gd name="T32" fmla="*/ 24 w 92"/>
                  <a:gd name="T33" fmla="*/ 10 h 24"/>
                  <a:gd name="T34" fmla="*/ 28 w 92"/>
                  <a:gd name="T35" fmla="*/ 12 h 24"/>
                  <a:gd name="T36" fmla="*/ 35 w 92"/>
                  <a:gd name="T37" fmla="*/ 11 h 24"/>
                  <a:gd name="T38" fmla="*/ 40 w 92"/>
                  <a:gd name="T39" fmla="*/ 12 h 24"/>
                  <a:gd name="T40" fmla="*/ 44 w 92"/>
                  <a:gd name="T41" fmla="*/ 10 h 24"/>
                  <a:gd name="T42" fmla="*/ 53 w 92"/>
                  <a:gd name="T43" fmla="*/ 16 h 24"/>
                  <a:gd name="T44" fmla="*/ 58 w 92"/>
                  <a:gd name="T45" fmla="*/ 17 h 24"/>
                  <a:gd name="T46" fmla="*/ 60 w 92"/>
                  <a:gd name="T47" fmla="*/ 24 h 24"/>
                  <a:gd name="T48" fmla="*/ 65 w 92"/>
                  <a:gd name="T49" fmla="*/ 21 h 24"/>
                  <a:gd name="T50" fmla="*/ 71 w 92"/>
                  <a:gd name="T51" fmla="*/ 21 h 24"/>
                  <a:gd name="T52" fmla="*/ 89 w 92"/>
                  <a:gd name="T53" fmla="*/ 17 h 24"/>
                  <a:gd name="T54" fmla="*/ 89 w 92"/>
                  <a:gd name="T5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24">
                    <a:moveTo>
                      <a:pt x="89" y="13"/>
                    </a:moveTo>
                    <a:cubicBezTo>
                      <a:pt x="86" y="13"/>
                      <a:pt x="84" y="13"/>
                      <a:pt x="81" y="11"/>
                    </a:cubicBezTo>
                    <a:cubicBezTo>
                      <a:pt x="79" y="10"/>
                      <a:pt x="74" y="11"/>
                      <a:pt x="71" y="9"/>
                    </a:cubicBezTo>
                    <a:cubicBezTo>
                      <a:pt x="69" y="9"/>
                      <a:pt x="67" y="9"/>
                      <a:pt x="65" y="8"/>
                    </a:cubicBezTo>
                    <a:cubicBezTo>
                      <a:pt x="62" y="8"/>
                      <a:pt x="61" y="6"/>
                      <a:pt x="59" y="5"/>
                    </a:cubicBezTo>
                    <a:cubicBezTo>
                      <a:pt x="56" y="4"/>
                      <a:pt x="54" y="5"/>
                      <a:pt x="52" y="4"/>
                    </a:cubicBezTo>
                    <a:cubicBezTo>
                      <a:pt x="49" y="3"/>
                      <a:pt x="47" y="2"/>
                      <a:pt x="44" y="2"/>
                    </a:cubicBezTo>
                    <a:cubicBezTo>
                      <a:pt x="42" y="1"/>
                      <a:pt x="40" y="2"/>
                      <a:pt x="39" y="1"/>
                    </a:cubicBezTo>
                    <a:cubicBezTo>
                      <a:pt x="38" y="0"/>
                      <a:pt x="36" y="0"/>
                      <a:pt x="35" y="0"/>
                    </a:cubicBezTo>
                    <a:cubicBezTo>
                      <a:pt x="32" y="2"/>
                      <a:pt x="31" y="4"/>
                      <a:pt x="28" y="6"/>
                    </a:cubicBezTo>
                    <a:cubicBezTo>
                      <a:pt x="26" y="9"/>
                      <a:pt x="19" y="6"/>
                      <a:pt x="15" y="6"/>
                    </a:cubicBezTo>
                    <a:cubicBezTo>
                      <a:pt x="10" y="5"/>
                      <a:pt x="10" y="10"/>
                      <a:pt x="6" y="12"/>
                    </a:cubicBezTo>
                    <a:cubicBezTo>
                      <a:pt x="5" y="13"/>
                      <a:pt x="1" y="13"/>
                      <a:pt x="1" y="15"/>
                    </a:cubicBezTo>
                    <a:cubicBezTo>
                      <a:pt x="0" y="16"/>
                      <a:pt x="3" y="17"/>
                      <a:pt x="4" y="17"/>
                    </a:cubicBezTo>
                    <a:cubicBezTo>
                      <a:pt x="8" y="17"/>
                      <a:pt x="11" y="16"/>
                      <a:pt x="13" y="14"/>
                    </a:cubicBezTo>
                    <a:cubicBezTo>
                      <a:pt x="15" y="13"/>
                      <a:pt x="17" y="14"/>
                      <a:pt x="18" y="12"/>
                    </a:cubicBezTo>
                    <a:cubicBezTo>
                      <a:pt x="20" y="10"/>
                      <a:pt x="21" y="10"/>
                      <a:pt x="24" y="10"/>
                    </a:cubicBezTo>
                    <a:cubicBezTo>
                      <a:pt x="26" y="10"/>
                      <a:pt x="27" y="11"/>
                      <a:pt x="28" y="12"/>
                    </a:cubicBezTo>
                    <a:cubicBezTo>
                      <a:pt x="31" y="13"/>
                      <a:pt x="33" y="10"/>
                      <a:pt x="35" y="11"/>
                    </a:cubicBezTo>
                    <a:cubicBezTo>
                      <a:pt x="37" y="12"/>
                      <a:pt x="38" y="13"/>
                      <a:pt x="40" y="12"/>
                    </a:cubicBezTo>
                    <a:cubicBezTo>
                      <a:pt x="41" y="12"/>
                      <a:pt x="43" y="9"/>
                      <a:pt x="44" y="10"/>
                    </a:cubicBezTo>
                    <a:cubicBezTo>
                      <a:pt x="48" y="11"/>
                      <a:pt x="50" y="14"/>
                      <a:pt x="53" y="16"/>
                    </a:cubicBezTo>
                    <a:cubicBezTo>
                      <a:pt x="54" y="16"/>
                      <a:pt x="57" y="16"/>
                      <a:pt x="58" y="17"/>
                    </a:cubicBezTo>
                    <a:cubicBezTo>
                      <a:pt x="60" y="18"/>
                      <a:pt x="60" y="22"/>
                      <a:pt x="60" y="24"/>
                    </a:cubicBezTo>
                    <a:cubicBezTo>
                      <a:pt x="63" y="24"/>
                      <a:pt x="64" y="23"/>
                      <a:pt x="65" y="21"/>
                    </a:cubicBezTo>
                    <a:cubicBezTo>
                      <a:pt x="67" y="19"/>
                      <a:pt x="68" y="20"/>
                      <a:pt x="71" y="21"/>
                    </a:cubicBezTo>
                    <a:cubicBezTo>
                      <a:pt x="76" y="22"/>
                      <a:pt x="85" y="19"/>
                      <a:pt x="89" y="17"/>
                    </a:cubicBezTo>
                    <a:cubicBezTo>
                      <a:pt x="92" y="15"/>
                      <a:pt x="92" y="14"/>
                      <a:pt x="8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87"/>
              <p:cNvSpPr>
                <a:spLocks/>
              </p:cNvSpPr>
              <p:nvPr/>
            </p:nvSpPr>
            <p:spPr bwMode="auto">
              <a:xfrm>
                <a:off x="2667001" y="4124325"/>
                <a:ext cx="9525" cy="7938"/>
              </a:xfrm>
              <a:custGeom>
                <a:avLst/>
                <a:gdLst>
                  <a:gd name="T0" fmla="*/ 10 w 12"/>
                  <a:gd name="T1" fmla="*/ 6 h 11"/>
                  <a:gd name="T2" fmla="*/ 8 w 12"/>
                  <a:gd name="T3" fmla="*/ 5 h 11"/>
                  <a:gd name="T4" fmla="*/ 4 w 12"/>
                  <a:gd name="T5" fmla="*/ 2 h 11"/>
                  <a:gd name="T6" fmla="*/ 2 w 12"/>
                  <a:gd name="T7" fmla="*/ 1 h 11"/>
                  <a:gd name="T8" fmla="*/ 2 w 12"/>
                  <a:gd name="T9" fmla="*/ 8 h 11"/>
                  <a:gd name="T10" fmla="*/ 6 w 12"/>
                  <a:gd name="T11" fmla="*/ 8 h 11"/>
                  <a:gd name="T12" fmla="*/ 7 w 12"/>
                  <a:gd name="T13" fmla="*/ 11 h 11"/>
                  <a:gd name="T14" fmla="*/ 8 w 12"/>
                  <a:gd name="T15" fmla="*/ 9 h 11"/>
                  <a:gd name="T16" fmla="*/ 10 w 12"/>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10" y="6"/>
                    </a:moveTo>
                    <a:cubicBezTo>
                      <a:pt x="9" y="6"/>
                      <a:pt x="8" y="6"/>
                      <a:pt x="8" y="5"/>
                    </a:cubicBezTo>
                    <a:cubicBezTo>
                      <a:pt x="6" y="4"/>
                      <a:pt x="6" y="2"/>
                      <a:pt x="4" y="2"/>
                    </a:cubicBezTo>
                    <a:cubicBezTo>
                      <a:pt x="3" y="2"/>
                      <a:pt x="3" y="0"/>
                      <a:pt x="2" y="1"/>
                    </a:cubicBezTo>
                    <a:cubicBezTo>
                      <a:pt x="0" y="3"/>
                      <a:pt x="0" y="9"/>
                      <a:pt x="2" y="8"/>
                    </a:cubicBezTo>
                    <a:cubicBezTo>
                      <a:pt x="4" y="6"/>
                      <a:pt x="4" y="6"/>
                      <a:pt x="6" y="8"/>
                    </a:cubicBezTo>
                    <a:cubicBezTo>
                      <a:pt x="6" y="9"/>
                      <a:pt x="7" y="10"/>
                      <a:pt x="7" y="11"/>
                    </a:cubicBezTo>
                    <a:cubicBezTo>
                      <a:pt x="7" y="11"/>
                      <a:pt x="8" y="10"/>
                      <a:pt x="8" y="9"/>
                    </a:cubicBezTo>
                    <a:cubicBezTo>
                      <a:pt x="9" y="8"/>
                      <a:pt x="12" y="7"/>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88"/>
              <p:cNvSpPr>
                <a:spLocks/>
              </p:cNvSpPr>
              <p:nvPr/>
            </p:nvSpPr>
            <p:spPr bwMode="auto">
              <a:xfrm>
                <a:off x="2667001" y="4187825"/>
                <a:ext cx="1588" cy="3175"/>
              </a:xfrm>
              <a:custGeom>
                <a:avLst/>
                <a:gdLst>
                  <a:gd name="T0" fmla="*/ 0 w 3"/>
                  <a:gd name="T1" fmla="*/ 3 h 5"/>
                  <a:gd name="T2" fmla="*/ 3 w 3"/>
                  <a:gd name="T3" fmla="*/ 2 h 5"/>
                  <a:gd name="T4" fmla="*/ 2 w 3"/>
                  <a:gd name="T5" fmla="*/ 2 h 5"/>
                  <a:gd name="T6" fmla="*/ 0 w 3"/>
                  <a:gd name="T7" fmla="*/ 3 h 5"/>
                </a:gdLst>
                <a:ahLst/>
                <a:cxnLst>
                  <a:cxn ang="0">
                    <a:pos x="T0" y="T1"/>
                  </a:cxn>
                  <a:cxn ang="0">
                    <a:pos x="T2" y="T3"/>
                  </a:cxn>
                  <a:cxn ang="0">
                    <a:pos x="T4" y="T5"/>
                  </a:cxn>
                  <a:cxn ang="0">
                    <a:pos x="T6" y="T7"/>
                  </a:cxn>
                </a:cxnLst>
                <a:rect l="0" t="0" r="r" b="b"/>
                <a:pathLst>
                  <a:path w="3" h="5">
                    <a:moveTo>
                      <a:pt x="0" y="3"/>
                    </a:moveTo>
                    <a:cubicBezTo>
                      <a:pt x="1" y="4"/>
                      <a:pt x="3" y="5"/>
                      <a:pt x="3" y="2"/>
                    </a:cubicBezTo>
                    <a:cubicBezTo>
                      <a:pt x="2" y="2"/>
                      <a:pt x="2" y="2"/>
                      <a:pt x="2" y="2"/>
                    </a:cubicBezTo>
                    <a:cubicBezTo>
                      <a:pt x="2"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89"/>
              <p:cNvSpPr>
                <a:spLocks/>
              </p:cNvSpPr>
              <p:nvPr/>
            </p:nvSpPr>
            <p:spPr bwMode="auto">
              <a:xfrm>
                <a:off x="2679701" y="4208463"/>
                <a:ext cx="7938" cy="6350"/>
              </a:xfrm>
              <a:custGeom>
                <a:avLst/>
                <a:gdLst>
                  <a:gd name="T0" fmla="*/ 3 w 9"/>
                  <a:gd name="T1" fmla="*/ 1 h 8"/>
                  <a:gd name="T2" fmla="*/ 2 w 9"/>
                  <a:gd name="T3" fmla="*/ 7 h 8"/>
                  <a:gd name="T4" fmla="*/ 4 w 9"/>
                  <a:gd name="T5" fmla="*/ 7 h 8"/>
                  <a:gd name="T6" fmla="*/ 7 w 9"/>
                  <a:gd name="T7" fmla="*/ 6 h 8"/>
                  <a:gd name="T8" fmla="*/ 7 w 9"/>
                  <a:gd name="T9" fmla="*/ 1 h 8"/>
                  <a:gd name="T10" fmla="*/ 3 w 9"/>
                  <a:gd name="T11" fmla="*/ 1 h 8"/>
                </a:gdLst>
                <a:ahLst/>
                <a:cxnLst>
                  <a:cxn ang="0">
                    <a:pos x="T0" y="T1"/>
                  </a:cxn>
                  <a:cxn ang="0">
                    <a:pos x="T2" y="T3"/>
                  </a:cxn>
                  <a:cxn ang="0">
                    <a:pos x="T4" y="T5"/>
                  </a:cxn>
                  <a:cxn ang="0">
                    <a:pos x="T6" y="T7"/>
                  </a:cxn>
                  <a:cxn ang="0">
                    <a:pos x="T8" y="T9"/>
                  </a:cxn>
                  <a:cxn ang="0">
                    <a:pos x="T10" y="T11"/>
                  </a:cxn>
                </a:cxnLst>
                <a:rect l="0" t="0" r="r" b="b"/>
                <a:pathLst>
                  <a:path w="9" h="8">
                    <a:moveTo>
                      <a:pt x="3" y="1"/>
                    </a:moveTo>
                    <a:cubicBezTo>
                      <a:pt x="3" y="3"/>
                      <a:pt x="0" y="5"/>
                      <a:pt x="2" y="7"/>
                    </a:cubicBezTo>
                    <a:cubicBezTo>
                      <a:pt x="3" y="8"/>
                      <a:pt x="3" y="8"/>
                      <a:pt x="4" y="7"/>
                    </a:cubicBezTo>
                    <a:cubicBezTo>
                      <a:pt x="5" y="6"/>
                      <a:pt x="6" y="6"/>
                      <a:pt x="7" y="6"/>
                    </a:cubicBezTo>
                    <a:cubicBezTo>
                      <a:pt x="9" y="6"/>
                      <a:pt x="9" y="1"/>
                      <a:pt x="7" y="1"/>
                    </a:cubicBezTo>
                    <a:cubicBezTo>
                      <a:pt x="7" y="0"/>
                      <a:pt x="4"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90"/>
              <p:cNvSpPr>
                <a:spLocks/>
              </p:cNvSpPr>
              <p:nvPr/>
            </p:nvSpPr>
            <p:spPr bwMode="auto">
              <a:xfrm>
                <a:off x="2668588" y="4192588"/>
                <a:ext cx="1588" cy="6350"/>
              </a:xfrm>
              <a:custGeom>
                <a:avLst/>
                <a:gdLst>
                  <a:gd name="T0" fmla="*/ 1 w 3"/>
                  <a:gd name="T1" fmla="*/ 6 h 7"/>
                  <a:gd name="T2" fmla="*/ 3 w 3"/>
                  <a:gd name="T3" fmla="*/ 3 h 7"/>
                  <a:gd name="T4" fmla="*/ 1 w 3"/>
                  <a:gd name="T5" fmla="*/ 6 h 7"/>
                </a:gdLst>
                <a:ahLst/>
                <a:cxnLst>
                  <a:cxn ang="0">
                    <a:pos x="T0" y="T1"/>
                  </a:cxn>
                  <a:cxn ang="0">
                    <a:pos x="T2" y="T3"/>
                  </a:cxn>
                  <a:cxn ang="0">
                    <a:pos x="T4" y="T5"/>
                  </a:cxn>
                </a:cxnLst>
                <a:rect l="0" t="0" r="r" b="b"/>
                <a:pathLst>
                  <a:path w="3" h="7">
                    <a:moveTo>
                      <a:pt x="1" y="6"/>
                    </a:moveTo>
                    <a:cubicBezTo>
                      <a:pt x="2" y="7"/>
                      <a:pt x="3" y="5"/>
                      <a:pt x="3" y="3"/>
                    </a:cubicBezTo>
                    <a:cubicBezTo>
                      <a:pt x="2" y="0"/>
                      <a:pt x="0" y="3"/>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91"/>
              <p:cNvSpPr>
                <a:spLocks/>
              </p:cNvSpPr>
              <p:nvPr/>
            </p:nvSpPr>
            <p:spPr bwMode="auto">
              <a:xfrm>
                <a:off x="2671763" y="4219575"/>
                <a:ext cx="3175" cy="6350"/>
              </a:xfrm>
              <a:custGeom>
                <a:avLst/>
                <a:gdLst>
                  <a:gd name="T0" fmla="*/ 0 w 3"/>
                  <a:gd name="T1" fmla="*/ 3 h 7"/>
                  <a:gd name="T2" fmla="*/ 2 w 3"/>
                  <a:gd name="T3" fmla="*/ 4 h 7"/>
                  <a:gd name="T4" fmla="*/ 0 w 3"/>
                  <a:gd name="T5" fmla="*/ 3 h 7"/>
                </a:gdLst>
                <a:ahLst/>
                <a:cxnLst>
                  <a:cxn ang="0">
                    <a:pos x="T0" y="T1"/>
                  </a:cxn>
                  <a:cxn ang="0">
                    <a:pos x="T2" y="T3"/>
                  </a:cxn>
                  <a:cxn ang="0">
                    <a:pos x="T4" y="T5"/>
                  </a:cxn>
                </a:cxnLst>
                <a:rect l="0" t="0" r="r" b="b"/>
                <a:pathLst>
                  <a:path w="3" h="7">
                    <a:moveTo>
                      <a:pt x="0" y="3"/>
                    </a:moveTo>
                    <a:cubicBezTo>
                      <a:pt x="0" y="7"/>
                      <a:pt x="3" y="5"/>
                      <a:pt x="2" y="4"/>
                    </a:cubicBezTo>
                    <a:cubicBezTo>
                      <a:pt x="2" y="3"/>
                      <a:pt x="1"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92"/>
              <p:cNvSpPr>
                <a:spLocks/>
              </p:cNvSpPr>
              <p:nvPr/>
            </p:nvSpPr>
            <p:spPr bwMode="auto">
              <a:xfrm>
                <a:off x="2687638" y="4213225"/>
                <a:ext cx="1588" cy="3175"/>
              </a:xfrm>
              <a:custGeom>
                <a:avLst/>
                <a:gdLst>
                  <a:gd name="T0" fmla="*/ 2 w 3"/>
                  <a:gd name="T1" fmla="*/ 1 h 4"/>
                  <a:gd name="T2" fmla="*/ 1 w 3"/>
                  <a:gd name="T3" fmla="*/ 4 h 4"/>
                  <a:gd name="T4" fmla="*/ 2 w 3"/>
                  <a:gd name="T5" fmla="*/ 1 h 4"/>
                </a:gdLst>
                <a:ahLst/>
                <a:cxnLst>
                  <a:cxn ang="0">
                    <a:pos x="T0" y="T1"/>
                  </a:cxn>
                  <a:cxn ang="0">
                    <a:pos x="T2" y="T3"/>
                  </a:cxn>
                  <a:cxn ang="0">
                    <a:pos x="T4" y="T5"/>
                  </a:cxn>
                </a:cxnLst>
                <a:rect l="0" t="0" r="r" b="b"/>
                <a:pathLst>
                  <a:path w="3" h="4">
                    <a:moveTo>
                      <a:pt x="2" y="1"/>
                    </a:moveTo>
                    <a:cubicBezTo>
                      <a:pt x="1" y="1"/>
                      <a:pt x="0" y="3"/>
                      <a:pt x="1" y="4"/>
                    </a:cubicBezTo>
                    <a:cubicBezTo>
                      <a:pt x="3" y="4"/>
                      <a:pt x="2"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93"/>
              <p:cNvSpPr>
                <a:spLocks/>
              </p:cNvSpPr>
              <p:nvPr/>
            </p:nvSpPr>
            <p:spPr bwMode="auto">
              <a:xfrm>
                <a:off x="2665413" y="419258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2"/>
                      <a:pt x="1" y="2"/>
                    </a:cubicBezTo>
                    <a:cubicBezTo>
                      <a:pt x="2" y="3"/>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94"/>
              <p:cNvSpPr>
                <a:spLocks/>
              </p:cNvSpPr>
              <p:nvPr/>
            </p:nvSpPr>
            <p:spPr bwMode="auto">
              <a:xfrm>
                <a:off x="2686051" y="4198938"/>
                <a:ext cx="9525" cy="9525"/>
              </a:xfrm>
              <a:custGeom>
                <a:avLst/>
                <a:gdLst>
                  <a:gd name="T0" fmla="*/ 7 w 13"/>
                  <a:gd name="T1" fmla="*/ 9 h 14"/>
                  <a:gd name="T2" fmla="*/ 12 w 13"/>
                  <a:gd name="T3" fmla="*/ 9 h 14"/>
                  <a:gd name="T4" fmla="*/ 10 w 13"/>
                  <a:gd name="T5" fmla="*/ 7 h 14"/>
                  <a:gd name="T6" fmla="*/ 9 w 13"/>
                  <a:gd name="T7" fmla="*/ 4 h 14"/>
                  <a:gd name="T8" fmla="*/ 5 w 13"/>
                  <a:gd name="T9" fmla="*/ 4 h 14"/>
                  <a:gd name="T10" fmla="*/ 1 w 13"/>
                  <a:gd name="T11" fmla="*/ 8 h 14"/>
                  <a:gd name="T12" fmla="*/ 0 w 13"/>
                  <a:gd name="T13" fmla="*/ 11 h 14"/>
                  <a:gd name="T14" fmla="*/ 2 w 13"/>
                  <a:gd name="T15" fmla="*/ 12 h 14"/>
                  <a:gd name="T16" fmla="*/ 5 w 13"/>
                  <a:gd name="T17" fmla="*/ 14 h 14"/>
                  <a:gd name="T18" fmla="*/ 7 w 13"/>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
                    <a:moveTo>
                      <a:pt x="7" y="9"/>
                    </a:moveTo>
                    <a:cubicBezTo>
                      <a:pt x="7" y="10"/>
                      <a:pt x="13" y="14"/>
                      <a:pt x="12" y="9"/>
                    </a:cubicBezTo>
                    <a:cubicBezTo>
                      <a:pt x="12" y="8"/>
                      <a:pt x="11" y="8"/>
                      <a:pt x="10" y="7"/>
                    </a:cubicBezTo>
                    <a:cubicBezTo>
                      <a:pt x="10" y="6"/>
                      <a:pt x="9" y="5"/>
                      <a:pt x="9" y="4"/>
                    </a:cubicBezTo>
                    <a:cubicBezTo>
                      <a:pt x="8" y="2"/>
                      <a:pt x="5" y="0"/>
                      <a:pt x="5" y="4"/>
                    </a:cubicBezTo>
                    <a:cubicBezTo>
                      <a:pt x="4" y="7"/>
                      <a:pt x="2" y="8"/>
                      <a:pt x="1" y="8"/>
                    </a:cubicBezTo>
                    <a:cubicBezTo>
                      <a:pt x="0" y="8"/>
                      <a:pt x="0" y="9"/>
                      <a:pt x="0" y="11"/>
                    </a:cubicBezTo>
                    <a:cubicBezTo>
                      <a:pt x="0" y="12"/>
                      <a:pt x="1" y="12"/>
                      <a:pt x="2" y="12"/>
                    </a:cubicBezTo>
                    <a:cubicBezTo>
                      <a:pt x="3" y="12"/>
                      <a:pt x="3" y="14"/>
                      <a:pt x="5" y="14"/>
                    </a:cubicBezTo>
                    <a:cubicBezTo>
                      <a:pt x="6" y="14"/>
                      <a:pt x="5" y="8"/>
                      <a:pt x="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95"/>
              <p:cNvSpPr>
                <a:spLocks/>
              </p:cNvSpPr>
              <p:nvPr/>
            </p:nvSpPr>
            <p:spPr bwMode="auto">
              <a:xfrm>
                <a:off x="2663826" y="4227513"/>
                <a:ext cx="4763" cy="4763"/>
              </a:xfrm>
              <a:custGeom>
                <a:avLst/>
                <a:gdLst>
                  <a:gd name="T0" fmla="*/ 1 w 5"/>
                  <a:gd name="T1" fmla="*/ 4 h 5"/>
                  <a:gd name="T2" fmla="*/ 3 w 5"/>
                  <a:gd name="T3" fmla="*/ 1 h 5"/>
                  <a:gd name="T4" fmla="*/ 5 w 5"/>
                  <a:gd name="T5" fmla="*/ 0 h 5"/>
                  <a:gd name="T6" fmla="*/ 2 w 5"/>
                  <a:gd name="T7" fmla="*/ 0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5"/>
                      <a:pt x="2" y="1"/>
                      <a:pt x="3" y="1"/>
                    </a:cubicBezTo>
                    <a:cubicBezTo>
                      <a:pt x="4" y="1"/>
                      <a:pt x="5" y="2"/>
                      <a:pt x="5" y="0"/>
                    </a:cubicBezTo>
                    <a:cubicBezTo>
                      <a:pt x="4" y="0"/>
                      <a:pt x="3" y="0"/>
                      <a:pt x="2" y="0"/>
                    </a:cubicBezTo>
                    <a:cubicBezTo>
                      <a:pt x="2" y="1"/>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96"/>
              <p:cNvSpPr>
                <a:spLocks/>
              </p:cNvSpPr>
              <p:nvPr/>
            </p:nvSpPr>
            <p:spPr bwMode="auto">
              <a:xfrm>
                <a:off x="2676526" y="4157663"/>
                <a:ext cx="4763" cy="9525"/>
              </a:xfrm>
              <a:custGeom>
                <a:avLst/>
                <a:gdLst>
                  <a:gd name="T0" fmla="*/ 5 w 8"/>
                  <a:gd name="T1" fmla="*/ 9 h 13"/>
                  <a:gd name="T2" fmla="*/ 7 w 8"/>
                  <a:gd name="T3" fmla="*/ 2 h 13"/>
                  <a:gd name="T4" fmla="*/ 2 w 8"/>
                  <a:gd name="T5" fmla="*/ 6 h 13"/>
                  <a:gd name="T6" fmla="*/ 5 w 8"/>
                  <a:gd name="T7" fmla="*/ 9 h 13"/>
                </a:gdLst>
                <a:ahLst/>
                <a:cxnLst>
                  <a:cxn ang="0">
                    <a:pos x="T0" y="T1"/>
                  </a:cxn>
                  <a:cxn ang="0">
                    <a:pos x="T2" y="T3"/>
                  </a:cxn>
                  <a:cxn ang="0">
                    <a:pos x="T4" y="T5"/>
                  </a:cxn>
                  <a:cxn ang="0">
                    <a:pos x="T6" y="T7"/>
                  </a:cxn>
                </a:cxnLst>
                <a:rect l="0" t="0" r="r" b="b"/>
                <a:pathLst>
                  <a:path w="8" h="13">
                    <a:moveTo>
                      <a:pt x="5" y="9"/>
                    </a:moveTo>
                    <a:cubicBezTo>
                      <a:pt x="6" y="7"/>
                      <a:pt x="8" y="4"/>
                      <a:pt x="7" y="2"/>
                    </a:cubicBezTo>
                    <a:cubicBezTo>
                      <a:pt x="6" y="0"/>
                      <a:pt x="0" y="2"/>
                      <a:pt x="2" y="6"/>
                    </a:cubicBezTo>
                    <a:cubicBezTo>
                      <a:pt x="3" y="6"/>
                      <a:pt x="4" y="13"/>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97"/>
              <p:cNvSpPr>
                <a:spLocks/>
              </p:cNvSpPr>
              <p:nvPr/>
            </p:nvSpPr>
            <p:spPr bwMode="auto">
              <a:xfrm>
                <a:off x="2674938" y="4214813"/>
                <a:ext cx="6350" cy="7938"/>
              </a:xfrm>
              <a:custGeom>
                <a:avLst/>
                <a:gdLst>
                  <a:gd name="T0" fmla="*/ 1 w 9"/>
                  <a:gd name="T1" fmla="*/ 6 h 11"/>
                  <a:gd name="T2" fmla="*/ 2 w 9"/>
                  <a:gd name="T3" fmla="*/ 10 h 11"/>
                  <a:gd name="T4" fmla="*/ 4 w 9"/>
                  <a:gd name="T5" fmla="*/ 7 h 11"/>
                  <a:gd name="T6" fmla="*/ 9 w 9"/>
                  <a:gd name="T7" fmla="*/ 3 h 11"/>
                  <a:gd name="T8" fmla="*/ 6 w 9"/>
                  <a:gd name="T9" fmla="*/ 0 h 11"/>
                  <a:gd name="T10" fmla="*/ 5 w 9"/>
                  <a:gd name="T11" fmla="*/ 4 h 11"/>
                  <a:gd name="T12" fmla="*/ 3 w 9"/>
                  <a:gd name="T13" fmla="*/ 5 h 11"/>
                  <a:gd name="T14" fmla="*/ 1 w 9"/>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1" y="6"/>
                    </a:moveTo>
                    <a:cubicBezTo>
                      <a:pt x="0" y="7"/>
                      <a:pt x="1" y="11"/>
                      <a:pt x="2" y="10"/>
                    </a:cubicBezTo>
                    <a:cubicBezTo>
                      <a:pt x="3" y="10"/>
                      <a:pt x="3" y="7"/>
                      <a:pt x="4" y="7"/>
                    </a:cubicBezTo>
                    <a:cubicBezTo>
                      <a:pt x="4" y="8"/>
                      <a:pt x="9" y="4"/>
                      <a:pt x="9" y="3"/>
                    </a:cubicBezTo>
                    <a:cubicBezTo>
                      <a:pt x="8" y="1"/>
                      <a:pt x="7" y="0"/>
                      <a:pt x="6" y="0"/>
                    </a:cubicBezTo>
                    <a:cubicBezTo>
                      <a:pt x="4" y="0"/>
                      <a:pt x="4" y="3"/>
                      <a:pt x="5" y="4"/>
                    </a:cubicBezTo>
                    <a:cubicBezTo>
                      <a:pt x="6" y="5"/>
                      <a:pt x="3" y="5"/>
                      <a:pt x="3" y="5"/>
                    </a:cubicBezTo>
                    <a:cubicBezTo>
                      <a:pt x="2" y="5"/>
                      <a:pt x="1" y="4"/>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98"/>
              <p:cNvSpPr>
                <a:spLocks/>
              </p:cNvSpPr>
              <p:nvPr/>
            </p:nvSpPr>
            <p:spPr bwMode="auto">
              <a:xfrm>
                <a:off x="2884488" y="4424363"/>
                <a:ext cx="3175" cy="4763"/>
              </a:xfrm>
              <a:custGeom>
                <a:avLst/>
                <a:gdLst>
                  <a:gd name="T0" fmla="*/ 4 w 4"/>
                  <a:gd name="T1" fmla="*/ 4 h 7"/>
                  <a:gd name="T2" fmla="*/ 2 w 4"/>
                  <a:gd name="T3" fmla="*/ 3 h 7"/>
                  <a:gd name="T4" fmla="*/ 1 w 4"/>
                  <a:gd name="T5" fmla="*/ 5 h 7"/>
                  <a:gd name="T6" fmla="*/ 4 w 4"/>
                  <a:gd name="T7" fmla="*/ 4 h 7"/>
                </a:gdLst>
                <a:ahLst/>
                <a:cxnLst>
                  <a:cxn ang="0">
                    <a:pos x="T0" y="T1"/>
                  </a:cxn>
                  <a:cxn ang="0">
                    <a:pos x="T2" y="T3"/>
                  </a:cxn>
                  <a:cxn ang="0">
                    <a:pos x="T4" y="T5"/>
                  </a:cxn>
                  <a:cxn ang="0">
                    <a:pos x="T6" y="T7"/>
                  </a:cxn>
                </a:cxnLst>
                <a:rect l="0" t="0" r="r" b="b"/>
                <a:pathLst>
                  <a:path w="4" h="7">
                    <a:moveTo>
                      <a:pt x="4" y="4"/>
                    </a:moveTo>
                    <a:cubicBezTo>
                      <a:pt x="2" y="3"/>
                      <a:pt x="2" y="3"/>
                      <a:pt x="2" y="3"/>
                    </a:cubicBezTo>
                    <a:cubicBezTo>
                      <a:pt x="0" y="0"/>
                      <a:pt x="1" y="4"/>
                      <a:pt x="1" y="5"/>
                    </a:cubicBezTo>
                    <a:cubicBezTo>
                      <a:pt x="2" y="7"/>
                      <a:pt x="4" y="6"/>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99"/>
              <p:cNvSpPr>
                <a:spLocks/>
              </p:cNvSpPr>
              <p:nvPr/>
            </p:nvSpPr>
            <p:spPr bwMode="auto">
              <a:xfrm>
                <a:off x="2792413" y="4210050"/>
                <a:ext cx="6350" cy="7938"/>
              </a:xfrm>
              <a:custGeom>
                <a:avLst/>
                <a:gdLst>
                  <a:gd name="T0" fmla="*/ 4 w 8"/>
                  <a:gd name="T1" fmla="*/ 0 h 11"/>
                  <a:gd name="T2" fmla="*/ 1 w 8"/>
                  <a:gd name="T3" fmla="*/ 2 h 11"/>
                  <a:gd name="T4" fmla="*/ 1 w 8"/>
                  <a:gd name="T5" fmla="*/ 7 h 11"/>
                  <a:gd name="T6" fmla="*/ 2 w 8"/>
                  <a:gd name="T7" fmla="*/ 11 h 11"/>
                  <a:gd name="T8" fmla="*/ 4 w 8"/>
                  <a:gd name="T9" fmla="*/ 9 h 11"/>
                  <a:gd name="T10" fmla="*/ 8 w 8"/>
                  <a:gd name="T11" fmla="*/ 5 h 11"/>
                  <a:gd name="T12" fmla="*/ 4 w 8"/>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 h="11">
                    <a:moveTo>
                      <a:pt x="4" y="0"/>
                    </a:moveTo>
                    <a:cubicBezTo>
                      <a:pt x="3" y="0"/>
                      <a:pt x="2" y="1"/>
                      <a:pt x="1" y="2"/>
                    </a:cubicBezTo>
                    <a:cubicBezTo>
                      <a:pt x="0" y="4"/>
                      <a:pt x="1" y="5"/>
                      <a:pt x="1" y="7"/>
                    </a:cubicBezTo>
                    <a:cubicBezTo>
                      <a:pt x="1" y="8"/>
                      <a:pt x="1" y="10"/>
                      <a:pt x="2" y="11"/>
                    </a:cubicBezTo>
                    <a:cubicBezTo>
                      <a:pt x="3" y="11"/>
                      <a:pt x="4" y="10"/>
                      <a:pt x="4" y="9"/>
                    </a:cubicBezTo>
                    <a:cubicBezTo>
                      <a:pt x="5" y="7"/>
                      <a:pt x="7" y="7"/>
                      <a:pt x="8" y="5"/>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200"/>
              <p:cNvSpPr>
                <a:spLocks/>
              </p:cNvSpPr>
              <p:nvPr/>
            </p:nvSpPr>
            <p:spPr bwMode="auto">
              <a:xfrm>
                <a:off x="2790826" y="4195763"/>
                <a:ext cx="7938" cy="12700"/>
              </a:xfrm>
              <a:custGeom>
                <a:avLst/>
                <a:gdLst>
                  <a:gd name="T0" fmla="*/ 7 w 10"/>
                  <a:gd name="T1" fmla="*/ 3 h 17"/>
                  <a:gd name="T2" fmla="*/ 3 w 10"/>
                  <a:gd name="T3" fmla="*/ 0 h 17"/>
                  <a:gd name="T4" fmla="*/ 3 w 10"/>
                  <a:gd name="T5" fmla="*/ 10 h 17"/>
                  <a:gd name="T6" fmla="*/ 2 w 10"/>
                  <a:gd name="T7" fmla="*/ 16 h 17"/>
                  <a:gd name="T8" fmla="*/ 5 w 10"/>
                  <a:gd name="T9" fmla="*/ 15 h 17"/>
                  <a:gd name="T10" fmla="*/ 9 w 10"/>
                  <a:gd name="T11" fmla="*/ 14 h 17"/>
                  <a:gd name="T12" fmla="*/ 9 w 10"/>
                  <a:gd name="T13" fmla="*/ 9 h 17"/>
                  <a:gd name="T14" fmla="*/ 7 w 10"/>
                  <a:gd name="T15" fmla="*/ 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7" y="3"/>
                    </a:moveTo>
                    <a:cubicBezTo>
                      <a:pt x="6" y="1"/>
                      <a:pt x="3" y="1"/>
                      <a:pt x="3" y="0"/>
                    </a:cubicBezTo>
                    <a:cubicBezTo>
                      <a:pt x="0" y="3"/>
                      <a:pt x="3" y="7"/>
                      <a:pt x="3" y="10"/>
                    </a:cubicBezTo>
                    <a:cubicBezTo>
                      <a:pt x="3" y="12"/>
                      <a:pt x="2" y="14"/>
                      <a:pt x="2" y="16"/>
                    </a:cubicBezTo>
                    <a:cubicBezTo>
                      <a:pt x="3" y="17"/>
                      <a:pt x="5" y="16"/>
                      <a:pt x="5" y="15"/>
                    </a:cubicBezTo>
                    <a:cubicBezTo>
                      <a:pt x="7" y="12"/>
                      <a:pt x="7" y="15"/>
                      <a:pt x="9" y="14"/>
                    </a:cubicBezTo>
                    <a:cubicBezTo>
                      <a:pt x="10" y="14"/>
                      <a:pt x="9" y="10"/>
                      <a:pt x="9" y="9"/>
                    </a:cubicBezTo>
                    <a:cubicBezTo>
                      <a:pt x="8" y="7"/>
                      <a:pt x="8"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201"/>
              <p:cNvSpPr>
                <a:spLocks/>
              </p:cNvSpPr>
              <p:nvPr/>
            </p:nvSpPr>
            <p:spPr bwMode="auto">
              <a:xfrm>
                <a:off x="2909888" y="4486275"/>
                <a:ext cx="6350" cy="6350"/>
              </a:xfrm>
              <a:custGeom>
                <a:avLst/>
                <a:gdLst>
                  <a:gd name="T0" fmla="*/ 7 w 7"/>
                  <a:gd name="T1" fmla="*/ 5 h 7"/>
                  <a:gd name="T2" fmla="*/ 5 w 7"/>
                  <a:gd name="T3" fmla="*/ 1 h 7"/>
                  <a:gd name="T4" fmla="*/ 1 w 7"/>
                  <a:gd name="T5" fmla="*/ 0 h 7"/>
                  <a:gd name="T6" fmla="*/ 2 w 7"/>
                  <a:gd name="T7" fmla="*/ 4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7" y="4"/>
                      <a:pt x="5" y="3"/>
                      <a:pt x="5" y="1"/>
                    </a:cubicBezTo>
                    <a:cubicBezTo>
                      <a:pt x="4" y="1"/>
                      <a:pt x="2" y="0"/>
                      <a:pt x="1" y="0"/>
                    </a:cubicBezTo>
                    <a:cubicBezTo>
                      <a:pt x="0" y="1"/>
                      <a:pt x="1" y="3"/>
                      <a:pt x="2" y="4"/>
                    </a:cubicBezTo>
                    <a:cubicBezTo>
                      <a:pt x="3" y="5"/>
                      <a:pt x="6" y="7"/>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202"/>
              <p:cNvSpPr>
                <a:spLocks/>
              </p:cNvSpPr>
              <p:nvPr/>
            </p:nvSpPr>
            <p:spPr bwMode="auto">
              <a:xfrm>
                <a:off x="2898776" y="4481513"/>
                <a:ext cx="7938" cy="7938"/>
              </a:xfrm>
              <a:custGeom>
                <a:avLst/>
                <a:gdLst>
                  <a:gd name="T0" fmla="*/ 4 w 10"/>
                  <a:gd name="T1" fmla="*/ 9 h 11"/>
                  <a:gd name="T2" fmla="*/ 9 w 10"/>
                  <a:gd name="T3" fmla="*/ 9 h 11"/>
                  <a:gd name="T4" fmla="*/ 7 w 10"/>
                  <a:gd name="T5" fmla="*/ 5 h 11"/>
                  <a:gd name="T6" fmla="*/ 4 w 10"/>
                  <a:gd name="T7" fmla="*/ 9 h 11"/>
                </a:gdLst>
                <a:ahLst/>
                <a:cxnLst>
                  <a:cxn ang="0">
                    <a:pos x="T0" y="T1"/>
                  </a:cxn>
                  <a:cxn ang="0">
                    <a:pos x="T2" y="T3"/>
                  </a:cxn>
                  <a:cxn ang="0">
                    <a:pos x="T4" y="T5"/>
                  </a:cxn>
                  <a:cxn ang="0">
                    <a:pos x="T6" y="T7"/>
                  </a:cxn>
                </a:cxnLst>
                <a:rect l="0" t="0" r="r" b="b"/>
                <a:pathLst>
                  <a:path w="10" h="11">
                    <a:moveTo>
                      <a:pt x="4" y="9"/>
                    </a:moveTo>
                    <a:cubicBezTo>
                      <a:pt x="6" y="10"/>
                      <a:pt x="9" y="11"/>
                      <a:pt x="9" y="9"/>
                    </a:cubicBezTo>
                    <a:cubicBezTo>
                      <a:pt x="10" y="7"/>
                      <a:pt x="7" y="7"/>
                      <a:pt x="7" y="5"/>
                    </a:cubicBezTo>
                    <a:cubicBezTo>
                      <a:pt x="1" y="0"/>
                      <a:pt x="0" y="5"/>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03"/>
              <p:cNvSpPr>
                <a:spLocks/>
              </p:cNvSpPr>
              <p:nvPr/>
            </p:nvSpPr>
            <p:spPr bwMode="auto">
              <a:xfrm>
                <a:off x="2894013" y="4430713"/>
                <a:ext cx="7938" cy="4763"/>
              </a:xfrm>
              <a:custGeom>
                <a:avLst/>
                <a:gdLst>
                  <a:gd name="T0" fmla="*/ 2 w 11"/>
                  <a:gd name="T1" fmla="*/ 4 h 8"/>
                  <a:gd name="T2" fmla="*/ 7 w 11"/>
                  <a:gd name="T3" fmla="*/ 8 h 8"/>
                  <a:gd name="T4" fmla="*/ 9 w 11"/>
                  <a:gd name="T5" fmla="*/ 4 h 8"/>
                  <a:gd name="T6" fmla="*/ 2 w 11"/>
                  <a:gd name="T7" fmla="*/ 4 h 8"/>
                </a:gdLst>
                <a:ahLst/>
                <a:cxnLst>
                  <a:cxn ang="0">
                    <a:pos x="T0" y="T1"/>
                  </a:cxn>
                  <a:cxn ang="0">
                    <a:pos x="T2" y="T3"/>
                  </a:cxn>
                  <a:cxn ang="0">
                    <a:pos x="T4" y="T5"/>
                  </a:cxn>
                  <a:cxn ang="0">
                    <a:pos x="T6" y="T7"/>
                  </a:cxn>
                </a:cxnLst>
                <a:rect l="0" t="0" r="r" b="b"/>
                <a:pathLst>
                  <a:path w="11" h="8">
                    <a:moveTo>
                      <a:pt x="2" y="4"/>
                    </a:moveTo>
                    <a:cubicBezTo>
                      <a:pt x="3" y="6"/>
                      <a:pt x="5" y="7"/>
                      <a:pt x="7" y="8"/>
                    </a:cubicBezTo>
                    <a:cubicBezTo>
                      <a:pt x="9" y="8"/>
                      <a:pt x="11" y="6"/>
                      <a:pt x="9" y="4"/>
                    </a:cubicBezTo>
                    <a:cubicBezTo>
                      <a:pt x="7" y="3"/>
                      <a:pt x="0" y="0"/>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04"/>
              <p:cNvSpPr>
                <a:spLocks/>
              </p:cNvSpPr>
              <p:nvPr/>
            </p:nvSpPr>
            <p:spPr bwMode="auto">
              <a:xfrm>
                <a:off x="2713038" y="4170363"/>
                <a:ext cx="9525" cy="17463"/>
              </a:xfrm>
              <a:custGeom>
                <a:avLst/>
                <a:gdLst>
                  <a:gd name="T0" fmla="*/ 10 w 12"/>
                  <a:gd name="T1" fmla="*/ 1 h 24"/>
                  <a:gd name="T2" fmla="*/ 7 w 12"/>
                  <a:gd name="T3" fmla="*/ 7 h 24"/>
                  <a:gd name="T4" fmla="*/ 2 w 12"/>
                  <a:gd name="T5" fmla="*/ 16 h 24"/>
                  <a:gd name="T6" fmla="*/ 0 w 12"/>
                  <a:gd name="T7" fmla="*/ 21 h 24"/>
                  <a:gd name="T8" fmla="*/ 2 w 12"/>
                  <a:gd name="T9" fmla="*/ 23 h 24"/>
                  <a:gd name="T10" fmla="*/ 5 w 12"/>
                  <a:gd name="T11" fmla="*/ 22 h 24"/>
                  <a:gd name="T12" fmla="*/ 10 w 12"/>
                  <a:gd name="T13" fmla="*/ 16 h 24"/>
                  <a:gd name="T14" fmla="*/ 10 w 12"/>
                  <a:gd name="T15" fmla="*/ 6 h 24"/>
                  <a:gd name="T16" fmla="*/ 10 w 12"/>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10" y="1"/>
                    </a:moveTo>
                    <a:cubicBezTo>
                      <a:pt x="8" y="2"/>
                      <a:pt x="7" y="4"/>
                      <a:pt x="7" y="7"/>
                    </a:cubicBezTo>
                    <a:cubicBezTo>
                      <a:pt x="7" y="12"/>
                      <a:pt x="3" y="13"/>
                      <a:pt x="2" y="16"/>
                    </a:cubicBezTo>
                    <a:cubicBezTo>
                      <a:pt x="1" y="17"/>
                      <a:pt x="0" y="19"/>
                      <a:pt x="0" y="21"/>
                    </a:cubicBezTo>
                    <a:cubicBezTo>
                      <a:pt x="0" y="22"/>
                      <a:pt x="1" y="23"/>
                      <a:pt x="2" y="23"/>
                    </a:cubicBezTo>
                    <a:cubicBezTo>
                      <a:pt x="4" y="24"/>
                      <a:pt x="3" y="23"/>
                      <a:pt x="5" y="22"/>
                    </a:cubicBezTo>
                    <a:cubicBezTo>
                      <a:pt x="6" y="19"/>
                      <a:pt x="9" y="19"/>
                      <a:pt x="10" y="16"/>
                    </a:cubicBezTo>
                    <a:cubicBezTo>
                      <a:pt x="12" y="13"/>
                      <a:pt x="9" y="10"/>
                      <a:pt x="10" y="6"/>
                    </a:cubicBezTo>
                    <a:cubicBezTo>
                      <a:pt x="11" y="5"/>
                      <a:pt x="12"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05"/>
              <p:cNvSpPr>
                <a:spLocks/>
              </p:cNvSpPr>
              <p:nvPr/>
            </p:nvSpPr>
            <p:spPr bwMode="auto">
              <a:xfrm>
                <a:off x="2695576" y="4208463"/>
                <a:ext cx="3175" cy="3175"/>
              </a:xfrm>
              <a:custGeom>
                <a:avLst/>
                <a:gdLst>
                  <a:gd name="T0" fmla="*/ 1 w 4"/>
                  <a:gd name="T1" fmla="*/ 0 h 5"/>
                  <a:gd name="T2" fmla="*/ 0 w 4"/>
                  <a:gd name="T3" fmla="*/ 3 h 5"/>
                  <a:gd name="T4" fmla="*/ 2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0" y="0"/>
                      <a:pt x="0" y="2"/>
                      <a:pt x="0" y="3"/>
                    </a:cubicBezTo>
                    <a:cubicBezTo>
                      <a:pt x="0" y="5"/>
                      <a:pt x="2" y="5"/>
                      <a:pt x="2" y="5"/>
                    </a:cubicBezTo>
                    <a:cubicBezTo>
                      <a:pt x="4" y="5"/>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206"/>
              <p:cNvSpPr>
                <a:spLocks/>
              </p:cNvSpPr>
              <p:nvPr/>
            </p:nvSpPr>
            <p:spPr bwMode="auto">
              <a:xfrm>
                <a:off x="2795588" y="4221163"/>
                <a:ext cx="6350" cy="14288"/>
              </a:xfrm>
              <a:custGeom>
                <a:avLst/>
                <a:gdLst>
                  <a:gd name="T0" fmla="*/ 5 w 10"/>
                  <a:gd name="T1" fmla="*/ 3 h 18"/>
                  <a:gd name="T2" fmla="*/ 1 w 10"/>
                  <a:gd name="T3" fmla="*/ 1 h 18"/>
                  <a:gd name="T4" fmla="*/ 0 w 10"/>
                  <a:gd name="T5" fmla="*/ 5 h 18"/>
                  <a:gd name="T6" fmla="*/ 2 w 10"/>
                  <a:gd name="T7" fmla="*/ 9 h 18"/>
                  <a:gd name="T8" fmla="*/ 6 w 10"/>
                  <a:gd name="T9" fmla="*/ 17 h 18"/>
                  <a:gd name="T10" fmla="*/ 4 w 10"/>
                  <a:gd name="T11" fmla="*/ 8 h 18"/>
                  <a:gd name="T12" fmla="*/ 5 w 10"/>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3"/>
                    </a:moveTo>
                    <a:cubicBezTo>
                      <a:pt x="5" y="3"/>
                      <a:pt x="1" y="0"/>
                      <a:pt x="1" y="1"/>
                    </a:cubicBezTo>
                    <a:cubicBezTo>
                      <a:pt x="1" y="3"/>
                      <a:pt x="0" y="3"/>
                      <a:pt x="0" y="5"/>
                    </a:cubicBezTo>
                    <a:cubicBezTo>
                      <a:pt x="1" y="7"/>
                      <a:pt x="2" y="8"/>
                      <a:pt x="2" y="9"/>
                    </a:cubicBezTo>
                    <a:cubicBezTo>
                      <a:pt x="3" y="12"/>
                      <a:pt x="4" y="16"/>
                      <a:pt x="6" y="17"/>
                    </a:cubicBezTo>
                    <a:cubicBezTo>
                      <a:pt x="10" y="18"/>
                      <a:pt x="5" y="9"/>
                      <a:pt x="4" y="8"/>
                    </a:cubicBezTo>
                    <a:cubicBezTo>
                      <a:pt x="3" y="6"/>
                      <a:pt x="6" y="6"/>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07"/>
              <p:cNvSpPr>
                <a:spLocks/>
              </p:cNvSpPr>
              <p:nvPr/>
            </p:nvSpPr>
            <p:spPr bwMode="auto">
              <a:xfrm>
                <a:off x="2779713" y="4171950"/>
                <a:ext cx="7938" cy="12700"/>
              </a:xfrm>
              <a:custGeom>
                <a:avLst/>
                <a:gdLst>
                  <a:gd name="T0" fmla="*/ 12 w 12"/>
                  <a:gd name="T1" fmla="*/ 12 h 18"/>
                  <a:gd name="T2" fmla="*/ 9 w 12"/>
                  <a:gd name="T3" fmla="*/ 9 h 18"/>
                  <a:gd name="T4" fmla="*/ 6 w 12"/>
                  <a:gd name="T5" fmla="*/ 3 h 18"/>
                  <a:gd name="T6" fmla="*/ 1 w 12"/>
                  <a:gd name="T7" fmla="*/ 9 h 18"/>
                  <a:gd name="T8" fmla="*/ 4 w 12"/>
                  <a:gd name="T9" fmla="*/ 11 h 18"/>
                  <a:gd name="T10" fmla="*/ 6 w 12"/>
                  <a:gd name="T11" fmla="*/ 13 h 18"/>
                  <a:gd name="T12" fmla="*/ 12 w 12"/>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12" y="12"/>
                    </a:moveTo>
                    <a:cubicBezTo>
                      <a:pt x="12" y="10"/>
                      <a:pt x="10" y="10"/>
                      <a:pt x="9" y="9"/>
                    </a:cubicBezTo>
                    <a:cubicBezTo>
                      <a:pt x="8" y="7"/>
                      <a:pt x="7" y="5"/>
                      <a:pt x="6" y="3"/>
                    </a:cubicBezTo>
                    <a:cubicBezTo>
                      <a:pt x="3" y="0"/>
                      <a:pt x="0" y="3"/>
                      <a:pt x="1" y="9"/>
                    </a:cubicBezTo>
                    <a:cubicBezTo>
                      <a:pt x="1" y="11"/>
                      <a:pt x="2" y="11"/>
                      <a:pt x="4" y="11"/>
                    </a:cubicBezTo>
                    <a:cubicBezTo>
                      <a:pt x="5" y="11"/>
                      <a:pt x="5" y="12"/>
                      <a:pt x="6" y="13"/>
                    </a:cubicBezTo>
                    <a:cubicBezTo>
                      <a:pt x="8" y="15"/>
                      <a:pt x="12" y="18"/>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08"/>
              <p:cNvSpPr>
                <a:spLocks/>
              </p:cNvSpPr>
              <p:nvPr/>
            </p:nvSpPr>
            <p:spPr bwMode="auto">
              <a:xfrm>
                <a:off x="2784476" y="4186238"/>
                <a:ext cx="3175" cy="4763"/>
              </a:xfrm>
              <a:custGeom>
                <a:avLst/>
                <a:gdLst>
                  <a:gd name="T0" fmla="*/ 2 w 5"/>
                  <a:gd name="T1" fmla="*/ 5 h 7"/>
                  <a:gd name="T2" fmla="*/ 4 w 5"/>
                  <a:gd name="T3" fmla="*/ 2 h 7"/>
                  <a:gd name="T4" fmla="*/ 2 w 5"/>
                  <a:gd name="T5" fmla="*/ 5 h 7"/>
                </a:gdLst>
                <a:ahLst/>
                <a:cxnLst>
                  <a:cxn ang="0">
                    <a:pos x="T0" y="T1"/>
                  </a:cxn>
                  <a:cxn ang="0">
                    <a:pos x="T2" y="T3"/>
                  </a:cxn>
                  <a:cxn ang="0">
                    <a:pos x="T4" y="T5"/>
                  </a:cxn>
                </a:cxnLst>
                <a:rect l="0" t="0" r="r" b="b"/>
                <a:pathLst>
                  <a:path w="5" h="7">
                    <a:moveTo>
                      <a:pt x="2" y="5"/>
                    </a:moveTo>
                    <a:cubicBezTo>
                      <a:pt x="5" y="7"/>
                      <a:pt x="5" y="1"/>
                      <a:pt x="4" y="2"/>
                    </a:cubicBezTo>
                    <a:cubicBezTo>
                      <a:pt x="2" y="0"/>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09"/>
              <p:cNvSpPr>
                <a:spLocks/>
              </p:cNvSpPr>
              <p:nvPr/>
            </p:nvSpPr>
            <p:spPr bwMode="auto">
              <a:xfrm>
                <a:off x="3227388" y="4518025"/>
                <a:ext cx="3175" cy="3175"/>
              </a:xfrm>
              <a:custGeom>
                <a:avLst/>
                <a:gdLst>
                  <a:gd name="T0" fmla="*/ 2 w 3"/>
                  <a:gd name="T1" fmla="*/ 2 h 3"/>
                  <a:gd name="T2" fmla="*/ 1 w 3"/>
                  <a:gd name="T3" fmla="*/ 0 h 3"/>
                  <a:gd name="T4" fmla="*/ 0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3" y="1"/>
                      <a:pt x="2" y="1"/>
                      <a:pt x="1" y="0"/>
                    </a:cubicBezTo>
                    <a:cubicBezTo>
                      <a:pt x="1" y="1"/>
                      <a:pt x="0" y="2"/>
                      <a:pt x="0" y="2"/>
                    </a:cubicBezTo>
                    <a:cubicBezTo>
                      <a:pt x="0" y="3"/>
                      <a:pt x="1"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10"/>
              <p:cNvSpPr>
                <a:spLocks/>
              </p:cNvSpPr>
              <p:nvPr/>
            </p:nvSpPr>
            <p:spPr bwMode="auto">
              <a:xfrm>
                <a:off x="3662363" y="4406900"/>
                <a:ext cx="4763" cy="12700"/>
              </a:xfrm>
              <a:custGeom>
                <a:avLst/>
                <a:gdLst>
                  <a:gd name="T0" fmla="*/ 3 w 6"/>
                  <a:gd name="T1" fmla="*/ 13 h 16"/>
                  <a:gd name="T2" fmla="*/ 6 w 6"/>
                  <a:gd name="T3" fmla="*/ 8 h 16"/>
                  <a:gd name="T4" fmla="*/ 5 w 6"/>
                  <a:gd name="T5" fmla="*/ 3 h 16"/>
                  <a:gd name="T6" fmla="*/ 3 w 6"/>
                  <a:gd name="T7" fmla="*/ 0 h 16"/>
                  <a:gd name="T8" fmla="*/ 1 w 6"/>
                  <a:gd name="T9" fmla="*/ 6 h 16"/>
                  <a:gd name="T10" fmla="*/ 0 w 6"/>
                  <a:gd name="T11" fmla="*/ 11 h 16"/>
                  <a:gd name="T12" fmla="*/ 0 w 6"/>
                  <a:gd name="T13" fmla="*/ 15 h 16"/>
                  <a:gd name="T14" fmla="*/ 3 w 6"/>
                  <a:gd name="T15" fmla="*/ 1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3"/>
                    </a:moveTo>
                    <a:cubicBezTo>
                      <a:pt x="4" y="11"/>
                      <a:pt x="5" y="10"/>
                      <a:pt x="6" y="8"/>
                    </a:cubicBezTo>
                    <a:cubicBezTo>
                      <a:pt x="6" y="6"/>
                      <a:pt x="6" y="4"/>
                      <a:pt x="5" y="3"/>
                    </a:cubicBezTo>
                    <a:cubicBezTo>
                      <a:pt x="5" y="1"/>
                      <a:pt x="4" y="0"/>
                      <a:pt x="3" y="0"/>
                    </a:cubicBezTo>
                    <a:cubicBezTo>
                      <a:pt x="2" y="1"/>
                      <a:pt x="1" y="5"/>
                      <a:pt x="1" y="6"/>
                    </a:cubicBezTo>
                    <a:cubicBezTo>
                      <a:pt x="0" y="8"/>
                      <a:pt x="0" y="9"/>
                      <a:pt x="0" y="11"/>
                    </a:cubicBezTo>
                    <a:cubicBezTo>
                      <a:pt x="0" y="12"/>
                      <a:pt x="0" y="14"/>
                      <a:pt x="0" y="15"/>
                    </a:cubicBezTo>
                    <a:cubicBezTo>
                      <a:pt x="1" y="16"/>
                      <a:pt x="2" y="14"/>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11"/>
              <p:cNvSpPr>
                <a:spLocks/>
              </p:cNvSpPr>
              <p:nvPr/>
            </p:nvSpPr>
            <p:spPr bwMode="auto">
              <a:xfrm>
                <a:off x="3563938" y="4497388"/>
                <a:ext cx="25400" cy="50800"/>
              </a:xfrm>
              <a:custGeom>
                <a:avLst/>
                <a:gdLst>
                  <a:gd name="T0" fmla="*/ 3 w 34"/>
                  <a:gd name="T1" fmla="*/ 65 h 66"/>
                  <a:gd name="T2" fmla="*/ 9 w 34"/>
                  <a:gd name="T3" fmla="*/ 62 h 66"/>
                  <a:gd name="T4" fmla="*/ 11 w 34"/>
                  <a:gd name="T5" fmla="*/ 59 h 66"/>
                  <a:gd name="T6" fmla="*/ 14 w 34"/>
                  <a:gd name="T7" fmla="*/ 53 h 66"/>
                  <a:gd name="T8" fmla="*/ 19 w 34"/>
                  <a:gd name="T9" fmla="*/ 43 h 66"/>
                  <a:gd name="T10" fmla="*/ 25 w 34"/>
                  <a:gd name="T11" fmla="*/ 31 h 66"/>
                  <a:gd name="T12" fmla="*/ 27 w 34"/>
                  <a:gd name="T13" fmla="*/ 26 h 66"/>
                  <a:gd name="T14" fmla="*/ 29 w 34"/>
                  <a:gd name="T15" fmla="*/ 23 h 66"/>
                  <a:gd name="T16" fmla="*/ 31 w 34"/>
                  <a:gd name="T17" fmla="*/ 17 h 66"/>
                  <a:gd name="T18" fmla="*/ 33 w 34"/>
                  <a:gd name="T19" fmla="*/ 13 h 66"/>
                  <a:gd name="T20" fmla="*/ 33 w 34"/>
                  <a:gd name="T21" fmla="*/ 9 h 66"/>
                  <a:gd name="T22" fmla="*/ 32 w 34"/>
                  <a:gd name="T23" fmla="*/ 4 h 66"/>
                  <a:gd name="T24" fmla="*/ 30 w 34"/>
                  <a:gd name="T25" fmla="*/ 7 h 66"/>
                  <a:gd name="T26" fmla="*/ 27 w 34"/>
                  <a:gd name="T27" fmla="*/ 9 h 66"/>
                  <a:gd name="T28" fmla="*/ 26 w 34"/>
                  <a:gd name="T29" fmla="*/ 12 h 66"/>
                  <a:gd name="T30" fmla="*/ 27 w 34"/>
                  <a:gd name="T31" fmla="*/ 13 h 66"/>
                  <a:gd name="T32" fmla="*/ 23 w 34"/>
                  <a:gd name="T33" fmla="*/ 18 h 66"/>
                  <a:gd name="T34" fmla="*/ 20 w 34"/>
                  <a:gd name="T35" fmla="*/ 21 h 66"/>
                  <a:gd name="T36" fmla="*/ 17 w 34"/>
                  <a:gd name="T37" fmla="*/ 23 h 66"/>
                  <a:gd name="T38" fmla="*/ 13 w 34"/>
                  <a:gd name="T39" fmla="*/ 28 h 66"/>
                  <a:gd name="T40" fmla="*/ 12 w 34"/>
                  <a:gd name="T41" fmla="*/ 32 h 66"/>
                  <a:gd name="T42" fmla="*/ 10 w 34"/>
                  <a:gd name="T43" fmla="*/ 38 h 66"/>
                  <a:gd name="T44" fmla="*/ 6 w 34"/>
                  <a:gd name="T45" fmla="*/ 47 h 66"/>
                  <a:gd name="T46" fmla="*/ 4 w 34"/>
                  <a:gd name="T47" fmla="*/ 51 h 66"/>
                  <a:gd name="T48" fmla="*/ 2 w 34"/>
                  <a:gd name="T49" fmla="*/ 55 h 66"/>
                  <a:gd name="T50" fmla="*/ 1 w 34"/>
                  <a:gd name="T51" fmla="*/ 60 h 66"/>
                  <a:gd name="T52" fmla="*/ 3 w 34"/>
                  <a:gd name="T53"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66">
                    <a:moveTo>
                      <a:pt x="3" y="65"/>
                    </a:moveTo>
                    <a:cubicBezTo>
                      <a:pt x="4" y="66"/>
                      <a:pt x="7" y="64"/>
                      <a:pt x="9" y="62"/>
                    </a:cubicBezTo>
                    <a:cubicBezTo>
                      <a:pt x="9" y="61"/>
                      <a:pt x="11" y="60"/>
                      <a:pt x="11" y="59"/>
                    </a:cubicBezTo>
                    <a:cubicBezTo>
                      <a:pt x="12" y="57"/>
                      <a:pt x="13" y="55"/>
                      <a:pt x="14" y="53"/>
                    </a:cubicBezTo>
                    <a:cubicBezTo>
                      <a:pt x="16" y="50"/>
                      <a:pt x="18" y="46"/>
                      <a:pt x="19" y="43"/>
                    </a:cubicBezTo>
                    <a:cubicBezTo>
                      <a:pt x="21" y="39"/>
                      <a:pt x="23" y="35"/>
                      <a:pt x="25" y="31"/>
                    </a:cubicBezTo>
                    <a:cubicBezTo>
                      <a:pt x="25" y="29"/>
                      <a:pt x="26" y="28"/>
                      <a:pt x="27" y="26"/>
                    </a:cubicBezTo>
                    <a:cubicBezTo>
                      <a:pt x="27" y="25"/>
                      <a:pt x="28" y="24"/>
                      <a:pt x="29" y="23"/>
                    </a:cubicBezTo>
                    <a:cubicBezTo>
                      <a:pt x="29" y="21"/>
                      <a:pt x="30" y="18"/>
                      <a:pt x="31" y="17"/>
                    </a:cubicBezTo>
                    <a:cubicBezTo>
                      <a:pt x="33" y="16"/>
                      <a:pt x="33" y="15"/>
                      <a:pt x="33" y="13"/>
                    </a:cubicBezTo>
                    <a:cubicBezTo>
                      <a:pt x="34" y="11"/>
                      <a:pt x="34" y="9"/>
                      <a:pt x="33" y="9"/>
                    </a:cubicBezTo>
                    <a:cubicBezTo>
                      <a:pt x="33" y="8"/>
                      <a:pt x="34" y="0"/>
                      <a:pt x="32" y="4"/>
                    </a:cubicBezTo>
                    <a:cubicBezTo>
                      <a:pt x="32" y="5"/>
                      <a:pt x="30" y="6"/>
                      <a:pt x="30" y="7"/>
                    </a:cubicBezTo>
                    <a:cubicBezTo>
                      <a:pt x="29" y="8"/>
                      <a:pt x="28" y="8"/>
                      <a:pt x="27" y="9"/>
                    </a:cubicBezTo>
                    <a:cubicBezTo>
                      <a:pt x="27" y="10"/>
                      <a:pt x="26" y="11"/>
                      <a:pt x="26" y="12"/>
                    </a:cubicBezTo>
                    <a:cubicBezTo>
                      <a:pt x="26" y="13"/>
                      <a:pt x="27" y="13"/>
                      <a:pt x="27" y="13"/>
                    </a:cubicBezTo>
                    <a:cubicBezTo>
                      <a:pt x="28" y="14"/>
                      <a:pt x="23" y="17"/>
                      <a:pt x="23" y="18"/>
                    </a:cubicBezTo>
                    <a:cubicBezTo>
                      <a:pt x="22" y="19"/>
                      <a:pt x="21" y="20"/>
                      <a:pt x="20" y="21"/>
                    </a:cubicBezTo>
                    <a:cubicBezTo>
                      <a:pt x="19" y="22"/>
                      <a:pt x="18" y="22"/>
                      <a:pt x="17" y="23"/>
                    </a:cubicBezTo>
                    <a:cubicBezTo>
                      <a:pt x="17" y="25"/>
                      <a:pt x="14" y="26"/>
                      <a:pt x="13" y="28"/>
                    </a:cubicBezTo>
                    <a:cubicBezTo>
                      <a:pt x="13" y="29"/>
                      <a:pt x="12" y="31"/>
                      <a:pt x="12" y="32"/>
                    </a:cubicBezTo>
                    <a:cubicBezTo>
                      <a:pt x="11" y="34"/>
                      <a:pt x="11" y="36"/>
                      <a:pt x="10" y="38"/>
                    </a:cubicBezTo>
                    <a:cubicBezTo>
                      <a:pt x="10" y="41"/>
                      <a:pt x="8" y="44"/>
                      <a:pt x="6" y="47"/>
                    </a:cubicBezTo>
                    <a:cubicBezTo>
                      <a:pt x="6" y="48"/>
                      <a:pt x="5" y="50"/>
                      <a:pt x="4" y="51"/>
                    </a:cubicBezTo>
                    <a:cubicBezTo>
                      <a:pt x="3" y="51"/>
                      <a:pt x="2" y="54"/>
                      <a:pt x="2" y="55"/>
                    </a:cubicBezTo>
                    <a:cubicBezTo>
                      <a:pt x="2" y="57"/>
                      <a:pt x="3" y="57"/>
                      <a:pt x="1" y="60"/>
                    </a:cubicBezTo>
                    <a:cubicBezTo>
                      <a:pt x="0" y="63"/>
                      <a:pt x="2" y="64"/>
                      <a:pt x="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12"/>
              <p:cNvSpPr>
                <a:spLocks/>
              </p:cNvSpPr>
              <p:nvPr/>
            </p:nvSpPr>
            <p:spPr bwMode="auto">
              <a:xfrm>
                <a:off x="3490913" y="4324350"/>
                <a:ext cx="28575" cy="25400"/>
              </a:xfrm>
              <a:custGeom>
                <a:avLst/>
                <a:gdLst>
                  <a:gd name="T0" fmla="*/ 5 w 39"/>
                  <a:gd name="T1" fmla="*/ 28 h 33"/>
                  <a:gd name="T2" fmla="*/ 11 w 39"/>
                  <a:gd name="T3" fmla="*/ 30 h 33"/>
                  <a:gd name="T4" fmla="*/ 13 w 39"/>
                  <a:gd name="T5" fmla="*/ 33 h 33"/>
                  <a:gd name="T6" fmla="*/ 17 w 39"/>
                  <a:gd name="T7" fmla="*/ 29 h 33"/>
                  <a:gd name="T8" fmla="*/ 24 w 39"/>
                  <a:gd name="T9" fmla="*/ 28 h 33"/>
                  <a:gd name="T10" fmla="*/ 31 w 39"/>
                  <a:gd name="T11" fmla="*/ 21 h 33"/>
                  <a:gd name="T12" fmla="*/ 37 w 39"/>
                  <a:gd name="T13" fmla="*/ 8 h 33"/>
                  <a:gd name="T14" fmla="*/ 39 w 39"/>
                  <a:gd name="T15" fmla="*/ 0 h 33"/>
                  <a:gd name="T16" fmla="*/ 1 w 39"/>
                  <a:gd name="T17" fmla="*/ 18 h 33"/>
                  <a:gd name="T18" fmla="*/ 2 w 39"/>
                  <a:gd name="T19" fmla="*/ 23 h 33"/>
                  <a:gd name="T20" fmla="*/ 0 w 39"/>
                  <a:gd name="T21" fmla="*/ 28 h 33"/>
                  <a:gd name="T22" fmla="*/ 5 w 39"/>
                  <a:gd name="T2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3">
                    <a:moveTo>
                      <a:pt x="5" y="28"/>
                    </a:moveTo>
                    <a:cubicBezTo>
                      <a:pt x="9" y="25"/>
                      <a:pt x="10" y="27"/>
                      <a:pt x="11" y="30"/>
                    </a:cubicBezTo>
                    <a:cubicBezTo>
                      <a:pt x="12" y="31"/>
                      <a:pt x="12" y="32"/>
                      <a:pt x="13" y="33"/>
                    </a:cubicBezTo>
                    <a:cubicBezTo>
                      <a:pt x="14" y="33"/>
                      <a:pt x="16" y="30"/>
                      <a:pt x="17" y="29"/>
                    </a:cubicBezTo>
                    <a:cubicBezTo>
                      <a:pt x="20" y="25"/>
                      <a:pt x="21" y="30"/>
                      <a:pt x="24" y="28"/>
                    </a:cubicBezTo>
                    <a:cubicBezTo>
                      <a:pt x="26" y="27"/>
                      <a:pt x="29" y="23"/>
                      <a:pt x="31" y="21"/>
                    </a:cubicBezTo>
                    <a:cubicBezTo>
                      <a:pt x="34" y="17"/>
                      <a:pt x="36" y="13"/>
                      <a:pt x="37" y="8"/>
                    </a:cubicBezTo>
                    <a:cubicBezTo>
                      <a:pt x="38" y="6"/>
                      <a:pt x="38" y="3"/>
                      <a:pt x="39" y="0"/>
                    </a:cubicBezTo>
                    <a:cubicBezTo>
                      <a:pt x="26" y="6"/>
                      <a:pt x="14" y="12"/>
                      <a:pt x="1" y="18"/>
                    </a:cubicBezTo>
                    <a:cubicBezTo>
                      <a:pt x="1" y="19"/>
                      <a:pt x="2" y="20"/>
                      <a:pt x="2" y="23"/>
                    </a:cubicBezTo>
                    <a:cubicBezTo>
                      <a:pt x="1" y="24"/>
                      <a:pt x="0" y="27"/>
                      <a:pt x="0" y="28"/>
                    </a:cubicBezTo>
                    <a:cubicBezTo>
                      <a:pt x="1" y="30"/>
                      <a:pt x="4" y="28"/>
                      <a:pt x="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213"/>
              <p:cNvSpPr>
                <a:spLocks/>
              </p:cNvSpPr>
              <p:nvPr/>
            </p:nvSpPr>
            <p:spPr bwMode="auto">
              <a:xfrm>
                <a:off x="3459163" y="4395788"/>
                <a:ext cx="7938" cy="7938"/>
              </a:xfrm>
              <a:custGeom>
                <a:avLst/>
                <a:gdLst>
                  <a:gd name="T0" fmla="*/ 4 w 11"/>
                  <a:gd name="T1" fmla="*/ 12 h 12"/>
                  <a:gd name="T2" fmla="*/ 11 w 11"/>
                  <a:gd name="T3" fmla="*/ 1 h 12"/>
                  <a:gd name="T4" fmla="*/ 8 w 11"/>
                  <a:gd name="T5" fmla="*/ 1 h 12"/>
                  <a:gd name="T6" fmla="*/ 4 w 11"/>
                  <a:gd name="T7" fmla="*/ 12 h 12"/>
                </a:gdLst>
                <a:ahLst/>
                <a:cxnLst>
                  <a:cxn ang="0">
                    <a:pos x="T0" y="T1"/>
                  </a:cxn>
                  <a:cxn ang="0">
                    <a:pos x="T2" y="T3"/>
                  </a:cxn>
                  <a:cxn ang="0">
                    <a:pos x="T4" y="T5"/>
                  </a:cxn>
                  <a:cxn ang="0">
                    <a:pos x="T6" y="T7"/>
                  </a:cxn>
                </a:cxnLst>
                <a:rect l="0" t="0" r="r" b="b"/>
                <a:pathLst>
                  <a:path w="11" h="12">
                    <a:moveTo>
                      <a:pt x="4" y="12"/>
                    </a:moveTo>
                    <a:cubicBezTo>
                      <a:pt x="7" y="11"/>
                      <a:pt x="10" y="4"/>
                      <a:pt x="11" y="1"/>
                    </a:cubicBezTo>
                    <a:cubicBezTo>
                      <a:pt x="10" y="0"/>
                      <a:pt x="9" y="0"/>
                      <a:pt x="8" y="1"/>
                    </a:cubicBezTo>
                    <a:cubicBezTo>
                      <a:pt x="7" y="3"/>
                      <a:pt x="0"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14"/>
              <p:cNvSpPr>
                <a:spLocks/>
              </p:cNvSpPr>
              <p:nvPr/>
            </p:nvSpPr>
            <p:spPr bwMode="auto">
              <a:xfrm>
                <a:off x="3459163" y="4371975"/>
                <a:ext cx="7938" cy="9525"/>
              </a:xfrm>
              <a:custGeom>
                <a:avLst/>
                <a:gdLst>
                  <a:gd name="T0" fmla="*/ 6 w 10"/>
                  <a:gd name="T1" fmla="*/ 2 h 13"/>
                  <a:gd name="T2" fmla="*/ 2 w 10"/>
                  <a:gd name="T3" fmla="*/ 5 h 13"/>
                  <a:gd name="T4" fmla="*/ 2 w 10"/>
                  <a:gd name="T5" fmla="*/ 11 h 13"/>
                  <a:gd name="T6" fmla="*/ 6 w 10"/>
                  <a:gd name="T7" fmla="*/ 8 h 13"/>
                  <a:gd name="T8" fmla="*/ 8 w 10"/>
                  <a:gd name="T9" fmla="*/ 0 h 13"/>
                  <a:gd name="T10" fmla="*/ 6 w 10"/>
                  <a:gd name="T11" fmla="*/ 2 h 13"/>
                </a:gdLst>
                <a:ahLst/>
                <a:cxnLst>
                  <a:cxn ang="0">
                    <a:pos x="T0" y="T1"/>
                  </a:cxn>
                  <a:cxn ang="0">
                    <a:pos x="T2" y="T3"/>
                  </a:cxn>
                  <a:cxn ang="0">
                    <a:pos x="T4" y="T5"/>
                  </a:cxn>
                  <a:cxn ang="0">
                    <a:pos x="T6" y="T7"/>
                  </a:cxn>
                  <a:cxn ang="0">
                    <a:pos x="T8" y="T9"/>
                  </a:cxn>
                  <a:cxn ang="0">
                    <a:pos x="T10" y="T11"/>
                  </a:cxn>
                </a:cxnLst>
                <a:rect l="0" t="0" r="r" b="b"/>
                <a:pathLst>
                  <a:path w="10" h="13">
                    <a:moveTo>
                      <a:pt x="6" y="2"/>
                    </a:moveTo>
                    <a:cubicBezTo>
                      <a:pt x="5" y="3"/>
                      <a:pt x="3" y="4"/>
                      <a:pt x="2" y="5"/>
                    </a:cubicBezTo>
                    <a:cubicBezTo>
                      <a:pt x="0" y="8"/>
                      <a:pt x="1" y="10"/>
                      <a:pt x="2" y="11"/>
                    </a:cubicBezTo>
                    <a:cubicBezTo>
                      <a:pt x="4" y="13"/>
                      <a:pt x="5" y="11"/>
                      <a:pt x="6" y="8"/>
                    </a:cubicBezTo>
                    <a:cubicBezTo>
                      <a:pt x="8" y="4"/>
                      <a:pt x="10" y="3"/>
                      <a:pt x="8" y="0"/>
                    </a:cubicBezTo>
                    <a:cubicBezTo>
                      <a:pt x="8" y="1"/>
                      <a:pt x="7" y="1"/>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15"/>
              <p:cNvSpPr>
                <a:spLocks noEditPoints="1"/>
              </p:cNvSpPr>
              <p:nvPr/>
            </p:nvSpPr>
            <p:spPr bwMode="auto">
              <a:xfrm>
                <a:off x="3435351" y="4184650"/>
                <a:ext cx="279400" cy="420688"/>
              </a:xfrm>
              <a:custGeom>
                <a:avLst/>
                <a:gdLst>
                  <a:gd name="T0" fmla="*/ 235 w 369"/>
                  <a:gd name="T1" fmla="*/ 129 h 558"/>
                  <a:gd name="T2" fmla="*/ 229 w 369"/>
                  <a:gd name="T3" fmla="*/ 149 h 558"/>
                  <a:gd name="T4" fmla="*/ 204 w 369"/>
                  <a:gd name="T5" fmla="*/ 158 h 558"/>
                  <a:gd name="T6" fmla="*/ 204 w 369"/>
                  <a:gd name="T7" fmla="*/ 185 h 558"/>
                  <a:gd name="T8" fmla="*/ 219 w 369"/>
                  <a:gd name="T9" fmla="*/ 194 h 558"/>
                  <a:gd name="T10" fmla="*/ 200 w 369"/>
                  <a:gd name="T11" fmla="*/ 220 h 558"/>
                  <a:gd name="T12" fmla="*/ 178 w 369"/>
                  <a:gd name="T13" fmla="*/ 219 h 558"/>
                  <a:gd name="T14" fmla="*/ 158 w 369"/>
                  <a:gd name="T15" fmla="*/ 234 h 558"/>
                  <a:gd name="T16" fmla="*/ 144 w 369"/>
                  <a:gd name="T17" fmla="*/ 218 h 558"/>
                  <a:gd name="T18" fmla="*/ 131 w 369"/>
                  <a:gd name="T19" fmla="*/ 202 h 558"/>
                  <a:gd name="T20" fmla="*/ 101 w 369"/>
                  <a:gd name="T21" fmla="*/ 221 h 558"/>
                  <a:gd name="T22" fmla="*/ 66 w 369"/>
                  <a:gd name="T23" fmla="*/ 255 h 558"/>
                  <a:gd name="T24" fmla="*/ 36 w 369"/>
                  <a:gd name="T25" fmla="*/ 300 h 558"/>
                  <a:gd name="T26" fmla="*/ 5 w 369"/>
                  <a:gd name="T27" fmla="*/ 384 h 558"/>
                  <a:gd name="T28" fmla="*/ 14 w 369"/>
                  <a:gd name="T29" fmla="*/ 414 h 558"/>
                  <a:gd name="T30" fmla="*/ 50 w 369"/>
                  <a:gd name="T31" fmla="*/ 415 h 558"/>
                  <a:gd name="T32" fmla="*/ 80 w 369"/>
                  <a:gd name="T33" fmla="*/ 398 h 558"/>
                  <a:gd name="T34" fmla="*/ 99 w 369"/>
                  <a:gd name="T35" fmla="*/ 406 h 558"/>
                  <a:gd name="T36" fmla="*/ 94 w 369"/>
                  <a:gd name="T37" fmla="*/ 451 h 558"/>
                  <a:gd name="T38" fmla="*/ 78 w 369"/>
                  <a:gd name="T39" fmla="*/ 484 h 558"/>
                  <a:gd name="T40" fmla="*/ 71 w 369"/>
                  <a:gd name="T41" fmla="*/ 529 h 558"/>
                  <a:gd name="T42" fmla="*/ 70 w 369"/>
                  <a:gd name="T43" fmla="*/ 555 h 558"/>
                  <a:gd name="T44" fmla="*/ 98 w 369"/>
                  <a:gd name="T45" fmla="*/ 544 h 558"/>
                  <a:gd name="T46" fmla="*/ 133 w 369"/>
                  <a:gd name="T47" fmla="*/ 503 h 558"/>
                  <a:gd name="T48" fmla="*/ 161 w 369"/>
                  <a:gd name="T49" fmla="*/ 458 h 558"/>
                  <a:gd name="T50" fmla="*/ 181 w 369"/>
                  <a:gd name="T51" fmla="*/ 414 h 558"/>
                  <a:gd name="T52" fmla="*/ 206 w 369"/>
                  <a:gd name="T53" fmla="*/ 365 h 558"/>
                  <a:gd name="T54" fmla="*/ 235 w 369"/>
                  <a:gd name="T55" fmla="*/ 310 h 558"/>
                  <a:gd name="T56" fmla="*/ 216 w 369"/>
                  <a:gd name="T57" fmla="*/ 318 h 558"/>
                  <a:gd name="T58" fmla="*/ 209 w 369"/>
                  <a:gd name="T59" fmla="*/ 288 h 558"/>
                  <a:gd name="T60" fmla="*/ 207 w 369"/>
                  <a:gd name="T61" fmla="*/ 244 h 558"/>
                  <a:gd name="T62" fmla="*/ 216 w 369"/>
                  <a:gd name="T63" fmla="*/ 265 h 558"/>
                  <a:gd name="T64" fmla="*/ 219 w 369"/>
                  <a:gd name="T65" fmla="*/ 310 h 558"/>
                  <a:gd name="T66" fmla="*/ 243 w 369"/>
                  <a:gd name="T67" fmla="*/ 290 h 558"/>
                  <a:gd name="T68" fmla="*/ 262 w 369"/>
                  <a:gd name="T69" fmla="*/ 261 h 558"/>
                  <a:gd name="T70" fmla="*/ 259 w 369"/>
                  <a:gd name="T71" fmla="*/ 237 h 558"/>
                  <a:gd name="T72" fmla="*/ 246 w 369"/>
                  <a:gd name="T73" fmla="*/ 220 h 558"/>
                  <a:gd name="T74" fmla="*/ 262 w 369"/>
                  <a:gd name="T75" fmla="*/ 228 h 558"/>
                  <a:gd name="T76" fmla="*/ 281 w 369"/>
                  <a:gd name="T77" fmla="*/ 230 h 558"/>
                  <a:gd name="T78" fmla="*/ 290 w 369"/>
                  <a:gd name="T79" fmla="*/ 249 h 558"/>
                  <a:gd name="T80" fmla="*/ 295 w 369"/>
                  <a:gd name="T81" fmla="*/ 285 h 558"/>
                  <a:gd name="T82" fmla="*/ 306 w 369"/>
                  <a:gd name="T83" fmla="*/ 282 h 558"/>
                  <a:gd name="T84" fmla="*/ 322 w 369"/>
                  <a:gd name="T85" fmla="*/ 248 h 558"/>
                  <a:gd name="T86" fmla="*/ 369 w 369"/>
                  <a:gd name="T87" fmla="*/ 55 h 558"/>
                  <a:gd name="T88" fmla="*/ 127 w 369"/>
                  <a:gd name="T89" fmla="*/ 342 h 558"/>
                  <a:gd name="T90" fmla="*/ 155 w 369"/>
                  <a:gd name="T91" fmla="*/ 422 h 558"/>
                  <a:gd name="T92" fmla="*/ 159 w 369"/>
                  <a:gd name="T93" fmla="*/ 444 h 558"/>
                  <a:gd name="T94" fmla="*/ 176 w 369"/>
                  <a:gd name="T95" fmla="*/ 386 h 558"/>
                  <a:gd name="T96" fmla="*/ 176 w 369"/>
                  <a:gd name="T97" fmla="*/ 383 h 558"/>
                  <a:gd name="T98" fmla="*/ 266 w 369"/>
                  <a:gd name="T99" fmla="*/ 130 h 558"/>
                  <a:gd name="T100" fmla="*/ 267 w 369"/>
                  <a:gd name="T101" fmla="*/ 152 h 558"/>
                  <a:gd name="T102" fmla="*/ 255 w 369"/>
                  <a:gd name="T103" fmla="*/ 165 h 558"/>
                  <a:gd name="T104" fmla="*/ 254 w 369"/>
                  <a:gd name="T105" fmla="*/ 129 h 558"/>
                  <a:gd name="T106" fmla="*/ 267 w 369"/>
                  <a:gd name="T107" fmla="*/ 95 h 558"/>
                  <a:gd name="T108" fmla="*/ 280 w 369"/>
                  <a:gd name="T109" fmla="*/ 121 h 558"/>
                  <a:gd name="T110" fmla="*/ 285 w 369"/>
                  <a:gd name="T111" fmla="*/ 115 h 558"/>
                  <a:gd name="T112" fmla="*/ 318 w 369"/>
                  <a:gd name="T113" fmla="*/ 9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9" h="558">
                    <a:moveTo>
                      <a:pt x="232" y="106"/>
                    </a:moveTo>
                    <a:cubicBezTo>
                      <a:pt x="232" y="108"/>
                      <a:pt x="234" y="108"/>
                      <a:pt x="234" y="111"/>
                    </a:cubicBezTo>
                    <a:cubicBezTo>
                      <a:pt x="233" y="113"/>
                      <a:pt x="232" y="114"/>
                      <a:pt x="231" y="116"/>
                    </a:cubicBezTo>
                    <a:cubicBezTo>
                      <a:pt x="230" y="117"/>
                      <a:pt x="229" y="119"/>
                      <a:pt x="230" y="120"/>
                    </a:cubicBezTo>
                    <a:cubicBezTo>
                      <a:pt x="230" y="122"/>
                      <a:pt x="231" y="122"/>
                      <a:pt x="232" y="122"/>
                    </a:cubicBezTo>
                    <a:cubicBezTo>
                      <a:pt x="233" y="123"/>
                      <a:pt x="233" y="124"/>
                      <a:pt x="234" y="125"/>
                    </a:cubicBezTo>
                    <a:cubicBezTo>
                      <a:pt x="234" y="126"/>
                      <a:pt x="235" y="128"/>
                      <a:pt x="235" y="129"/>
                    </a:cubicBezTo>
                    <a:cubicBezTo>
                      <a:pt x="236" y="130"/>
                      <a:pt x="237" y="132"/>
                      <a:pt x="238" y="133"/>
                    </a:cubicBezTo>
                    <a:cubicBezTo>
                      <a:pt x="238" y="134"/>
                      <a:pt x="239" y="134"/>
                      <a:pt x="239" y="135"/>
                    </a:cubicBezTo>
                    <a:cubicBezTo>
                      <a:pt x="239" y="136"/>
                      <a:pt x="238" y="137"/>
                      <a:pt x="238" y="138"/>
                    </a:cubicBezTo>
                    <a:cubicBezTo>
                      <a:pt x="237" y="139"/>
                      <a:pt x="238" y="139"/>
                      <a:pt x="239" y="140"/>
                    </a:cubicBezTo>
                    <a:cubicBezTo>
                      <a:pt x="239" y="141"/>
                      <a:pt x="239" y="143"/>
                      <a:pt x="239" y="144"/>
                    </a:cubicBezTo>
                    <a:cubicBezTo>
                      <a:pt x="238" y="147"/>
                      <a:pt x="236" y="147"/>
                      <a:pt x="235" y="148"/>
                    </a:cubicBezTo>
                    <a:cubicBezTo>
                      <a:pt x="233" y="150"/>
                      <a:pt x="230" y="151"/>
                      <a:pt x="229" y="149"/>
                    </a:cubicBezTo>
                    <a:cubicBezTo>
                      <a:pt x="226" y="146"/>
                      <a:pt x="223" y="142"/>
                      <a:pt x="219" y="144"/>
                    </a:cubicBezTo>
                    <a:cubicBezTo>
                      <a:pt x="218" y="145"/>
                      <a:pt x="217" y="146"/>
                      <a:pt x="216" y="146"/>
                    </a:cubicBezTo>
                    <a:cubicBezTo>
                      <a:pt x="215" y="147"/>
                      <a:pt x="214" y="147"/>
                      <a:pt x="214" y="148"/>
                    </a:cubicBezTo>
                    <a:cubicBezTo>
                      <a:pt x="213" y="149"/>
                      <a:pt x="212" y="151"/>
                      <a:pt x="212" y="153"/>
                    </a:cubicBezTo>
                    <a:cubicBezTo>
                      <a:pt x="211" y="154"/>
                      <a:pt x="210" y="155"/>
                      <a:pt x="209" y="155"/>
                    </a:cubicBezTo>
                    <a:cubicBezTo>
                      <a:pt x="208" y="155"/>
                      <a:pt x="207" y="156"/>
                      <a:pt x="206" y="158"/>
                    </a:cubicBezTo>
                    <a:cubicBezTo>
                      <a:pt x="206" y="158"/>
                      <a:pt x="205" y="158"/>
                      <a:pt x="204" y="158"/>
                    </a:cubicBezTo>
                    <a:cubicBezTo>
                      <a:pt x="202" y="158"/>
                      <a:pt x="201" y="156"/>
                      <a:pt x="199" y="160"/>
                    </a:cubicBezTo>
                    <a:cubicBezTo>
                      <a:pt x="198" y="161"/>
                      <a:pt x="198" y="162"/>
                      <a:pt x="198" y="164"/>
                    </a:cubicBezTo>
                    <a:cubicBezTo>
                      <a:pt x="198" y="166"/>
                      <a:pt x="198" y="168"/>
                      <a:pt x="198" y="170"/>
                    </a:cubicBezTo>
                    <a:cubicBezTo>
                      <a:pt x="198" y="172"/>
                      <a:pt x="197" y="174"/>
                      <a:pt x="197" y="175"/>
                    </a:cubicBezTo>
                    <a:cubicBezTo>
                      <a:pt x="197" y="177"/>
                      <a:pt x="198" y="178"/>
                      <a:pt x="198" y="180"/>
                    </a:cubicBezTo>
                    <a:cubicBezTo>
                      <a:pt x="198" y="183"/>
                      <a:pt x="200" y="183"/>
                      <a:pt x="200" y="186"/>
                    </a:cubicBezTo>
                    <a:cubicBezTo>
                      <a:pt x="200" y="189"/>
                      <a:pt x="203" y="186"/>
                      <a:pt x="204" y="185"/>
                    </a:cubicBezTo>
                    <a:cubicBezTo>
                      <a:pt x="205" y="183"/>
                      <a:pt x="206" y="183"/>
                      <a:pt x="207" y="183"/>
                    </a:cubicBezTo>
                    <a:cubicBezTo>
                      <a:pt x="208" y="184"/>
                      <a:pt x="209" y="184"/>
                      <a:pt x="210" y="184"/>
                    </a:cubicBezTo>
                    <a:cubicBezTo>
                      <a:pt x="211" y="185"/>
                      <a:pt x="212" y="187"/>
                      <a:pt x="213" y="187"/>
                    </a:cubicBezTo>
                    <a:cubicBezTo>
                      <a:pt x="213" y="188"/>
                      <a:pt x="214" y="187"/>
                      <a:pt x="214" y="186"/>
                    </a:cubicBezTo>
                    <a:cubicBezTo>
                      <a:pt x="215" y="185"/>
                      <a:pt x="216" y="184"/>
                      <a:pt x="217" y="183"/>
                    </a:cubicBezTo>
                    <a:cubicBezTo>
                      <a:pt x="218" y="181"/>
                      <a:pt x="221" y="179"/>
                      <a:pt x="221" y="183"/>
                    </a:cubicBezTo>
                    <a:cubicBezTo>
                      <a:pt x="221" y="186"/>
                      <a:pt x="220" y="191"/>
                      <a:pt x="219" y="194"/>
                    </a:cubicBezTo>
                    <a:cubicBezTo>
                      <a:pt x="219" y="196"/>
                      <a:pt x="219" y="198"/>
                      <a:pt x="218" y="200"/>
                    </a:cubicBezTo>
                    <a:cubicBezTo>
                      <a:pt x="217" y="202"/>
                      <a:pt x="217" y="204"/>
                      <a:pt x="216" y="205"/>
                    </a:cubicBezTo>
                    <a:cubicBezTo>
                      <a:pt x="215" y="206"/>
                      <a:pt x="212" y="206"/>
                      <a:pt x="213" y="209"/>
                    </a:cubicBezTo>
                    <a:cubicBezTo>
                      <a:pt x="214" y="213"/>
                      <a:pt x="211" y="212"/>
                      <a:pt x="209" y="212"/>
                    </a:cubicBezTo>
                    <a:cubicBezTo>
                      <a:pt x="209" y="212"/>
                      <a:pt x="208" y="214"/>
                      <a:pt x="207" y="214"/>
                    </a:cubicBezTo>
                    <a:cubicBezTo>
                      <a:pt x="206" y="215"/>
                      <a:pt x="206" y="214"/>
                      <a:pt x="205" y="214"/>
                    </a:cubicBezTo>
                    <a:cubicBezTo>
                      <a:pt x="203" y="214"/>
                      <a:pt x="202" y="219"/>
                      <a:pt x="200" y="220"/>
                    </a:cubicBezTo>
                    <a:cubicBezTo>
                      <a:pt x="199" y="220"/>
                      <a:pt x="199" y="220"/>
                      <a:pt x="198" y="222"/>
                    </a:cubicBezTo>
                    <a:cubicBezTo>
                      <a:pt x="197" y="223"/>
                      <a:pt x="196" y="224"/>
                      <a:pt x="196" y="223"/>
                    </a:cubicBezTo>
                    <a:cubicBezTo>
                      <a:pt x="195" y="222"/>
                      <a:pt x="193" y="221"/>
                      <a:pt x="192" y="222"/>
                    </a:cubicBezTo>
                    <a:cubicBezTo>
                      <a:pt x="191" y="222"/>
                      <a:pt x="192" y="224"/>
                      <a:pt x="191" y="224"/>
                    </a:cubicBezTo>
                    <a:cubicBezTo>
                      <a:pt x="190" y="223"/>
                      <a:pt x="189" y="223"/>
                      <a:pt x="188" y="224"/>
                    </a:cubicBezTo>
                    <a:cubicBezTo>
                      <a:pt x="186" y="224"/>
                      <a:pt x="184" y="224"/>
                      <a:pt x="183" y="222"/>
                    </a:cubicBezTo>
                    <a:cubicBezTo>
                      <a:pt x="181" y="219"/>
                      <a:pt x="180" y="217"/>
                      <a:pt x="178" y="219"/>
                    </a:cubicBezTo>
                    <a:cubicBezTo>
                      <a:pt x="177" y="220"/>
                      <a:pt x="176" y="221"/>
                      <a:pt x="175" y="223"/>
                    </a:cubicBezTo>
                    <a:cubicBezTo>
                      <a:pt x="174" y="225"/>
                      <a:pt x="172" y="225"/>
                      <a:pt x="172" y="228"/>
                    </a:cubicBezTo>
                    <a:cubicBezTo>
                      <a:pt x="171" y="231"/>
                      <a:pt x="173" y="233"/>
                      <a:pt x="170" y="235"/>
                    </a:cubicBezTo>
                    <a:cubicBezTo>
                      <a:pt x="168" y="237"/>
                      <a:pt x="167" y="239"/>
                      <a:pt x="165" y="238"/>
                    </a:cubicBezTo>
                    <a:cubicBezTo>
                      <a:pt x="164" y="238"/>
                      <a:pt x="164" y="237"/>
                      <a:pt x="163" y="236"/>
                    </a:cubicBezTo>
                    <a:cubicBezTo>
                      <a:pt x="162" y="236"/>
                      <a:pt x="161" y="236"/>
                      <a:pt x="160" y="235"/>
                    </a:cubicBezTo>
                    <a:cubicBezTo>
                      <a:pt x="159" y="235"/>
                      <a:pt x="158" y="235"/>
                      <a:pt x="158" y="234"/>
                    </a:cubicBezTo>
                    <a:cubicBezTo>
                      <a:pt x="157" y="233"/>
                      <a:pt x="157" y="231"/>
                      <a:pt x="156" y="230"/>
                    </a:cubicBezTo>
                    <a:cubicBezTo>
                      <a:pt x="156" y="229"/>
                      <a:pt x="155" y="228"/>
                      <a:pt x="154" y="228"/>
                    </a:cubicBezTo>
                    <a:cubicBezTo>
                      <a:pt x="153" y="228"/>
                      <a:pt x="152" y="229"/>
                      <a:pt x="151" y="229"/>
                    </a:cubicBezTo>
                    <a:cubicBezTo>
                      <a:pt x="150" y="229"/>
                      <a:pt x="150" y="227"/>
                      <a:pt x="149" y="227"/>
                    </a:cubicBezTo>
                    <a:cubicBezTo>
                      <a:pt x="148" y="226"/>
                      <a:pt x="146" y="227"/>
                      <a:pt x="146" y="226"/>
                    </a:cubicBezTo>
                    <a:cubicBezTo>
                      <a:pt x="145" y="225"/>
                      <a:pt x="145" y="222"/>
                      <a:pt x="145" y="221"/>
                    </a:cubicBezTo>
                    <a:cubicBezTo>
                      <a:pt x="144" y="221"/>
                      <a:pt x="143" y="221"/>
                      <a:pt x="144" y="218"/>
                    </a:cubicBezTo>
                    <a:cubicBezTo>
                      <a:pt x="145" y="216"/>
                      <a:pt x="148" y="213"/>
                      <a:pt x="148" y="211"/>
                    </a:cubicBezTo>
                    <a:cubicBezTo>
                      <a:pt x="148" y="207"/>
                      <a:pt x="146" y="205"/>
                      <a:pt x="146" y="202"/>
                    </a:cubicBezTo>
                    <a:cubicBezTo>
                      <a:pt x="145" y="200"/>
                      <a:pt x="146" y="199"/>
                      <a:pt x="146" y="197"/>
                    </a:cubicBezTo>
                    <a:cubicBezTo>
                      <a:pt x="146" y="194"/>
                      <a:pt x="144" y="196"/>
                      <a:pt x="143" y="197"/>
                    </a:cubicBezTo>
                    <a:cubicBezTo>
                      <a:pt x="142" y="199"/>
                      <a:pt x="140" y="201"/>
                      <a:pt x="138" y="200"/>
                    </a:cubicBezTo>
                    <a:cubicBezTo>
                      <a:pt x="137" y="200"/>
                      <a:pt x="135" y="197"/>
                      <a:pt x="133" y="198"/>
                    </a:cubicBezTo>
                    <a:cubicBezTo>
                      <a:pt x="132" y="199"/>
                      <a:pt x="132" y="201"/>
                      <a:pt x="131" y="202"/>
                    </a:cubicBezTo>
                    <a:cubicBezTo>
                      <a:pt x="129" y="203"/>
                      <a:pt x="128" y="203"/>
                      <a:pt x="127" y="203"/>
                    </a:cubicBezTo>
                    <a:cubicBezTo>
                      <a:pt x="124" y="204"/>
                      <a:pt x="121" y="207"/>
                      <a:pt x="119" y="206"/>
                    </a:cubicBezTo>
                    <a:cubicBezTo>
                      <a:pt x="118" y="206"/>
                      <a:pt x="118" y="205"/>
                      <a:pt x="116" y="206"/>
                    </a:cubicBezTo>
                    <a:cubicBezTo>
                      <a:pt x="115" y="206"/>
                      <a:pt x="115" y="208"/>
                      <a:pt x="115" y="210"/>
                    </a:cubicBezTo>
                    <a:cubicBezTo>
                      <a:pt x="114" y="212"/>
                      <a:pt x="113" y="212"/>
                      <a:pt x="112" y="212"/>
                    </a:cubicBezTo>
                    <a:cubicBezTo>
                      <a:pt x="110" y="212"/>
                      <a:pt x="109" y="212"/>
                      <a:pt x="108" y="215"/>
                    </a:cubicBezTo>
                    <a:cubicBezTo>
                      <a:pt x="106" y="219"/>
                      <a:pt x="104" y="218"/>
                      <a:pt x="101" y="221"/>
                    </a:cubicBezTo>
                    <a:cubicBezTo>
                      <a:pt x="99" y="222"/>
                      <a:pt x="98" y="223"/>
                      <a:pt x="97" y="223"/>
                    </a:cubicBezTo>
                    <a:cubicBezTo>
                      <a:pt x="95" y="223"/>
                      <a:pt x="93" y="225"/>
                      <a:pt x="92" y="224"/>
                    </a:cubicBezTo>
                    <a:cubicBezTo>
                      <a:pt x="91" y="223"/>
                      <a:pt x="89" y="223"/>
                      <a:pt x="88" y="223"/>
                    </a:cubicBezTo>
                    <a:cubicBezTo>
                      <a:pt x="87" y="222"/>
                      <a:pt x="86" y="221"/>
                      <a:pt x="85" y="223"/>
                    </a:cubicBezTo>
                    <a:cubicBezTo>
                      <a:pt x="84" y="225"/>
                      <a:pt x="82" y="230"/>
                      <a:pt x="81" y="233"/>
                    </a:cubicBezTo>
                    <a:cubicBezTo>
                      <a:pt x="78" y="238"/>
                      <a:pt x="76" y="239"/>
                      <a:pt x="73" y="242"/>
                    </a:cubicBezTo>
                    <a:cubicBezTo>
                      <a:pt x="69" y="245"/>
                      <a:pt x="68" y="250"/>
                      <a:pt x="66" y="255"/>
                    </a:cubicBezTo>
                    <a:cubicBezTo>
                      <a:pt x="65" y="257"/>
                      <a:pt x="64" y="259"/>
                      <a:pt x="63" y="261"/>
                    </a:cubicBezTo>
                    <a:cubicBezTo>
                      <a:pt x="63" y="264"/>
                      <a:pt x="63" y="267"/>
                      <a:pt x="62" y="269"/>
                    </a:cubicBezTo>
                    <a:cubicBezTo>
                      <a:pt x="60" y="275"/>
                      <a:pt x="56" y="277"/>
                      <a:pt x="53" y="281"/>
                    </a:cubicBezTo>
                    <a:cubicBezTo>
                      <a:pt x="51" y="283"/>
                      <a:pt x="50" y="284"/>
                      <a:pt x="48" y="285"/>
                    </a:cubicBezTo>
                    <a:cubicBezTo>
                      <a:pt x="47" y="286"/>
                      <a:pt x="46" y="287"/>
                      <a:pt x="44" y="289"/>
                    </a:cubicBezTo>
                    <a:cubicBezTo>
                      <a:pt x="43" y="290"/>
                      <a:pt x="42" y="292"/>
                      <a:pt x="41" y="294"/>
                    </a:cubicBezTo>
                    <a:cubicBezTo>
                      <a:pt x="39" y="296"/>
                      <a:pt x="38" y="298"/>
                      <a:pt x="36" y="300"/>
                    </a:cubicBezTo>
                    <a:cubicBezTo>
                      <a:pt x="34" y="306"/>
                      <a:pt x="31" y="310"/>
                      <a:pt x="28" y="316"/>
                    </a:cubicBezTo>
                    <a:cubicBezTo>
                      <a:pt x="26" y="321"/>
                      <a:pt x="23" y="325"/>
                      <a:pt x="19" y="330"/>
                    </a:cubicBezTo>
                    <a:cubicBezTo>
                      <a:pt x="16" y="334"/>
                      <a:pt x="16" y="340"/>
                      <a:pt x="15" y="344"/>
                    </a:cubicBezTo>
                    <a:cubicBezTo>
                      <a:pt x="15" y="346"/>
                      <a:pt x="15" y="349"/>
                      <a:pt x="15" y="351"/>
                    </a:cubicBezTo>
                    <a:cubicBezTo>
                      <a:pt x="15" y="353"/>
                      <a:pt x="16" y="355"/>
                      <a:pt x="15" y="358"/>
                    </a:cubicBezTo>
                    <a:cubicBezTo>
                      <a:pt x="14" y="363"/>
                      <a:pt x="12" y="366"/>
                      <a:pt x="9" y="371"/>
                    </a:cubicBezTo>
                    <a:cubicBezTo>
                      <a:pt x="6" y="375"/>
                      <a:pt x="6" y="380"/>
                      <a:pt x="5" y="384"/>
                    </a:cubicBezTo>
                    <a:cubicBezTo>
                      <a:pt x="3" y="387"/>
                      <a:pt x="0" y="392"/>
                      <a:pt x="2" y="394"/>
                    </a:cubicBezTo>
                    <a:cubicBezTo>
                      <a:pt x="2" y="395"/>
                      <a:pt x="3" y="396"/>
                      <a:pt x="5" y="396"/>
                    </a:cubicBezTo>
                    <a:cubicBezTo>
                      <a:pt x="7" y="395"/>
                      <a:pt x="9" y="395"/>
                      <a:pt x="9" y="397"/>
                    </a:cubicBezTo>
                    <a:cubicBezTo>
                      <a:pt x="10" y="398"/>
                      <a:pt x="10" y="400"/>
                      <a:pt x="10" y="401"/>
                    </a:cubicBezTo>
                    <a:cubicBezTo>
                      <a:pt x="10" y="403"/>
                      <a:pt x="10" y="405"/>
                      <a:pt x="11" y="406"/>
                    </a:cubicBezTo>
                    <a:cubicBezTo>
                      <a:pt x="12" y="408"/>
                      <a:pt x="12" y="409"/>
                      <a:pt x="12" y="411"/>
                    </a:cubicBezTo>
                    <a:cubicBezTo>
                      <a:pt x="12" y="413"/>
                      <a:pt x="12" y="414"/>
                      <a:pt x="14" y="414"/>
                    </a:cubicBezTo>
                    <a:cubicBezTo>
                      <a:pt x="15" y="414"/>
                      <a:pt x="17" y="413"/>
                      <a:pt x="18" y="414"/>
                    </a:cubicBezTo>
                    <a:cubicBezTo>
                      <a:pt x="19" y="414"/>
                      <a:pt x="19" y="416"/>
                      <a:pt x="19" y="417"/>
                    </a:cubicBezTo>
                    <a:cubicBezTo>
                      <a:pt x="20" y="418"/>
                      <a:pt x="21" y="417"/>
                      <a:pt x="22" y="418"/>
                    </a:cubicBezTo>
                    <a:cubicBezTo>
                      <a:pt x="23" y="418"/>
                      <a:pt x="24" y="419"/>
                      <a:pt x="24" y="420"/>
                    </a:cubicBezTo>
                    <a:cubicBezTo>
                      <a:pt x="26" y="422"/>
                      <a:pt x="28" y="424"/>
                      <a:pt x="31" y="423"/>
                    </a:cubicBezTo>
                    <a:cubicBezTo>
                      <a:pt x="35" y="421"/>
                      <a:pt x="39" y="418"/>
                      <a:pt x="42" y="416"/>
                    </a:cubicBezTo>
                    <a:cubicBezTo>
                      <a:pt x="46" y="413"/>
                      <a:pt x="49" y="411"/>
                      <a:pt x="50" y="415"/>
                    </a:cubicBezTo>
                    <a:cubicBezTo>
                      <a:pt x="51" y="417"/>
                      <a:pt x="56" y="414"/>
                      <a:pt x="59" y="412"/>
                    </a:cubicBezTo>
                    <a:cubicBezTo>
                      <a:pt x="60" y="411"/>
                      <a:pt x="61" y="409"/>
                      <a:pt x="62" y="409"/>
                    </a:cubicBezTo>
                    <a:cubicBezTo>
                      <a:pt x="63" y="408"/>
                      <a:pt x="64" y="408"/>
                      <a:pt x="65" y="408"/>
                    </a:cubicBezTo>
                    <a:cubicBezTo>
                      <a:pt x="67" y="407"/>
                      <a:pt x="70" y="405"/>
                      <a:pt x="72" y="403"/>
                    </a:cubicBezTo>
                    <a:cubicBezTo>
                      <a:pt x="73" y="402"/>
                      <a:pt x="73" y="400"/>
                      <a:pt x="74" y="399"/>
                    </a:cubicBezTo>
                    <a:cubicBezTo>
                      <a:pt x="75" y="398"/>
                      <a:pt x="76" y="398"/>
                      <a:pt x="77" y="398"/>
                    </a:cubicBezTo>
                    <a:cubicBezTo>
                      <a:pt x="78" y="398"/>
                      <a:pt x="79" y="398"/>
                      <a:pt x="80" y="398"/>
                    </a:cubicBezTo>
                    <a:cubicBezTo>
                      <a:pt x="81" y="398"/>
                      <a:pt x="83" y="396"/>
                      <a:pt x="84" y="396"/>
                    </a:cubicBezTo>
                    <a:cubicBezTo>
                      <a:pt x="86" y="396"/>
                      <a:pt x="86" y="399"/>
                      <a:pt x="86" y="401"/>
                    </a:cubicBezTo>
                    <a:cubicBezTo>
                      <a:pt x="86" y="404"/>
                      <a:pt x="88" y="403"/>
                      <a:pt x="91" y="401"/>
                    </a:cubicBezTo>
                    <a:cubicBezTo>
                      <a:pt x="94" y="399"/>
                      <a:pt x="97" y="395"/>
                      <a:pt x="98" y="397"/>
                    </a:cubicBezTo>
                    <a:cubicBezTo>
                      <a:pt x="99" y="397"/>
                      <a:pt x="98" y="399"/>
                      <a:pt x="99" y="399"/>
                    </a:cubicBezTo>
                    <a:cubicBezTo>
                      <a:pt x="100" y="400"/>
                      <a:pt x="101" y="399"/>
                      <a:pt x="101" y="401"/>
                    </a:cubicBezTo>
                    <a:cubicBezTo>
                      <a:pt x="100" y="403"/>
                      <a:pt x="100" y="405"/>
                      <a:pt x="99" y="406"/>
                    </a:cubicBezTo>
                    <a:cubicBezTo>
                      <a:pt x="98" y="408"/>
                      <a:pt x="97" y="409"/>
                      <a:pt x="96" y="411"/>
                    </a:cubicBezTo>
                    <a:cubicBezTo>
                      <a:pt x="94" y="415"/>
                      <a:pt x="93" y="419"/>
                      <a:pt x="90" y="423"/>
                    </a:cubicBezTo>
                    <a:cubicBezTo>
                      <a:pt x="88" y="427"/>
                      <a:pt x="90" y="428"/>
                      <a:pt x="91" y="429"/>
                    </a:cubicBezTo>
                    <a:cubicBezTo>
                      <a:pt x="92" y="431"/>
                      <a:pt x="93" y="434"/>
                      <a:pt x="95" y="436"/>
                    </a:cubicBezTo>
                    <a:cubicBezTo>
                      <a:pt x="96" y="437"/>
                      <a:pt x="96" y="439"/>
                      <a:pt x="95" y="443"/>
                    </a:cubicBezTo>
                    <a:cubicBezTo>
                      <a:pt x="94" y="444"/>
                      <a:pt x="94" y="446"/>
                      <a:pt x="94" y="447"/>
                    </a:cubicBezTo>
                    <a:cubicBezTo>
                      <a:pt x="94" y="448"/>
                      <a:pt x="94" y="449"/>
                      <a:pt x="94" y="451"/>
                    </a:cubicBezTo>
                    <a:cubicBezTo>
                      <a:pt x="94" y="453"/>
                      <a:pt x="94" y="454"/>
                      <a:pt x="93" y="456"/>
                    </a:cubicBezTo>
                    <a:cubicBezTo>
                      <a:pt x="92" y="458"/>
                      <a:pt x="92" y="459"/>
                      <a:pt x="92" y="460"/>
                    </a:cubicBezTo>
                    <a:cubicBezTo>
                      <a:pt x="93" y="461"/>
                      <a:pt x="94" y="461"/>
                      <a:pt x="93" y="462"/>
                    </a:cubicBezTo>
                    <a:cubicBezTo>
                      <a:pt x="93" y="464"/>
                      <a:pt x="92" y="466"/>
                      <a:pt x="91" y="467"/>
                    </a:cubicBezTo>
                    <a:cubicBezTo>
                      <a:pt x="89" y="470"/>
                      <a:pt x="86" y="472"/>
                      <a:pt x="84" y="474"/>
                    </a:cubicBezTo>
                    <a:cubicBezTo>
                      <a:pt x="83" y="476"/>
                      <a:pt x="82" y="477"/>
                      <a:pt x="82" y="479"/>
                    </a:cubicBezTo>
                    <a:cubicBezTo>
                      <a:pt x="81" y="480"/>
                      <a:pt x="80" y="482"/>
                      <a:pt x="78" y="484"/>
                    </a:cubicBezTo>
                    <a:cubicBezTo>
                      <a:pt x="77" y="485"/>
                      <a:pt x="77" y="487"/>
                      <a:pt x="76" y="488"/>
                    </a:cubicBezTo>
                    <a:cubicBezTo>
                      <a:pt x="76" y="490"/>
                      <a:pt x="75" y="492"/>
                      <a:pt x="74" y="493"/>
                    </a:cubicBezTo>
                    <a:cubicBezTo>
                      <a:pt x="73" y="497"/>
                      <a:pt x="73" y="499"/>
                      <a:pt x="74" y="501"/>
                    </a:cubicBezTo>
                    <a:cubicBezTo>
                      <a:pt x="75" y="505"/>
                      <a:pt x="78" y="509"/>
                      <a:pt x="75" y="516"/>
                    </a:cubicBezTo>
                    <a:cubicBezTo>
                      <a:pt x="75" y="517"/>
                      <a:pt x="74" y="519"/>
                      <a:pt x="73" y="521"/>
                    </a:cubicBezTo>
                    <a:cubicBezTo>
                      <a:pt x="73" y="522"/>
                      <a:pt x="71" y="524"/>
                      <a:pt x="71" y="525"/>
                    </a:cubicBezTo>
                    <a:cubicBezTo>
                      <a:pt x="71" y="526"/>
                      <a:pt x="71" y="527"/>
                      <a:pt x="71" y="529"/>
                    </a:cubicBezTo>
                    <a:cubicBezTo>
                      <a:pt x="71" y="530"/>
                      <a:pt x="70" y="532"/>
                      <a:pt x="71" y="533"/>
                    </a:cubicBezTo>
                    <a:cubicBezTo>
                      <a:pt x="71" y="534"/>
                      <a:pt x="72" y="536"/>
                      <a:pt x="73" y="538"/>
                    </a:cubicBezTo>
                    <a:cubicBezTo>
                      <a:pt x="73" y="538"/>
                      <a:pt x="72" y="540"/>
                      <a:pt x="72" y="541"/>
                    </a:cubicBezTo>
                    <a:cubicBezTo>
                      <a:pt x="71" y="543"/>
                      <a:pt x="73" y="542"/>
                      <a:pt x="73" y="543"/>
                    </a:cubicBezTo>
                    <a:cubicBezTo>
                      <a:pt x="74" y="544"/>
                      <a:pt x="74" y="546"/>
                      <a:pt x="73" y="548"/>
                    </a:cubicBezTo>
                    <a:cubicBezTo>
                      <a:pt x="73" y="550"/>
                      <a:pt x="71" y="551"/>
                      <a:pt x="71" y="552"/>
                    </a:cubicBezTo>
                    <a:cubicBezTo>
                      <a:pt x="70" y="554"/>
                      <a:pt x="70" y="554"/>
                      <a:pt x="70" y="555"/>
                    </a:cubicBezTo>
                    <a:cubicBezTo>
                      <a:pt x="70" y="556"/>
                      <a:pt x="70" y="557"/>
                      <a:pt x="71" y="557"/>
                    </a:cubicBezTo>
                    <a:cubicBezTo>
                      <a:pt x="72" y="557"/>
                      <a:pt x="72" y="558"/>
                      <a:pt x="73" y="558"/>
                    </a:cubicBezTo>
                    <a:cubicBezTo>
                      <a:pt x="74" y="558"/>
                      <a:pt x="79" y="556"/>
                      <a:pt x="81" y="554"/>
                    </a:cubicBezTo>
                    <a:cubicBezTo>
                      <a:pt x="82" y="553"/>
                      <a:pt x="83" y="552"/>
                      <a:pt x="84" y="551"/>
                    </a:cubicBezTo>
                    <a:cubicBezTo>
                      <a:pt x="86" y="551"/>
                      <a:pt x="88" y="550"/>
                      <a:pt x="89" y="549"/>
                    </a:cubicBezTo>
                    <a:cubicBezTo>
                      <a:pt x="91" y="549"/>
                      <a:pt x="92" y="548"/>
                      <a:pt x="93" y="548"/>
                    </a:cubicBezTo>
                    <a:cubicBezTo>
                      <a:pt x="95" y="547"/>
                      <a:pt x="96" y="545"/>
                      <a:pt x="98" y="544"/>
                    </a:cubicBezTo>
                    <a:cubicBezTo>
                      <a:pt x="99" y="543"/>
                      <a:pt x="101" y="543"/>
                      <a:pt x="102" y="541"/>
                    </a:cubicBezTo>
                    <a:cubicBezTo>
                      <a:pt x="104" y="540"/>
                      <a:pt x="105" y="539"/>
                      <a:pt x="107" y="538"/>
                    </a:cubicBezTo>
                    <a:cubicBezTo>
                      <a:pt x="108" y="536"/>
                      <a:pt x="109" y="535"/>
                      <a:pt x="110" y="533"/>
                    </a:cubicBezTo>
                    <a:cubicBezTo>
                      <a:pt x="112" y="532"/>
                      <a:pt x="113" y="531"/>
                      <a:pt x="115" y="529"/>
                    </a:cubicBezTo>
                    <a:cubicBezTo>
                      <a:pt x="118" y="526"/>
                      <a:pt x="119" y="523"/>
                      <a:pt x="122" y="521"/>
                    </a:cubicBezTo>
                    <a:cubicBezTo>
                      <a:pt x="124" y="518"/>
                      <a:pt x="126" y="515"/>
                      <a:pt x="128" y="512"/>
                    </a:cubicBezTo>
                    <a:cubicBezTo>
                      <a:pt x="130" y="509"/>
                      <a:pt x="131" y="506"/>
                      <a:pt x="133" y="503"/>
                    </a:cubicBezTo>
                    <a:cubicBezTo>
                      <a:pt x="134" y="500"/>
                      <a:pt x="136" y="497"/>
                      <a:pt x="139" y="495"/>
                    </a:cubicBezTo>
                    <a:cubicBezTo>
                      <a:pt x="142" y="493"/>
                      <a:pt x="144" y="492"/>
                      <a:pt x="146" y="488"/>
                    </a:cubicBezTo>
                    <a:cubicBezTo>
                      <a:pt x="147" y="486"/>
                      <a:pt x="147" y="484"/>
                      <a:pt x="148" y="483"/>
                    </a:cubicBezTo>
                    <a:cubicBezTo>
                      <a:pt x="148" y="481"/>
                      <a:pt x="149" y="479"/>
                      <a:pt x="150" y="477"/>
                    </a:cubicBezTo>
                    <a:cubicBezTo>
                      <a:pt x="150" y="475"/>
                      <a:pt x="149" y="473"/>
                      <a:pt x="151" y="471"/>
                    </a:cubicBezTo>
                    <a:cubicBezTo>
                      <a:pt x="153" y="467"/>
                      <a:pt x="156" y="465"/>
                      <a:pt x="158" y="462"/>
                    </a:cubicBezTo>
                    <a:cubicBezTo>
                      <a:pt x="159" y="461"/>
                      <a:pt x="160" y="459"/>
                      <a:pt x="161" y="458"/>
                    </a:cubicBezTo>
                    <a:cubicBezTo>
                      <a:pt x="162" y="457"/>
                      <a:pt x="163" y="456"/>
                      <a:pt x="164" y="456"/>
                    </a:cubicBezTo>
                    <a:cubicBezTo>
                      <a:pt x="165" y="455"/>
                      <a:pt x="166" y="453"/>
                      <a:pt x="167" y="452"/>
                    </a:cubicBezTo>
                    <a:cubicBezTo>
                      <a:pt x="169" y="450"/>
                      <a:pt x="170" y="449"/>
                      <a:pt x="171" y="448"/>
                    </a:cubicBezTo>
                    <a:cubicBezTo>
                      <a:pt x="174" y="445"/>
                      <a:pt x="175" y="443"/>
                      <a:pt x="176" y="440"/>
                    </a:cubicBezTo>
                    <a:cubicBezTo>
                      <a:pt x="177" y="437"/>
                      <a:pt x="177" y="434"/>
                      <a:pt x="179" y="430"/>
                    </a:cubicBezTo>
                    <a:cubicBezTo>
                      <a:pt x="180" y="427"/>
                      <a:pt x="181" y="424"/>
                      <a:pt x="181" y="422"/>
                    </a:cubicBezTo>
                    <a:cubicBezTo>
                      <a:pt x="181" y="420"/>
                      <a:pt x="180" y="417"/>
                      <a:pt x="181" y="414"/>
                    </a:cubicBezTo>
                    <a:cubicBezTo>
                      <a:pt x="181" y="410"/>
                      <a:pt x="183" y="407"/>
                      <a:pt x="183" y="404"/>
                    </a:cubicBezTo>
                    <a:cubicBezTo>
                      <a:pt x="183" y="403"/>
                      <a:pt x="184" y="401"/>
                      <a:pt x="184" y="400"/>
                    </a:cubicBezTo>
                    <a:cubicBezTo>
                      <a:pt x="185" y="398"/>
                      <a:pt x="187" y="396"/>
                      <a:pt x="188" y="394"/>
                    </a:cubicBezTo>
                    <a:cubicBezTo>
                      <a:pt x="192" y="387"/>
                      <a:pt x="195" y="382"/>
                      <a:pt x="200" y="376"/>
                    </a:cubicBezTo>
                    <a:cubicBezTo>
                      <a:pt x="200" y="375"/>
                      <a:pt x="201" y="374"/>
                      <a:pt x="202" y="373"/>
                    </a:cubicBezTo>
                    <a:cubicBezTo>
                      <a:pt x="203" y="372"/>
                      <a:pt x="203" y="371"/>
                      <a:pt x="204" y="369"/>
                    </a:cubicBezTo>
                    <a:cubicBezTo>
                      <a:pt x="204" y="368"/>
                      <a:pt x="205" y="367"/>
                      <a:pt x="206" y="365"/>
                    </a:cubicBezTo>
                    <a:cubicBezTo>
                      <a:pt x="207" y="364"/>
                      <a:pt x="208" y="362"/>
                      <a:pt x="209" y="361"/>
                    </a:cubicBezTo>
                    <a:cubicBezTo>
                      <a:pt x="210" y="361"/>
                      <a:pt x="211" y="361"/>
                      <a:pt x="212" y="360"/>
                    </a:cubicBezTo>
                    <a:cubicBezTo>
                      <a:pt x="213" y="359"/>
                      <a:pt x="214" y="357"/>
                      <a:pt x="215" y="356"/>
                    </a:cubicBezTo>
                    <a:cubicBezTo>
                      <a:pt x="217" y="353"/>
                      <a:pt x="219" y="349"/>
                      <a:pt x="221" y="345"/>
                    </a:cubicBezTo>
                    <a:cubicBezTo>
                      <a:pt x="223" y="341"/>
                      <a:pt x="225" y="337"/>
                      <a:pt x="227" y="333"/>
                    </a:cubicBezTo>
                    <a:cubicBezTo>
                      <a:pt x="229" y="329"/>
                      <a:pt x="231" y="324"/>
                      <a:pt x="233" y="320"/>
                    </a:cubicBezTo>
                    <a:cubicBezTo>
                      <a:pt x="234" y="318"/>
                      <a:pt x="237" y="309"/>
                      <a:pt x="235" y="310"/>
                    </a:cubicBezTo>
                    <a:cubicBezTo>
                      <a:pt x="235" y="310"/>
                      <a:pt x="234" y="311"/>
                      <a:pt x="233" y="312"/>
                    </a:cubicBezTo>
                    <a:cubicBezTo>
                      <a:pt x="232" y="313"/>
                      <a:pt x="231" y="313"/>
                      <a:pt x="230" y="314"/>
                    </a:cubicBezTo>
                    <a:cubicBezTo>
                      <a:pt x="229" y="314"/>
                      <a:pt x="228" y="316"/>
                      <a:pt x="227" y="317"/>
                    </a:cubicBezTo>
                    <a:cubicBezTo>
                      <a:pt x="226" y="318"/>
                      <a:pt x="225" y="318"/>
                      <a:pt x="224" y="319"/>
                    </a:cubicBezTo>
                    <a:cubicBezTo>
                      <a:pt x="223" y="319"/>
                      <a:pt x="223" y="319"/>
                      <a:pt x="222" y="320"/>
                    </a:cubicBezTo>
                    <a:cubicBezTo>
                      <a:pt x="221" y="322"/>
                      <a:pt x="220" y="323"/>
                      <a:pt x="219" y="323"/>
                    </a:cubicBezTo>
                    <a:cubicBezTo>
                      <a:pt x="217" y="323"/>
                      <a:pt x="216" y="321"/>
                      <a:pt x="216" y="318"/>
                    </a:cubicBezTo>
                    <a:cubicBezTo>
                      <a:pt x="216" y="317"/>
                      <a:pt x="216" y="316"/>
                      <a:pt x="216" y="314"/>
                    </a:cubicBezTo>
                    <a:cubicBezTo>
                      <a:pt x="216" y="312"/>
                      <a:pt x="217" y="310"/>
                      <a:pt x="216" y="309"/>
                    </a:cubicBezTo>
                    <a:cubicBezTo>
                      <a:pt x="216" y="309"/>
                      <a:pt x="215" y="309"/>
                      <a:pt x="215" y="308"/>
                    </a:cubicBezTo>
                    <a:cubicBezTo>
                      <a:pt x="214" y="307"/>
                      <a:pt x="213" y="306"/>
                      <a:pt x="212" y="306"/>
                    </a:cubicBezTo>
                    <a:cubicBezTo>
                      <a:pt x="211" y="305"/>
                      <a:pt x="209" y="305"/>
                      <a:pt x="209" y="302"/>
                    </a:cubicBezTo>
                    <a:cubicBezTo>
                      <a:pt x="209" y="298"/>
                      <a:pt x="211" y="293"/>
                      <a:pt x="210" y="291"/>
                    </a:cubicBezTo>
                    <a:cubicBezTo>
                      <a:pt x="210" y="290"/>
                      <a:pt x="210" y="289"/>
                      <a:pt x="209" y="288"/>
                    </a:cubicBezTo>
                    <a:cubicBezTo>
                      <a:pt x="209" y="288"/>
                      <a:pt x="208" y="288"/>
                      <a:pt x="207" y="287"/>
                    </a:cubicBezTo>
                    <a:cubicBezTo>
                      <a:pt x="207" y="285"/>
                      <a:pt x="209" y="279"/>
                      <a:pt x="209" y="276"/>
                    </a:cubicBezTo>
                    <a:cubicBezTo>
                      <a:pt x="210" y="274"/>
                      <a:pt x="209" y="272"/>
                      <a:pt x="209" y="271"/>
                    </a:cubicBezTo>
                    <a:cubicBezTo>
                      <a:pt x="209" y="269"/>
                      <a:pt x="207" y="268"/>
                      <a:pt x="208" y="266"/>
                    </a:cubicBezTo>
                    <a:cubicBezTo>
                      <a:pt x="208" y="264"/>
                      <a:pt x="208" y="262"/>
                      <a:pt x="209" y="261"/>
                    </a:cubicBezTo>
                    <a:cubicBezTo>
                      <a:pt x="209" y="259"/>
                      <a:pt x="208" y="257"/>
                      <a:pt x="208" y="256"/>
                    </a:cubicBezTo>
                    <a:cubicBezTo>
                      <a:pt x="208" y="252"/>
                      <a:pt x="207" y="248"/>
                      <a:pt x="207" y="244"/>
                    </a:cubicBezTo>
                    <a:cubicBezTo>
                      <a:pt x="207" y="244"/>
                      <a:pt x="207" y="241"/>
                      <a:pt x="207" y="241"/>
                    </a:cubicBezTo>
                    <a:cubicBezTo>
                      <a:pt x="208" y="240"/>
                      <a:pt x="209" y="240"/>
                      <a:pt x="209" y="239"/>
                    </a:cubicBezTo>
                    <a:cubicBezTo>
                      <a:pt x="210" y="238"/>
                      <a:pt x="211" y="238"/>
                      <a:pt x="211" y="239"/>
                    </a:cubicBezTo>
                    <a:cubicBezTo>
                      <a:pt x="211" y="240"/>
                      <a:pt x="212" y="242"/>
                      <a:pt x="212" y="243"/>
                    </a:cubicBezTo>
                    <a:cubicBezTo>
                      <a:pt x="212" y="247"/>
                      <a:pt x="212" y="250"/>
                      <a:pt x="213" y="253"/>
                    </a:cubicBezTo>
                    <a:cubicBezTo>
                      <a:pt x="214" y="255"/>
                      <a:pt x="215" y="257"/>
                      <a:pt x="216" y="260"/>
                    </a:cubicBezTo>
                    <a:cubicBezTo>
                      <a:pt x="216" y="262"/>
                      <a:pt x="216" y="263"/>
                      <a:pt x="216" y="265"/>
                    </a:cubicBezTo>
                    <a:cubicBezTo>
                      <a:pt x="216" y="266"/>
                      <a:pt x="216" y="268"/>
                      <a:pt x="216" y="270"/>
                    </a:cubicBezTo>
                    <a:cubicBezTo>
                      <a:pt x="216" y="272"/>
                      <a:pt x="215" y="274"/>
                      <a:pt x="215" y="276"/>
                    </a:cubicBezTo>
                    <a:cubicBezTo>
                      <a:pt x="214" y="278"/>
                      <a:pt x="216" y="277"/>
                      <a:pt x="217" y="278"/>
                    </a:cubicBezTo>
                    <a:cubicBezTo>
                      <a:pt x="218" y="279"/>
                      <a:pt x="218" y="283"/>
                      <a:pt x="218" y="286"/>
                    </a:cubicBezTo>
                    <a:cubicBezTo>
                      <a:pt x="218" y="289"/>
                      <a:pt x="220" y="291"/>
                      <a:pt x="219" y="295"/>
                    </a:cubicBezTo>
                    <a:cubicBezTo>
                      <a:pt x="219" y="299"/>
                      <a:pt x="219" y="301"/>
                      <a:pt x="218" y="305"/>
                    </a:cubicBezTo>
                    <a:cubicBezTo>
                      <a:pt x="217" y="308"/>
                      <a:pt x="219" y="309"/>
                      <a:pt x="219" y="310"/>
                    </a:cubicBezTo>
                    <a:cubicBezTo>
                      <a:pt x="220" y="311"/>
                      <a:pt x="221" y="310"/>
                      <a:pt x="222" y="309"/>
                    </a:cubicBezTo>
                    <a:cubicBezTo>
                      <a:pt x="223" y="308"/>
                      <a:pt x="224" y="308"/>
                      <a:pt x="225" y="307"/>
                    </a:cubicBezTo>
                    <a:cubicBezTo>
                      <a:pt x="227" y="306"/>
                      <a:pt x="228" y="305"/>
                      <a:pt x="229" y="304"/>
                    </a:cubicBezTo>
                    <a:cubicBezTo>
                      <a:pt x="230" y="302"/>
                      <a:pt x="231" y="302"/>
                      <a:pt x="232" y="301"/>
                    </a:cubicBezTo>
                    <a:cubicBezTo>
                      <a:pt x="233" y="300"/>
                      <a:pt x="233" y="298"/>
                      <a:pt x="234" y="298"/>
                    </a:cubicBezTo>
                    <a:cubicBezTo>
                      <a:pt x="235" y="297"/>
                      <a:pt x="236" y="296"/>
                      <a:pt x="236" y="296"/>
                    </a:cubicBezTo>
                    <a:cubicBezTo>
                      <a:pt x="239" y="293"/>
                      <a:pt x="241" y="293"/>
                      <a:pt x="243" y="290"/>
                    </a:cubicBezTo>
                    <a:cubicBezTo>
                      <a:pt x="244" y="288"/>
                      <a:pt x="245" y="286"/>
                      <a:pt x="246" y="284"/>
                    </a:cubicBezTo>
                    <a:cubicBezTo>
                      <a:pt x="247" y="283"/>
                      <a:pt x="248" y="284"/>
                      <a:pt x="248" y="283"/>
                    </a:cubicBezTo>
                    <a:cubicBezTo>
                      <a:pt x="250" y="282"/>
                      <a:pt x="250" y="279"/>
                      <a:pt x="251" y="278"/>
                    </a:cubicBezTo>
                    <a:cubicBezTo>
                      <a:pt x="253" y="277"/>
                      <a:pt x="254" y="274"/>
                      <a:pt x="256" y="272"/>
                    </a:cubicBezTo>
                    <a:cubicBezTo>
                      <a:pt x="257" y="270"/>
                      <a:pt x="257" y="270"/>
                      <a:pt x="258" y="269"/>
                    </a:cubicBezTo>
                    <a:cubicBezTo>
                      <a:pt x="259" y="269"/>
                      <a:pt x="260" y="266"/>
                      <a:pt x="261" y="265"/>
                    </a:cubicBezTo>
                    <a:cubicBezTo>
                      <a:pt x="261" y="263"/>
                      <a:pt x="261" y="262"/>
                      <a:pt x="262" y="261"/>
                    </a:cubicBezTo>
                    <a:cubicBezTo>
                      <a:pt x="262" y="259"/>
                      <a:pt x="263" y="258"/>
                      <a:pt x="264" y="257"/>
                    </a:cubicBezTo>
                    <a:cubicBezTo>
                      <a:pt x="266" y="254"/>
                      <a:pt x="268" y="251"/>
                      <a:pt x="267" y="248"/>
                    </a:cubicBezTo>
                    <a:cubicBezTo>
                      <a:pt x="266" y="246"/>
                      <a:pt x="266" y="245"/>
                      <a:pt x="266" y="243"/>
                    </a:cubicBezTo>
                    <a:cubicBezTo>
                      <a:pt x="266" y="242"/>
                      <a:pt x="265" y="243"/>
                      <a:pt x="265" y="243"/>
                    </a:cubicBezTo>
                    <a:cubicBezTo>
                      <a:pt x="264" y="242"/>
                      <a:pt x="262" y="242"/>
                      <a:pt x="261" y="239"/>
                    </a:cubicBezTo>
                    <a:cubicBezTo>
                      <a:pt x="261" y="238"/>
                      <a:pt x="263" y="232"/>
                      <a:pt x="262" y="232"/>
                    </a:cubicBezTo>
                    <a:cubicBezTo>
                      <a:pt x="262" y="232"/>
                      <a:pt x="260" y="236"/>
                      <a:pt x="259" y="237"/>
                    </a:cubicBezTo>
                    <a:cubicBezTo>
                      <a:pt x="258" y="238"/>
                      <a:pt x="258" y="239"/>
                      <a:pt x="257" y="240"/>
                    </a:cubicBezTo>
                    <a:cubicBezTo>
                      <a:pt x="256" y="241"/>
                      <a:pt x="255" y="243"/>
                      <a:pt x="254" y="244"/>
                    </a:cubicBezTo>
                    <a:cubicBezTo>
                      <a:pt x="253" y="246"/>
                      <a:pt x="251" y="247"/>
                      <a:pt x="251" y="246"/>
                    </a:cubicBezTo>
                    <a:cubicBezTo>
                      <a:pt x="250" y="246"/>
                      <a:pt x="250" y="244"/>
                      <a:pt x="250" y="243"/>
                    </a:cubicBezTo>
                    <a:cubicBezTo>
                      <a:pt x="249" y="242"/>
                      <a:pt x="249" y="240"/>
                      <a:pt x="249" y="239"/>
                    </a:cubicBezTo>
                    <a:cubicBezTo>
                      <a:pt x="248" y="235"/>
                      <a:pt x="247" y="233"/>
                      <a:pt x="247" y="230"/>
                    </a:cubicBezTo>
                    <a:cubicBezTo>
                      <a:pt x="246" y="227"/>
                      <a:pt x="245" y="224"/>
                      <a:pt x="246" y="220"/>
                    </a:cubicBezTo>
                    <a:cubicBezTo>
                      <a:pt x="246" y="216"/>
                      <a:pt x="247" y="213"/>
                      <a:pt x="248" y="214"/>
                    </a:cubicBezTo>
                    <a:cubicBezTo>
                      <a:pt x="250" y="214"/>
                      <a:pt x="251" y="214"/>
                      <a:pt x="251" y="216"/>
                    </a:cubicBezTo>
                    <a:cubicBezTo>
                      <a:pt x="251" y="217"/>
                      <a:pt x="251" y="219"/>
                      <a:pt x="252" y="220"/>
                    </a:cubicBezTo>
                    <a:cubicBezTo>
                      <a:pt x="252" y="222"/>
                      <a:pt x="253" y="222"/>
                      <a:pt x="253" y="223"/>
                    </a:cubicBezTo>
                    <a:cubicBezTo>
                      <a:pt x="254" y="226"/>
                      <a:pt x="254" y="228"/>
                      <a:pt x="255" y="230"/>
                    </a:cubicBezTo>
                    <a:cubicBezTo>
                      <a:pt x="256" y="233"/>
                      <a:pt x="258" y="232"/>
                      <a:pt x="260" y="231"/>
                    </a:cubicBezTo>
                    <a:cubicBezTo>
                      <a:pt x="260" y="230"/>
                      <a:pt x="261" y="229"/>
                      <a:pt x="262" y="228"/>
                    </a:cubicBezTo>
                    <a:cubicBezTo>
                      <a:pt x="263" y="227"/>
                      <a:pt x="263" y="225"/>
                      <a:pt x="264" y="225"/>
                    </a:cubicBezTo>
                    <a:cubicBezTo>
                      <a:pt x="265" y="224"/>
                      <a:pt x="265" y="230"/>
                      <a:pt x="265" y="232"/>
                    </a:cubicBezTo>
                    <a:cubicBezTo>
                      <a:pt x="265" y="235"/>
                      <a:pt x="267" y="233"/>
                      <a:pt x="268" y="233"/>
                    </a:cubicBezTo>
                    <a:cubicBezTo>
                      <a:pt x="269" y="233"/>
                      <a:pt x="270" y="232"/>
                      <a:pt x="271" y="232"/>
                    </a:cubicBezTo>
                    <a:cubicBezTo>
                      <a:pt x="273" y="232"/>
                      <a:pt x="274" y="232"/>
                      <a:pt x="275" y="232"/>
                    </a:cubicBezTo>
                    <a:cubicBezTo>
                      <a:pt x="276" y="232"/>
                      <a:pt x="277" y="231"/>
                      <a:pt x="278" y="231"/>
                    </a:cubicBezTo>
                    <a:cubicBezTo>
                      <a:pt x="279" y="230"/>
                      <a:pt x="280" y="230"/>
                      <a:pt x="281" y="230"/>
                    </a:cubicBezTo>
                    <a:cubicBezTo>
                      <a:pt x="282" y="229"/>
                      <a:pt x="283" y="228"/>
                      <a:pt x="284" y="228"/>
                    </a:cubicBezTo>
                    <a:cubicBezTo>
                      <a:pt x="285" y="228"/>
                      <a:pt x="285" y="230"/>
                      <a:pt x="285" y="231"/>
                    </a:cubicBezTo>
                    <a:cubicBezTo>
                      <a:pt x="285" y="232"/>
                      <a:pt x="285" y="233"/>
                      <a:pt x="286" y="234"/>
                    </a:cubicBezTo>
                    <a:cubicBezTo>
                      <a:pt x="287" y="234"/>
                      <a:pt x="287" y="236"/>
                      <a:pt x="287" y="236"/>
                    </a:cubicBezTo>
                    <a:cubicBezTo>
                      <a:pt x="288" y="237"/>
                      <a:pt x="288" y="238"/>
                      <a:pt x="288" y="239"/>
                    </a:cubicBezTo>
                    <a:cubicBezTo>
                      <a:pt x="288" y="240"/>
                      <a:pt x="288" y="242"/>
                      <a:pt x="288" y="244"/>
                    </a:cubicBezTo>
                    <a:cubicBezTo>
                      <a:pt x="288" y="246"/>
                      <a:pt x="288" y="250"/>
                      <a:pt x="290" y="249"/>
                    </a:cubicBezTo>
                    <a:cubicBezTo>
                      <a:pt x="292" y="249"/>
                      <a:pt x="293" y="248"/>
                      <a:pt x="295" y="244"/>
                    </a:cubicBezTo>
                    <a:cubicBezTo>
                      <a:pt x="295" y="241"/>
                      <a:pt x="296" y="244"/>
                      <a:pt x="296" y="245"/>
                    </a:cubicBezTo>
                    <a:cubicBezTo>
                      <a:pt x="296" y="248"/>
                      <a:pt x="295" y="250"/>
                      <a:pt x="295" y="253"/>
                    </a:cubicBezTo>
                    <a:cubicBezTo>
                      <a:pt x="295" y="255"/>
                      <a:pt x="295" y="257"/>
                      <a:pt x="295" y="258"/>
                    </a:cubicBezTo>
                    <a:cubicBezTo>
                      <a:pt x="294" y="260"/>
                      <a:pt x="294" y="262"/>
                      <a:pt x="294" y="264"/>
                    </a:cubicBezTo>
                    <a:cubicBezTo>
                      <a:pt x="293" y="268"/>
                      <a:pt x="294" y="272"/>
                      <a:pt x="294" y="275"/>
                    </a:cubicBezTo>
                    <a:cubicBezTo>
                      <a:pt x="294" y="279"/>
                      <a:pt x="294" y="282"/>
                      <a:pt x="295" y="285"/>
                    </a:cubicBezTo>
                    <a:cubicBezTo>
                      <a:pt x="295" y="288"/>
                      <a:pt x="295" y="292"/>
                      <a:pt x="295" y="295"/>
                    </a:cubicBezTo>
                    <a:cubicBezTo>
                      <a:pt x="295" y="297"/>
                      <a:pt x="295" y="298"/>
                      <a:pt x="296" y="300"/>
                    </a:cubicBezTo>
                    <a:cubicBezTo>
                      <a:pt x="296" y="301"/>
                      <a:pt x="295" y="303"/>
                      <a:pt x="296" y="303"/>
                    </a:cubicBezTo>
                    <a:cubicBezTo>
                      <a:pt x="297" y="305"/>
                      <a:pt x="300" y="297"/>
                      <a:pt x="300" y="296"/>
                    </a:cubicBezTo>
                    <a:cubicBezTo>
                      <a:pt x="301" y="294"/>
                      <a:pt x="301" y="293"/>
                      <a:pt x="302" y="291"/>
                    </a:cubicBezTo>
                    <a:cubicBezTo>
                      <a:pt x="302" y="290"/>
                      <a:pt x="303" y="289"/>
                      <a:pt x="304" y="287"/>
                    </a:cubicBezTo>
                    <a:cubicBezTo>
                      <a:pt x="304" y="285"/>
                      <a:pt x="305" y="284"/>
                      <a:pt x="306" y="282"/>
                    </a:cubicBezTo>
                    <a:cubicBezTo>
                      <a:pt x="306" y="281"/>
                      <a:pt x="308" y="278"/>
                      <a:pt x="308" y="277"/>
                    </a:cubicBezTo>
                    <a:cubicBezTo>
                      <a:pt x="307" y="276"/>
                      <a:pt x="307" y="276"/>
                      <a:pt x="307" y="275"/>
                    </a:cubicBezTo>
                    <a:cubicBezTo>
                      <a:pt x="307" y="273"/>
                      <a:pt x="307" y="272"/>
                      <a:pt x="308" y="270"/>
                    </a:cubicBezTo>
                    <a:cubicBezTo>
                      <a:pt x="308" y="267"/>
                      <a:pt x="311" y="265"/>
                      <a:pt x="312" y="263"/>
                    </a:cubicBezTo>
                    <a:cubicBezTo>
                      <a:pt x="314" y="262"/>
                      <a:pt x="316" y="258"/>
                      <a:pt x="317" y="255"/>
                    </a:cubicBezTo>
                    <a:cubicBezTo>
                      <a:pt x="318" y="254"/>
                      <a:pt x="318" y="253"/>
                      <a:pt x="319" y="252"/>
                    </a:cubicBezTo>
                    <a:cubicBezTo>
                      <a:pt x="320" y="251"/>
                      <a:pt x="321" y="250"/>
                      <a:pt x="322" y="248"/>
                    </a:cubicBezTo>
                    <a:cubicBezTo>
                      <a:pt x="323" y="247"/>
                      <a:pt x="323" y="245"/>
                      <a:pt x="324" y="244"/>
                    </a:cubicBezTo>
                    <a:cubicBezTo>
                      <a:pt x="325" y="243"/>
                      <a:pt x="326" y="241"/>
                      <a:pt x="327" y="240"/>
                    </a:cubicBezTo>
                    <a:cubicBezTo>
                      <a:pt x="329" y="238"/>
                      <a:pt x="330" y="235"/>
                      <a:pt x="332" y="234"/>
                    </a:cubicBezTo>
                    <a:cubicBezTo>
                      <a:pt x="334" y="233"/>
                      <a:pt x="335" y="231"/>
                      <a:pt x="337" y="229"/>
                    </a:cubicBezTo>
                    <a:cubicBezTo>
                      <a:pt x="337" y="228"/>
                      <a:pt x="338" y="226"/>
                      <a:pt x="339" y="227"/>
                    </a:cubicBezTo>
                    <a:cubicBezTo>
                      <a:pt x="339" y="227"/>
                      <a:pt x="339" y="228"/>
                      <a:pt x="339" y="228"/>
                    </a:cubicBezTo>
                    <a:cubicBezTo>
                      <a:pt x="356" y="173"/>
                      <a:pt x="366" y="115"/>
                      <a:pt x="369" y="55"/>
                    </a:cubicBezTo>
                    <a:cubicBezTo>
                      <a:pt x="369" y="45"/>
                      <a:pt x="369" y="35"/>
                      <a:pt x="369" y="25"/>
                    </a:cubicBezTo>
                    <a:cubicBezTo>
                      <a:pt x="369" y="16"/>
                      <a:pt x="369" y="8"/>
                      <a:pt x="369" y="0"/>
                    </a:cubicBezTo>
                    <a:cubicBezTo>
                      <a:pt x="365" y="2"/>
                      <a:pt x="361" y="5"/>
                      <a:pt x="357" y="7"/>
                    </a:cubicBezTo>
                    <a:cubicBezTo>
                      <a:pt x="318" y="32"/>
                      <a:pt x="278" y="69"/>
                      <a:pt x="232" y="106"/>
                    </a:cubicBezTo>
                    <a:close/>
                    <a:moveTo>
                      <a:pt x="133" y="343"/>
                    </a:moveTo>
                    <a:cubicBezTo>
                      <a:pt x="131" y="347"/>
                      <a:pt x="130" y="347"/>
                      <a:pt x="129" y="346"/>
                    </a:cubicBezTo>
                    <a:cubicBezTo>
                      <a:pt x="128" y="345"/>
                      <a:pt x="125" y="344"/>
                      <a:pt x="127" y="342"/>
                    </a:cubicBezTo>
                    <a:cubicBezTo>
                      <a:pt x="129" y="339"/>
                      <a:pt x="129" y="341"/>
                      <a:pt x="130" y="342"/>
                    </a:cubicBezTo>
                    <a:cubicBezTo>
                      <a:pt x="131" y="343"/>
                      <a:pt x="134" y="341"/>
                      <a:pt x="133" y="343"/>
                    </a:cubicBezTo>
                    <a:close/>
                    <a:moveTo>
                      <a:pt x="156" y="410"/>
                    </a:moveTo>
                    <a:cubicBezTo>
                      <a:pt x="156" y="411"/>
                      <a:pt x="156" y="412"/>
                      <a:pt x="155" y="413"/>
                    </a:cubicBezTo>
                    <a:cubicBezTo>
                      <a:pt x="155" y="415"/>
                      <a:pt x="155" y="416"/>
                      <a:pt x="155" y="418"/>
                    </a:cubicBezTo>
                    <a:cubicBezTo>
                      <a:pt x="155" y="419"/>
                      <a:pt x="155" y="420"/>
                      <a:pt x="155" y="421"/>
                    </a:cubicBezTo>
                    <a:cubicBezTo>
                      <a:pt x="156" y="421"/>
                      <a:pt x="154" y="423"/>
                      <a:pt x="155" y="422"/>
                    </a:cubicBezTo>
                    <a:cubicBezTo>
                      <a:pt x="153" y="421"/>
                      <a:pt x="151" y="420"/>
                      <a:pt x="153" y="416"/>
                    </a:cubicBezTo>
                    <a:cubicBezTo>
                      <a:pt x="154" y="414"/>
                      <a:pt x="154" y="412"/>
                      <a:pt x="155" y="411"/>
                    </a:cubicBezTo>
                    <a:cubicBezTo>
                      <a:pt x="156" y="409"/>
                      <a:pt x="156" y="409"/>
                      <a:pt x="156" y="410"/>
                    </a:cubicBezTo>
                    <a:close/>
                    <a:moveTo>
                      <a:pt x="163" y="433"/>
                    </a:moveTo>
                    <a:cubicBezTo>
                      <a:pt x="162" y="435"/>
                      <a:pt x="161" y="437"/>
                      <a:pt x="160" y="439"/>
                    </a:cubicBezTo>
                    <a:cubicBezTo>
                      <a:pt x="160" y="440"/>
                      <a:pt x="159" y="441"/>
                      <a:pt x="159" y="442"/>
                    </a:cubicBezTo>
                    <a:cubicBezTo>
                      <a:pt x="159" y="443"/>
                      <a:pt x="159" y="444"/>
                      <a:pt x="159" y="444"/>
                    </a:cubicBezTo>
                    <a:cubicBezTo>
                      <a:pt x="157" y="443"/>
                      <a:pt x="159" y="438"/>
                      <a:pt x="160" y="435"/>
                    </a:cubicBezTo>
                    <a:cubicBezTo>
                      <a:pt x="160" y="434"/>
                      <a:pt x="160" y="433"/>
                      <a:pt x="161" y="432"/>
                    </a:cubicBezTo>
                    <a:cubicBezTo>
                      <a:pt x="161" y="431"/>
                      <a:pt x="162" y="430"/>
                      <a:pt x="162" y="429"/>
                    </a:cubicBezTo>
                    <a:cubicBezTo>
                      <a:pt x="162" y="429"/>
                      <a:pt x="163" y="426"/>
                      <a:pt x="164" y="426"/>
                    </a:cubicBezTo>
                    <a:cubicBezTo>
                      <a:pt x="164" y="426"/>
                      <a:pt x="164" y="426"/>
                      <a:pt x="164" y="426"/>
                    </a:cubicBezTo>
                    <a:cubicBezTo>
                      <a:pt x="165" y="426"/>
                      <a:pt x="163" y="432"/>
                      <a:pt x="163" y="433"/>
                    </a:cubicBezTo>
                    <a:close/>
                    <a:moveTo>
                      <a:pt x="176" y="386"/>
                    </a:moveTo>
                    <a:cubicBezTo>
                      <a:pt x="175" y="388"/>
                      <a:pt x="174" y="390"/>
                      <a:pt x="173" y="391"/>
                    </a:cubicBezTo>
                    <a:cubicBezTo>
                      <a:pt x="172" y="391"/>
                      <a:pt x="172" y="392"/>
                      <a:pt x="171" y="393"/>
                    </a:cubicBezTo>
                    <a:cubicBezTo>
                      <a:pt x="171" y="394"/>
                      <a:pt x="170" y="394"/>
                      <a:pt x="169" y="395"/>
                    </a:cubicBezTo>
                    <a:cubicBezTo>
                      <a:pt x="168" y="396"/>
                      <a:pt x="167" y="396"/>
                      <a:pt x="166" y="396"/>
                    </a:cubicBezTo>
                    <a:cubicBezTo>
                      <a:pt x="165" y="395"/>
                      <a:pt x="168" y="389"/>
                      <a:pt x="169" y="387"/>
                    </a:cubicBezTo>
                    <a:cubicBezTo>
                      <a:pt x="170" y="385"/>
                      <a:pt x="170" y="384"/>
                      <a:pt x="172" y="384"/>
                    </a:cubicBezTo>
                    <a:cubicBezTo>
                      <a:pt x="173" y="383"/>
                      <a:pt x="174" y="383"/>
                      <a:pt x="176" y="383"/>
                    </a:cubicBezTo>
                    <a:cubicBezTo>
                      <a:pt x="177" y="382"/>
                      <a:pt x="176" y="385"/>
                      <a:pt x="176" y="386"/>
                    </a:cubicBezTo>
                    <a:close/>
                    <a:moveTo>
                      <a:pt x="269" y="110"/>
                    </a:moveTo>
                    <a:cubicBezTo>
                      <a:pt x="267" y="108"/>
                      <a:pt x="266" y="109"/>
                      <a:pt x="265" y="111"/>
                    </a:cubicBezTo>
                    <a:cubicBezTo>
                      <a:pt x="264" y="113"/>
                      <a:pt x="263" y="115"/>
                      <a:pt x="263" y="118"/>
                    </a:cubicBezTo>
                    <a:cubicBezTo>
                      <a:pt x="263" y="119"/>
                      <a:pt x="264" y="120"/>
                      <a:pt x="264" y="121"/>
                    </a:cubicBezTo>
                    <a:cubicBezTo>
                      <a:pt x="264" y="123"/>
                      <a:pt x="264" y="124"/>
                      <a:pt x="264" y="126"/>
                    </a:cubicBezTo>
                    <a:cubicBezTo>
                      <a:pt x="264" y="128"/>
                      <a:pt x="266" y="128"/>
                      <a:pt x="266" y="130"/>
                    </a:cubicBezTo>
                    <a:cubicBezTo>
                      <a:pt x="266" y="132"/>
                      <a:pt x="265" y="136"/>
                      <a:pt x="266" y="136"/>
                    </a:cubicBezTo>
                    <a:cubicBezTo>
                      <a:pt x="268" y="135"/>
                      <a:pt x="268" y="137"/>
                      <a:pt x="269" y="139"/>
                    </a:cubicBezTo>
                    <a:cubicBezTo>
                      <a:pt x="269" y="140"/>
                      <a:pt x="270" y="143"/>
                      <a:pt x="269" y="144"/>
                    </a:cubicBezTo>
                    <a:cubicBezTo>
                      <a:pt x="268" y="145"/>
                      <a:pt x="267" y="144"/>
                      <a:pt x="266" y="144"/>
                    </a:cubicBezTo>
                    <a:cubicBezTo>
                      <a:pt x="266" y="144"/>
                      <a:pt x="265" y="143"/>
                      <a:pt x="265" y="145"/>
                    </a:cubicBezTo>
                    <a:cubicBezTo>
                      <a:pt x="265" y="147"/>
                      <a:pt x="265" y="148"/>
                      <a:pt x="266" y="148"/>
                    </a:cubicBezTo>
                    <a:cubicBezTo>
                      <a:pt x="267" y="148"/>
                      <a:pt x="267" y="150"/>
                      <a:pt x="267" y="152"/>
                    </a:cubicBezTo>
                    <a:cubicBezTo>
                      <a:pt x="267" y="156"/>
                      <a:pt x="266" y="160"/>
                      <a:pt x="266" y="165"/>
                    </a:cubicBezTo>
                    <a:cubicBezTo>
                      <a:pt x="266" y="167"/>
                      <a:pt x="266" y="167"/>
                      <a:pt x="265" y="168"/>
                    </a:cubicBezTo>
                    <a:cubicBezTo>
                      <a:pt x="264" y="168"/>
                      <a:pt x="264" y="169"/>
                      <a:pt x="263" y="169"/>
                    </a:cubicBezTo>
                    <a:cubicBezTo>
                      <a:pt x="261" y="170"/>
                      <a:pt x="260" y="173"/>
                      <a:pt x="259" y="172"/>
                    </a:cubicBezTo>
                    <a:cubicBezTo>
                      <a:pt x="258" y="171"/>
                      <a:pt x="258" y="171"/>
                      <a:pt x="258" y="169"/>
                    </a:cubicBezTo>
                    <a:cubicBezTo>
                      <a:pt x="258" y="168"/>
                      <a:pt x="257" y="167"/>
                      <a:pt x="256" y="166"/>
                    </a:cubicBezTo>
                    <a:cubicBezTo>
                      <a:pt x="256" y="165"/>
                      <a:pt x="255" y="166"/>
                      <a:pt x="255" y="165"/>
                    </a:cubicBezTo>
                    <a:cubicBezTo>
                      <a:pt x="254" y="163"/>
                      <a:pt x="255" y="161"/>
                      <a:pt x="255" y="160"/>
                    </a:cubicBezTo>
                    <a:cubicBezTo>
                      <a:pt x="255" y="158"/>
                      <a:pt x="255" y="156"/>
                      <a:pt x="256" y="154"/>
                    </a:cubicBezTo>
                    <a:cubicBezTo>
                      <a:pt x="256" y="152"/>
                      <a:pt x="257" y="151"/>
                      <a:pt x="258" y="148"/>
                    </a:cubicBezTo>
                    <a:cubicBezTo>
                      <a:pt x="258" y="146"/>
                      <a:pt x="258" y="144"/>
                      <a:pt x="257" y="143"/>
                    </a:cubicBezTo>
                    <a:cubicBezTo>
                      <a:pt x="257" y="141"/>
                      <a:pt x="257" y="140"/>
                      <a:pt x="257" y="139"/>
                    </a:cubicBezTo>
                    <a:cubicBezTo>
                      <a:pt x="256" y="138"/>
                      <a:pt x="256" y="137"/>
                      <a:pt x="255" y="135"/>
                    </a:cubicBezTo>
                    <a:cubicBezTo>
                      <a:pt x="255" y="133"/>
                      <a:pt x="255" y="131"/>
                      <a:pt x="254" y="129"/>
                    </a:cubicBezTo>
                    <a:cubicBezTo>
                      <a:pt x="254" y="126"/>
                      <a:pt x="254" y="125"/>
                      <a:pt x="254" y="122"/>
                    </a:cubicBezTo>
                    <a:cubicBezTo>
                      <a:pt x="254" y="120"/>
                      <a:pt x="254" y="120"/>
                      <a:pt x="254" y="119"/>
                    </a:cubicBezTo>
                    <a:cubicBezTo>
                      <a:pt x="254" y="114"/>
                      <a:pt x="255" y="113"/>
                      <a:pt x="256" y="109"/>
                    </a:cubicBezTo>
                    <a:cubicBezTo>
                      <a:pt x="257" y="107"/>
                      <a:pt x="257" y="103"/>
                      <a:pt x="258" y="102"/>
                    </a:cubicBezTo>
                    <a:cubicBezTo>
                      <a:pt x="260" y="100"/>
                      <a:pt x="261" y="102"/>
                      <a:pt x="263" y="100"/>
                    </a:cubicBezTo>
                    <a:cubicBezTo>
                      <a:pt x="263" y="99"/>
                      <a:pt x="264" y="98"/>
                      <a:pt x="264" y="97"/>
                    </a:cubicBezTo>
                    <a:cubicBezTo>
                      <a:pt x="265" y="96"/>
                      <a:pt x="266" y="95"/>
                      <a:pt x="267" y="95"/>
                    </a:cubicBezTo>
                    <a:cubicBezTo>
                      <a:pt x="268" y="96"/>
                      <a:pt x="269" y="101"/>
                      <a:pt x="270" y="104"/>
                    </a:cubicBezTo>
                    <a:cubicBezTo>
                      <a:pt x="271" y="106"/>
                      <a:pt x="271" y="108"/>
                      <a:pt x="271" y="110"/>
                    </a:cubicBezTo>
                    <a:cubicBezTo>
                      <a:pt x="271" y="112"/>
                      <a:pt x="269" y="110"/>
                      <a:pt x="269" y="110"/>
                    </a:cubicBezTo>
                    <a:close/>
                    <a:moveTo>
                      <a:pt x="285" y="115"/>
                    </a:moveTo>
                    <a:cubicBezTo>
                      <a:pt x="285" y="117"/>
                      <a:pt x="284" y="120"/>
                      <a:pt x="283" y="120"/>
                    </a:cubicBezTo>
                    <a:cubicBezTo>
                      <a:pt x="282" y="121"/>
                      <a:pt x="282" y="120"/>
                      <a:pt x="281" y="121"/>
                    </a:cubicBezTo>
                    <a:cubicBezTo>
                      <a:pt x="281" y="121"/>
                      <a:pt x="280" y="121"/>
                      <a:pt x="280" y="121"/>
                    </a:cubicBezTo>
                    <a:cubicBezTo>
                      <a:pt x="279" y="120"/>
                      <a:pt x="279" y="115"/>
                      <a:pt x="279" y="114"/>
                    </a:cubicBezTo>
                    <a:cubicBezTo>
                      <a:pt x="279" y="112"/>
                      <a:pt x="280" y="110"/>
                      <a:pt x="280" y="108"/>
                    </a:cubicBezTo>
                    <a:cubicBezTo>
                      <a:pt x="281" y="105"/>
                      <a:pt x="282" y="104"/>
                      <a:pt x="283" y="103"/>
                    </a:cubicBezTo>
                    <a:cubicBezTo>
                      <a:pt x="284" y="102"/>
                      <a:pt x="286" y="100"/>
                      <a:pt x="286" y="102"/>
                    </a:cubicBezTo>
                    <a:cubicBezTo>
                      <a:pt x="287" y="102"/>
                      <a:pt x="287" y="104"/>
                      <a:pt x="286" y="105"/>
                    </a:cubicBezTo>
                    <a:cubicBezTo>
                      <a:pt x="286" y="106"/>
                      <a:pt x="287" y="108"/>
                      <a:pt x="287" y="109"/>
                    </a:cubicBezTo>
                    <a:cubicBezTo>
                      <a:pt x="287" y="112"/>
                      <a:pt x="285" y="113"/>
                      <a:pt x="285" y="115"/>
                    </a:cubicBezTo>
                    <a:close/>
                    <a:moveTo>
                      <a:pt x="320" y="96"/>
                    </a:moveTo>
                    <a:cubicBezTo>
                      <a:pt x="319" y="97"/>
                      <a:pt x="317" y="97"/>
                      <a:pt x="316" y="98"/>
                    </a:cubicBezTo>
                    <a:cubicBezTo>
                      <a:pt x="315" y="98"/>
                      <a:pt x="315" y="100"/>
                      <a:pt x="314" y="101"/>
                    </a:cubicBezTo>
                    <a:cubicBezTo>
                      <a:pt x="314" y="102"/>
                      <a:pt x="313" y="106"/>
                      <a:pt x="313" y="106"/>
                    </a:cubicBezTo>
                    <a:cubicBezTo>
                      <a:pt x="313" y="104"/>
                      <a:pt x="312" y="102"/>
                      <a:pt x="313" y="100"/>
                    </a:cubicBezTo>
                    <a:cubicBezTo>
                      <a:pt x="313" y="99"/>
                      <a:pt x="314" y="97"/>
                      <a:pt x="315" y="95"/>
                    </a:cubicBezTo>
                    <a:cubicBezTo>
                      <a:pt x="316" y="94"/>
                      <a:pt x="317" y="94"/>
                      <a:pt x="318" y="94"/>
                    </a:cubicBezTo>
                    <a:cubicBezTo>
                      <a:pt x="319" y="94"/>
                      <a:pt x="320" y="96"/>
                      <a:pt x="321" y="95"/>
                    </a:cubicBezTo>
                    <a:cubicBezTo>
                      <a:pt x="321" y="96"/>
                      <a:pt x="320" y="96"/>
                      <a:pt x="3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216"/>
              <p:cNvSpPr>
                <a:spLocks/>
              </p:cNvSpPr>
              <p:nvPr/>
            </p:nvSpPr>
            <p:spPr bwMode="auto">
              <a:xfrm>
                <a:off x="3405188" y="4465638"/>
                <a:ext cx="9525" cy="7938"/>
              </a:xfrm>
              <a:custGeom>
                <a:avLst/>
                <a:gdLst>
                  <a:gd name="T0" fmla="*/ 8 w 12"/>
                  <a:gd name="T1" fmla="*/ 0 h 11"/>
                  <a:gd name="T2" fmla="*/ 3 w 12"/>
                  <a:gd name="T3" fmla="*/ 8 h 11"/>
                  <a:gd name="T4" fmla="*/ 9 w 12"/>
                  <a:gd name="T5" fmla="*/ 9 h 11"/>
                  <a:gd name="T6" fmla="*/ 8 w 12"/>
                  <a:gd name="T7" fmla="*/ 0 h 11"/>
                </a:gdLst>
                <a:ahLst/>
                <a:cxnLst>
                  <a:cxn ang="0">
                    <a:pos x="T0" y="T1"/>
                  </a:cxn>
                  <a:cxn ang="0">
                    <a:pos x="T2" y="T3"/>
                  </a:cxn>
                  <a:cxn ang="0">
                    <a:pos x="T4" y="T5"/>
                  </a:cxn>
                  <a:cxn ang="0">
                    <a:pos x="T6" y="T7"/>
                  </a:cxn>
                </a:cxnLst>
                <a:rect l="0" t="0" r="r" b="b"/>
                <a:pathLst>
                  <a:path w="12" h="11">
                    <a:moveTo>
                      <a:pt x="8" y="0"/>
                    </a:moveTo>
                    <a:cubicBezTo>
                      <a:pt x="6" y="2"/>
                      <a:pt x="0" y="6"/>
                      <a:pt x="3" y="8"/>
                    </a:cubicBezTo>
                    <a:cubicBezTo>
                      <a:pt x="3" y="8"/>
                      <a:pt x="8" y="11"/>
                      <a:pt x="9" y="9"/>
                    </a:cubicBezTo>
                    <a:cubicBezTo>
                      <a:pt x="12" y="5"/>
                      <a:pt x="10"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17"/>
              <p:cNvSpPr>
                <a:spLocks/>
              </p:cNvSpPr>
              <p:nvPr/>
            </p:nvSpPr>
            <p:spPr bwMode="auto">
              <a:xfrm>
                <a:off x="3408363" y="4473575"/>
                <a:ext cx="4763" cy="6350"/>
              </a:xfrm>
              <a:custGeom>
                <a:avLst/>
                <a:gdLst>
                  <a:gd name="T0" fmla="*/ 2 w 5"/>
                  <a:gd name="T1" fmla="*/ 7 h 8"/>
                  <a:gd name="T2" fmla="*/ 4 w 5"/>
                  <a:gd name="T3" fmla="*/ 2 h 8"/>
                  <a:gd name="T4" fmla="*/ 2 w 5"/>
                  <a:gd name="T5" fmla="*/ 7 h 8"/>
                </a:gdLst>
                <a:ahLst/>
                <a:cxnLst>
                  <a:cxn ang="0">
                    <a:pos x="T0" y="T1"/>
                  </a:cxn>
                  <a:cxn ang="0">
                    <a:pos x="T2" y="T3"/>
                  </a:cxn>
                  <a:cxn ang="0">
                    <a:pos x="T4" y="T5"/>
                  </a:cxn>
                </a:cxnLst>
                <a:rect l="0" t="0" r="r" b="b"/>
                <a:pathLst>
                  <a:path w="5" h="8">
                    <a:moveTo>
                      <a:pt x="2" y="7"/>
                    </a:moveTo>
                    <a:cubicBezTo>
                      <a:pt x="4" y="8"/>
                      <a:pt x="5" y="2"/>
                      <a:pt x="4" y="2"/>
                    </a:cubicBezTo>
                    <a:cubicBezTo>
                      <a:pt x="2" y="0"/>
                      <a:pt x="0" y="6"/>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218"/>
              <p:cNvSpPr>
                <a:spLocks/>
              </p:cNvSpPr>
              <p:nvPr/>
            </p:nvSpPr>
            <p:spPr bwMode="auto">
              <a:xfrm>
                <a:off x="3370263" y="4540250"/>
                <a:ext cx="3175" cy="4763"/>
              </a:xfrm>
              <a:custGeom>
                <a:avLst/>
                <a:gdLst>
                  <a:gd name="T0" fmla="*/ 4 w 6"/>
                  <a:gd name="T1" fmla="*/ 1 h 6"/>
                  <a:gd name="T2" fmla="*/ 1 w 6"/>
                  <a:gd name="T3" fmla="*/ 5 h 6"/>
                  <a:gd name="T4" fmla="*/ 4 w 6"/>
                  <a:gd name="T5" fmla="*/ 1 h 6"/>
                </a:gdLst>
                <a:ahLst/>
                <a:cxnLst>
                  <a:cxn ang="0">
                    <a:pos x="T0" y="T1"/>
                  </a:cxn>
                  <a:cxn ang="0">
                    <a:pos x="T2" y="T3"/>
                  </a:cxn>
                  <a:cxn ang="0">
                    <a:pos x="T4" y="T5"/>
                  </a:cxn>
                </a:cxnLst>
                <a:rect l="0" t="0" r="r" b="b"/>
                <a:pathLst>
                  <a:path w="6" h="6">
                    <a:moveTo>
                      <a:pt x="4" y="1"/>
                    </a:moveTo>
                    <a:cubicBezTo>
                      <a:pt x="3" y="0"/>
                      <a:pt x="0" y="4"/>
                      <a:pt x="1" y="5"/>
                    </a:cubicBezTo>
                    <a:cubicBezTo>
                      <a:pt x="3" y="6"/>
                      <a:pt x="6"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219"/>
              <p:cNvSpPr>
                <a:spLocks/>
              </p:cNvSpPr>
              <p:nvPr/>
            </p:nvSpPr>
            <p:spPr bwMode="auto">
              <a:xfrm>
                <a:off x="3414713" y="4465638"/>
                <a:ext cx="4763" cy="4763"/>
              </a:xfrm>
              <a:custGeom>
                <a:avLst/>
                <a:gdLst>
                  <a:gd name="T0" fmla="*/ 6 w 6"/>
                  <a:gd name="T1" fmla="*/ 0 h 6"/>
                  <a:gd name="T2" fmla="*/ 3 w 6"/>
                  <a:gd name="T3" fmla="*/ 0 h 6"/>
                  <a:gd name="T4" fmla="*/ 2 w 6"/>
                  <a:gd name="T5" fmla="*/ 5 h 6"/>
                  <a:gd name="T6" fmla="*/ 6 w 6"/>
                  <a:gd name="T7" fmla="*/ 0 h 6"/>
                </a:gdLst>
                <a:ahLst/>
                <a:cxnLst>
                  <a:cxn ang="0">
                    <a:pos x="T0" y="T1"/>
                  </a:cxn>
                  <a:cxn ang="0">
                    <a:pos x="T2" y="T3"/>
                  </a:cxn>
                  <a:cxn ang="0">
                    <a:pos x="T4" y="T5"/>
                  </a:cxn>
                  <a:cxn ang="0">
                    <a:pos x="T6" y="T7"/>
                  </a:cxn>
                </a:cxnLst>
                <a:rect l="0" t="0" r="r" b="b"/>
                <a:pathLst>
                  <a:path w="6" h="6">
                    <a:moveTo>
                      <a:pt x="6" y="0"/>
                    </a:moveTo>
                    <a:cubicBezTo>
                      <a:pt x="5" y="0"/>
                      <a:pt x="4" y="0"/>
                      <a:pt x="3" y="0"/>
                    </a:cubicBezTo>
                    <a:cubicBezTo>
                      <a:pt x="0" y="1"/>
                      <a:pt x="1" y="4"/>
                      <a:pt x="2" y="5"/>
                    </a:cubicBezTo>
                    <a:cubicBezTo>
                      <a:pt x="4" y="6"/>
                      <a:pt x="6" y="2"/>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220"/>
              <p:cNvSpPr>
                <a:spLocks/>
              </p:cNvSpPr>
              <p:nvPr/>
            </p:nvSpPr>
            <p:spPr bwMode="auto">
              <a:xfrm>
                <a:off x="3405188" y="4478338"/>
                <a:ext cx="1588" cy="3175"/>
              </a:xfrm>
              <a:custGeom>
                <a:avLst/>
                <a:gdLst>
                  <a:gd name="T0" fmla="*/ 1 w 4"/>
                  <a:gd name="T1" fmla="*/ 5 h 5"/>
                  <a:gd name="T2" fmla="*/ 3 w 4"/>
                  <a:gd name="T3" fmla="*/ 3 h 5"/>
                  <a:gd name="T4" fmla="*/ 2 w 4"/>
                  <a:gd name="T5" fmla="*/ 0 h 5"/>
                  <a:gd name="T6" fmla="*/ 1 w 4"/>
                  <a:gd name="T7" fmla="*/ 5 h 5"/>
                </a:gdLst>
                <a:ahLst/>
                <a:cxnLst>
                  <a:cxn ang="0">
                    <a:pos x="T0" y="T1"/>
                  </a:cxn>
                  <a:cxn ang="0">
                    <a:pos x="T2" y="T3"/>
                  </a:cxn>
                  <a:cxn ang="0">
                    <a:pos x="T4" y="T5"/>
                  </a:cxn>
                  <a:cxn ang="0">
                    <a:pos x="T6" y="T7"/>
                  </a:cxn>
                </a:cxnLst>
                <a:rect l="0" t="0" r="r" b="b"/>
                <a:pathLst>
                  <a:path w="4" h="5">
                    <a:moveTo>
                      <a:pt x="1" y="5"/>
                    </a:moveTo>
                    <a:cubicBezTo>
                      <a:pt x="2" y="5"/>
                      <a:pt x="3" y="4"/>
                      <a:pt x="3" y="3"/>
                    </a:cubicBezTo>
                    <a:cubicBezTo>
                      <a:pt x="4" y="2"/>
                      <a:pt x="3" y="1"/>
                      <a:pt x="2" y="0"/>
                    </a:cubicBezTo>
                    <a:cubicBezTo>
                      <a:pt x="0" y="1"/>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221"/>
              <p:cNvSpPr>
                <a:spLocks/>
              </p:cNvSpPr>
              <p:nvPr/>
            </p:nvSpPr>
            <p:spPr bwMode="auto">
              <a:xfrm>
                <a:off x="3575051" y="4332288"/>
                <a:ext cx="6350" cy="3175"/>
              </a:xfrm>
              <a:custGeom>
                <a:avLst/>
                <a:gdLst>
                  <a:gd name="T0" fmla="*/ 5 w 9"/>
                  <a:gd name="T1" fmla="*/ 2 h 5"/>
                  <a:gd name="T2" fmla="*/ 1 w 9"/>
                  <a:gd name="T3" fmla="*/ 2 h 5"/>
                  <a:gd name="T4" fmla="*/ 3 w 9"/>
                  <a:gd name="T5" fmla="*/ 4 h 5"/>
                  <a:gd name="T6" fmla="*/ 6 w 9"/>
                  <a:gd name="T7" fmla="*/ 5 h 5"/>
                  <a:gd name="T8" fmla="*/ 7 w 9"/>
                  <a:gd name="T9" fmla="*/ 4 h 5"/>
                  <a:gd name="T10" fmla="*/ 9 w 9"/>
                  <a:gd name="T11" fmla="*/ 3 h 5"/>
                  <a:gd name="T12" fmla="*/ 5 w 9"/>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5" y="2"/>
                    </a:moveTo>
                    <a:cubicBezTo>
                      <a:pt x="4" y="2"/>
                      <a:pt x="2" y="0"/>
                      <a:pt x="1" y="2"/>
                    </a:cubicBezTo>
                    <a:cubicBezTo>
                      <a:pt x="0" y="4"/>
                      <a:pt x="3" y="4"/>
                      <a:pt x="3" y="4"/>
                    </a:cubicBezTo>
                    <a:cubicBezTo>
                      <a:pt x="4" y="4"/>
                      <a:pt x="5" y="5"/>
                      <a:pt x="6" y="5"/>
                    </a:cubicBezTo>
                    <a:cubicBezTo>
                      <a:pt x="6" y="5"/>
                      <a:pt x="7" y="5"/>
                      <a:pt x="7" y="4"/>
                    </a:cubicBezTo>
                    <a:cubicBezTo>
                      <a:pt x="8" y="4"/>
                      <a:pt x="8" y="3"/>
                      <a:pt x="9" y="3"/>
                    </a:cubicBezTo>
                    <a:cubicBezTo>
                      <a:pt x="9" y="0"/>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222"/>
              <p:cNvSpPr>
                <a:spLocks/>
              </p:cNvSpPr>
              <p:nvPr/>
            </p:nvSpPr>
            <p:spPr bwMode="auto">
              <a:xfrm>
                <a:off x="3567113" y="4278313"/>
                <a:ext cx="25400" cy="50800"/>
              </a:xfrm>
              <a:custGeom>
                <a:avLst/>
                <a:gdLst>
                  <a:gd name="T0" fmla="*/ 33 w 34"/>
                  <a:gd name="T1" fmla="*/ 4 h 69"/>
                  <a:gd name="T2" fmla="*/ 34 w 34"/>
                  <a:gd name="T3" fmla="*/ 0 h 69"/>
                  <a:gd name="T4" fmla="*/ 1 w 34"/>
                  <a:gd name="T5" fmla="*/ 24 h 69"/>
                  <a:gd name="T6" fmla="*/ 1 w 34"/>
                  <a:gd name="T7" fmla="*/ 24 h 69"/>
                  <a:gd name="T8" fmla="*/ 4 w 34"/>
                  <a:gd name="T9" fmla="*/ 31 h 69"/>
                  <a:gd name="T10" fmla="*/ 4 w 34"/>
                  <a:gd name="T11" fmla="*/ 36 h 69"/>
                  <a:gd name="T12" fmla="*/ 3 w 34"/>
                  <a:gd name="T13" fmla="*/ 43 h 69"/>
                  <a:gd name="T14" fmla="*/ 2 w 34"/>
                  <a:gd name="T15" fmla="*/ 56 h 69"/>
                  <a:gd name="T16" fmla="*/ 5 w 34"/>
                  <a:gd name="T17" fmla="*/ 58 h 69"/>
                  <a:gd name="T18" fmla="*/ 6 w 34"/>
                  <a:gd name="T19" fmla="*/ 60 h 69"/>
                  <a:gd name="T20" fmla="*/ 6 w 34"/>
                  <a:gd name="T21" fmla="*/ 67 h 69"/>
                  <a:gd name="T22" fmla="*/ 11 w 34"/>
                  <a:gd name="T23" fmla="*/ 66 h 69"/>
                  <a:gd name="T24" fmla="*/ 13 w 34"/>
                  <a:gd name="T25" fmla="*/ 61 h 69"/>
                  <a:gd name="T26" fmla="*/ 16 w 34"/>
                  <a:gd name="T27" fmla="*/ 61 h 69"/>
                  <a:gd name="T28" fmla="*/ 16 w 34"/>
                  <a:gd name="T29" fmla="*/ 55 h 69"/>
                  <a:gd name="T30" fmla="*/ 15 w 34"/>
                  <a:gd name="T31" fmla="*/ 55 h 69"/>
                  <a:gd name="T32" fmla="*/ 14 w 34"/>
                  <a:gd name="T33" fmla="*/ 52 h 69"/>
                  <a:gd name="T34" fmla="*/ 14 w 34"/>
                  <a:gd name="T35" fmla="*/ 48 h 69"/>
                  <a:gd name="T36" fmla="*/ 13 w 34"/>
                  <a:gd name="T37" fmla="*/ 45 h 69"/>
                  <a:gd name="T38" fmla="*/ 15 w 34"/>
                  <a:gd name="T39" fmla="*/ 43 h 69"/>
                  <a:gd name="T40" fmla="*/ 17 w 34"/>
                  <a:gd name="T41" fmla="*/ 38 h 69"/>
                  <a:gd name="T42" fmla="*/ 21 w 34"/>
                  <a:gd name="T43" fmla="*/ 34 h 69"/>
                  <a:gd name="T44" fmla="*/ 24 w 34"/>
                  <a:gd name="T45" fmla="*/ 32 h 69"/>
                  <a:gd name="T46" fmla="*/ 27 w 34"/>
                  <a:gd name="T47" fmla="*/ 30 h 69"/>
                  <a:gd name="T48" fmla="*/ 30 w 34"/>
                  <a:gd name="T49" fmla="*/ 25 h 69"/>
                  <a:gd name="T50" fmla="*/ 29 w 34"/>
                  <a:gd name="T51" fmla="*/ 19 h 69"/>
                  <a:gd name="T52" fmla="*/ 30 w 34"/>
                  <a:gd name="T53" fmla="*/ 14 h 69"/>
                  <a:gd name="T54" fmla="*/ 33 w 34"/>
                  <a:gd name="T55"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9">
                    <a:moveTo>
                      <a:pt x="33" y="4"/>
                    </a:moveTo>
                    <a:cubicBezTo>
                      <a:pt x="33" y="3"/>
                      <a:pt x="34" y="1"/>
                      <a:pt x="34" y="0"/>
                    </a:cubicBezTo>
                    <a:cubicBezTo>
                      <a:pt x="23" y="8"/>
                      <a:pt x="12" y="16"/>
                      <a:pt x="1" y="24"/>
                    </a:cubicBezTo>
                    <a:cubicBezTo>
                      <a:pt x="1" y="24"/>
                      <a:pt x="1" y="24"/>
                      <a:pt x="1" y="24"/>
                    </a:cubicBezTo>
                    <a:cubicBezTo>
                      <a:pt x="2" y="26"/>
                      <a:pt x="4" y="27"/>
                      <a:pt x="4" y="31"/>
                    </a:cubicBezTo>
                    <a:cubicBezTo>
                      <a:pt x="5" y="33"/>
                      <a:pt x="4" y="34"/>
                      <a:pt x="4" y="36"/>
                    </a:cubicBezTo>
                    <a:cubicBezTo>
                      <a:pt x="3" y="38"/>
                      <a:pt x="4" y="40"/>
                      <a:pt x="3" y="43"/>
                    </a:cubicBezTo>
                    <a:cubicBezTo>
                      <a:pt x="3" y="47"/>
                      <a:pt x="0" y="53"/>
                      <a:pt x="2" y="56"/>
                    </a:cubicBezTo>
                    <a:cubicBezTo>
                      <a:pt x="2" y="58"/>
                      <a:pt x="4" y="58"/>
                      <a:pt x="5" y="58"/>
                    </a:cubicBezTo>
                    <a:cubicBezTo>
                      <a:pt x="6" y="58"/>
                      <a:pt x="6" y="59"/>
                      <a:pt x="6" y="60"/>
                    </a:cubicBezTo>
                    <a:cubicBezTo>
                      <a:pt x="6" y="62"/>
                      <a:pt x="6" y="66"/>
                      <a:pt x="6" y="67"/>
                    </a:cubicBezTo>
                    <a:cubicBezTo>
                      <a:pt x="7" y="68"/>
                      <a:pt x="10" y="69"/>
                      <a:pt x="11" y="66"/>
                    </a:cubicBezTo>
                    <a:cubicBezTo>
                      <a:pt x="12" y="64"/>
                      <a:pt x="12" y="62"/>
                      <a:pt x="13" y="61"/>
                    </a:cubicBezTo>
                    <a:cubicBezTo>
                      <a:pt x="14" y="60"/>
                      <a:pt x="15" y="61"/>
                      <a:pt x="16" y="61"/>
                    </a:cubicBezTo>
                    <a:cubicBezTo>
                      <a:pt x="17" y="60"/>
                      <a:pt x="17" y="56"/>
                      <a:pt x="16" y="55"/>
                    </a:cubicBezTo>
                    <a:cubicBezTo>
                      <a:pt x="16" y="55"/>
                      <a:pt x="15" y="55"/>
                      <a:pt x="15" y="55"/>
                    </a:cubicBezTo>
                    <a:cubicBezTo>
                      <a:pt x="14" y="54"/>
                      <a:pt x="14" y="53"/>
                      <a:pt x="14" y="52"/>
                    </a:cubicBezTo>
                    <a:cubicBezTo>
                      <a:pt x="14" y="51"/>
                      <a:pt x="14" y="49"/>
                      <a:pt x="14" y="48"/>
                    </a:cubicBezTo>
                    <a:cubicBezTo>
                      <a:pt x="14" y="47"/>
                      <a:pt x="13" y="47"/>
                      <a:pt x="13" y="45"/>
                    </a:cubicBezTo>
                    <a:cubicBezTo>
                      <a:pt x="13" y="44"/>
                      <a:pt x="14" y="43"/>
                      <a:pt x="15" y="43"/>
                    </a:cubicBezTo>
                    <a:cubicBezTo>
                      <a:pt x="16" y="42"/>
                      <a:pt x="16" y="40"/>
                      <a:pt x="17" y="38"/>
                    </a:cubicBezTo>
                    <a:cubicBezTo>
                      <a:pt x="18" y="35"/>
                      <a:pt x="19" y="33"/>
                      <a:pt x="21" y="34"/>
                    </a:cubicBezTo>
                    <a:cubicBezTo>
                      <a:pt x="22" y="34"/>
                      <a:pt x="23" y="34"/>
                      <a:pt x="24" y="32"/>
                    </a:cubicBezTo>
                    <a:cubicBezTo>
                      <a:pt x="25" y="31"/>
                      <a:pt x="26" y="31"/>
                      <a:pt x="27" y="30"/>
                    </a:cubicBezTo>
                    <a:cubicBezTo>
                      <a:pt x="29" y="30"/>
                      <a:pt x="29" y="28"/>
                      <a:pt x="30" y="25"/>
                    </a:cubicBezTo>
                    <a:cubicBezTo>
                      <a:pt x="30" y="22"/>
                      <a:pt x="29" y="21"/>
                      <a:pt x="29" y="19"/>
                    </a:cubicBezTo>
                    <a:cubicBezTo>
                      <a:pt x="29" y="17"/>
                      <a:pt x="30" y="16"/>
                      <a:pt x="30" y="14"/>
                    </a:cubicBezTo>
                    <a:cubicBezTo>
                      <a:pt x="32" y="11"/>
                      <a:pt x="32" y="7"/>
                      <a:pt x="3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223"/>
              <p:cNvSpPr>
                <a:spLocks/>
              </p:cNvSpPr>
              <p:nvPr/>
            </p:nvSpPr>
            <p:spPr bwMode="auto">
              <a:xfrm>
                <a:off x="2660651" y="4232275"/>
                <a:ext cx="1588" cy="1588"/>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0" y="2"/>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24"/>
              <p:cNvSpPr>
                <a:spLocks/>
              </p:cNvSpPr>
              <p:nvPr/>
            </p:nvSpPr>
            <p:spPr bwMode="auto">
              <a:xfrm>
                <a:off x="3598863" y="4268788"/>
                <a:ext cx="6350" cy="11113"/>
              </a:xfrm>
              <a:custGeom>
                <a:avLst/>
                <a:gdLst>
                  <a:gd name="T0" fmla="*/ 8 w 9"/>
                  <a:gd name="T1" fmla="*/ 0 h 14"/>
                  <a:gd name="T2" fmla="*/ 1 w 9"/>
                  <a:gd name="T3" fmla="*/ 5 h 14"/>
                  <a:gd name="T4" fmla="*/ 1 w 9"/>
                  <a:gd name="T5" fmla="*/ 7 h 14"/>
                  <a:gd name="T6" fmla="*/ 3 w 9"/>
                  <a:gd name="T7" fmla="*/ 8 h 14"/>
                  <a:gd name="T8" fmla="*/ 4 w 9"/>
                  <a:gd name="T9" fmla="*/ 13 h 14"/>
                  <a:gd name="T10" fmla="*/ 5 w 9"/>
                  <a:gd name="T11" fmla="*/ 12 h 14"/>
                  <a:gd name="T12" fmla="*/ 7 w 9"/>
                  <a:gd name="T13" fmla="*/ 9 h 14"/>
                  <a:gd name="T14" fmla="*/ 7 w 9"/>
                  <a:gd name="T15" fmla="*/ 1 h 14"/>
                  <a:gd name="T16" fmla="*/ 8 w 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4">
                    <a:moveTo>
                      <a:pt x="8" y="0"/>
                    </a:moveTo>
                    <a:cubicBezTo>
                      <a:pt x="6" y="1"/>
                      <a:pt x="3" y="3"/>
                      <a:pt x="1" y="5"/>
                    </a:cubicBezTo>
                    <a:cubicBezTo>
                      <a:pt x="1" y="6"/>
                      <a:pt x="0" y="6"/>
                      <a:pt x="1" y="7"/>
                    </a:cubicBezTo>
                    <a:cubicBezTo>
                      <a:pt x="1" y="7"/>
                      <a:pt x="2" y="7"/>
                      <a:pt x="3" y="8"/>
                    </a:cubicBezTo>
                    <a:cubicBezTo>
                      <a:pt x="3" y="9"/>
                      <a:pt x="3" y="12"/>
                      <a:pt x="4" y="13"/>
                    </a:cubicBezTo>
                    <a:cubicBezTo>
                      <a:pt x="4" y="14"/>
                      <a:pt x="5" y="14"/>
                      <a:pt x="5" y="12"/>
                    </a:cubicBezTo>
                    <a:cubicBezTo>
                      <a:pt x="5" y="11"/>
                      <a:pt x="6" y="10"/>
                      <a:pt x="7" y="9"/>
                    </a:cubicBezTo>
                    <a:cubicBezTo>
                      <a:pt x="9" y="6"/>
                      <a:pt x="7" y="4"/>
                      <a:pt x="7" y="1"/>
                    </a:cubicBezTo>
                    <a:cubicBezTo>
                      <a:pt x="7" y="2"/>
                      <a:pt x="8"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25"/>
              <p:cNvSpPr>
                <a:spLocks/>
              </p:cNvSpPr>
              <p:nvPr/>
            </p:nvSpPr>
            <p:spPr bwMode="auto">
              <a:xfrm>
                <a:off x="3551238" y="4324350"/>
                <a:ext cx="6350" cy="7938"/>
              </a:xfrm>
              <a:custGeom>
                <a:avLst/>
                <a:gdLst>
                  <a:gd name="T0" fmla="*/ 0 w 9"/>
                  <a:gd name="T1" fmla="*/ 2 h 10"/>
                  <a:gd name="T2" fmla="*/ 2 w 9"/>
                  <a:gd name="T3" fmla="*/ 6 h 10"/>
                  <a:gd name="T4" fmla="*/ 4 w 9"/>
                  <a:gd name="T5" fmla="*/ 9 h 10"/>
                  <a:gd name="T6" fmla="*/ 7 w 9"/>
                  <a:gd name="T7" fmla="*/ 10 h 10"/>
                  <a:gd name="T8" fmla="*/ 9 w 9"/>
                  <a:gd name="T9" fmla="*/ 7 h 10"/>
                  <a:gd name="T10" fmla="*/ 7 w 9"/>
                  <a:gd name="T11" fmla="*/ 3 h 10"/>
                  <a:gd name="T12" fmla="*/ 6 w 9"/>
                  <a:gd name="T13" fmla="*/ 2 h 10"/>
                  <a:gd name="T14" fmla="*/ 3 w 9"/>
                  <a:gd name="T15" fmla="*/ 0 h 10"/>
                  <a:gd name="T16" fmla="*/ 0 w 9"/>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0" y="2"/>
                    </a:moveTo>
                    <a:cubicBezTo>
                      <a:pt x="0" y="4"/>
                      <a:pt x="1" y="5"/>
                      <a:pt x="2" y="6"/>
                    </a:cubicBezTo>
                    <a:cubicBezTo>
                      <a:pt x="3" y="7"/>
                      <a:pt x="3" y="9"/>
                      <a:pt x="4" y="9"/>
                    </a:cubicBezTo>
                    <a:cubicBezTo>
                      <a:pt x="6" y="9"/>
                      <a:pt x="6" y="10"/>
                      <a:pt x="7" y="10"/>
                    </a:cubicBezTo>
                    <a:cubicBezTo>
                      <a:pt x="9" y="10"/>
                      <a:pt x="9" y="8"/>
                      <a:pt x="9" y="7"/>
                    </a:cubicBezTo>
                    <a:cubicBezTo>
                      <a:pt x="9" y="5"/>
                      <a:pt x="7" y="5"/>
                      <a:pt x="7" y="3"/>
                    </a:cubicBezTo>
                    <a:cubicBezTo>
                      <a:pt x="7" y="3"/>
                      <a:pt x="6" y="2"/>
                      <a:pt x="6" y="2"/>
                    </a:cubicBezTo>
                    <a:cubicBezTo>
                      <a:pt x="5" y="1"/>
                      <a:pt x="4" y="0"/>
                      <a:pt x="3" y="0"/>
                    </a:cubicBezTo>
                    <a:cubicBezTo>
                      <a:pt x="2"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26"/>
              <p:cNvSpPr>
                <a:spLocks/>
              </p:cNvSpPr>
              <p:nvPr/>
            </p:nvSpPr>
            <p:spPr bwMode="auto">
              <a:xfrm>
                <a:off x="3554413" y="4300538"/>
                <a:ext cx="12700" cy="25400"/>
              </a:xfrm>
              <a:custGeom>
                <a:avLst/>
                <a:gdLst>
                  <a:gd name="T0" fmla="*/ 15 w 18"/>
                  <a:gd name="T1" fmla="*/ 11 h 33"/>
                  <a:gd name="T2" fmla="*/ 18 w 18"/>
                  <a:gd name="T3" fmla="*/ 16 h 33"/>
                  <a:gd name="T4" fmla="*/ 16 w 18"/>
                  <a:gd name="T5" fmla="*/ 7 h 33"/>
                  <a:gd name="T6" fmla="*/ 13 w 18"/>
                  <a:gd name="T7" fmla="*/ 3 h 33"/>
                  <a:gd name="T8" fmla="*/ 10 w 18"/>
                  <a:gd name="T9" fmla="*/ 1 h 33"/>
                  <a:gd name="T10" fmla="*/ 9 w 18"/>
                  <a:gd name="T11" fmla="*/ 0 h 33"/>
                  <a:gd name="T12" fmla="*/ 0 w 18"/>
                  <a:gd name="T13" fmla="*/ 5 h 33"/>
                  <a:gd name="T14" fmla="*/ 0 w 18"/>
                  <a:gd name="T15" fmla="*/ 6 h 33"/>
                  <a:gd name="T16" fmla="*/ 4 w 18"/>
                  <a:gd name="T17" fmla="*/ 7 h 33"/>
                  <a:gd name="T18" fmla="*/ 6 w 18"/>
                  <a:gd name="T19" fmla="*/ 11 h 33"/>
                  <a:gd name="T20" fmla="*/ 9 w 18"/>
                  <a:gd name="T21" fmla="*/ 19 h 33"/>
                  <a:gd name="T22" fmla="*/ 9 w 18"/>
                  <a:gd name="T23" fmla="*/ 24 h 33"/>
                  <a:gd name="T24" fmla="*/ 7 w 18"/>
                  <a:gd name="T25" fmla="*/ 29 h 33"/>
                  <a:gd name="T26" fmla="*/ 11 w 18"/>
                  <a:gd name="T27" fmla="*/ 29 h 33"/>
                  <a:gd name="T28" fmla="*/ 13 w 18"/>
                  <a:gd name="T29" fmla="*/ 20 h 33"/>
                  <a:gd name="T30" fmla="*/ 13 w 18"/>
                  <a:gd name="T31" fmla="*/ 14 h 33"/>
                  <a:gd name="T32" fmla="*/ 15 w 18"/>
                  <a:gd name="T3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3">
                    <a:moveTo>
                      <a:pt x="15" y="11"/>
                    </a:moveTo>
                    <a:cubicBezTo>
                      <a:pt x="16" y="12"/>
                      <a:pt x="17" y="17"/>
                      <a:pt x="18" y="16"/>
                    </a:cubicBezTo>
                    <a:cubicBezTo>
                      <a:pt x="18" y="12"/>
                      <a:pt x="18" y="7"/>
                      <a:pt x="16" y="7"/>
                    </a:cubicBezTo>
                    <a:cubicBezTo>
                      <a:pt x="15" y="6"/>
                      <a:pt x="14" y="5"/>
                      <a:pt x="13" y="3"/>
                    </a:cubicBezTo>
                    <a:cubicBezTo>
                      <a:pt x="13" y="2"/>
                      <a:pt x="11" y="1"/>
                      <a:pt x="10" y="1"/>
                    </a:cubicBezTo>
                    <a:cubicBezTo>
                      <a:pt x="10" y="0"/>
                      <a:pt x="9" y="0"/>
                      <a:pt x="9" y="0"/>
                    </a:cubicBezTo>
                    <a:cubicBezTo>
                      <a:pt x="6" y="1"/>
                      <a:pt x="3" y="3"/>
                      <a:pt x="0" y="5"/>
                    </a:cubicBezTo>
                    <a:cubicBezTo>
                      <a:pt x="0" y="5"/>
                      <a:pt x="0" y="6"/>
                      <a:pt x="0" y="6"/>
                    </a:cubicBezTo>
                    <a:cubicBezTo>
                      <a:pt x="1" y="6"/>
                      <a:pt x="3" y="6"/>
                      <a:pt x="4" y="7"/>
                    </a:cubicBezTo>
                    <a:cubicBezTo>
                      <a:pt x="5" y="8"/>
                      <a:pt x="5" y="10"/>
                      <a:pt x="6" y="11"/>
                    </a:cubicBezTo>
                    <a:cubicBezTo>
                      <a:pt x="7" y="13"/>
                      <a:pt x="9" y="15"/>
                      <a:pt x="9" y="19"/>
                    </a:cubicBezTo>
                    <a:cubicBezTo>
                      <a:pt x="9" y="20"/>
                      <a:pt x="9" y="23"/>
                      <a:pt x="9" y="24"/>
                    </a:cubicBezTo>
                    <a:cubicBezTo>
                      <a:pt x="9" y="26"/>
                      <a:pt x="8" y="28"/>
                      <a:pt x="7" y="29"/>
                    </a:cubicBezTo>
                    <a:cubicBezTo>
                      <a:pt x="7" y="33"/>
                      <a:pt x="10" y="30"/>
                      <a:pt x="11" y="29"/>
                    </a:cubicBezTo>
                    <a:cubicBezTo>
                      <a:pt x="12" y="26"/>
                      <a:pt x="14" y="22"/>
                      <a:pt x="13" y="20"/>
                    </a:cubicBezTo>
                    <a:cubicBezTo>
                      <a:pt x="12" y="18"/>
                      <a:pt x="12" y="17"/>
                      <a:pt x="13" y="14"/>
                    </a:cubicBezTo>
                    <a:cubicBezTo>
                      <a:pt x="13" y="13"/>
                      <a:pt x="14" y="10"/>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27"/>
              <p:cNvSpPr>
                <a:spLocks/>
              </p:cNvSpPr>
              <p:nvPr/>
            </p:nvSpPr>
            <p:spPr bwMode="auto">
              <a:xfrm>
                <a:off x="3525838" y="4319588"/>
                <a:ext cx="3175" cy="4763"/>
              </a:xfrm>
              <a:custGeom>
                <a:avLst/>
                <a:gdLst>
                  <a:gd name="T0" fmla="*/ 3 w 5"/>
                  <a:gd name="T1" fmla="*/ 5 h 6"/>
                  <a:gd name="T2" fmla="*/ 3 w 5"/>
                  <a:gd name="T3" fmla="*/ 0 h 6"/>
                  <a:gd name="T4" fmla="*/ 1 w 5"/>
                  <a:gd name="T5" fmla="*/ 1 h 6"/>
                  <a:gd name="T6" fmla="*/ 1 w 5"/>
                  <a:gd name="T7" fmla="*/ 4 h 6"/>
                  <a:gd name="T8" fmla="*/ 3 w 5"/>
                  <a:gd name="T9" fmla="*/ 5 h 6"/>
                </a:gdLst>
                <a:ahLst/>
                <a:cxnLst>
                  <a:cxn ang="0">
                    <a:pos x="T0" y="T1"/>
                  </a:cxn>
                  <a:cxn ang="0">
                    <a:pos x="T2" y="T3"/>
                  </a:cxn>
                  <a:cxn ang="0">
                    <a:pos x="T4" y="T5"/>
                  </a:cxn>
                  <a:cxn ang="0">
                    <a:pos x="T6" y="T7"/>
                  </a:cxn>
                  <a:cxn ang="0">
                    <a:pos x="T8" y="T9"/>
                  </a:cxn>
                </a:cxnLst>
                <a:rect l="0" t="0" r="r" b="b"/>
                <a:pathLst>
                  <a:path w="5" h="6">
                    <a:moveTo>
                      <a:pt x="3" y="5"/>
                    </a:moveTo>
                    <a:cubicBezTo>
                      <a:pt x="5" y="4"/>
                      <a:pt x="4" y="1"/>
                      <a:pt x="3" y="0"/>
                    </a:cubicBezTo>
                    <a:cubicBezTo>
                      <a:pt x="3" y="1"/>
                      <a:pt x="2" y="1"/>
                      <a:pt x="1" y="1"/>
                    </a:cubicBezTo>
                    <a:cubicBezTo>
                      <a:pt x="1" y="2"/>
                      <a:pt x="0" y="3"/>
                      <a:pt x="1" y="4"/>
                    </a:cubicBezTo>
                    <a:cubicBezTo>
                      <a:pt x="1" y="5"/>
                      <a:pt x="2"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28"/>
              <p:cNvSpPr>
                <a:spLocks/>
              </p:cNvSpPr>
              <p:nvPr/>
            </p:nvSpPr>
            <p:spPr bwMode="auto">
              <a:xfrm>
                <a:off x="3522663" y="432593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3"/>
                      <a:pt x="1" y="2"/>
                    </a:cubicBezTo>
                    <a:cubicBezTo>
                      <a:pt x="1"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29"/>
              <p:cNvSpPr>
                <a:spLocks/>
              </p:cNvSpPr>
              <p:nvPr/>
            </p:nvSpPr>
            <p:spPr bwMode="auto">
              <a:xfrm>
                <a:off x="3529013" y="4318000"/>
                <a:ext cx="3175" cy="4763"/>
              </a:xfrm>
              <a:custGeom>
                <a:avLst/>
                <a:gdLst>
                  <a:gd name="T0" fmla="*/ 3 w 3"/>
                  <a:gd name="T1" fmla="*/ 0 h 5"/>
                  <a:gd name="T2" fmla="*/ 3 w 3"/>
                  <a:gd name="T3" fmla="*/ 0 h 5"/>
                  <a:gd name="T4" fmla="*/ 1 w 3"/>
                  <a:gd name="T5" fmla="*/ 1 h 5"/>
                  <a:gd name="T6" fmla="*/ 1 w 3"/>
                  <a:gd name="T7" fmla="*/ 3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3" y="0"/>
                      <a:pt x="3" y="0"/>
                    </a:cubicBezTo>
                    <a:cubicBezTo>
                      <a:pt x="2" y="0"/>
                      <a:pt x="1" y="0"/>
                      <a:pt x="1" y="1"/>
                    </a:cubicBezTo>
                    <a:cubicBezTo>
                      <a:pt x="0" y="1"/>
                      <a:pt x="1" y="2"/>
                      <a:pt x="1" y="3"/>
                    </a:cubicBezTo>
                    <a:cubicBezTo>
                      <a:pt x="1" y="5"/>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30"/>
              <p:cNvSpPr>
                <a:spLocks/>
              </p:cNvSpPr>
              <p:nvPr/>
            </p:nvSpPr>
            <p:spPr bwMode="auto">
              <a:xfrm>
                <a:off x="3541713" y="4310063"/>
                <a:ext cx="4763" cy="15875"/>
              </a:xfrm>
              <a:custGeom>
                <a:avLst/>
                <a:gdLst>
                  <a:gd name="T0" fmla="*/ 0 w 7"/>
                  <a:gd name="T1" fmla="*/ 19 h 21"/>
                  <a:gd name="T2" fmla="*/ 3 w 7"/>
                  <a:gd name="T3" fmla="*/ 17 h 21"/>
                  <a:gd name="T4" fmla="*/ 6 w 7"/>
                  <a:gd name="T5" fmla="*/ 11 h 21"/>
                  <a:gd name="T6" fmla="*/ 6 w 7"/>
                  <a:gd name="T7" fmla="*/ 7 h 21"/>
                  <a:gd name="T8" fmla="*/ 6 w 7"/>
                  <a:gd name="T9" fmla="*/ 3 h 21"/>
                  <a:gd name="T10" fmla="*/ 5 w 7"/>
                  <a:gd name="T11" fmla="*/ 0 h 21"/>
                  <a:gd name="T12" fmla="*/ 1 w 7"/>
                  <a:gd name="T13" fmla="*/ 3 h 21"/>
                  <a:gd name="T14" fmla="*/ 1 w 7"/>
                  <a:gd name="T15" fmla="*/ 6 h 21"/>
                  <a:gd name="T16" fmla="*/ 1 w 7"/>
                  <a:gd name="T17" fmla="*/ 12 h 21"/>
                  <a:gd name="T18" fmla="*/ 0 w 7"/>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1">
                    <a:moveTo>
                      <a:pt x="0" y="19"/>
                    </a:moveTo>
                    <a:cubicBezTo>
                      <a:pt x="1" y="21"/>
                      <a:pt x="2" y="19"/>
                      <a:pt x="3" y="17"/>
                    </a:cubicBezTo>
                    <a:cubicBezTo>
                      <a:pt x="4" y="15"/>
                      <a:pt x="5" y="13"/>
                      <a:pt x="6" y="11"/>
                    </a:cubicBezTo>
                    <a:cubicBezTo>
                      <a:pt x="6" y="10"/>
                      <a:pt x="6" y="8"/>
                      <a:pt x="6" y="7"/>
                    </a:cubicBezTo>
                    <a:cubicBezTo>
                      <a:pt x="6" y="5"/>
                      <a:pt x="7" y="4"/>
                      <a:pt x="6" y="3"/>
                    </a:cubicBezTo>
                    <a:cubicBezTo>
                      <a:pt x="6" y="2"/>
                      <a:pt x="6" y="1"/>
                      <a:pt x="5" y="0"/>
                    </a:cubicBezTo>
                    <a:cubicBezTo>
                      <a:pt x="4" y="1"/>
                      <a:pt x="2" y="2"/>
                      <a:pt x="1" y="3"/>
                    </a:cubicBezTo>
                    <a:cubicBezTo>
                      <a:pt x="1" y="4"/>
                      <a:pt x="1" y="6"/>
                      <a:pt x="1" y="6"/>
                    </a:cubicBezTo>
                    <a:cubicBezTo>
                      <a:pt x="2" y="8"/>
                      <a:pt x="2" y="9"/>
                      <a:pt x="1" y="12"/>
                    </a:cubicBezTo>
                    <a:cubicBezTo>
                      <a:pt x="1" y="14"/>
                      <a:pt x="0" y="17"/>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31"/>
              <p:cNvSpPr>
                <a:spLocks/>
              </p:cNvSpPr>
              <p:nvPr/>
            </p:nvSpPr>
            <p:spPr bwMode="auto">
              <a:xfrm>
                <a:off x="3128963" y="4452938"/>
                <a:ext cx="6350" cy="4763"/>
              </a:xfrm>
              <a:custGeom>
                <a:avLst/>
                <a:gdLst>
                  <a:gd name="T0" fmla="*/ 1 w 8"/>
                  <a:gd name="T1" fmla="*/ 0 h 6"/>
                  <a:gd name="T2" fmla="*/ 6 w 8"/>
                  <a:gd name="T3" fmla="*/ 4 h 6"/>
                  <a:gd name="T4" fmla="*/ 1 w 8"/>
                  <a:gd name="T5" fmla="*/ 0 h 6"/>
                </a:gdLst>
                <a:ahLst/>
                <a:cxnLst>
                  <a:cxn ang="0">
                    <a:pos x="T0" y="T1"/>
                  </a:cxn>
                  <a:cxn ang="0">
                    <a:pos x="T2" y="T3"/>
                  </a:cxn>
                  <a:cxn ang="0">
                    <a:pos x="T4" y="T5"/>
                  </a:cxn>
                </a:cxnLst>
                <a:rect l="0" t="0" r="r" b="b"/>
                <a:pathLst>
                  <a:path w="8" h="6">
                    <a:moveTo>
                      <a:pt x="1" y="0"/>
                    </a:moveTo>
                    <a:cubicBezTo>
                      <a:pt x="0" y="2"/>
                      <a:pt x="3" y="6"/>
                      <a:pt x="6" y="4"/>
                    </a:cubicBezTo>
                    <a:cubicBezTo>
                      <a:pt x="8"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32"/>
              <p:cNvSpPr>
                <a:spLocks/>
              </p:cNvSpPr>
              <p:nvPr/>
            </p:nvSpPr>
            <p:spPr bwMode="auto">
              <a:xfrm>
                <a:off x="3225801" y="4483100"/>
                <a:ext cx="1588" cy="1588"/>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3"/>
                      <a:pt x="2" y="0"/>
                      <a:pt x="1" y="1"/>
                    </a:cubicBezTo>
                    <a:cubicBezTo>
                      <a:pt x="0"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33"/>
              <p:cNvSpPr>
                <a:spLocks/>
              </p:cNvSpPr>
              <p:nvPr/>
            </p:nvSpPr>
            <p:spPr bwMode="auto">
              <a:xfrm>
                <a:off x="3203576" y="4473575"/>
                <a:ext cx="7938" cy="6350"/>
              </a:xfrm>
              <a:custGeom>
                <a:avLst/>
                <a:gdLst>
                  <a:gd name="T0" fmla="*/ 11 w 11"/>
                  <a:gd name="T1" fmla="*/ 3 h 8"/>
                  <a:gd name="T2" fmla="*/ 5 w 11"/>
                  <a:gd name="T3" fmla="*/ 1 h 8"/>
                  <a:gd name="T4" fmla="*/ 2 w 11"/>
                  <a:gd name="T5" fmla="*/ 3 h 8"/>
                  <a:gd name="T6" fmla="*/ 0 w 11"/>
                  <a:gd name="T7" fmla="*/ 3 h 8"/>
                  <a:gd name="T8" fmla="*/ 11 w 11"/>
                  <a:gd name="T9" fmla="*/ 3 h 8"/>
                </a:gdLst>
                <a:ahLst/>
                <a:cxnLst>
                  <a:cxn ang="0">
                    <a:pos x="T0" y="T1"/>
                  </a:cxn>
                  <a:cxn ang="0">
                    <a:pos x="T2" y="T3"/>
                  </a:cxn>
                  <a:cxn ang="0">
                    <a:pos x="T4" y="T5"/>
                  </a:cxn>
                  <a:cxn ang="0">
                    <a:pos x="T6" y="T7"/>
                  </a:cxn>
                  <a:cxn ang="0">
                    <a:pos x="T8" y="T9"/>
                  </a:cxn>
                </a:cxnLst>
                <a:rect l="0" t="0" r="r" b="b"/>
                <a:pathLst>
                  <a:path w="11" h="8">
                    <a:moveTo>
                      <a:pt x="11" y="3"/>
                    </a:moveTo>
                    <a:cubicBezTo>
                      <a:pt x="11" y="0"/>
                      <a:pt x="7" y="0"/>
                      <a:pt x="5" y="1"/>
                    </a:cubicBezTo>
                    <a:cubicBezTo>
                      <a:pt x="4" y="2"/>
                      <a:pt x="3" y="3"/>
                      <a:pt x="2" y="3"/>
                    </a:cubicBezTo>
                    <a:cubicBezTo>
                      <a:pt x="1" y="2"/>
                      <a:pt x="0" y="1"/>
                      <a:pt x="0" y="3"/>
                    </a:cubicBezTo>
                    <a:cubicBezTo>
                      <a:pt x="0" y="8"/>
                      <a:pt x="11"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234"/>
              <p:cNvSpPr>
                <a:spLocks/>
              </p:cNvSpPr>
              <p:nvPr/>
            </p:nvSpPr>
            <p:spPr bwMode="auto">
              <a:xfrm>
                <a:off x="3225801" y="4481513"/>
                <a:ext cx="3175" cy="1588"/>
              </a:xfrm>
              <a:custGeom>
                <a:avLst/>
                <a:gdLst>
                  <a:gd name="T0" fmla="*/ 3 w 4"/>
                  <a:gd name="T1" fmla="*/ 0 h 3"/>
                  <a:gd name="T2" fmla="*/ 1 w 4"/>
                  <a:gd name="T3" fmla="*/ 2 h 3"/>
                  <a:gd name="T4" fmla="*/ 3 w 4"/>
                  <a:gd name="T5" fmla="*/ 0 h 3"/>
                </a:gdLst>
                <a:ahLst/>
                <a:cxnLst>
                  <a:cxn ang="0">
                    <a:pos x="T0" y="T1"/>
                  </a:cxn>
                  <a:cxn ang="0">
                    <a:pos x="T2" y="T3"/>
                  </a:cxn>
                  <a:cxn ang="0">
                    <a:pos x="T4" y="T5"/>
                  </a:cxn>
                </a:cxnLst>
                <a:rect l="0" t="0" r="r" b="b"/>
                <a:pathLst>
                  <a:path w="4" h="3">
                    <a:moveTo>
                      <a:pt x="3" y="0"/>
                    </a:moveTo>
                    <a:cubicBezTo>
                      <a:pt x="2" y="0"/>
                      <a:pt x="0" y="1"/>
                      <a:pt x="1" y="2"/>
                    </a:cubicBezTo>
                    <a:cubicBezTo>
                      <a:pt x="2" y="3"/>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235"/>
              <p:cNvSpPr>
                <a:spLocks/>
              </p:cNvSpPr>
              <p:nvPr/>
            </p:nvSpPr>
            <p:spPr bwMode="auto">
              <a:xfrm>
                <a:off x="3224213" y="4478338"/>
                <a:ext cx="1588" cy="1588"/>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2" y="2"/>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236"/>
              <p:cNvSpPr>
                <a:spLocks/>
              </p:cNvSpPr>
              <p:nvPr/>
            </p:nvSpPr>
            <p:spPr bwMode="auto">
              <a:xfrm>
                <a:off x="3200401" y="4530725"/>
                <a:ext cx="6350" cy="4763"/>
              </a:xfrm>
              <a:custGeom>
                <a:avLst/>
                <a:gdLst>
                  <a:gd name="T0" fmla="*/ 0 w 8"/>
                  <a:gd name="T1" fmla="*/ 2 h 6"/>
                  <a:gd name="T2" fmla="*/ 5 w 8"/>
                  <a:gd name="T3" fmla="*/ 1 h 6"/>
                  <a:gd name="T4" fmla="*/ 0 w 8"/>
                  <a:gd name="T5" fmla="*/ 2 h 6"/>
                </a:gdLst>
                <a:ahLst/>
                <a:cxnLst>
                  <a:cxn ang="0">
                    <a:pos x="T0" y="T1"/>
                  </a:cxn>
                  <a:cxn ang="0">
                    <a:pos x="T2" y="T3"/>
                  </a:cxn>
                  <a:cxn ang="0">
                    <a:pos x="T4" y="T5"/>
                  </a:cxn>
                </a:cxnLst>
                <a:rect l="0" t="0" r="r" b="b"/>
                <a:pathLst>
                  <a:path w="8" h="6">
                    <a:moveTo>
                      <a:pt x="0" y="2"/>
                    </a:moveTo>
                    <a:cubicBezTo>
                      <a:pt x="0" y="6"/>
                      <a:pt x="8" y="2"/>
                      <a:pt x="5" y="1"/>
                    </a:cubicBezTo>
                    <a:cubicBezTo>
                      <a:pt x="3"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237"/>
              <p:cNvSpPr>
                <a:spLocks/>
              </p:cNvSpPr>
              <p:nvPr/>
            </p:nvSpPr>
            <p:spPr bwMode="auto">
              <a:xfrm>
                <a:off x="3155951" y="4465638"/>
                <a:ext cx="4763" cy="6350"/>
              </a:xfrm>
              <a:custGeom>
                <a:avLst/>
                <a:gdLst>
                  <a:gd name="T0" fmla="*/ 4 w 6"/>
                  <a:gd name="T1" fmla="*/ 7 h 9"/>
                  <a:gd name="T2" fmla="*/ 5 w 6"/>
                  <a:gd name="T3" fmla="*/ 5 h 9"/>
                  <a:gd name="T4" fmla="*/ 4 w 6"/>
                  <a:gd name="T5" fmla="*/ 7 h 9"/>
                </a:gdLst>
                <a:ahLst/>
                <a:cxnLst>
                  <a:cxn ang="0">
                    <a:pos x="T0" y="T1"/>
                  </a:cxn>
                  <a:cxn ang="0">
                    <a:pos x="T2" y="T3"/>
                  </a:cxn>
                  <a:cxn ang="0">
                    <a:pos x="T4" y="T5"/>
                  </a:cxn>
                </a:cxnLst>
                <a:rect l="0" t="0" r="r" b="b"/>
                <a:pathLst>
                  <a:path w="6" h="9">
                    <a:moveTo>
                      <a:pt x="4" y="7"/>
                    </a:moveTo>
                    <a:cubicBezTo>
                      <a:pt x="6" y="6"/>
                      <a:pt x="5" y="6"/>
                      <a:pt x="5" y="5"/>
                    </a:cubicBezTo>
                    <a:cubicBezTo>
                      <a:pt x="3" y="0"/>
                      <a:pt x="0"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238"/>
              <p:cNvSpPr>
                <a:spLocks/>
              </p:cNvSpPr>
              <p:nvPr/>
            </p:nvSpPr>
            <p:spPr bwMode="auto">
              <a:xfrm>
                <a:off x="3141663" y="4464050"/>
                <a:ext cx="4763" cy="9525"/>
              </a:xfrm>
              <a:custGeom>
                <a:avLst/>
                <a:gdLst>
                  <a:gd name="T0" fmla="*/ 2 w 8"/>
                  <a:gd name="T1" fmla="*/ 2 h 14"/>
                  <a:gd name="T2" fmla="*/ 8 w 8"/>
                  <a:gd name="T3" fmla="*/ 7 h 14"/>
                  <a:gd name="T4" fmla="*/ 5 w 8"/>
                  <a:gd name="T5" fmla="*/ 1 h 14"/>
                  <a:gd name="T6" fmla="*/ 2 w 8"/>
                  <a:gd name="T7" fmla="*/ 2 h 14"/>
                </a:gdLst>
                <a:ahLst/>
                <a:cxnLst>
                  <a:cxn ang="0">
                    <a:pos x="T0" y="T1"/>
                  </a:cxn>
                  <a:cxn ang="0">
                    <a:pos x="T2" y="T3"/>
                  </a:cxn>
                  <a:cxn ang="0">
                    <a:pos x="T4" y="T5"/>
                  </a:cxn>
                  <a:cxn ang="0">
                    <a:pos x="T6" y="T7"/>
                  </a:cxn>
                </a:cxnLst>
                <a:rect l="0" t="0" r="r" b="b"/>
                <a:pathLst>
                  <a:path w="8" h="14">
                    <a:moveTo>
                      <a:pt x="2" y="2"/>
                    </a:moveTo>
                    <a:cubicBezTo>
                      <a:pt x="3" y="3"/>
                      <a:pt x="8" y="14"/>
                      <a:pt x="8" y="7"/>
                    </a:cubicBezTo>
                    <a:cubicBezTo>
                      <a:pt x="8" y="5"/>
                      <a:pt x="7" y="1"/>
                      <a:pt x="5" y="1"/>
                    </a:cubicBezTo>
                    <a:cubicBezTo>
                      <a:pt x="4" y="0"/>
                      <a:pt x="0"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239"/>
              <p:cNvSpPr>
                <a:spLocks/>
              </p:cNvSpPr>
              <p:nvPr/>
            </p:nvSpPr>
            <p:spPr bwMode="auto">
              <a:xfrm>
                <a:off x="3152776" y="4473575"/>
                <a:ext cx="4763" cy="3175"/>
              </a:xfrm>
              <a:custGeom>
                <a:avLst/>
                <a:gdLst>
                  <a:gd name="T0" fmla="*/ 5 w 6"/>
                  <a:gd name="T1" fmla="*/ 2 h 4"/>
                  <a:gd name="T2" fmla="*/ 2 w 6"/>
                  <a:gd name="T3" fmla="*/ 3 h 4"/>
                  <a:gd name="T4" fmla="*/ 5 w 6"/>
                  <a:gd name="T5" fmla="*/ 2 h 4"/>
                </a:gdLst>
                <a:ahLst/>
                <a:cxnLst>
                  <a:cxn ang="0">
                    <a:pos x="T0" y="T1"/>
                  </a:cxn>
                  <a:cxn ang="0">
                    <a:pos x="T2" y="T3"/>
                  </a:cxn>
                  <a:cxn ang="0">
                    <a:pos x="T4" y="T5"/>
                  </a:cxn>
                </a:cxnLst>
                <a:rect l="0" t="0" r="r" b="b"/>
                <a:pathLst>
                  <a:path w="6" h="4">
                    <a:moveTo>
                      <a:pt x="5" y="2"/>
                    </a:moveTo>
                    <a:cubicBezTo>
                      <a:pt x="6" y="1"/>
                      <a:pt x="0" y="0"/>
                      <a:pt x="2" y="3"/>
                    </a:cubicBezTo>
                    <a:cubicBezTo>
                      <a:pt x="3" y="4"/>
                      <a:pt x="5" y="4"/>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240"/>
              <p:cNvSpPr>
                <a:spLocks/>
              </p:cNvSpPr>
              <p:nvPr/>
            </p:nvSpPr>
            <p:spPr bwMode="auto">
              <a:xfrm>
                <a:off x="3167063" y="4467225"/>
                <a:ext cx="4763" cy="3175"/>
              </a:xfrm>
              <a:custGeom>
                <a:avLst/>
                <a:gdLst>
                  <a:gd name="T0" fmla="*/ 6 w 8"/>
                  <a:gd name="T1" fmla="*/ 3 h 4"/>
                  <a:gd name="T2" fmla="*/ 2 w 8"/>
                  <a:gd name="T3" fmla="*/ 2 h 4"/>
                  <a:gd name="T4" fmla="*/ 6 w 8"/>
                  <a:gd name="T5" fmla="*/ 3 h 4"/>
                </a:gdLst>
                <a:ahLst/>
                <a:cxnLst>
                  <a:cxn ang="0">
                    <a:pos x="T0" y="T1"/>
                  </a:cxn>
                  <a:cxn ang="0">
                    <a:pos x="T2" y="T3"/>
                  </a:cxn>
                  <a:cxn ang="0">
                    <a:pos x="T4" y="T5"/>
                  </a:cxn>
                </a:cxnLst>
                <a:rect l="0" t="0" r="r" b="b"/>
                <a:pathLst>
                  <a:path w="8" h="4">
                    <a:moveTo>
                      <a:pt x="6" y="3"/>
                    </a:moveTo>
                    <a:cubicBezTo>
                      <a:pt x="8" y="1"/>
                      <a:pt x="3" y="0"/>
                      <a:pt x="2" y="2"/>
                    </a:cubicBezTo>
                    <a:cubicBezTo>
                      <a:pt x="0" y="4"/>
                      <a:pt x="6" y="4"/>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41"/>
              <p:cNvSpPr>
                <a:spLocks/>
              </p:cNvSpPr>
              <p:nvPr/>
            </p:nvSpPr>
            <p:spPr bwMode="auto">
              <a:xfrm>
                <a:off x="3219451" y="4503738"/>
                <a:ext cx="11113" cy="7938"/>
              </a:xfrm>
              <a:custGeom>
                <a:avLst/>
                <a:gdLst>
                  <a:gd name="T0" fmla="*/ 3 w 14"/>
                  <a:gd name="T1" fmla="*/ 4 h 11"/>
                  <a:gd name="T2" fmla="*/ 6 w 14"/>
                  <a:gd name="T3" fmla="*/ 6 h 11"/>
                  <a:gd name="T4" fmla="*/ 8 w 14"/>
                  <a:gd name="T5" fmla="*/ 7 h 11"/>
                  <a:gd name="T6" fmla="*/ 8 w 14"/>
                  <a:gd name="T7" fmla="*/ 9 h 11"/>
                  <a:gd name="T8" fmla="*/ 12 w 14"/>
                  <a:gd name="T9" fmla="*/ 7 h 11"/>
                  <a:gd name="T10" fmla="*/ 10 w 14"/>
                  <a:gd name="T11" fmla="*/ 5 h 11"/>
                  <a:gd name="T12" fmla="*/ 7 w 14"/>
                  <a:gd name="T13" fmla="*/ 1 h 11"/>
                  <a:gd name="T14" fmla="*/ 3 w 14"/>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3" y="4"/>
                    </a:moveTo>
                    <a:cubicBezTo>
                      <a:pt x="5" y="5"/>
                      <a:pt x="7" y="4"/>
                      <a:pt x="6" y="6"/>
                    </a:cubicBezTo>
                    <a:cubicBezTo>
                      <a:pt x="6" y="7"/>
                      <a:pt x="7" y="6"/>
                      <a:pt x="8" y="7"/>
                    </a:cubicBezTo>
                    <a:cubicBezTo>
                      <a:pt x="8" y="7"/>
                      <a:pt x="8" y="8"/>
                      <a:pt x="8" y="9"/>
                    </a:cubicBezTo>
                    <a:cubicBezTo>
                      <a:pt x="10" y="11"/>
                      <a:pt x="14" y="8"/>
                      <a:pt x="12" y="7"/>
                    </a:cubicBezTo>
                    <a:cubicBezTo>
                      <a:pt x="11" y="6"/>
                      <a:pt x="9" y="7"/>
                      <a:pt x="10" y="5"/>
                    </a:cubicBezTo>
                    <a:cubicBezTo>
                      <a:pt x="10" y="4"/>
                      <a:pt x="9" y="2"/>
                      <a:pt x="7" y="1"/>
                    </a:cubicBezTo>
                    <a:cubicBezTo>
                      <a:pt x="3" y="0"/>
                      <a:pt x="0"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242"/>
              <p:cNvSpPr>
                <a:spLocks/>
              </p:cNvSpPr>
              <p:nvPr/>
            </p:nvSpPr>
            <p:spPr bwMode="auto">
              <a:xfrm>
                <a:off x="3219451" y="4500563"/>
                <a:ext cx="4763" cy="3175"/>
              </a:xfrm>
              <a:custGeom>
                <a:avLst/>
                <a:gdLst>
                  <a:gd name="T0" fmla="*/ 3 w 6"/>
                  <a:gd name="T1" fmla="*/ 3 h 3"/>
                  <a:gd name="T2" fmla="*/ 2 w 6"/>
                  <a:gd name="T3" fmla="*/ 0 h 3"/>
                  <a:gd name="T4" fmla="*/ 3 w 6"/>
                  <a:gd name="T5" fmla="*/ 3 h 3"/>
                </a:gdLst>
                <a:ahLst/>
                <a:cxnLst>
                  <a:cxn ang="0">
                    <a:pos x="T0" y="T1"/>
                  </a:cxn>
                  <a:cxn ang="0">
                    <a:pos x="T2" y="T3"/>
                  </a:cxn>
                  <a:cxn ang="0">
                    <a:pos x="T4" y="T5"/>
                  </a:cxn>
                </a:cxnLst>
                <a:rect l="0" t="0" r="r" b="b"/>
                <a:pathLst>
                  <a:path w="6" h="3">
                    <a:moveTo>
                      <a:pt x="3" y="3"/>
                    </a:moveTo>
                    <a:cubicBezTo>
                      <a:pt x="6" y="3"/>
                      <a:pt x="5" y="0"/>
                      <a:pt x="2" y="0"/>
                    </a:cubicBezTo>
                    <a:cubicBezTo>
                      <a:pt x="0" y="1"/>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243"/>
              <p:cNvSpPr>
                <a:spLocks/>
              </p:cNvSpPr>
              <p:nvPr/>
            </p:nvSpPr>
            <p:spPr bwMode="auto">
              <a:xfrm>
                <a:off x="3211513" y="4411663"/>
                <a:ext cx="7938" cy="7938"/>
              </a:xfrm>
              <a:custGeom>
                <a:avLst/>
                <a:gdLst>
                  <a:gd name="T0" fmla="*/ 3 w 12"/>
                  <a:gd name="T1" fmla="*/ 3 h 12"/>
                  <a:gd name="T2" fmla="*/ 9 w 12"/>
                  <a:gd name="T3" fmla="*/ 7 h 12"/>
                  <a:gd name="T4" fmla="*/ 3 w 12"/>
                  <a:gd name="T5" fmla="*/ 3 h 12"/>
                </a:gdLst>
                <a:ahLst/>
                <a:cxnLst>
                  <a:cxn ang="0">
                    <a:pos x="T0" y="T1"/>
                  </a:cxn>
                  <a:cxn ang="0">
                    <a:pos x="T2" y="T3"/>
                  </a:cxn>
                  <a:cxn ang="0">
                    <a:pos x="T4" y="T5"/>
                  </a:cxn>
                </a:cxnLst>
                <a:rect l="0" t="0" r="r" b="b"/>
                <a:pathLst>
                  <a:path w="12" h="12">
                    <a:moveTo>
                      <a:pt x="3" y="3"/>
                    </a:moveTo>
                    <a:cubicBezTo>
                      <a:pt x="0" y="7"/>
                      <a:pt x="5" y="12"/>
                      <a:pt x="9" y="7"/>
                    </a:cubicBezTo>
                    <a:cubicBezTo>
                      <a:pt x="12" y="4"/>
                      <a:pt x="6" y="0"/>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244"/>
              <p:cNvSpPr>
                <a:spLocks/>
              </p:cNvSpPr>
              <p:nvPr/>
            </p:nvSpPr>
            <p:spPr bwMode="auto">
              <a:xfrm>
                <a:off x="3232151" y="4487863"/>
                <a:ext cx="1588" cy="3175"/>
              </a:xfrm>
              <a:custGeom>
                <a:avLst/>
                <a:gdLst>
                  <a:gd name="T0" fmla="*/ 2 w 2"/>
                  <a:gd name="T1" fmla="*/ 3 h 4"/>
                  <a:gd name="T2" fmla="*/ 0 w 2"/>
                  <a:gd name="T3" fmla="*/ 2 h 4"/>
                  <a:gd name="T4" fmla="*/ 2 w 2"/>
                  <a:gd name="T5" fmla="*/ 3 h 4"/>
                </a:gdLst>
                <a:ahLst/>
                <a:cxnLst>
                  <a:cxn ang="0">
                    <a:pos x="T0" y="T1"/>
                  </a:cxn>
                  <a:cxn ang="0">
                    <a:pos x="T2" y="T3"/>
                  </a:cxn>
                  <a:cxn ang="0">
                    <a:pos x="T4" y="T5"/>
                  </a:cxn>
                </a:cxnLst>
                <a:rect l="0" t="0" r="r" b="b"/>
                <a:pathLst>
                  <a:path w="2" h="4">
                    <a:moveTo>
                      <a:pt x="2" y="3"/>
                    </a:moveTo>
                    <a:cubicBezTo>
                      <a:pt x="2" y="2"/>
                      <a:pt x="1" y="0"/>
                      <a:pt x="0" y="2"/>
                    </a:cubicBezTo>
                    <a:cubicBezTo>
                      <a:pt x="0" y="3"/>
                      <a:pt x="2" y="4"/>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245"/>
              <p:cNvSpPr>
                <a:spLocks/>
              </p:cNvSpPr>
              <p:nvPr/>
            </p:nvSpPr>
            <p:spPr bwMode="auto">
              <a:xfrm>
                <a:off x="3233738" y="4413250"/>
                <a:ext cx="9525" cy="7938"/>
              </a:xfrm>
              <a:custGeom>
                <a:avLst/>
                <a:gdLst>
                  <a:gd name="T0" fmla="*/ 7 w 11"/>
                  <a:gd name="T1" fmla="*/ 2 h 11"/>
                  <a:gd name="T2" fmla="*/ 1 w 11"/>
                  <a:gd name="T3" fmla="*/ 5 h 11"/>
                  <a:gd name="T4" fmla="*/ 7 w 11"/>
                  <a:gd name="T5" fmla="*/ 2 h 11"/>
                </a:gdLst>
                <a:ahLst/>
                <a:cxnLst>
                  <a:cxn ang="0">
                    <a:pos x="T0" y="T1"/>
                  </a:cxn>
                  <a:cxn ang="0">
                    <a:pos x="T2" y="T3"/>
                  </a:cxn>
                  <a:cxn ang="0">
                    <a:pos x="T4" y="T5"/>
                  </a:cxn>
                </a:cxnLst>
                <a:rect l="0" t="0" r="r" b="b"/>
                <a:pathLst>
                  <a:path w="11" h="11">
                    <a:moveTo>
                      <a:pt x="7" y="2"/>
                    </a:moveTo>
                    <a:cubicBezTo>
                      <a:pt x="5" y="0"/>
                      <a:pt x="0" y="1"/>
                      <a:pt x="1" y="5"/>
                    </a:cubicBezTo>
                    <a:cubicBezTo>
                      <a:pt x="3" y="11"/>
                      <a:pt x="11" y="4"/>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246"/>
              <p:cNvSpPr>
                <a:spLocks/>
              </p:cNvSpPr>
              <p:nvPr/>
            </p:nvSpPr>
            <p:spPr bwMode="auto">
              <a:xfrm>
                <a:off x="3224213" y="4721225"/>
                <a:ext cx="9525" cy="4763"/>
              </a:xfrm>
              <a:custGeom>
                <a:avLst/>
                <a:gdLst>
                  <a:gd name="T0" fmla="*/ 2 w 14"/>
                  <a:gd name="T1" fmla="*/ 4 h 5"/>
                  <a:gd name="T2" fmla="*/ 2 w 14"/>
                  <a:gd name="T3" fmla="*/ 5 h 5"/>
                  <a:gd name="T4" fmla="*/ 7 w 14"/>
                  <a:gd name="T5" fmla="*/ 3 h 5"/>
                  <a:gd name="T6" fmla="*/ 8 w 14"/>
                  <a:gd name="T7" fmla="*/ 4 h 5"/>
                  <a:gd name="T8" fmla="*/ 11 w 14"/>
                  <a:gd name="T9" fmla="*/ 3 h 5"/>
                  <a:gd name="T10" fmla="*/ 13 w 14"/>
                  <a:gd name="T11" fmla="*/ 2 h 5"/>
                  <a:gd name="T12" fmla="*/ 13 w 14"/>
                  <a:gd name="T13" fmla="*/ 2 h 5"/>
                  <a:gd name="T14" fmla="*/ 6 w 14"/>
                  <a:gd name="T15" fmla="*/ 2 h 5"/>
                  <a:gd name="T16" fmla="*/ 2 w 14"/>
                  <a:gd name="T17" fmla="*/ 2 h 5"/>
                  <a:gd name="T18" fmla="*/ 2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2" y="4"/>
                    </a:moveTo>
                    <a:cubicBezTo>
                      <a:pt x="0" y="4"/>
                      <a:pt x="0" y="5"/>
                      <a:pt x="2" y="5"/>
                    </a:cubicBezTo>
                    <a:cubicBezTo>
                      <a:pt x="4" y="5"/>
                      <a:pt x="5" y="3"/>
                      <a:pt x="7" y="3"/>
                    </a:cubicBezTo>
                    <a:cubicBezTo>
                      <a:pt x="8" y="4"/>
                      <a:pt x="8" y="4"/>
                      <a:pt x="8" y="4"/>
                    </a:cubicBezTo>
                    <a:cubicBezTo>
                      <a:pt x="9" y="4"/>
                      <a:pt x="10" y="4"/>
                      <a:pt x="11" y="3"/>
                    </a:cubicBezTo>
                    <a:cubicBezTo>
                      <a:pt x="11" y="3"/>
                      <a:pt x="13" y="3"/>
                      <a:pt x="13" y="2"/>
                    </a:cubicBezTo>
                    <a:cubicBezTo>
                      <a:pt x="14" y="2"/>
                      <a:pt x="13" y="2"/>
                      <a:pt x="13" y="2"/>
                    </a:cubicBezTo>
                    <a:cubicBezTo>
                      <a:pt x="12" y="0"/>
                      <a:pt x="7" y="3"/>
                      <a:pt x="6" y="2"/>
                    </a:cubicBezTo>
                    <a:cubicBezTo>
                      <a:pt x="6" y="1"/>
                      <a:pt x="3" y="2"/>
                      <a:pt x="2" y="2"/>
                    </a:cubicBezTo>
                    <a:cubicBezTo>
                      <a:pt x="1" y="3"/>
                      <a:pt x="4"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247"/>
              <p:cNvSpPr>
                <a:spLocks/>
              </p:cNvSpPr>
              <p:nvPr/>
            </p:nvSpPr>
            <p:spPr bwMode="auto">
              <a:xfrm>
                <a:off x="3216276" y="4476750"/>
                <a:ext cx="1588" cy="1588"/>
              </a:xfrm>
              <a:custGeom>
                <a:avLst/>
                <a:gdLst>
                  <a:gd name="T0" fmla="*/ 2 w 3"/>
                  <a:gd name="T1" fmla="*/ 0 h 2"/>
                  <a:gd name="T2" fmla="*/ 2 w 3"/>
                  <a:gd name="T3" fmla="*/ 2 h 2"/>
                  <a:gd name="T4" fmla="*/ 2 w 3"/>
                  <a:gd name="T5" fmla="*/ 0 h 2"/>
                </a:gdLst>
                <a:ahLst/>
                <a:cxnLst>
                  <a:cxn ang="0">
                    <a:pos x="T0" y="T1"/>
                  </a:cxn>
                  <a:cxn ang="0">
                    <a:pos x="T2" y="T3"/>
                  </a:cxn>
                  <a:cxn ang="0">
                    <a:pos x="T4" y="T5"/>
                  </a:cxn>
                </a:cxnLst>
                <a:rect l="0" t="0" r="r" b="b"/>
                <a:pathLst>
                  <a:path w="3" h="2">
                    <a:moveTo>
                      <a:pt x="2" y="0"/>
                    </a:moveTo>
                    <a:cubicBezTo>
                      <a:pt x="0" y="0"/>
                      <a:pt x="1" y="2"/>
                      <a:pt x="2" y="2"/>
                    </a:cubicBezTo>
                    <a:cubicBezTo>
                      <a:pt x="3" y="2"/>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48"/>
              <p:cNvSpPr>
                <a:spLocks/>
              </p:cNvSpPr>
              <p:nvPr/>
            </p:nvSpPr>
            <p:spPr bwMode="auto">
              <a:xfrm>
                <a:off x="3344863" y="4562475"/>
                <a:ext cx="4763" cy="3175"/>
              </a:xfrm>
              <a:custGeom>
                <a:avLst/>
                <a:gdLst>
                  <a:gd name="T0" fmla="*/ 6 w 7"/>
                  <a:gd name="T1" fmla="*/ 2 h 5"/>
                  <a:gd name="T2" fmla="*/ 4 w 7"/>
                  <a:gd name="T3" fmla="*/ 0 h 5"/>
                  <a:gd name="T4" fmla="*/ 6 w 7"/>
                  <a:gd name="T5" fmla="*/ 2 h 5"/>
                </a:gdLst>
                <a:ahLst/>
                <a:cxnLst>
                  <a:cxn ang="0">
                    <a:pos x="T0" y="T1"/>
                  </a:cxn>
                  <a:cxn ang="0">
                    <a:pos x="T2" y="T3"/>
                  </a:cxn>
                  <a:cxn ang="0">
                    <a:pos x="T4" y="T5"/>
                  </a:cxn>
                </a:cxnLst>
                <a:rect l="0" t="0" r="r" b="b"/>
                <a:pathLst>
                  <a:path w="7" h="5">
                    <a:moveTo>
                      <a:pt x="6" y="2"/>
                    </a:moveTo>
                    <a:cubicBezTo>
                      <a:pt x="7" y="1"/>
                      <a:pt x="5" y="1"/>
                      <a:pt x="4" y="0"/>
                    </a:cubicBezTo>
                    <a:cubicBezTo>
                      <a:pt x="0" y="3"/>
                      <a:pt x="4" y="5"/>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49"/>
              <p:cNvSpPr>
                <a:spLocks/>
              </p:cNvSpPr>
              <p:nvPr/>
            </p:nvSpPr>
            <p:spPr bwMode="auto">
              <a:xfrm>
                <a:off x="3227388" y="4511675"/>
                <a:ext cx="4763" cy="6350"/>
              </a:xfrm>
              <a:custGeom>
                <a:avLst/>
                <a:gdLst>
                  <a:gd name="T0" fmla="*/ 3 w 6"/>
                  <a:gd name="T1" fmla="*/ 7 h 8"/>
                  <a:gd name="T2" fmla="*/ 5 w 6"/>
                  <a:gd name="T3" fmla="*/ 3 h 8"/>
                  <a:gd name="T4" fmla="*/ 2 w 6"/>
                  <a:gd name="T5" fmla="*/ 1 h 8"/>
                  <a:gd name="T6" fmla="*/ 1 w 6"/>
                  <a:gd name="T7" fmla="*/ 3 h 8"/>
                  <a:gd name="T8" fmla="*/ 1 w 6"/>
                  <a:gd name="T9" fmla="*/ 6 h 8"/>
                  <a:gd name="T10" fmla="*/ 3 w 6"/>
                  <a:gd name="T11" fmla="*/ 7 h 8"/>
                </a:gdLst>
                <a:ahLst/>
                <a:cxnLst>
                  <a:cxn ang="0">
                    <a:pos x="T0" y="T1"/>
                  </a:cxn>
                  <a:cxn ang="0">
                    <a:pos x="T2" y="T3"/>
                  </a:cxn>
                  <a:cxn ang="0">
                    <a:pos x="T4" y="T5"/>
                  </a:cxn>
                  <a:cxn ang="0">
                    <a:pos x="T6" y="T7"/>
                  </a:cxn>
                  <a:cxn ang="0">
                    <a:pos x="T8" y="T9"/>
                  </a:cxn>
                  <a:cxn ang="0">
                    <a:pos x="T10" y="T11"/>
                  </a:cxn>
                </a:cxnLst>
                <a:rect l="0" t="0" r="r" b="b"/>
                <a:pathLst>
                  <a:path w="6" h="8">
                    <a:moveTo>
                      <a:pt x="3" y="7"/>
                    </a:moveTo>
                    <a:cubicBezTo>
                      <a:pt x="5" y="6"/>
                      <a:pt x="6" y="4"/>
                      <a:pt x="5" y="3"/>
                    </a:cubicBezTo>
                    <a:cubicBezTo>
                      <a:pt x="4" y="2"/>
                      <a:pt x="2" y="2"/>
                      <a:pt x="2" y="1"/>
                    </a:cubicBezTo>
                    <a:cubicBezTo>
                      <a:pt x="0" y="0"/>
                      <a:pt x="0" y="2"/>
                      <a:pt x="1" y="3"/>
                    </a:cubicBezTo>
                    <a:cubicBezTo>
                      <a:pt x="2" y="4"/>
                      <a:pt x="3" y="4"/>
                      <a:pt x="1" y="6"/>
                    </a:cubicBezTo>
                    <a:cubicBezTo>
                      <a:pt x="0" y="8"/>
                      <a:pt x="2" y="8"/>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250"/>
              <p:cNvSpPr>
                <a:spLocks/>
              </p:cNvSpPr>
              <p:nvPr/>
            </p:nvSpPr>
            <p:spPr bwMode="auto">
              <a:xfrm>
                <a:off x="3217863" y="4495800"/>
                <a:ext cx="4763" cy="4763"/>
              </a:xfrm>
              <a:custGeom>
                <a:avLst/>
                <a:gdLst>
                  <a:gd name="T0" fmla="*/ 3 w 8"/>
                  <a:gd name="T1" fmla="*/ 0 h 7"/>
                  <a:gd name="T2" fmla="*/ 1 w 8"/>
                  <a:gd name="T3" fmla="*/ 2 h 7"/>
                  <a:gd name="T4" fmla="*/ 4 w 8"/>
                  <a:gd name="T5" fmla="*/ 5 h 7"/>
                  <a:gd name="T6" fmla="*/ 3 w 8"/>
                  <a:gd name="T7" fmla="*/ 0 h 7"/>
                </a:gdLst>
                <a:ahLst/>
                <a:cxnLst>
                  <a:cxn ang="0">
                    <a:pos x="T0" y="T1"/>
                  </a:cxn>
                  <a:cxn ang="0">
                    <a:pos x="T2" y="T3"/>
                  </a:cxn>
                  <a:cxn ang="0">
                    <a:pos x="T4" y="T5"/>
                  </a:cxn>
                  <a:cxn ang="0">
                    <a:pos x="T6" y="T7"/>
                  </a:cxn>
                </a:cxnLst>
                <a:rect l="0" t="0" r="r" b="b"/>
                <a:pathLst>
                  <a:path w="8" h="7">
                    <a:moveTo>
                      <a:pt x="3" y="0"/>
                    </a:moveTo>
                    <a:cubicBezTo>
                      <a:pt x="3" y="0"/>
                      <a:pt x="1" y="1"/>
                      <a:pt x="1" y="2"/>
                    </a:cubicBezTo>
                    <a:cubicBezTo>
                      <a:pt x="0" y="3"/>
                      <a:pt x="1" y="7"/>
                      <a:pt x="4" y="5"/>
                    </a:cubicBezTo>
                    <a:cubicBezTo>
                      <a:pt x="8" y="2"/>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251"/>
              <p:cNvSpPr>
                <a:spLocks/>
              </p:cNvSpPr>
              <p:nvPr/>
            </p:nvSpPr>
            <p:spPr bwMode="auto">
              <a:xfrm>
                <a:off x="3224213" y="4525963"/>
                <a:ext cx="6350" cy="3175"/>
              </a:xfrm>
              <a:custGeom>
                <a:avLst/>
                <a:gdLst>
                  <a:gd name="T0" fmla="*/ 2 w 7"/>
                  <a:gd name="T1" fmla="*/ 1 h 5"/>
                  <a:gd name="T2" fmla="*/ 6 w 7"/>
                  <a:gd name="T3" fmla="*/ 3 h 5"/>
                  <a:gd name="T4" fmla="*/ 2 w 7"/>
                  <a:gd name="T5" fmla="*/ 1 h 5"/>
                </a:gdLst>
                <a:ahLst/>
                <a:cxnLst>
                  <a:cxn ang="0">
                    <a:pos x="T0" y="T1"/>
                  </a:cxn>
                  <a:cxn ang="0">
                    <a:pos x="T2" y="T3"/>
                  </a:cxn>
                  <a:cxn ang="0">
                    <a:pos x="T4" y="T5"/>
                  </a:cxn>
                </a:cxnLst>
                <a:rect l="0" t="0" r="r" b="b"/>
                <a:pathLst>
                  <a:path w="7" h="5">
                    <a:moveTo>
                      <a:pt x="2" y="1"/>
                    </a:moveTo>
                    <a:cubicBezTo>
                      <a:pt x="0" y="3"/>
                      <a:pt x="4" y="5"/>
                      <a:pt x="6" y="3"/>
                    </a:cubicBezTo>
                    <a:cubicBezTo>
                      <a:pt x="7" y="1"/>
                      <a:pt x="4"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252"/>
              <p:cNvSpPr>
                <a:spLocks/>
              </p:cNvSpPr>
              <p:nvPr/>
            </p:nvSpPr>
            <p:spPr bwMode="auto">
              <a:xfrm>
                <a:off x="3221038" y="4476750"/>
                <a:ext cx="1588" cy="1588"/>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3" y="1"/>
                      <a:pt x="2" y="0"/>
                      <a:pt x="1"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4"/>
            <p:cNvGrpSpPr>
              <a:grpSpLocks noChangeAspect="1"/>
            </p:cNvGrpSpPr>
            <p:nvPr/>
          </p:nvGrpSpPr>
          <p:grpSpPr bwMode="auto">
            <a:xfrm>
              <a:off x="9943753" y="1905990"/>
              <a:ext cx="1404548" cy="1870777"/>
              <a:chOff x="6007" y="1258"/>
              <a:chExt cx="479" cy="638"/>
            </a:xfrm>
          </p:grpSpPr>
          <p:sp>
            <p:nvSpPr>
              <p:cNvPr id="11" name="Freeform 5"/>
              <p:cNvSpPr>
                <a:spLocks noEditPoints="1"/>
              </p:cNvSpPr>
              <p:nvPr/>
            </p:nvSpPr>
            <p:spPr bwMode="auto">
              <a:xfrm>
                <a:off x="6007" y="1523"/>
                <a:ext cx="479" cy="373"/>
              </a:xfrm>
              <a:custGeom>
                <a:avLst/>
                <a:gdLst>
                  <a:gd name="T0" fmla="*/ 587 w 663"/>
                  <a:gd name="T1" fmla="*/ 1 h 517"/>
                  <a:gd name="T2" fmla="*/ 575 w 663"/>
                  <a:gd name="T3" fmla="*/ 1 h 517"/>
                  <a:gd name="T4" fmla="*/ 575 w 663"/>
                  <a:gd name="T5" fmla="*/ 0 h 517"/>
                  <a:gd name="T6" fmla="*/ 481 w 663"/>
                  <a:gd name="T7" fmla="*/ 0 h 517"/>
                  <a:gd name="T8" fmla="*/ 481 w 663"/>
                  <a:gd name="T9" fmla="*/ 1 h 517"/>
                  <a:gd name="T10" fmla="*/ 177 w 663"/>
                  <a:gd name="T11" fmla="*/ 1 h 517"/>
                  <a:gd name="T12" fmla="*/ 177 w 663"/>
                  <a:gd name="T13" fmla="*/ 0 h 517"/>
                  <a:gd name="T14" fmla="*/ 83 w 663"/>
                  <a:gd name="T15" fmla="*/ 0 h 517"/>
                  <a:gd name="T16" fmla="*/ 83 w 663"/>
                  <a:gd name="T17" fmla="*/ 1 h 517"/>
                  <a:gd name="T18" fmla="*/ 77 w 663"/>
                  <a:gd name="T19" fmla="*/ 1 h 517"/>
                  <a:gd name="T20" fmla="*/ 0 w 663"/>
                  <a:gd name="T21" fmla="*/ 77 h 517"/>
                  <a:gd name="T22" fmla="*/ 0 w 663"/>
                  <a:gd name="T23" fmla="*/ 440 h 517"/>
                  <a:gd name="T24" fmla="*/ 77 w 663"/>
                  <a:gd name="T25" fmla="*/ 517 h 517"/>
                  <a:gd name="T26" fmla="*/ 587 w 663"/>
                  <a:gd name="T27" fmla="*/ 517 h 517"/>
                  <a:gd name="T28" fmla="*/ 663 w 663"/>
                  <a:gd name="T29" fmla="*/ 440 h 517"/>
                  <a:gd name="T30" fmla="*/ 663 w 663"/>
                  <a:gd name="T31" fmla="*/ 77 h 517"/>
                  <a:gd name="T32" fmla="*/ 587 w 663"/>
                  <a:gd name="T33" fmla="*/ 1 h 517"/>
                  <a:gd name="T34" fmla="*/ 357 w 663"/>
                  <a:gd name="T35" fmla="*/ 279 h 517"/>
                  <a:gd name="T36" fmla="*/ 357 w 663"/>
                  <a:gd name="T37" fmla="*/ 374 h 517"/>
                  <a:gd name="T38" fmla="*/ 295 w 663"/>
                  <a:gd name="T39" fmla="*/ 374 h 517"/>
                  <a:gd name="T40" fmla="*/ 295 w 663"/>
                  <a:gd name="T41" fmla="*/ 279 h 517"/>
                  <a:gd name="T42" fmla="*/ 257 w 663"/>
                  <a:gd name="T43" fmla="*/ 217 h 517"/>
                  <a:gd name="T44" fmla="*/ 326 w 663"/>
                  <a:gd name="T45" fmla="*/ 147 h 517"/>
                  <a:gd name="T46" fmla="*/ 396 w 663"/>
                  <a:gd name="T47" fmla="*/ 217 h 517"/>
                  <a:gd name="T48" fmla="*/ 357 w 663"/>
                  <a:gd name="T49" fmla="*/ 279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517">
                    <a:moveTo>
                      <a:pt x="587" y="1"/>
                    </a:moveTo>
                    <a:cubicBezTo>
                      <a:pt x="575" y="1"/>
                      <a:pt x="575" y="1"/>
                      <a:pt x="575" y="1"/>
                    </a:cubicBezTo>
                    <a:cubicBezTo>
                      <a:pt x="575" y="0"/>
                      <a:pt x="575" y="0"/>
                      <a:pt x="575" y="0"/>
                    </a:cubicBezTo>
                    <a:cubicBezTo>
                      <a:pt x="481" y="0"/>
                      <a:pt x="481" y="0"/>
                      <a:pt x="481" y="0"/>
                    </a:cubicBezTo>
                    <a:cubicBezTo>
                      <a:pt x="481" y="1"/>
                      <a:pt x="481" y="1"/>
                      <a:pt x="481" y="1"/>
                    </a:cubicBezTo>
                    <a:cubicBezTo>
                      <a:pt x="177" y="1"/>
                      <a:pt x="177" y="1"/>
                      <a:pt x="177" y="1"/>
                    </a:cubicBezTo>
                    <a:cubicBezTo>
                      <a:pt x="177" y="0"/>
                      <a:pt x="177" y="0"/>
                      <a:pt x="177" y="0"/>
                    </a:cubicBezTo>
                    <a:cubicBezTo>
                      <a:pt x="83" y="0"/>
                      <a:pt x="83" y="0"/>
                      <a:pt x="83" y="0"/>
                    </a:cubicBezTo>
                    <a:cubicBezTo>
                      <a:pt x="83" y="1"/>
                      <a:pt x="83" y="1"/>
                      <a:pt x="83" y="1"/>
                    </a:cubicBezTo>
                    <a:cubicBezTo>
                      <a:pt x="77" y="1"/>
                      <a:pt x="77" y="1"/>
                      <a:pt x="77" y="1"/>
                    </a:cubicBezTo>
                    <a:cubicBezTo>
                      <a:pt x="35" y="1"/>
                      <a:pt x="0" y="35"/>
                      <a:pt x="0" y="77"/>
                    </a:cubicBezTo>
                    <a:cubicBezTo>
                      <a:pt x="0" y="440"/>
                      <a:pt x="0" y="440"/>
                      <a:pt x="0" y="440"/>
                    </a:cubicBezTo>
                    <a:cubicBezTo>
                      <a:pt x="0" y="483"/>
                      <a:pt x="35" y="517"/>
                      <a:pt x="77" y="517"/>
                    </a:cubicBezTo>
                    <a:cubicBezTo>
                      <a:pt x="587" y="517"/>
                      <a:pt x="587" y="517"/>
                      <a:pt x="587" y="517"/>
                    </a:cubicBezTo>
                    <a:cubicBezTo>
                      <a:pt x="629" y="517"/>
                      <a:pt x="663" y="483"/>
                      <a:pt x="663" y="440"/>
                    </a:cubicBezTo>
                    <a:cubicBezTo>
                      <a:pt x="663" y="77"/>
                      <a:pt x="663" y="77"/>
                      <a:pt x="663" y="77"/>
                    </a:cubicBezTo>
                    <a:cubicBezTo>
                      <a:pt x="663" y="35"/>
                      <a:pt x="629" y="1"/>
                      <a:pt x="587" y="1"/>
                    </a:cubicBezTo>
                    <a:close/>
                    <a:moveTo>
                      <a:pt x="357" y="279"/>
                    </a:moveTo>
                    <a:cubicBezTo>
                      <a:pt x="357" y="374"/>
                      <a:pt x="357" y="374"/>
                      <a:pt x="357" y="374"/>
                    </a:cubicBezTo>
                    <a:cubicBezTo>
                      <a:pt x="295" y="374"/>
                      <a:pt x="295" y="374"/>
                      <a:pt x="295" y="374"/>
                    </a:cubicBezTo>
                    <a:cubicBezTo>
                      <a:pt x="295" y="279"/>
                      <a:pt x="295" y="279"/>
                      <a:pt x="295" y="279"/>
                    </a:cubicBezTo>
                    <a:cubicBezTo>
                      <a:pt x="272" y="268"/>
                      <a:pt x="257" y="244"/>
                      <a:pt x="257" y="217"/>
                    </a:cubicBezTo>
                    <a:cubicBezTo>
                      <a:pt x="257" y="178"/>
                      <a:pt x="288" y="147"/>
                      <a:pt x="326" y="147"/>
                    </a:cubicBezTo>
                    <a:cubicBezTo>
                      <a:pt x="365" y="147"/>
                      <a:pt x="396" y="178"/>
                      <a:pt x="396" y="217"/>
                    </a:cubicBezTo>
                    <a:cubicBezTo>
                      <a:pt x="396" y="244"/>
                      <a:pt x="380" y="268"/>
                      <a:pt x="357" y="279"/>
                    </a:cubicBezTo>
                    <a:close/>
                  </a:path>
                </a:pathLst>
              </a:custGeom>
              <a:solidFill>
                <a:srgbClr val="3D5800"/>
              </a:solidFill>
              <a:ln w="222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p:nvSpPr>
            <p:spPr bwMode="auto">
              <a:xfrm>
                <a:off x="6067" y="1258"/>
                <a:ext cx="356" cy="267"/>
              </a:xfrm>
              <a:custGeom>
                <a:avLst/>
                <a:gdLst>
                  <a:gd name="T0" fmla="*/ 0 w 492"/>
                  <a:gd name="T1" fmla="*/ 370 h 370"/>
                  <a:gd name="T2" fmla="*/ 94 w 492"/>
                  <a:gd name="T3" fmla="*/ 370 h 370"/>
                  <a:gd name="T4" fmla="*/ 94 w 492"/>
                  <a:gd name="T5" fmla="*/ 238 h 370"/>
                  <a:gd name="T6" fmla="*/ 94 w 492"/>
                  <a:gd name="T7" fmla="*/ 238 h 370"/>
                  <a:gd name="T8" fmla="*/ 94 w 492"/>
                  <a:gd name="T9" fmla="*/ 237 h 370"/>
                  <a:gd name="T10" fmla="*/ 133 w 492"/>
                  <a:gd name="T11" fmla="*/ 134 h 370"/>
                  <a:gd name="T12" fmla="*/ 253 w 492"/>
                  <a:gd name="T13" fmla="*/ 93 h 370"/>
                  <a:gd name="T14" fmla="*/ 328 w 492"/>
                  <a:gd name="T15" fmla="*/ 113 h 370"/>
                  <a:gd name="T16" fmla="*/ 398 w 492"/>
                  <a:gd name="T17" fmla="*/ 239 h 370"/>
                  <a:gd name="T18" fmla="*/ 398 w 492"/>
                  <a:gd name="T19" fmla="*/ 370 h 370"/>
                  <a:gd name="T20" fmla="*/ 492 w 492"/>
                  <a:gd name="T21" fmla="*/ 370 h 370"/>
                  <a:gd name="T22" fmla="*/ 492 w 492"/>
                  <a:gd name="T23" fmla="*/ 239 h 370"/>
                  <a:gd name="T24" fmla="*/ 370 w 492"/>
                  <a:gd name="T25" fmla="*/ 29 h 370"/>
                  <a:gd name="T26" fmla="*/ 253 w 492"/>
                  <a:gd name="T27" fmla="*/ 0 h 370"/>
                  <a:gd name="T28" fmla="*/ 65 w 492"/>
                  <a:gd name="T29" fmla="*/ 70 h 370"/>
                  <a:gd name="T30" fmla="*/ 0 w 492"/>
                  <a:gd name="T31" fmla="*/ 239 h 370"/>
                  <a:gd name="T32" fmla="*/ 0 w 492"/>
                  <a:gd name="T33"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2" h="370">
                    <a:moveTo>
                      <a:pt x="0" y="370"/>
                    </a:moveTo>
                    <a:cubicBezTo>
                      <a:pt x="94" y="370"/>
                      <a:pt x="94" y="370"/>
                      <a:pt x="94" y="370"/>
                    </a:cubicBezTo>
                    <a:cubicBezTo>
                      <a:pt x="94" y="238"/>
                      <a:pt x="94" y="238"/>
                      <a:pt x="94" y="238"/>
                    </a:cubicBezTo>
                    <a:cubicBezTo>
                      <a:pt x="94" y="238"/>
                      <a:pt x="94" y="238"/>
                      <a:pt x="94" y="238"/>
                    </a:cubicBezTo>
                    <a:cubicBezTo>
                      <a:pt x="94" y="237"/>
                      <a:pt x="94" y="237"/>
                      <a:pt x="94" y="237"/>
                    </a:cubicBezTo>
                    <a:cubicBezTo>
                      <a:pt x="94" y="236"/>
                      <a:pt x="93" y="175"/>
                      <a:pt x="133" y="134"/>
                    </a:cubicBezTo>
                    <a:cubicBezTo>
                      <a:pt x="160" y="107"/>
                      <a:pt x="200" y="93"/>
                      <a:pt x="253" y="93"/>
                    </a:cubicBezTo>
                    <a:cubicBezTo>
                      <a:pt x="253" y="93"/>
                      <a:pt x="291" y="94"/>
                      <a:pt x="328" y="113"/>
                    </a:cubicBezTo>
                    <a:cubicBezTo>
                      <a:pt x="375" y="137"/>
                      <a:pt x="398" y="178"/>
                      <a:pt x="398" y="239"/>
                    </a:cubicBezTo>
                    <a:cubicBezTo>
                      <a:pt x="398" y="370"/>
                      <a:pt x="398" y="370"/>
                      <a:pt x="398" y="370"/>
                    </a:cubicBezTo>
                    <a:cubicBezTo>
                      <a:pt x="492" y="370"/>
                      <a:pt x="492" y="370"/>
                      <a:pt x="492" y="370"/>
                    </a:cubicBezTo>
                    <a:cubicBezTo>
                      <a:pt x="492" y="239"/>
                      <a:pt x="492" y="239"/>
                      <a:pt x="492" y="239"/>
                    </a:cubicBezTo>
                    <a:cubicBezTo>
                      <a:pt x="492" y="116"/>
                      <a:pt x="426" y="57"/>
                      <a:pt x="370" y="29"/>
                    </a:cubicBezTo>
                    <a:cubicBezTo>
                      <a:pt x="314" y="1"/>
                      <a:pt x="259" y="0"/>
                      <a:pt x="253" y="0"/>
                    </a:cubicBezTo>
                    <a:cubicBezTo>
                      <a:pt x="173" y="0"/>
                      <a:pt x="110" y="23"/>
                      <a:pt x="65" y="70"/>
                    </a:cubicBezTo>
                    <a:cubicBezTo>
                      <a:pt x="1" y="137"/>
                      <a:pt x="0" y="227"/>
                      <a:pt x="0" y="239"/>
                    </a:cubicBezTo>
                    <a:lnTo>
                      <a:pt x="0" y="370"/>
                    </a:lnTo>
                    <a:close/>
                  </a:path>
                </a:pathLst>
              </a:custGeom>
              <a:solidFill>
                <a:srgbClr val="3D5800"/>
              </a:solidFill>
              <a:ln w="222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605" name="Group 604"/>
          <p:cNvGrpSpPr/>
          <p:nvPr/>
        </p:nvGrpSpPr>
        <p:grpSpPr>
          <a:xfrm>
            <a:off x="2675008" y="1076572"/>
            <a:ext cx="2975885" cy="2792403"/>
            <a:chOff x="892858" y="1593204"/>
            <a:chExt cx="2491331" cy="2337725"/>
          </a:xfrm>
        </p:grpSpPr>
        <p:grpSp>
          <p:nvGrpSpPr>
            <p:cNvPr id="207" name="Group 206"/>
            <p:cNvGrpSpPr/>
            <p:nvPr/>
          </p:nvGrpSpPr>
          <p:grpSpPr>
            <a:xfrm>
              <a:off x="1871471" y="2422431"/>
              <a:ext cx="1512718" cy="1446778"/>
              <a:chOff x="8925306" y="1459391"/>
              <a:chExt cx="2422995" cy="2317376"/>
            </a:xfrm>
          </p:grpSpPr>
          <p:grpSp>
            <p:nvGrpSpPr>
              <p:cNvPr id="208" name="Group 207"/>
              <p:cNvGrpSpPr/>
              <p:nvPr/>
            </p:nvGrpSpPr>
            <p:grpSpPr>
              <a:xfrm>
                <a:off x="8925306" y="1459391"/>
                <a:ext cx="2047493" cy="2047493"/>
                <a:chOff x="2598738" y="3613150"/>
                <a:chExt cx="1177925" cy="1177925"/>
              </a:xfrm>
              <a:solidFill>
                <a:schemeClr val="accent1"/>
              </a:solidFill>
            </p:grpSpPr>
            <p:sp>
              <p:nvSpPr>
                <p:cNvPr id="212" name="Freeform 61"/>
                <p:cNvSpPr>
                  <a:spLocks noEditPoints="1"/>
                </p:cNvSpPr>
                <p:nvPr/>
              </p:nvSpPr>
              <p:spPr bwMode="auto">
                <a:xfrm>
                  <a:off x="2598738" y="3613150"/>
                  <a:ext cx="1177925" cy="1177925"/>
                </a:xfrm>
                <a:custGeom>
                  <a:avLst/>
                  <a:gdLst>
                    <a:gd name="T0" fmla="*/ 0 w 1562"/>
                    <a:gd name="T1" fmla="*/ 781 h 1562"/>
                    <a:gd name="T2" fmla="*/ 1562 w 1562"/>
                    <a:gd name="T3" fmla="*/ 781 h 1562"/>
                    <a:gd name="T4" fmla="*/ 1493 w 1562"/>
                    <a:gd name="T5" fmla="*/ 925 h 1562"/>
                    <a:gd name="T6" fmla="*/ 1331 w 1562"/>
                    <a:gd name="T7" fmla="*/ 1256 h 1562"/>
                    <a:gd name="T8" fmla="*/ 1331 w 1562"/>
                    <a:gd name="T9" fmla="*/ 1256 h 1562"/>
                    <a:gd name="T10" fmla="*/ 1283 w 1562"/>
                    <a:gd name="T11" fmla="*/ 1306 h 1562"/>
                    <a:gd name="T12" fmla="*/ 1283 w 1562"/>
                    <a:gd name="T13" fmla="*/ 1306 h 1562"/>
                    <a:gd name="T14" fmla="*/ 1169 w 1562"/>
                    <a:gd name="T15" fmla="*/ 1395 h 1562"/>
                    <a:gd name="T16" fmla="*/ 1016 w 1562"/>
                    <a:gd name="T17" fmla="*/ 1469 h 1562"/>
                    <a:gd name="T18" fmla="*/ 1014 w 1562"/>
                    <a:gd name="T19" fmla="*/ 1469 h 1562"/>
                    <a:gd name="T20" fmla="*/ 882 w 1562"/>
                    <a:gd name="T21" fmla="*/ 1500 h 1562"/>
                    <a:gd name="T22" fmla="*/ 863 w 1562"/>
                    <a:gd name="T23" fmla="*/ 1503 h 1562"/>
                    <a:gd name="T24" fmla="*/ 859 w 1562"/>
                    <a:gd name="T25" fmla="*/ 1503 h 1562"/>
                    <a:gd name="T26" fmla="*/ 781 w 1562"/>
                    <a:gd name="T27" fmla="*/ 1507 h 1562"/>
                    <a:gd name="T28" fmla="*/ 701 w 1562"/>
                    <a:gd name="T29" fmla="*/ 1503 h 1562"/>
                    <a:gd name="T30" fmla="*/ 548 w 1562"/>
                    <a:gd name="T31" fmla="*/ 1469 h 1562"/>
                    <a:gd name="T32" fmla="*/ 393 w 1562"/>
                    <a:gd name="T33" fmla="*/ 1395 h 1562"/>
                    <a:gd name="T34" fmla="*/ 386 w 1562"/>
                    <a:gd name="T35" fmla="*/ 1391 h 1562"/>
                    <a:gd name="T36" fmla="*/ 356 w 1562"/>
                    <a:gd name="T37" fmla="*/ 1370 h 1562"/>
                    <a:gd name="T38" fmla="*/ 329 w 1562"/>
                    <a:gd name="T39" fmla="*/ 1350 h 1562"/>
                    <a:gd name="T40" fmla="*/ 304 w 1562"/>
                    <a:gd name="T41" fmla="*/ 1329 h 1562"/>
                    <a:gd name="T42" fmla="*/ 279 w 1562"/>
                    <a:gd name="T43" fmla="*/ 1306 h 1562"/>
                    <a:gd name="T44" fmla="*/ 279 w 1562"/>
                    <a:gd name="T45" fmla="*/ 1306 h 1562"/>
                    <a:gd name="T46" fmla="*/ 55 w 1562"/>
                    <a:gd name="T47" fmla="*/ 812 h 1562"/>
                    <a:gd name="T48" fmla="*/ 55 w 1562"/>
                    <a:gd name="T49" fmla="*/ 781 h 1562"/>
                    <a:gd name="T50" fmla="*/ 115 w 1562"/>
                    <a:gd name="T51" fmla="*/ 489 h 1562"/>
                    <a:gd name="T52" fmla="*/ 116 w 1562"/>
                    <a:gd name="T53" fmla="*/ 489 h 1562"/>
                    <a:gd name="T54" fmla="*/ 283 w 1562"/>
                    <a:gd name="T55" fmla="*/ 252 h 1562"/>
                    <a:gd name="T56" fmla="*/ 284 w 1562"/>
                    <a:gd name="T57" fmla="*/ 251 h 1562"/>
                    <a:gd name="T58" fmla="*/ 312 w 1562"/>
                    <a:gd name="T59" fmla="*/ 226 h 1562"/>
                    <a:gd name="T60" fmla="*/ 340 w 1562"/>
                    <a:gd name="T61" fmla="*/ 204 h 1562"/>
                    <a:gd name="T62" fmla="*/ 369 w 1562"/>
                    <a:gd name="T63" fmla="*/ 183 h 1562"/>
                    <a:gd name="T64" fmla="*/ 400 w 1562"/>
                    <a:gd name="T65" fmla="*/ 163 h 1562"/>
                    <a:gd name="T66" fmla="*/ 517 w 1562"/>
                    <a:gd name="T67" fmla="*/ 104 h 1562"/>
                    <a:gd name="T68" fmla="*/ 517 w 1562"/>
                    <a:gd name="T69" fmla="*/ 104 h 1562"/>
                    <a:gd name="T70" fmla="*/ 555 w 1562"/>
                    <a:gd name="T71" fmla="*/ 90 h 1562"/>
                    <a:gd name="T72" fmla="*/ 587 w 1562"/>
                    <a:gd name="T73" fmla="*/ 81 h 1562"/>
                    <a:gd name="T74" fmla="*/ 607 w 1562"/>
                    <a:gd name="T75" fmla="*/ 76 h 1562"/>
                    <a:gd name="T76" fmla="*/ 650 w 1562"/>
                    <a:gd name="T77" fmla="*/ 66 h 1562"/>
                    <a:gd name="T78" fmla="*/ 700 w 1562"/>
                    <a:gd name="T79" fmla="*/ 59 h 1562"/>
                    <a:gd name="T80" fmla="*/ 748 w 1562"/>
                    <a:gd name="T81" fmla="*/ 55 h 1562"/>
                    <a:gd name="T82" fmla="*/ 750 w 1562"/>
                    <a:gd name="T83" fmla="*/ 55 h 1562"/>
                    <a:gd name="T84" fmla="*/ 782 w 1562"/>
                    <a:gd name="T85" fmla="*/ 55 h 1562"/>
                    <a:gd name="T86" fmla="*/ 785 w 1562"/>
                    <a:gd name="T87" fmla="*/ 55 h 1562"/>
                    <a:gd name="T88" fmla="*/ 812 w 1562"/>
                    <a:gd name="T89" fmla="*/ 55 h 1562"/>
                    <a:gd name="T90" fmla="*/ 857 w 1562"/>
                    <a:gd name="T91" fmla="*/ 59 h 1562"/>
                    <a:gd name="T92" fmla="*/ 862 w 1562"/>
                    <a:gd name="T93" fmla="*/ 59 h 1562"/>
                    <a:gd name="T94" fmla="*/ 912 w 1562"/>
                    <a:gd name="T95" fmla="*/ 66 h 1562"/>
                    <a:gd name="T96" fmla="*/ 955 w 1562"/>
                    <a:gd name="T97" fmla="*/ 76 h 1562"/>
                    <a:gd name="T98" fmla="*/ 975 w 1562"/>
                    <a:gd name="T99" fmla="*/ 81 h 1562"/>
                    <a:gd name="T100" fmla="*/ 1045 w 1562"/>
                    <a:gd name="T101" fmla="*/ 104 h 1562"/>
                    <a:gd name="T102" fmla="*/ 1163 w 1562"/>
                    <a:gd name="T103" fmla="*/ 163 h 1562"/>
                    <a:gd name="T104" fmla="*/ 1193 w 1562"/>
                    <a:gd name="T105" fmla="*/ 183 h 1562"/>
                    <a:gd name="T106" fmla="*/ 1223 w 1562"/>
                    <a:gd name="T107" fmla="*/ 204 h 1562"/>
                    <a:gd name="T108" fmla="*/ 1251 w 1562"/>
                    <a:gd name="T109" fmla="*/ 227 h 1562"/>
                    <a:gd name="T110" fmla="*/ 1278 w 1562"/>
                    <a:gd name="T111" fmla="*/ 251 h 1562"/>
                    <a:gd name="T112" fmla="*/ 1279 w 1562"/>
                    <a:gd name="T113" fmla="*/ 252 h 1562"/>
                    <a:gd name="T114" fmla="*/ 1294 w 1562"/>
                    <a:gd name="T115" fmla="*/ 267 h 1562"/>
                    <a:gd name="T116" fmla="*/ 1384 w 1562"/>
                    <a:gd name="T117" fmla="*/ 376 h 1562"/>
                    <a:gd name="T118" fmla="*/ 1446 w 1562"/>
                    <a:gd name="T119" fmla="*/ 489 h 1562"/>
                    <a:gd name="T120" fmla="*/ 1447 w 1562"/>
                    <a:gd name="T121" fmla="*/ 489 h 1562"/>
                    <a:gd name="T122" fmla="*/ 1507 w 1562"/>
                    <a:gd name="T123" fmla="*/ 812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2" h="1562">
                      <a:moveTo>
                        <a:pt x="781" y="0"/>
                      </a:moveTo>
                      <a:cubicBezTo>
                        <a:pt x="350" y="0"/>
                        <a:pt x="0" y="350"/>
                        <a:pt x="0" y="781"/>
                      </a:cubicBezTo>
                      <a:cubicBezTo>
                        <a:pt x="0" y="1212"/>
                        <a:pt x="350" y="1562"/>
                        <a:pt x="781" y="1562"/>
                      </a:cubicBezTo>
                      <a:cubicBezTo>
                        <a:pt x="1212" y="1562"/>
                        <a:pt x="1562" y="1212"/>
                        <a:pt x="1562" y="781"/>
                      </a:cubicBezTo>
                      <a:cubicBezTo>
                        <a:pt x="1562" y="350"/>
                        <a:pt x="1212" y="0"/>
                        <a:pt x="781" y="0"/>
                      </a:cubicBezTo>
                      <a:close/>
                      <a:moveTo>
                        <a:pt x="1493" y="925"/>
                      </a:moveTo>
                      <a:cubicBezTo>
                        <a:pt x="1473" y="1026"/>
                        <a:pt x="1432" y="1119"/>
                        <a:pt x="1374" y="1201"/>
                      </a:cubicBezTo>
                      <a:cubicBezTo>
                        <a:pt x="1361" y="1220"/>
                        <a:pt x="1346" y="1238"/>
                        <a:pt x="1331" y="1256"/>
                      </a:cubicBezTo>
                      <a:cubicBezTo>
                        <a:pt x="1331" y="1256"/>
                        <a:pt x="1331" y="1256"/>
                        <a:pt x="1331" y="1256"/>
                      </a:cubicBezTo>
                      <a:cubicBezTo>
                        <a:pt x="1331" y="1256"/>
                        <a:pt x="1331" y="1256"/>
                        <a:pt x="1331" y="1256"/>
                      </a:cubicBezTo>
                      <a:cubicBezTo>
                        <a:pt x="1316" y="1273"/>
                        <a:pt x="1300" y="1290"/>
                        <a:pt x="1283" y="1306"/>
                      </a:cubicBezTo>
                      <a:cubicBezTo>
                        <a:pt x="1283" y="1306"/>
                        <a:pt x="1283" y="1306"/>
                        <a:pt x="1283" y="1306"/>
                      </a:cubicBezTo>
                      <a:cubicBezTo>
                        <a:pt x="1283" y="1306"/>
                        <a:pt x="1283" y="1306"/>
                        <a:pt x="1283" y="1306"/>
                      </a:cubicBezTo>
                      <a:cubicBezTo>
                        <a:pt x="1283" y="1306"/>
                        <a:pt x="1283" y="1306"/>
                        <a:pt x="1283" y="1306"/>
                      </a:cubicBezTo>
                      <a:cubicBezTo>
                        <a:pt x="1250" y="1338"/>
                        <a:pt x="1214" y="1366"/>
                        <a:pt x="1176" y="1391"/>
                      </a:cubicBezTo>
                      <a:cubicBezTo>
                        <a:pt x="1169" y="1395"/>
                        <a:pt x="1169" y="1395"/>
                        <a:pt x="1169" y="1395"/>
                      </a:cubicBezTo>
                      <a:cubicBezTo>
                        <a:pt x="1169" y="1395"/>
                        <a:pt x="1169" y="1395"/>
                        <a:pt x="1169" y="1395"/>
                      </a:cubicBezTo>
                      <a:cubicBezTo>
                        <a:pt x="1122" y="1425"/>
                        <a:pt x="1070" y="1450"/>
                        <a:pt x="1016" y="1469"/>
                      </a:cubicBezTo>
                      <a:cubicBezTo>
                        <a:pt x="1016" y="1469"/>
                        <a:pt x="1016" y="1469"/>
                        <a:pt x="1016" y="1469"/>
                      </a:cubicBezTo>
                      <a:cubicBezTo>
                        <a:pt x="1014" y="1469"/>
                        <a:pt x="1014" y="1469"/>
                        <a:pt x="1014" y="1469"/>
                      </a:cubicBezTo>
                      <a:cubicBezTo>
                        <a:pt x="1014" y="1469"/>
                        <a:pt x="1014" y="1469"/>
                        <a:pt x="1014" y="1469"/>
                      </a:cubicBezTo>
                      <a:cubicBezTo>
                        <a:pt x="972" y="1484"/>
                        <a:pt x="928" y="1494"/>
                        <a:pt x="882" y="1500"/>
                      </a:cubicBezTo>
                      <a:cubicBezTo>
                        <a:pt x="882" y="1500"/>
                        <a:pt x="882" y="1500"/>
                        <a:pt x="882" y="1500"/>
                      </a:cubicBezTo>
                      <a:cubicBezTo>
                        <a:pt x="876" y="1501"/>
                        <a:pt x="870" y="1502"/>
                        <a:pt x="863" y="1503"/>
                      </a:cubicBezTo>
                      <a:cubicBezTo>
                        <a:pt x="863" y="1503"/>
                        <a:pt x="863" y="1503"/>
                        <a:pt x="863" y="1503"/>
                      </a:cubicBezTo>
                      <a:cubicBezTo>
                        <a:pt x="859" y="1503"/>
                        <a:pt x="859" y="1503"/>
                        <a:pt x="859" y="1503"/>
                      </a:cubicBezTo>
                      <a:cubicBezTo>
                        <a:pt x="859" y="1503"/>
                        <a:pt x="859" y="1503"/>
                        <a:pt x="859" y="1503"/>
                      </a:cubicBezTo>
                      <a:cubicBezTo>
                        <a:pt x="833" y="1506"/>
                        <a:pt x="807" y="1507"/>
                        <a:pt x="781" y="1507"/>
                      </a:cubicBezTo>
                      <a:cubicBezTo>
                        <a:pt x="755" y="1507"/>
                        <a:pt x="729" y="1506"/>
                        <a:pt x="704" y="1503"/>
                      </a:cubicBezTo>
                      <a:cubicBezTo>
                        <a:pt x="701" y="1503"/>
                        <a:pt x="701" y="1503"/>
                        <a:pt x="701" y="1503"/>
                      </a:cubicBezTo>
                      <a:cubicBezTo>
                        <a:pt x="648" y="1497"/>
                        <a:pt x="597" y="1486"/>
                        <a:pt x="549" y="1469"/>
                      </a:cubicBezTo>
                      <a:cubicBezTo>
                        <a:pt x="549" y="1469"/>
                        <a:pt x="548" y="1469"/>
                        <a:pt x="548" y="1469"/>
                      </a:cubicBezTo>
                      <a:cubicBezTo>
                        <a:pt x="547" y="1469"/>
                        <a:pt x="547" y="1469"/>
                        <a:pt x="547" y="1469"/>
                      </a:cubicBezTo>
                      <a:cubicBezTo>
                        <a:pt x="492" y="1450"/>
                        <a:pt x="441" y="1425"/>
                        <a:pt x="393" y="1395"/>
                      </a:cubicBezTo>
                      <a:cubicBezTo>
                        <a:pt x="393" y="1395"/>
                        <a:pt x="393" y="1395"/>
                        <a:pt x="393" y="1395"/>
                      </a:cubicBezTo>
                      <a:cubicBezTo>
                        <a:pt x="386" y="1391"/>
                        <a:pt x="386" y="1391"/>
                        <a:pt x="386" y="1391"/>
                      </a:cubicBezTo>
                      <a:cubicBezTo>
                        <a:pt x="385" y="1390"/>
                        <a:pt x="384" y="1390"/>
                        <a:pt x="384" y="1389"/>
                      </a:cubicBezTo>
                      <a:cubicBezTo>
                        <a:pt x="374" y="1383"/>
                        <a:pt x="365" y="1377"/>
                        <a:pt x="356" y="1370"/>
                      </a:cubicBezTo>
                      <a:cubicBezTo>
                        <a:pt x="356" y="1370"/>
                        <a:pt x="356" y="1370"/>
                        <a:pt x="356" y="1370"/>
                      </a:cubicBezTo>
                      <a:cubicBezTo>
                        <a:pt x="347" y="1364"/>
                        <a:pt x="338" y="1357"/>
                        <a:pt x="329" y="1350"/>
                      </a:cubicBezTo>
                      <a:cubicBezTo>
                        <a:pt x="329" y="1350"/>
                        <a:pt x="329" y="1350"/>
                        <a:pt x="329" y="1350"/>
                      </a:cubicBezTo>
                      <a:cubicBezTo>
                        <a:pt x="320" y="1343"/>
                        <a:pt x="312" y="1336"/>
                        <a:pt x="304" y="1329"/>
                      </a:cubicBezTo>
                      <a:cubicBezTo>
                        <a:pt x="303" y="1329"/>
                        <a:pt x="303" y="1328"/>
                        <a:pt x="303" y="1328"/>
                      </a:cubicBezTo>
                      <a:cubicBezTo>
                        <a:pt x="295" y="1321"/>
                        <a:pt x="287" y="1314"/>
                        <a:pt x="279" y="1306"/>
                      </a:cubicBezTo>
                      <a:cubicBezTo>
                        <a:pt x="279" y="1306"/>
                        <a:pt x="279" y="1306"/>
                        <a:pt x="279" y="1306"/>
                      </a:cubicBezTo>
                      <a:cubicBezTo>
                        <a:pt x="279" y="1306"/>
                        <a:pt x="279" y="1306"/>
                        <a:pt x="279" y="1306"/>
                      </a:cubicBezTo>
                      <a:cubicBezTo>
                        <a:pt x="279" y="1306"/>
                        <a:pt x="279" y="1306"/>
                        <a:pt x="279" y="1306"/>
                      </a:cubicBezTo>
                      <a:cubicBezTo>
                        <a:pt x="148" y="1180"/>
                        <a:pt x="63" y="1006"/>
                        <a:pt x="55" y="812"/>
                      </a:cubicBezTo>
                      <a:cubicBezTo>
                        <a:pt x="55" y="812"/>
                        <a:pt x="55" y="812"/>
                        <a:pt x="55" y="812"/>
                      </a:cubicBezTo>
                      <a:cubicBezTo>
                        <a:pt x="55" y="802"/>
                        <a:pt x="55" y="792"/>
                        <a:pt x="55" y="781"/>
                      </a:cubicBezTo>
                      <a:cubicBezTo>
                        <a:pt x="55" y="677"/>
                        <a:pt x="76" y="579"/>
                        <a:pt x="115" y="489"/>
                      </a:cubicBezTo>
                      <a:cubicBezTo>
                        <a:pt x="115" y="489"/>
                        <a:pt x="115" y="489"/>
                        <a:pt x="115" y="489"/>
                      </a:cubicBezTo>
                      <a:cubicBezTo>
                        <a:pt x="116" y="489"/>
                        <a:pt x="116" y="489"/>
                        <a:pt x="116" y="489"/>
                      </a:cubicBezTo>
                      <a:cubicBezTo>
                        <a:pt x="116" y="489"/>
                        <a:pt x="116" y="489"/>
                        <a:pt x="116" y="489"/>
                      </a:cubicBezTo>
                      <a:cubicBezTo>
                        <a:pt x="126" y="465"/>
                        <a:pt x="138" y="442"/>
                        <a:pt x="151" y="420"/>
                      </a:cubicBezTo>
                      <a:cubicBezTo>
                        <a:pt x="186" y="357"/>
                        <a:pt x="231" y="301"/>
                        <a:pt x="283" y="252"/>
                      </a:cubicBezTo>
                      <a:cubicBezTo>
                        <a:pt x="283" y="252"/>
                        <a:pt x="283" y="252"/>
                        <a:pt x="284" y="252"/>
                      </a:cubicBezTo>
                      <a:cubicBezTo>
                        <a:pt x="284" y="251"/>
                        <a:pt x="284" y="251"/>
                        <a:pt x="284" y="251"/>
                      </a:cubicBezTo>
                      <a:cubicBezTo>
                        <a:pt x="293" y="243"/>
                        <a:pt x="301" y="235"/>
                        <a:pt x="310" y="228"/>
                      </a:cubicBezTo>
                      <a:cubicBezTo>
                        <a:pt x="311" y="227"/>
                        <a:pt x="311" y="227"/>
                        <a:pt x="312" y="226"/>
                      </a:cubicBezTo>
                      <a:cubicBezTo>
                        <a:pt x="321" y="219"/>
                        <a:pt x="329" y="212"/>
                        <a:pt x="339" y="205"/>
                      </a:cubicBezTo>
                      <a:cubicBezTo>
                        <a:pt x="339" y="204"/>
                        <a:pt x="339" y="204"/>
                        <a:pt x="340" y="204"/>
                      </a:cubicBezTo>
                      <a:cubicBezTo>
                        <a:pt x="349" y="197"/>
                        <a:pt x="359" y="190"/>
                        <a:pt x="368" y="183"/>
                      </a:cubicBezTo>
                      <a:cubicBezTo>
                        <a:pt x="369" y="183"/>
                        <a:pt x="369" y="183"/>
                        <a:pt x="369" y="183"/>
                      </a:cubicBezTo>
                      <a:cubicBezTo>
                        <a:pt x="379" y="176"/>
                        <a:pt x="389" y="169"/>
                        <a:pt x="399" y="163"/>
                      </a:cubicBezTo>
                      <a:cubicBezTo>
                        <a:pt x="400" y="163"/>
                        <a:pt x="400" y="163"/>
                        <a:pt x="400" y="163"/>
                      </a:cubicBezTo>
                      <a:cubicBezTo>
                        <a:pt x="400" y="163"/>
                        <a:pt x="400" y="163"/>
                        <a:pt x="400" y="163"/>
                      </a:cubicBezTo>
                      <a:cubicBezTo>
                        <a:pt x="437" y="140"/>
                        <a:pt x="476" y="120"/>
                        <a:pt x="517" y="104"/>
                      </a:cubicBezTo>
                      <a:cubicBezTo>
                        <a:pt x="517" y="104"/>
                        <a:pt x="517" y="104"/>
                        <a:pt x="517" y="104"/>
                      </a:cubicBezTo>
                      <a:cubicBezTo>
                        <a:pt x="517" y="104"/>
                        <a:pt x="517" y="104"/>
                        <a:pt x="517" y="104"/>
                      </a:cubicBezTo>
                      <a:cubicBezTo>
                        <a:pt x="517" y="104"/>
                        <a:pt x="517" y="104"/>
                        <a:pt x="517" y="104"/>
                      </a:cubicBezTo>
                      <a:cubicBezTo>
                        <a:pt x="530" y="99"/>
                        <a:pt x="543" y="94"/>
                        <a:pt x="555" y="90"/>
                      </a:cubicBezTo>
                      <a:cubicBezTo>
                        <a:pt x="565" y="87"/>
                        <a:pt x="574" y="84"/>
                        <a:pt x="583" y="82"/>
                      </a:cubicBezTo>
                      <a:cubicBezTo>
                        <a:pt x="585" y="81"/>
                        <a:pt x="586" y="81"/>
                        <a:pt x="587" y="81"/>
                      </a:cubicBezTo>
                      <a:cubicBezTo>
                        <a:pt x="593" y="79"/>
                        <a:pt x="598" y="78"/>
                        <a:pt x="604" y="76"/>
                      </a:cubicBezTo>
                      <a:cubicBezTo>
                        <a:pt x="605" y="76"/>
                        <a:pt x="606" y="76"/>
                        <a:pt x="607" y="76"/>
                      </a:cubicBezTo>
                      <a:cubicBezTo>
                        <a:pt x="621" y="72"/>
                        <a:pt x="635" y="69"/>
                        <a:pt x="650" y="66"/>
                      </a:cubicBezTo>
                      <a:cubicBezTo>
                        <a:pt x="650" y="66"/>
                        <a:pt x="650" y="66"/>
                        <a:pt x="650" y="66"/>
                      </a:cubicBezTo>
                      <a:cubicBezTo>
                        <a:pt x="666" y="63"/>
                        <a:pt x="683" y="61"/>
                        <a:pt x="700" y="59"/>
                      </a:cubicBezTo>
                      <a:cubicBezTo>
                        <a:pt x="700" y="59"/>
                        <a:pt x="700" y="59"/>
                        <a:pt x="700" y="59"/>
                      </a:cubicBezTo>
                      <a:cubicBezTo>
                        <a:pt x="704" y="59"/>
                        <a:pt x="704" y="59"/>
                        <a:pt x="704" y="59"/>
                      </a:cubicBezTo>
                      <a:cubicBezTo>
                        <a:pt x="719" y="57"/>
                        <a:pt x="733" y="56"/>
                        <a:pt x="748" y="55"/>
                      </a:cubicBezTo>
                      <a:cubicBezTo>
                        <a:pt x="750" y="55"/>
                        <a:pt x="750" y="55"/>
                        <a:pt x="750" y="55"/>
                      </a:cubicBezTo>
                      <a:cubicBezTo>
                        <a:pt x="750" y="55"/>
                        <a:pt x="750" y="55"/>
                        <a:pt x="750" y="55"/>
                      </a:cubicBezTo>
                      <a:cubicBezTo>
                        <a:pt x="760" y="55"/>
                        <a:pt x="771" y="55"/>
                        <a:pt x="781" y="55"/>
                      </a:cubicBezTo>
                      <a:cubicBezTo>
                        <a:pt x="781" y="55"/>
                        <a:pt x="782" y="55"/>
                        <a:pt x="782" y="55"/>
                      </a:cubicBezTo>
                      <a:cubicBezTo>
                        <a:pt x="785" y="55"/>
                        <a:pt x="785" y="55"/>
                        <a:pt x="785" y="55"/>
                      </a:cubicBezTo>
                      <a:cubicBezTo>
                        <a:pt x="785" y="55"/>
                        <a:pt x="785" y="55"/>
                        <a:pt x="785" y="55"/>
                      </a:cubicBezTo>
                      <a:cubicBezTo>
                        <a:pt x="794" y="55"/>
                        <a:pt x="803" y="55"/>
                        <a:pt x="812" y="55"/>
                      </a:cubicBezTo>
                      <a:cubicBezTo>
                        <a:pt x="812" y="55"/>
                        <a:pt x="812" y="55"/>
                        <a:pt x="812" y="55"/>
                      </a:cubicBezTo>
                      <a:cubicBezTo>
                        <a:pt x="814" y="55"/>
                        <a:pt x="814" y="55"/>
                        <a:pt x="814" y="55"/>
                      </a:cubicBezTo>
                      <a:cubicBezTo>
                        <a:pt x="829" y="56"/>
                        <a:pt x="843" y="57"/>
                        <a:pt x="857" y="59"/>
                      </a:cubicBezTo>
                      <a:cubicBezTo>
                        <a:pt x="862" y="59"/>
                        <a:pt x="862" y="59"/>
                        <a:pt x="862" y="59"/>
                      </a:cubicBezTo>
                      <a:cubicBezTo>
                        <a:pt x="862" y="59"/>
                        <a:pt x="862" y="59"/>
                        <a:pt x="862" y="59"/>
                      </a:cubicBezTo>
                      <a:cubicBezTo>
                        <a:pt x="879" y="61"/>
                        <a:pt x="896" y="63"/>
                        <a:pt x="912" y="66"/>
                      </a:cubicBezTo>
                      <a:cubicBezTo>
                        <a:pt x="912" y="66"/>
                        <a:pt x="912" y="66"/>
                        <a:pt x="912" y="66"/>
                      </a:cubicBezTo>
                      <a:cubicBezTo>
                        <a:pt x="913" y="67"/>
                        <a:pt x="913" y="67"/>
                        <a:pt x="913" y="67"/>
                      </a:cubicBezTo>
                      <a:cubicBezTo>
                        <a:pt x="927" y="69"/>
                        <a:pt x="941" y="72"/>
                        <a:pt x="955" y="76"/>
                      </a:cubicBezTo>
                      <a:cubicBezTo>
                        <a:pt x="956" y="76"/>
                        <a:pt x="957" y="76"/>
                        <a:pt x="958" y="76"/>
                      </a:cubicBezTo>
                      <a:cubicBezTo>
                        <a:pt x="964" y="78"/>
                        <a:pt x="969" y="79"/>
                        <a:pt x="975" y="81"/>
                      </a:cubicBezTo>
                      <a:cubicBezTo>
                        <a:pt x="976" y="81"/>
                        <a:pt x="977" y="81"/>
                        <a:pt x="979" y="82"/>
                      </a:cubicBezTo>
                      <a:cubicBezTo>
                        <a:pt x="1001" y="88"/>
                        <a:pt x="1023" y="95"/>
                        <a:pt x="1045" y="104"/>
                      </a:cubicBezTo>
                      <a:cubicBezTo>
                        <a:pt x="1086" y="120"/>
                        <a:pt x="1125" y="140"/>
                        <a:pt x="1163" y="163"/>
                      </a:cubicBezTo>
                      <a:cubicBezTo>
                        <a:pt x="1163" y="163"/>
                        <a:pt x="1163" y="163"/>
                        <a:pt x="1163" y="163"/>
                      </a:cubicBezTo>
                      <a:cubicBezTo>
                        <a:pt x="1163" y="163"/>
                        <a:pt x="1163" y="163"/>
                        <a:pt x="1163" y="163"/>
                      </a:cubicBezTo>
                      <a:cubicBezTo>
                        <a:pt x="1173" y="169"/>
                        <a:pt x="1183" y="176"/>
                        <a:pt x="1193" y="183"/>
                      </a:cubicBezTo>
                      <a:cubicBezTo>
                        <a:pt x="1193" y="183"/>
                        <a:pt x="1193" y="183"/>
                        <a:pt x="1194" y="183"/>
                      </a:cubicBezTo>
                      <a:cubicBezTo>
                        <a:pt x="1203" y="190"/>
                        <a:pt x="1213" y="197"/>
                        <a:pt x="1223" y="204"/>
                      </a:cubicBezTo>
                      <a:cubicBezTo>
                        <a:pt x="1223" y="204"/>
                        <a:pt x="1223" y="204"/>
                        <a:pt x="1223" y="205"/>
                      </a:cubicBezTo>
                      <a:cubicBezTo>
                        <a:pt x="1233" y="212"/>
                        <a:pt x="1242" y="219"/>
                        <a:pt x="1251" y="227"/>
                      </a:cubicBezTo>
                      <a:cubicBezTo>
                        <a:pt x="1251" y="227"/>
                        <a:pt x="1251" y="227"/>
                        <a:pt x="1252" y="228"/>
                      </a:cubicBezTo>
                      <a:cubicBezTo>
                        <a:pt x="1261" y="235"/>
                        <a:pt x="1270" y="243"/>
                        <a:pt x="1278" y="251"/>
                      </a:cubicBezTo>
                      <a:cubicBezTo>
                        <a:pt x="1278" y="252"/>
                        <a:pt x="1278" y="252"/>
                        <a:pt x="1278" y="252"/>
                      </a:cubicBezTo>
                      <a:cubicBezTo>
                        <a:pt x="1279" y="252"/>
                        <a:pt x="1279" y="252"/>
                        <a:pt x="1279" y="252"/>
                      </a:cubicBezTo>
                      <a:cubicBezTo>
                        <a:pt x="1284" y="257"/>
                        <a:pt x="1289" y="262"/>
                        <a:pt x="1294" y="267"/>
                      </a:cubicBezTo>
                      <a:cubicBezTo>
                        <a:pt x="1294" y="267"/>
                        <a:pt x="1294" y="267"/>
                        <a:pt x="1294" y="267"/>
                      </a:cubicBezTo>
                      <a:cubicBezTo>
                        <a:pt x="1300" y="272"/>
                        <a:pt x="1305" y="278"/>
                        <a:pt x="1310" y="283"/>
                      </a:cubicBezTo>
                      <a:cubicBezTo>
                        <a:pt x="1337" y="312"/>
                        <a:pt x="1362" y="343"/>
                        <a:pt x="1384" y="376"/>
                      </a:cubicBezTo>
                      <a:cubicBezTo>
                        <a:pt x="1408" y="412"/>
                        <a:pt x="1429" y="449"/>
                        <a:pt x="1446" y="489"/>
                      </a:cubicBezTo>
                      <a:cubicBezTo>
                        <a:pt x="1446" y="489"/>
                        <a:pt x="1446" y="489"/>
                        <a:pt x="1446" y="489"/>
                      </a:cubicBezTo>
                      <a:cubicBezTo>
                        <a:pt x="1447" y="489"/>
                        <a:pt x="1447" y="489"/>
                        <a:pt x="1447" y="489"/>
                      </a:cubicBezTo>
                      <a:cubicBezTo>
                        <a:pt x="1447" y="489"/>
                        <a:pt x="1447" y="489"/>
                        <a:pt x="1447" y="489"/>
                      </a:cubicBezTo>
                      <a:cubicBezTo>
                        <a:pt x="1486" y="579"/>
                        <a:pt x="1508" y="677"/>
                        <a:pt x="1508" y="781"/>
                      </a:cubicBezTo>
                      <a:cubicBezTo>
                        <a:pt x="1508" y="792"/>
                        <a:pt x="1507" y="802"/>
                        <a:pt x="1507" y="812"/>
                      </a:cubicBezTo>
                      <a:cubicBezTo>
                        <a:pt x="1505" y="851"/>
                        <a:pt x="1500" y="888"/>
                        <a:pt x="1493" y="9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62"/>
                <p:cNvSpPr>
                  <a:spLocks/>
                </p:cNvSpPr>
                <p:nvPr/>
              </p:nvSpPr>
              <p:spPr bwMode="auto">
                <a:xfrm>
                  <a:off x="3119438" y="4011613"/>
                  <a:ext cx="3175" cy="4763"/>
                </a:xfrm>
                <a:custGeom>
                  <a:avLst/>
                  <a:gdLst>
                    <a:gd name="T0" fmla="*/ 0 w 5"/>
                    <a:gd name="T1" fmla="*/ 3 h 6"/>
                    <a:gd name="T2" fmla="*/ 5 w 5"/>
                    <a:gd name="T3" fmla="*/ 2 h 6"/>
                    <a:gd name="T4" fmla="*/ 0 w 5"/>
                    <a:gd name="T5" fmla="*/ 3 h 6"/>
                  </a:gdLst>
                  <a:ahLst/>
                  <a:cxnLst>
                    <a:cxn ang="0">
                      <a:pos x="T0" y="T1"/>
                    </a:cxn>
                    <a:cxn ang="0">
                      <a:pos x="T2" y="T3"/>
                    </a:cxn>
                    <a:cxn ang="0">
                      <a:pos x="T4" y="T5"/>
                    </a:cxn>
                  </a:cxnLst>
                  <a:rect l="0" t="0" r="r" b="b"/>
                  <a:pathLst>
                    <a:path w="5" h="6">
                      <a:moveTo>
                        <a:pt x="0" y="3"/>
                      </a:moveTo>
                      <a:cubicBezTo>
                        <a:pt x="0" y="6"/>
                        <a:pt x="5" y="5"/>
                        <a:pt x="5" y="2"/>
                      </a:cubicBezTo>
                      <a:cubicBezTo>
                        <a:pt x="3"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63"/>
                <p:cNvSpPr>
                  <a:spLocks/>
                </p:cNvSpPr>
                <p:nvPr/>
              </p:nvSpPr>
              <p:spPr bwMode="auto">
                <a:xfrm>
                  <a:off x="3086101" y="4094163"/>
                  <a:ext cx="15875" cy="12700"/>
                </a:xfrm>
                <a:custGeom>
                  <a:avLst/>
                  <a:gdLst>
                    <a:gd name="T0" fmla="*/ 13 w 21"/>
                    <a:gd name="T1" fmla="*/ 1 h 16"/>
                    <a:gd name="T2" fmla="*/ 6 w 21"/>
                    <a:gd name="T3" fmla="*/ 0 h 16"/>
                    <a:gd name="T4" fmla="*/ 3 w 21"/>
                    <a:gd name="T5" fmla="*/ 3 h 16"/>
                    <a:gd name="T6" fmla="*/ 0 w 21"/>
                    <a:gd name="T7" fmla="*/ 10 h 16"/>
                    <a:gd name="T8" fmla="*/ 4 w 21"/>
                    <a:gd name="T9" fmla="*/ 16 h 16"/>
                    <a:gd name="T10" fmla="*/ 9 w 21"/>
                    <a:gd name="T11" fmla="*/ 10 h 16"/>
                    <a:gd name="T12" fmla="*/ 19 w 21"/>
                    <a:gd name="T13" fmla="*/ 1 h 16"/>
                    <a:gd name="T14" fmla="*/ 13 w 21"/>
                    <a:gd name="T15" fmla="*/ 1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6">
                      <a:moveTo>
                        <a:pt x="13" y="1"/>
                      </a:moveTo>
                      <a:cubicBezTo>
                        <a:pt x="11" y="1"/>
                        <a:pt x="8" y="1"/>
                        <a:pt x="6" y="0"/>
                      </a:cubicBezTo>
                      <a:cubicBezTo>
                        <a:pt x="5" y="0"/>
                        <a:pt x="4" y="3"/>
                        <a:pt x="3" y="3"/>
                      </a:cubicBezTo>
                      <a:cubicBezTo>
                        <a:pt x="1" y="5"/>
                        <a:pt x="0" y="7"/>
                        <a:pt x="0" y="10"/>
                      </a:cubicBezTo>
                      <a:cubicBezTo>
                        <a:pt x="1" y="12"/>
                        <a:pt x="2" y="16"/>
                        <a:pt x="4" y="16"/>
                      </a:cubicBezTo>
                      <a:cubicBezTo>
                        <a:pt x="6" y="16"/>
                        <a:pt x="8" y="12"/>
                        <a:pt x="9" y="10"/>
                      </a:cubicBezTo>
                      <a:cubicBezTo>
                        <a:pt x="12" y="8"/>
                        <a:pt x="21" y="7"/>
                        <a:pt x="19" y="1"/>
                      </a:cubicBezTo>
                      <a:cubicBezTo>
                        <a:pt x="17" y="1"/>
                        <a:pt x="15" y="0"/>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4"/>
                <p:cNvSpPr>
                  <a:spLocks/>
                </p:cNvSpPr>
                <p:nvPr/>
              </p:nvSpPr>
              <p:spPr bwMode="auto">
                <a:xfrm>
                  <a:off x="3106738" y="4137025"/>
                  <a:ext cx="12700" cy="15875"/>
                </a:xfrm>
                <a:custGeom>
                  <a:avLst/>
                  <a:gdLst>
                    <a:gd name="T0" fmla="*/ 3 w 16"/>
                    <a:gd name="T1" fmla="*/ 19 h 20"/>
                    <a:gd name="T2" fmla="*/ 9 w 16"/>
                    <a:gd name="T3" fmla="*/ 7 h 20"/>
                    <a:gd name="T4" fmla="*/ 12 w 16"/>
                    <a:gd name="T5" fmla="*/ 0 h 20"/>
                    <a:gd name="T6" fmla="*/ 9 w 16"/>
                    <a:gd name="T7" fmla="*/ 5 h 20"/>
                    <a:gd name="T8" fmla="*/ 4 w 16"/>
                    <a:gd name="T9" fmla="*/ 8 h 20"/>
                    <a:gd name="T10" fmla="*/ 3 w 16"/>
                    <a:gd name="T11" fmla="*/ 19 h 20"/>
                  </a:gdLst>
                  <a:ahLst/>
                  <a:cxnLst>
                    <a:cxn ang="0">
                      <a:pos x="T0" y="T1"/>
                    </a:cxn>
                    <a:cxn ang="0">
                      <a:pos x="T2" y="T3"/>
                    </a:cxn>
                    <a:cxn ang="0">
                      <a:pos x="T4" y="T5"/>
                    </a:cxn>
                    <a:cxn ang="0">
                      <a:pos x="T6" y="T7"/>
                    </a:cxn>
                    <a:cxn ang="0">
                      <a:pos x="T8" y="T9"/>
                    </a:cxn>
                    <a:cxn ang="0">
                      <a:pos x="T10" y="T11"/>
                    </a:cxn>
                  </a:cxnLst>
                  <a:rect l="0" t="0" r="r" b="b"/>
                  <a:pathLst>
                    <a:path w="16" h="20">
                      <a:moveTo>
                        <a:pt x="3" y="19"/>
                      </a:moveTo>
                      <a:cubicBezTo>
                        <a:pt x="3" y="15"/>
                        <a:pt x="6" y="10"/>
                        <a:pt x="9" y="7"/>
                      </a:cubicBezTo>
                      <a:cubicBezTo>
                        <a:pt x="11" y="6"/>
                        <a:pt x="16" y="2"/>
                        <a:pt x="12" y="0"/>
                      </a:cubicBezTo>
                      <a:cubicBezTo>
                        <a:pt x="7" y="0"/>
                        <a:pt x="11" y="2"/>
                        <a:pt x="9" y="5"/>
                      </a:cubicBezTo>
                      <a:cubicBezTo>
                        <a:pt x="8" y="6"/>
                        <a:pt x="5" y="6"/>
                        <a:pt x="4" y="8"/>
                      </a:cubicBezTo>
                      <a:cubicBezTo>
                        <a:pt x="4" y="9"/>
                        <a:pt x="0"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65"/>
                <p:cNvSpPr>
                  <a:spLocks/>
                </p:cNvSpPr>
                <p:nvPr/>
              </p:nvSpPr>
              <p:spPr bwMode="auto">
                <a:xfrm>
                  <a:off x="3117851" y="4006850"/>
                  <a:ext cx="4763" cy="3175"/>
                </a:xfrm>
                <a:custGeom>
                  <a:avLst/>
                  <a:gdLst>
                    <a:gd name="T0" fmla="*/ 3 w 5"/>
                    <a:gd name="T1" fmla="*/ 3 h 5"/>
                    <a:gd name="T2" fmla="*/ 5 w 5"/>
                    <a:gd name="T3" fmla="*/ 0 h 5"/>
                    <a:gd name="T4" fmla="*/ 2 w 5"/>
                    <a:gd name="T5" fmla="*/ 0 h 5"/>
                    <a:gd name="T6" fmla="*/ 3 w 5"/>
                    <a:gd name="T7" fmla="*/ 3 h 5"/>
                  </a:gdLst>
                  <a:ahLst/>
                  <a:cxnLst>
                    <a:cxn ang="0">
                      <a:pos x="T0" y="T1"/>
                    </a:cxn>
                    <a:cxn ang="0">
                      <a:pos x="T2" y="T3"/>
                    </a:cxn>
                    <a:cxn ang="0">
                      <a:pos x="T4" y="T5"/>
                    </a:cxn>
                    <a:cxn ang="0">
                      <a:pos x="T6" y="T7"/>
                    </a:cxn>
                  </a:cxnLst>
                  <a:rect l="0" t="0" r="r" b="b"/>
                  <a:pathLst>
                    <a:path w="5" h="5">
                      <a:moveTo>
                        <a:pt x="3" y="3"/>
                      </a:moveTo>
                      <a:cubicBezTo>
                        <a:pt x="5" y="5"/>
                        <a:pt x="5" y="1"/>
                        <a:pt x="5" y="0"/>
                      </a:cubicBezTo>
                      <a:cubicBezTo>
                        <a:pt x="2" y="0"/>
                        <a:pt x="2" y="0"/>
                        <a:pt x="2" y="0"/>
                      </a:cubicBezTo>
                      <a:cubicBezTo>
                        <a:pt x="0" y="0"/>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66"/>
                <p:cNvSpPr>
                  <a:spLocks/>
                </p:cNvSpPr>
                <p:nvPr/>
              </p:nvSpPr>
              <p:spPr bwMode="auto">
                <a:xfrm>
                  <a:off x="3114676" y="3990975"/>
                  <a:ext cx="11113" cy="11113"/>
                </a:xfrm>
                <a:custGeom>
                  <a:avLst/>
                  <a:gdLst>
                    <a:gd name="T0" fmla="*/ 12 w 14"/>
                    <a:gd name="T1" fmla="*/ 0 h 15"/>
                    <a:gd name="T2" fmla="*/ 10 w 14"/>
                    <a:gd name="T3" fmla="*/ 7 h 15"/>
                    <a:gd name="T4" fmla="*/ 3 w 14"/>
                    <a:gd name="T5" fmla="*/ 10 h 15"/>
                    <a:gd name="T6" fmla="*/ 6 w 14"/>
                    <a:gd name="T7" fmla="*/ 14 h 15"/>
                    <a:gd name="T8" fmla="*/ 12 w 14"/>
                    <a:gd name="T9" fmla="*/ 5 h 15"/>
                    <a:gd name="T10" fmla="*/ 13 w 14"/>
                    <a:gd name="T11" fmla="*/ 2 h 15"/>
                    <a:gd name="T12" fmla="*/ 12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12" y="0"/>
                      </a:moveTo>
                      <a:cubicBezTo>
                        <a:pt x="6" y="0"/>
                        <a:pt x="10" y="5"/>
                        <a:pt x="10" y="7"/>
                      </a:cubicBezTo>
                      <a:cubicBezTo>
                        <a:pt x="10" y="9"/>
                        <a:pt x="5" y="9"/>
                        <a:pt x="3" y="10"/>
                      </a:cubicBezTo>
                      <a:cubicBezTo>
                        <a:pt x="0" y="12"/>
                        <a:pt x="2" y="15"/>
                        <a:pt x="6" y="14"/>
                      </a:cubicBezTo>
                      <a:cubicBezTo>
                        <a:pt x="9" y="14"/>
                        <a:pt x="14" y="8"/>
                        <a:pt x="12" y="5"/>
                      </a:cubicBezTo>
                      <a:cubicBezTo>
                        <a:pt x="11" y="4"/>
                        <a:pt x="12" y="3"/>
                        <a:pt x="13" y="2"/>
                      </a:cubicBezTo>
                      <a:cubicBezTo>
                        <a:pt x="14" y="1"/>
                        <a:pt x="12" y="1"/>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67"/>
                <p:cNvSpPr>
                  <a:spLocks/>
                </p:cNvSpPr>
                <p:nvPr/>
              </p:nvSpPr>
              <p:spPr bwMode="auto">
                <a:xfrm>
                  <a:off x="3130551" y="4011613"/>
                  <a:ext cx="19050" cy="19050"/>
                </a:xfrm>
                <a:custGeom>
                  <a:avLst/>
                  <a:gdLst>
                    <a:gd name="T0" fmla="*/ 8 w 24"/>
                    <a:gd name="T1" fmla="*/ 23 h 25"/>
                    <a:gd name="T2" fmla="*/ 22 w 24"/>
                    <a:gd name="T3" fmla="*/ 18 h 25"/>
                    <a:gd name="T4" fmla="*/ 20 w 24"/>
                    <a:gd name="T5" fmla="*/ 3 h 25"/>
                    <a:gd name="T6" fmla="*/ 4 w 24"/>
                    <a:gd name="T7" fmla="*/ 8 h 25"/>
                    <a:gd name="T8" fmla="*/ 1 w 24"/>
                    <a:gd name="T9" fmla="*/ 18 h 25"/>
                    <a:gd name="T10" fmla="*/ 8 w 24"/>
                    <a:gd name="T11" fmla="*/ 23 h 25"/>
                  </a:gdLst>
                  <a:ahLst/>
                  <a:cxnLst>
                    <a:cxn ang="0">
                      <a:pos x="T0" y="T1"/>
                    </a:cxn>
                    <a:cxn ang="0">
                      <a:pos x="T2" y="T3"/>
                    </a:cxn>
                    <a:cxn ang="0">
                      <a:pos x="T4" y="T5"/>
                    </a:cxn>
                    <a:cxn ang="0">
                      <a:pos x="T6" y="T7"/>
                    </a:cxn>
                    <a:cxn ang="0">
                      <a:pos x="T8" y="T9"/>
                    </a:cxn>
                    <a:cxn ang="0">
                      <a:pos x="T10" y="T11"/>
                    </a:cxn>
                  </a:cxnLst>
                  <a:rect l="0" t="0" r="r" b="b"/>
                  <a:pathLst>
                    <a:path w="24" h="25">
                      <a:moveTo>
                        <a:pt x="8" y="23"/>
                      </a:moveTo>
                      <a:cubicBezTo>
                        <a:pt x="13" y="25"/>
                        <a:pt x="21" y="23"/>
                        <a:pt x="22" y="18"/>
                      </a:cubicBezTo>
                      <a:cubicBezTo>
                        <a:pt x="22" y="15"/>
                        <a:pt x="24" y="5"/>
                        <a:pt x="20" y="3"/>
                      </a:cubicBezTo>
                      <a:cubicBezTo>
                        <a:pt x="12" y="0"/>
                        <a:pt x="6" y="0"/>
                        <a:pt x="4" y="8"/>
                      </a:cubicBezTo>
                      <a:cubicBezTo>
                        <a:pt x="3" y="11"/>
                        <a:pt x="0" y="15"/>
                        <a:pt x="1" y="18"/>
                      </a:cubicBezTo>
                      <a:cubicBezTo>
                        <a:pt x="2" y="20"/>
                        <a:pt x="5" y="22"/>
                        <a:pt x="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68"/>
                <p:cNvSpPr>
                  <a:spLocks/>
                </p:cNvSpPr>
                <p:nvPr/>
              </p:nvSpPr>
              <p:spPr bwMode="auto">
                <a:xfrm>
                  <a:off x="3062288" y="4049713"/>
                  <a:ext cx="47625" cy="42863"/>
                </a:xfrm>
                <a:custGeom>
                  <a:avLst/>
                  <a:gdLst>
                    <a:gd name="T0" fmla="*/ 54 w 65"/>
                    <a:gd name="T1" fmla="*/ 45 h 56"/>
                    <a:gd name="T2" fmla="*/ 64 w 65"/>
                    <a:gd name="T3" fmla="*/ 45 h 56"/>
                    <a:gd name="T4" fmla="*/ 57 w 65"/>
                    <a:gd name="T5" fmla="*/ 30 h 56"/>
                    <a:gd name="T6" fmla="*/ 46 w 65"/>
                    <a:gd name="T7" fmla="*/ 21 h 56"/>
                    <a:gd name="T8" fmla="*/ 35 w 65"/>
                    <a:gd name="T9" fmla="*/ 16 h 56"/>
                    <a:gd name="T10" fmla="*/ 33 w 65"/>
                    <a:gd name="T11" fmla="*/ 12 h 56"/>
                    <a:gd name="T12" fmla="*/ 25 w 65"/>
                    <a:gd name="T13" fmla="*/ 10 h 56"/>
                    <a:gd name="T14" fmla="*/ 20 w 65"/>
                    <a:gd name="T15" fmla="*/ 1 h 56"/>
                    <a:gd name="T16" fmla="*/ 12 w 65"/>
                    <a:gd name="T17" fmla="*/ 13 h 56"/>
                    <a:gd name="T18" fmla="*/ 11 w 65"/>
                    <a:gd name="T19" fmla="*/ 19 h 56"/>
                    <a:gd name="T20" fmla="*/ 15 w 65"/>
                    <a:gd name="T21" fmla="*/ 23 h 56"/>
                    <a:gd name="T22" fmla="*/ 14 w 65"/>
                    <a:gd name="T23" fmla="*/ 31 h 56"/>
                    <a:gd name="T24" fmla="*/ 9 w 65"/>
                    <a:gd name="T25" fmla="*/ 37 h 56"/>
                    <a:gd name="T26" fmla="*/ 3 w 65"/>
                    <a:gd name="T27" fmla="*/ 41 h 56"/>
                    <a:gd name="T28" fmla="*/ 11 w 65"/>
                    <a:gd name="T29" fmla="*/ 47 h 56"/>
                    <a:gd name="T30" fmla="*/ 15 w 65"/>
                    <a:gd name="T31" fmla="*/ 50 h 56"/>
                    <a:gd name="T32" fmla="*/ 17 w 65"/>
                    <a:gd name="T33" fmla="*/ 55 h 56"/>
                    <a:gd name="T34" fmla="*/ 29 w 65"/>
                    <a:gd name="T35" fmla="*/ 47 h 56"/>
                    <a:gd name="T36" fmla="*/ 37 w 65"/>
                    <a:gd name="T37" fmla="*/ 42 h 56"/>
                    <a:gd name="T38" fmla="*/ 43 w 65"/>
                    <a:gd name="T39" fmla="*/ 37 h 56"/>
                    <a:gd name="T40" fmla="*/ 47 w 65"/>
                    <a:gd name="T41" fmla="*/ 43 h 56"/>
                    <a:gd name="T42" fmla="*/ 51 w 65"/>
                    <a:gd name="T43" fmla="*/ 43 h 56"/>
                    <a:gd name="T44" fmla="*/ 54 w 65"/>
                    <a:gd name="T45"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56">
                      <a:moveTo>
                        <a:pt x="54" y="45"/>
                      </a:moveTo>
                      <a:cubicBezTo>
                        <a:pt x="56" y="47"/>
                        <a:pt x="63" y="49"/>
                        <a:pt x="64" y="45"/>
                      </a:cubicBezTo>
                      <a:cubicBezTo>
                        <a:pt x="65" y="39"/>
                        <a:pt x="62" y="34"/>
                        <a:pt x="57" y="30"/>
                      </a:cubicBezTo>
                      <a:cubicBezTo>
                        <a:pt x="53" y="27"/>
                        <a:pt x="51" y="22"/>
                        <a:pt x="46" y="21"/>
                      </a:cubicBezTo>
                      <a:cubicBezTo>
                        <a:pt x="43" y="21"/>
                        <a:pt x="35" y="20"/>
                        <a:pt x="35" y="16"/>
                      </a:cubicBezTo>
                      <a:cubicBezTo>
                        <a:pt x="35" y="15"/>
                        <a:pt x="34" y="13"/>
                        <a:pt x="33" y="12"/>
                      </a:cubicBezTo>
                      <a:cubicBezTo>
                        <a:pt x="31" y="10"/>
                        <a:pt x="27" y="12"/>
                        <a:pt x="25" y="10"/>
                      </a:cubicBezTo>
                      <a:cubicBezTo>
                        <a:pt x="22" y="8"/>
                        <a:pt x="24" y="2"/>
                        <a:pt x="20" y="1"/>
                      </a:cubicBezTo>
                      <a:cubicBezTo>
                        <a:pt x="13" y="0"/>
                        <a:pt x="13" y="9"/>
                        <a:pt x="12" y="13"/>
                      </a:cubicBezTo>
                      <a:cubicBezTo>
                        <a:pt x="11" y="15"/>
                        <a:pt x="11" y="18"/>
                        <a:pt x="11" y="19"/>
                      </a:cubicBezTo>
                      <a:cubicBezTo>
                        <a:pt x="10" y="22"/>
                        <a:pt x="13" y="22"/>
                        <a:pt x="15" y="23"/>
                      </a:cubicBezTo>
                      <a:cubicBezTo>
                        <a:pt x="21" y="26"/>
                        <a:pt x="18" y="28"/>
                        <a:pt x="14" y="31"/>
                      </a:cubicBezTo>
                      <a:cubicBezTo>
                        <a:pt x="12" y="33"/>
                        <a:pt x="11" y="35"/>
                        <a:pt x="9" y="37"/>
                      </a:cubicBezTo>
                      <a:cubicBezTo>
                        <a:pt x="8" y="39"/>
                        <a:pt x="4" y="39"/>
                        <a:pt x="3" y="41"/>
                      </a:cubicBezTo>
                      <a:cubicBezTo>
                        <a:pt x="0" y="46"/>
                        <a:pt x="8" y="46"/>
                        <a:pt x="11" y="47"/>
                      </a:cubicBezTo>
                      <a:cubicBezTo>
                        <a:pt x="13" y="47"/>
                        <a:pt x="15" y="48"/>
                        <a:pt x="15" y="50"/>
                      </a:cubicBezTo>
                      <a:cubicBezTo>
                        <a:pt x="15" y="52"/>
                        <a:pt x="15" y="54"/>
                        <a:pt x="17" y="55"/>
                      </a:cubicBezTo>
                      <a:cubicBezTo>
                        <a:pt x="24" y="56"/>
                        <a:pt x="25" y="51"/>
                        <a:pt x="29" y="47"/>
                      </a:cubicBezTo>
                      <a:cubicBezTo>
                        <a:pt x="31" y="45"/>
                        <a:pt x="38" y="47"/>
                        <a:pt x="37" y="42"/>
                      </a:cubicBezTo>
                      <a:cubicBezTo>
                        <a:pt x="36" y="39"/>
                        <a:pt x="40" y="33"/>
                        <a:pt x="43" y="37"/>
                      </a:cubicBezTo>
                      <a:cubicBezTo>
                        <a:pt x="45" y="38"/>
                        <a:pt x="45" y="41"/>
                        <a:pt x="47" y="43"/>
                      </a:cubicBezTo>
                      <a:cubicBezTo>
                        <a:pt x="48" y="44"/>
                        <a:pt x="49" y="43"/>
                        <a:pt x="51" y="43"/>
                      </a:cubicBezTo>
                      <a:cubicBezTo>
                        <a:pt x="52" y="43"/>
                        <a:pt x="53" y="45"/>
                        <a:pt x="5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69"/>
                <p:cNvSpPr>
                  <a:spLocks/>
                </p:cNvSpPr>
                <p:nvPr/>
              </p:nvSpPr>
              <p:spPr bwMode="auto">
                <a:xfrm>
                  <a:off x="3125788" y="4084638"/>
                  <a:ext cx="9525" cy="9525"/>
                </a:xfrm>
                <a:custGeom>
                  <a:avLst/>
                  <a:gdLst>
                    <a:gd name="T0" fmla="*/ 1 w 14"/>
                    <a:gd name="T1" fmla="*/ 6 h 13"/>
                    <a:gd name="T2" fmla="*/ 7 w 14"/>
                    <a:gd name="T3" fmla="*/ 2 h 13"/>
                    <a:gd name="T4" fmla="*/ 2 w 14"/>
                    <a:gd name="T5" fmla="*/ 2 h 13"/>
                    <a:gd name="T6" fmla="*/ 1 w 14"/>
                    <a:gd name="T7" fmla="*/ 6 h 13"/>
                  </a:gdLst>
                  <a:ahLst/>
                  <a:cxnLst>
                    <a:cxn ang="0">
                      <a:pos x="T0" y="T1"/>
                    </a:cxn>
                    <a:cxn ang="0">
                      <a:pos x="T2" y="T3"/>
                    </a:cxn>
                    <a:cxn ang="0">
                      <a:pos x="T4" y="T5"/>
                    </a:cxn>
                    <a:cxn ang="0">
                      <a:pos x="T6" y="T7"/>
                    </a:cxn>
                  </a:cxnLst>
                  <a:rect l="0" t="0" r="r" b="b"/>
                  <a:pathLst>
                    <a:path w="14" h="13">
                      <a:moveTo>
                        <a:pt x="1" y="6"/>
                      </a:moveTo>
                      <a:cubicBezTo>
                        <a:pt x="3" y="13"/>
                        <a:pt x="14" y="7"/>
                        <a:pt x="7" y="2"/>
                      </a:cubicBezTo>
                      <a:cubicBezTo>
                        <a:pt x="4" y="0"/>
                        <a:pt x="5" y="3"/>
                        <a:pt x="2" y="2"/>
                      </a:cubicBezTo>
                      <a:cubicBezTo>
                        <a:pt x="0" y="1"/>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0"/>
                <p:cNvSpPr>
                  <a:spLocks/>
                </p:cNvSpPr>
                <p:nvPr/>
              </p:nvSpPr>
              <p:spPr bwMode="auto">
                <a:xfrm>
                  <a:off x="3149601" y="4014788"/>
                  <a:ext cx="11113" cy="7938"/>
                </a:xfrm>
                <a:custGeom>
                  <a:avLst/>
                  <a:gdLst>
                    <a:gd name="T0" fmla="*/ 6 w 14"/>
                    <a:gd name="T1" fmla="*/ 1 h 11"/>
                    <a:gd name="T2" fmla="*/ 3 w 14"/>
                    <a:gd name="T3" fmla="*/ 6 h 11"/>
                    <a:gd name="T4" fmla="*/ 6 w 14"/>
                    <a:gd name="T5" fmla="*/ 1 h 11"/>
                  </a:gdLst>
                  <a:ahLst/>
                  <a:cxnLst>
                    <a:cxn ang="0">
                      <a:pos x="T0" y="T1"/>
                    </a:cxn>
                    <a:cxn ang="0">
                      <a:pos x="T2" y="T3"/>
                    </a:cxn>
                    <a:cxn ang="0">
                      <a:pos x="T4" y="T5"/>
                    </a:cxn>
                  </a:cxnLst>
                  <a:rect l="0" t="0" r="r" b="b"/>
                  <a:pathLst>
                    <a:path w="14" h="11">
                      <a:moveTo>
                        <a:pt x="6" y="1"/>
                      </a:moveTo>
                      <a:cubicBezTo>
                        <a:pt x="3" y="0"/>
                        <a:pt x="0" y="3"/>
                        <a:pt x="3" y="6"/>
                      </a:cubicBezTo>
                      <a:cubicBezTo>
                        <a:pt x="9" y="11"/>
                        <a:pt x="14" y="3"/>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71"/>
                <p:cNvSpPr>
                  <a:spLocks/>
                </p:cNvSpPr>
                <p:nvPr/>
              </p:nvSpPr>
              <p:spPr bwMode="auto">
                <a:xfrm>
                  <a:off x="3048001" y="3860800"/>
                  <a:ext cx="11113" cy="6350"/>
                </a:xfrm>
                <a:custGeom>
                  <a:avLst/>
                  <a:gdLst>
                    <a:gd name="T0" fmla="*/ 11 w 15"/>
                    <a:gd name="T1" fmla="*/ 1 h 8"/>
                    <a:gd name="T2" fmla="*/ 8 w 15"/>
                    <a:gd name="T3" fmla="*/ 1 h 8"/>
                    <a:gd name="T4" fmla="*/ 4 w 15"/>
                    <a:gd name="T5" fmla="*/ 3 h 8"/>
                    <a:gd name="T6" fmla="*/ 3 w 15"/>
                    <a:gd name="T7" fmla="*/ 8 h 8"/>
                    <a:gd name="T8" fmla="*/ 11 w 15"/>
                    <a:gd name="T9" fmla="*/ 1 h 8"/>
                  </a:gdLst>
                  <a:ahLst/>
                  <a:cxnLst>
                    <a:cxn ang="0">
                      <a:pos x="T0" y="T1"/>
                    </a:cxn>
                    <a:cxn ang="0">
                      <a:pos x="T2" y="T3"/>
                    </a:cxn>
                    <a:cxn ang="0">
                      <a:pos x="T4" y="T5"/>
                    </a:cxn>
                    <a:cxn ang="0">
                      <a:pos x="T6" y="T7"/>
                    </a:cxn>
                    <a:cxn ang="0">
                      <a:pos x="T8" y="T9"/>
                    </a:cxn>
                  </a:cxnLst>
                  <a:rect l="0" t="0" r="r" b="b"/>
                  <a:pathLst>
                    <a:path w="15" h="8">
                      <a:moveTo>
                        <a:pt x="11" y="1"/>
                      </a:moveTo>
                      <a:cubicBezTo>
                        <a:pt x="10" y="0"/>
                        <a:pt x="9" y="0"/>
                        <a:pt x="8" y="1"/>
                      </a:cubicBezTo>
                      <a:cubicBezTo>
                        <a:pt x="6" y="2"/>
                        <a:pt x="5" y="2"/>
                        <a:pt x="4" y="3"/>
                      </a:cubicBezTo>
                      <a:cubicBezTo>
                        <a:pt x="1" y="4"/>
                        <a:pt x="0" y="7"/>
                        <a:pt x="3" y="8"/>
                      </a:cubicBezTo>
                      <a:cubicBezTo>
                        <a:pt x="8" y="8"/>
                        <a:pt x="15" y="3"/>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72"/>
                <p:cNvSpPr>
                  <a:spLocks/>
                </p:cNvSpPr>
                <p:nvPr/>
              </p:nvSpPr>
              <p:spPr bwMode="auto">
                <a:xfrm>
                  <a:off x="3127376" y="4084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73"/>
                <p:cNvSpPr>
                  <a:spLocks/>
                </p:cNvSpPr>
                <p:nvPr/>
              </p:nvSpPr>
              <p:spPr bwMode="auto">
                <a:xfrm>
                  <a:off x="3109913" y="4098925"/>
                  <a:ext cx="11113" cy="15875"/>
                </a:xfrm>
                <a:custGeom>
                  <a:avLst/>
                  <a:gdLst>
                    <a:gd name="T0" fmla="*/ 4 w 13"/>
                    <a:gd name="T1" fmla="*/ 2 h 20"/>
                    <a:gd name="T2" fmla="*/ 7 w 13"/>
                    <a:gd name="T3" fmla="*/ 20 h 20"/>
                    <a:gd name="T4" fmla="*/ 12 w 13"/>
                    <a:gd name="T5" fmla="*/ 10 h 20"/>
                    <a:gd name="T6" fmla="*/ 4 w 13"/>
                    <a:gd name="T7" fmla="*/ 2 h 20"/>
                  </a:gdLst>
                  <a:ahLst/>
                  <a:cxnLst>
                    <a:cxn ang="0">
                      <a:pos x="T0" y="T1"/>
                    </a:cxn>
                    <a:cxn ang="0">
                      <a:pos x="T2" y="T3"/>
                    </a:cxn>
                    <a:cxn ang="0">
                      <a:pos x="T4" y="T5"/>
                    </a:cxn>
                    <a:cxn ang="0">
                      <a:pos x="T6" y="T7"/>
                    </a:cxn>
                  </a:cxnLst>
                  <a:rect l="0" t="0" r="r" b="b"/>
                  <a:pathLst>
                    <a:path w="13" h="20">
                      <a:moveTo>
                        <a:pt x="4" y="2"/>
                      </a:moveTo>
                      <a:cubicBezTo>
                        <a:pt x="0" y="5"/>
                        <a:pt x="1" y="18"/>
                        <a:pt x="7" y="20"/>
                      </a:cubicBezTo>
                      <a:cubicBezTo>
                        <a:pt x="9" y="20"/>
                        <a:pt x="12" y="13"/>
                        <a:pt x="12" y="10"/>
                      </a:cubicBezTo>
                      <a:cubicBezTo>
                        <a:pt x="13" y="7"/>
                        <a:pt x="9" y="0"/>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74"/>
                <p:cNvSpPr>
                  <a:spLocks/>
                </p:cNvSpPr>
                <p:nvPr/>
              </p:nvSpPr>
              <p:spPr bwMode="auto">
                <a:xfrm>
                  <a:off x="3021013" y="3859213"/>
                  <a:ext cx="19050" cy="4763"/>
                </a:xfrm>
                <a:custGeom>
                  <a:avLst/>
                  <a:gdLst>
                    <a:gd name="T0" fmla="*/ 1 w 25"/>
                    <a:gd name="T1" fmla="*/ 3 h 8"/>
                    <a:gd name="T2" fmla="*/ 2 w 25"/>
                    <a:gd name="T3" fmla="*/ 7 h 8"/>
                    <a:gd name="T4" fmla="*/ 9 w 25"/>
                    <a:gd name="T5" fmla="*/ 7 h 8"/>
                    <a:gd name="T6" fmla="*/ 18 w 25"/>
                    <a:gd name="T7" fmla="*/ 7 h 8"/>
                    <a:gd name="T8" fmla="*/ 20 w 25"/>
                    <a:gd name="T9" fmla="*/ 0 h 8"/>
                    <a:gd name="T10" fmla="*/ 8 w 25"/>
                    <a:gd name="T11" fmla="*/ 1 h 8"/>
                    <a:gd name="T12" fmla="*/ 9 w 25"/>
                    <a:gd name="T13" fmla="*/ 1 h 8"/>
                    <a:gd name="T14" fmla="*/ 7 w 25"/>
                    <a:gd name="T15" fmla="*/ 1 h 8"/>
                    <a:gd name="T16" fmla="*/ 1 w 2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1" y="3"/>
                      </a:moveTo>
                      <a:cubicBezTo>
                        <a:pt x="0" y="4"/>
                        <a:pt x="0" y="6"/>
                        <a:pt x="2" y="7"/>
                      </a:cubicBezTo>
                      <a:cubicBezTo>
                        <a:pt x="4" y="8"/>
                        <a:pt x="7" y="8"/>
                        <a:pt x="9" y="7"/>
                      </a:cubicBezTo>
                      <a:cubicBezTo>
                        <a:pt x="12" y="7"/>
                        <a:pt x="14" y="8"/>
                        <a:pt x="18" y="7"/>
                      </a:cubicBezTo>
                      <a:cubicBezTo>
                        <a:pt x="22" y="6"/>
                        <a:pt x="25" y="1"/>
                        <a:pt x="20" y="0"/>
                      </a:cubicBezTo>
                      <a:cubicBezTo>
                        <a:pt x="16" y="0"/>
                        <a:pt x="12" y="1"/>
                        <a:pt x="8" y="1"/>
                      </a:cubicBezTo>
                      <a:cubicBezTo>
                        <a:pt x="9" y="1"/>
                        <a:pt x="9" y="1"/>
                        <a:pt x="9" y="1"/>
                      </a:cubicBezTo>
                      <a:cubicBezTo>
                        <a:pt x="9" y="1"/>
                        <a:pt x="8" y="1"/>
                        <a:pt x="7" y="1"/>
                      </a:cubicBezTo>
                      <a:cubicBezTo>
                        <a:pt x="5" y="2"/>
                        <a:pt x="3" y="1"/>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75"/>
                <p:cNvSpPr>
                  <a:spLocks/>
                </p:cNvSpPr>
                <p:nvPr/>
              </p:nvSpPr>
              <p:spPr bwMode="auto">
                <a:xfrm>
                  <a:off x="3005138" y="3819525"/>
                  <a:ext cx="14288" cy="7938"/>
                </a:xfrm>
                <a:custGeom>
                  <a:avLst/>
                  <a:gdLst>
                    <a:gd name="T0" fmla="*/ 11 w 19"/>
                    <a:gd name="T1" fmla="*/ 1 h 11"/>
                    <a:gd name="T2" fmla="*/ 5 w 19"/>
                    <a:gd name="T3" fmla="*/ 6 h 11"/>
                    <a:gd name="T4" fmla="*/ 8 w 19"/>
                    <a:gd name="T5" fmla="*/ 6 h 11"/>
                    <a:gd name="T6" fmla="*/ 10 w 19"/>
                    <a:gd name="T7" fmla="*/ 9 h 11"/>
                    <a:gd name="T8" fmla="*/ 17 w 19"/>
                    <a:gd name="T9" fmla="*/ 8 h 11"/>
                    <a:gd name="T10" fmla="*/ 11 w 19"/>
                    <a:gd name="T11" fmla="*/ 1 h 11"/>
                  </a:gdLst>
                  <a:ahLst/>
                  <a:cxnLst>
                    <a:cxn ang="0">
                      <a:pos x="T0" y="T1"/>
                    </a:cxn>
                    <a:cxn ang="0">
                      <a:pos x="T2" y="T3"/>
                    </a:cxn>
                    <a:cxn ang="0">
                      <a:pos x="T4" y="T5"/>
                    </a:cxn>
                    <a:cxn ang="0">
                      <a:pos x="T6" y="T7"/>
                    </a:cxn>
                    <a:cxn ang="0">
                      <a:pos x="T8" y="T9"/>
                    </a:cxn>
                    <a:cxn ang="0">
                      <a:pos x="T10" y="T11"/>
                    </a:cxn>
                  </a:cxnLst>
                  <a:rect l="0" t="0" r="r" b="b"/>
                  <a:pathLst>
                    <a:path w="19" h="11">
                      <a:moveTo>
                        <a:pt x="11" y="1"/>
                      </a:moveTo>
                      <a:cubicBezTo>
                        <a:pt x="8" y="1"/>
                        <a:pt x="0" y="5"/>
                        <a:pt x="5" y="6"/>
                      </a:cubicBezTo>
                      <a:cubicBezTo>
                        <a:pt x="6" y="6"/>
                        <a:pt x="7" y="6"/>
                        <a:pt x="8" y="6"/>
                      </a:cubicBezTo>
                      <a:cubicBezTo>
                        <a:pt x="9" y="7"/>
                        <a:pt x="9" y="8"/>
                        <a:pt x="10" y="9"/>
                      </a:cubicBezTo>
                      <a:cubicBezTo>
                        <a:pt x="11" y="10"/>
                        <a:pt x="15" y="11"/>
                        <a:pt x="17" y="8"/>
                      </a:cubicBezTo>
                      <a:cubicBezTo>
                        <a:pt x="19" y="5"/>
                        <a:pt x="16" y="0"/>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76"/>
                <p:cNvSpPr>
                  <a:spLocks/>
                </p:cNvSpPr>
                <p:nvPr/>
              </p:nvSpPr>
              <p:spPr bwMode="auto">
                <a:xfrm>
                  <a:off x="3109913" y="3883025"/>
                  <a:ext cx="9525" cy="7938"/>
                </a:xfrm>
                <a:custGeom>
                  <a:avLst/>
                  <a:gdLst>
                    <a:gd name="T0" fmla="*/ 4 w 12"/>
                    <a:gd name="T1" fmla="*/ 4 h 9"/>
                    <a:gd name="T2" fmla="*/ 6 w 12"/>
                    <a:gd name="T3" fmla="*/ 9 h 9"/>
                    <a:gd name="T4" fmla="*/ 8 w 12"/>
                    <a:gd name="T5" fmla="*/ 1 h 9"/>
                    <a:gd name="T6" fmla="*/ 4 w 12"/>
                    <a:gd name="T7" fmla="*/ 4 h 9"/>
                  </a:gdLst>
                  <a:ahLst/>
                  <a:cxnLst>
                    <a:cxn ang="0">
                      <a:pos x="T0" y="T1"/>
                    </a:cxn>
                    <a:cxn ang="0">
                      <a:pos x="T2" y="T3"/>
                    </a:cxn>
                    <a:cxn ang="0">
                      <a:pos x="T4" y="T5"/>
                    </a:cxn>
                    <a:cxn ang="0">
                      <a:pos x="T6" y="T7"/>
                    </a:cxn>
                  </a:cxnLst>
                  <a:rect l="0" t="0" r="r" b="b"/>
                  <a:pathLst>
                    <a:path w="12" h="9">
                      <a:moveTo>
                        <a:pt x="4" y="4"/>
                      </a:moveTo>
                      <a:cubicBezTo>
                        <a:pt x="0" y="6"/>
                        <a:pt x="3" y="8"/>
                        <a:pt x="6" y="9"/>
                      </a:cubicBezTo>
                      <a:cubicBezTo>
                        <a:pt x="11" y="9"/>
                        <a:pt x="12" y="0"/>
                        <a:pt x="8" y="1"/>
                      </a:cubicBezTo>
                      <a:cubicBezTo>
                        <a:pt x="7" y="1"/>
                        <a:pt x="5" y="3"/>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77"/>
                <p:cNvSpPr>
                  <a:spLocks/>
                </p:cNvSpPr>
                <p:nvPr/>
              </p:nvSpPr>
              <p:spPr bwMode="auto">
                <a:xfrm>
                  <a:off x="3011488" y="3840163"/>
                  <a:ext cx="20638" cy="19050"/>
                </a:xfrm>
                <a:custGeom>
                  <a:avLst/>
                  <a:gdLst>
                    <a:gd name="T0" fmla="*/ 17 w 28"/>
                    <a:gd name="T1" fmla="*/ 6 h 25"/>
                    <a:gd name="T2" fmla="*/ 12 w 28"/>
                    <a:gd name="T3" fmla="*/ 2 h 25"/>
                    <a:gd name="T4" fmla="*/ 5 w 28"/>
                    <a:gd name="T5" fmla="*/ 1 h 25"/>
                    <a:gd name="T6" fmla="*/ 3 w 28"/>
                    <a:gd name="T7" fmla="*/ 5 h 25"/>
                    <a:gd name="T8" fmla="*/ 2 w 28"/>
                    <a:gd name="T9" fmla="*/ 10 h 25"/>
                    <a:gd name="T10" fmla="*/ 4 w 28"/>
                    <a:gd name="T11" fmla="*/ 11 h 25"/>
                    <a:gd name="T12" fmla="*/ 4 w 28"/>
                    <a:gd name="T13" fmla="*/ 14 h 25"/>
                    <a:gd name="T14" fmla="*/ 8 w 28"/>
                    <a:gd name="T15" fmla="*/ 15 h 25"/>
                    <a:gd name="T16" fmla="*/ 7 w 28"/>
                    <a:gd name="T17" fmla="*/ 18 h 25"/>
                    <a:gd name="T18" fmla="*/ 2 w 28"/>
                    <a:gd name="T19" fmla="*/ 19 h 25"/>
                    <a:gd name="T20" fmla="*/ 5 w 28"/>
                    <a:gd name="T21" fmla="*/ 23 h 25"/>
                    <a:gd name="T22" fmla="*/ 10 w 28"/>
                    <a:gd name="T23" fmla="*/ 25 h 25"/>
                    <a:gd name="T24" fmla="*/ 18 w 28"/>
                    <a:gd name="T25" fmla="*/ 22 h 25"/>
                    <a:gd name="T26" fmla="*/ 24 w 28"/>
                    <a:gd name="T27" fmla="*/ 19 h 25"/>
                    <a:gd name="T28" fmla="*/ 23 w 28"/>
                    <a:gd name="T29" fmla="*/ 17 h 25"/>
                    <a:gd name="T30" fmla="*/ 26 w 28"/>
                    <a:gd name="T31" fmla="*/ 15 h 25"/>
                    <a:gd name="T32" fmla="*/ 24 w 28"/>
                    <a:gd name="T33" fmla="*/ 12 h 25"/>
                    <a:gd name="T34" fmla="*/ 22 w 28"/>
                    <a:gd name="T35" fmla="*/ 7 h 25"/>
                    <a:gd name="T36" fmla="*/ 17 w 28"/>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7" y="6"/>
                      </a:moveTo>
                      <a:cubicBezTo>
                        <a:pt x="14" y="6"/>
                        <a:pt x="14" y="3"/>
                        <a:pt x="12" y="2"/>
                      </a:cubicBezTo>
                      <a:cubicBezTo>
                        <a:pt x="11" y="1"/>
                        <a:pt x="8" y="0"/>
                        <a:pt x="5" y="1"/>
                      </a:cubicBezTo>
                      <a:cubicBezTo>
                        <a:pt x="2" y="2"/>
                        <a:pt x="3" y="4"/>
                        <a:pt x="3" y="5"/>
                      </a:cubicBezTo>
                      <a:cubicBezTo>
                        <a:pt x="3" y="7"/>
                        <a:pt x="0" y="8"/>
                        <a:pt x="2" y="10"/>
                      </a:cubicBezTo>
                      <a:cubicBezTo>
                        <a:pt x="3" y="10"/>
                        <a:pt x="4" y="11"/>
                        <a:pt x="4" y="11"/>
                      </a:cubicBezTo>
                      <a:cubicBezTo>
                        <a:pt x="4" y="12"/>
                        <a:pt x="3" y="13"/>
                        <a:pt x="4" y="14"/>
                      </a:cubicBezTo>
                      <a:cubicBezTo>
                        <a:pt x="4" y="15"/>
                        <a:pt x="7" y="15"/>
                        <a:pt x="8" y="15"/>
                      </a:cubicBezTo>
                      <a:cubicBezTo>
                        <a:pt x="10" y="16"/>
                        <a:pt x="10" y="18"/>
                        <a:pt x="7" y="18"/>
                      </a:cubicBezTo>
                      <a:cubicBezTo>
                        <a:pt x="6" y="19"/>
                        <a:pt x="4" y="18"/>
                        <a:pt x="2" y="19"/>
                      </a:cubicBezTo>
                      <a:cubicBezTo>
                        <a:pt x="0" y="20"/>
                        <a:pt x="4" y="22"/>
                        <a:pt x="5" y="23"/>
                      </a:cubicBezTo>
                      <a:cubicBezTo>
                        <a:pt x="6" y="24"/>
                        <a:pt x="7" y="25"/>
                        <a:pt x="10" y="25"/>
                      </a:cubicBezTo>
                      <a:cubicBezTo>
                        <a:pt x="13" y="24"/>
                        <a:pt x="15" y="22"/>
                        <a:pt x="18" y="22"/>
                      </a:cubicBezTo>
                      <a:cubicBezTo>
                        <a:pt x="20" y="21"/>
                        <a:pt x="23" y="21"/>
                        <a:pt x="24" y="19"/>
                      </a:cubicBezTo>
                      <a:cubicBezTo>
                        <a:pt x="24" y="18"/>
                        <a:pt x="23" y="17"/>
                        <a:pt x="23" y="17"/>
                      </a:cubicBezTo>
                      <a:cubicBezTo>
                        <a:pt x="24" y="16"/>
                        <a:pt x="25" y="16"/>
                        <a:pt x="26" y="15"/>
                      </a:cubicBezTo>
                      <a:cubicBezTo>
                        <a:pt x="28" y="14"/>
                        <a:pt x="25" y="12"/>
                        <a:pt x="24" y="12"/>
                      </a:cubicBezTo>
                      <a:cubicBezTo>
                        <a:pt x="22" y="11"/>
                        <a:pt x="24" y="8"/>
                        <a:pt x="22" y="7"/>
                      </a:cubicBezTo>
                      <a:cubicBezTo>
                        <a:pt x="21" y="5"/>
                        <a:pt x="19" y="6"/>
                        <a:pt x="1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78"/>
                <p:cNvSpPr>
                  <a:spLocks/>
                </p:cNvSpPr>
                <p:nvPr/>
              </p:nvSpPr>
              <p:spPr bwMode="auto">
                <a:xfrm>
                  <a:off x="3022601" y="3867150"/>
                  <a:ext cx="4763" cy="4763"/>
                </a:xfrm>
                <a:custGeom>
                  <a:avLst/>
                  <a:gdLst>
                    <a:gd name="T0" fmla="*/ 1 w 6"/>
                    <a:gd name="T1" fmla="*/ 4 h 7"/>
                    <a:gd name="T2" fmla="*/ 4 w 6"/>
                    <a:gd name="T3" fmla="*/ 5 h 7"/>
                    <a:gd name="T4" fmla="*/ 6 w 6"/>
                    <a:gd name="T5" fmla="*/ 0 h 7"/>
                    <a:gd name="T6" fmla="*/ 1 w 6"/>
                    <a:gd name="T7" fmla="*/ 4 h 7"/>
                  </a:gdLst>
                  <a:ahLst/>
                  <a:cxnLst>
                    <a:cxn ang="0">
                      <a:pos x="T0" y="T1"/>
                    </a:cxn>
                    <a:cxn ang="0">
                      <a:pos x="T2" y="T3"/>
                    </a:cxn>
                    <a:cxn ang="0">
                      <a:pos x="T4" y="T5"/>
                    </a:cxn>
                    <a:cxn ang="0">
                      <a:pos x="T6" y="T7"/>
                    </a:cxn>
                  </a:cxnLst>
                  <a:rect l="0" t="0" r="r" b="b"/>
                  <a:pathLst>
                    <a:path w="6" h="7">
                      <a:moveTo>
                        <a:pt x="1" y="4"/>
                      </a:moveTo>
                      <a:cubicBezTo>
                        <a:pt x="1" y="4"/>
                        <a:pt x="2" y="7"/>
                        <a:pt x="4" y="5"/>
                      </a:cubicBezTo>
                      <a:cubicBezTo>
                        <a:pt x="6" y="4"/>
                        <a:pt x="5" y="2"/>
                        <a:pt x="6" y="0"/>
                      </a:cubicBezTo>
                      <a:cubicBezTo>
                        <a:pt x="3" y="0"/>
                        <a:pt x="0" y="1"/>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79"/>
                <p:cNvSpPr>
                  <a:spLocks/>
                </p:cNvSpPr>
                <p:nvPr/>
              </p:nvSpPr>
              <p:spPr bwMode="auto">
                <a:xfrm>
                  <a:off x="3024188" y="3889375"/>
                  <a:ext cx="4763" cy="4763"/>
                </a:xfrm>
                <a:custGeom>
                  <a:avLst/>
                  <a:gdLst>
                    <a:gd name="T0" fmla="*/ 6 w 6"/>
                    <a:gd name="T1" fmla="*/ 3 h 6"/>
                    <a:gd name="T2" fmla="*/ 0 w 6"/>
                    <a:gd name="T3" fmla="*/ 3 h 6"/>
                    <a:gd name="T4" fmla="*/ 6 w 6"/>
                    <a:gd name="T5" fmla="*/ 3 h 6"/>
                  </a:gdLst>
                  <a:ahLst/>
                  <a:cxnLst>
                    <a:cxn ang="0">
                      <a:pos x="T0" y="T1"/>
                    </a:cxn>
                    <a:cxn ang="0">
                      <a:pos x="T2" y="T3"/>
                    </a:cxn>
                    <a:cxn ang="0">
                      <a:pos x="T4" y="T5"/>
                    </a:cxn>
                  </a:cxnLst>
                  <a:rect l="0" t="0" r="r" b="b"/>
                  <a:pathLst>
                    <a:path w="6" h="6">
                      <a:moveTo>
                        <a:pt x="6" y="3"/>
                      </a:moveTo>
                      <a:cubicBezTo>
                        <a:pt x="6" y="1"/>
                        <a:pt x="0" y="0"/>
                        <a:pt x="0" y="3"/>
                      </a:cubicBezTo>
                      <a:cubicBezTo>
                        <a:pt x="0" y="6"/>
                        <a:pt x="5" y="6"/>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80"/>
                <p:cNvSpPr>
                  <a:spLocks/>
                </p:cNvSpPr>
                <p:nvPr/>
              </p:nvSpPr>
              <p:spPr bwMode="auto">
                <a:xfrm>
                  <a:off x="3114676" y="4167188"/>
                  <a:ext cx="4763" cy="4763"/>
                </a:xfrm>
                <a:custGeom>
                  <a:avLst/>
                  <a:gdLst>
                    <a:gd name="T0" fmla="*/ 3 w 6"/>
                    <a:gd name="T1" fmla="*/ 6 h 7"/>
                    <a:gd name="T2" fmla="*/ 5 w 6"/>
                    <a:gd name="T3" fmla="*/ 4 h 7"/>
                    <a:gd name="T4" fmla="*/ 3 w 6"/>
                    <a:gd name="T5" fmla="*/ 0 h 7"/>
                    <a:gd name="T6" fmla="*/ 3 w 6"/>
                    <a:gd name="T7" fmla="*/ 6 h 7"/>
                  </a:gdLst>
                  <a:ahLst/>
                  <a:cxnLst>
                    <a:cxn ang="0">
                      <a:pos x="T0" y="T1"/>
                    </a:cxn>
                    <a:cxn ang="0">
                      <a:pos x="T2" y="T3"/>
                    </a:cxn>
                    <a:cxn ang="0">
                      <a:pos x="T4" y="T5"/>
                    </a:cxn>
                    <a:cxn ang="0">
                      <a:pos x="T6" y="T7"/>
                    </a:cxn>
                  </a:cxnLst>
                  <a:rect l="0" t="0" r="r" b="b"/>
                  <a:pathLst>
                    <a:path w="6" h="7">
                      <a:moveTo>
                        <a:pt x="3" y="6"/>
                      </a:moveTo>
                      <a:cubicBezTo>
                        <a:pt x="5" y="7"/>
                        <a:pt x="6" y="6"/>
                        <a:pt x="5" y="4"/>
                      </a:cubicBezTo>
                      <a:cubicBezTo>
                        <a:pt x="5" y="2"/>
                        <a:pt x="5" y="1"/>
                        <a:pt x="3" y="0"/>
                      </a:cubicBezTo>
                      <a:cubicBezTo>
                        <a:pt x="0" y="1"/>
                        <a:pt x="0"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81"/>
                <p:cNvSpPr>
                  <a:spLocks/>
                </p:cNvSpPr>
                <p:nvPr/>
              </p:nvSpPr>
              <p:spPr bwMode="auto">
                <a:xfrm>
                  <a:off x="3111501" y="4176713"/>
                  <a:ext cx="12700" cy="17463"/>
                </a:xfrm>
                <a:custGeom>
                  <a:avLst/>
                  <a:gdLst>
                    <a:gd name="T0" fmla="*/ 5 w 16"/>
                    <a:gd name="T1" fmla="*/ 23 h 24"/>
                    <a:gd name="T2" fmla="*/ 15 w 16"/>
                    <a:gd name="T3" fmla="*/ 16 h 24"/>
                    <a:gd name="T4" fmla="*/ 10 w 16"/>
                    <a:gd name="T5" fmla="*/ 4 h 24"/>
                    <a:gd name="T6" fmla="*/ 6 w 16"/>
                    <a:gd name="T7" fmla="*/ 1 h 24"/>
                    <a:gd name="T8" fmla="*/ 6 w 16"/>
                    <a:gd name="T9" fmla="*/ 7 h 24"/>
                    <a:gd name="T10" fmla="*/ 5 w 16"/>
                    <a:gd name="T11" fmla="*/ 23 h 24"/>
                  </a:gdLst>
                  <a:ahLst/>
                  <a:cxnLst>
                    <a:cxn ang="0">
                      <a:pos x="T0" y="T1"/>
                    </a:cxn>
                    <a:cxn ang="0">
                      <a:pos x="T2" y="T3"/>
                    </a:cxn>
                    <a:cxn ang="0">
                      <a:pos x="T4" y="T5"/>
                    </a:cxn>
                    <a:cxn ang="0">
                      <a:pos x="T6" y="T7"/>
                    </a:cxn>
                    <a:cxn ang="0">
                      <a:pos x="T8" y="T9"/>
                    </a:cxn>
                    <a:cxn ang="0">
                      <a:pos x="T10" y="T11"/>
                    </a:cxn>
                  </a:cxnLst>
                  <a:rect l="0" t="0" r="r" b="b"/>
                  <a:pathLst>
                    <a:path w="16" h="24">
                      <a:moveTo>
                        <a:pt x="5" y="23"/>
                      </a:moveTo>
                      <a:cubicBezTo>
                        <a:pt x="8" y="24"/>
                        <a:pt x="16" y="20"/>
                        <a:pt x="15" y="16"/>
                      </a:cubicBezTo>
                      <a:cubicBezTo>
                        <a:pt x="15" y="12"/>
                        <a:pt x="10" y="9"/>
                        <a:pt x="10" y="4"/>
                      </a:cubicBezTo>
                      <a:cubicBezTo>
                        <a:pt x="10" y="2"/>
                        <a:pt x="9" y="0"/>
                        <a:pt x="6" y="1"/>
                      </a:cubicBezTo>
                      <a:cubicBezTo>
                        <a:pt x="4" y="2"/>
                        <a:pt x="6" y="6"/>
                        <a:pt x="6" y="7"/>
                      </a:cubicBezTo>
                      <a:cubicBezTo>
                        <a:pt x="7" y="11"/>
                        <a:pt x="0" y="20"/>
                        <a:pt x="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82"/>
                <p:cNvSpPr>
                  <a:spLocks/>
                </p:cNvSpPr>
                <p:nvPr/>
              </p:nvSpPr>
              <p:spPr bwMode="auto">
                <a:xfrm>
                  <a:off x="3013076" y="3919538"/>
                  <a:ext cx="38100" cy="36513"/>
                </a:xfrm>
                <a:custGeom>
                  <a:avLst/>
                  <a:gdLst>
                    <a:gd name="T0" fmla="*/ 42 w 50"/>
                    <a:gd name="T1" fmla="*/ 12 h 48"/>
                    <a:gd name="T2" fmla="*/ 50 w 50"/>
                    <a:gd name="T3" fmla="*/ 6 h 48"/>
                    <a:gd name="T4" fmla="*/ 41 w 50"/>
                    <a:gd name="T5" fmla="*/ 3 h 48"/>
                    <a:gd name="T6" fmla="*/ 34 w 50"/>
                    <a:gd name="T7" fmla="*/ 3 h 48"/>
                    <a:gd name="T8" fmla="*/ 27 w 50"/>
                    <a:gd name="T9" fmla="*/ 2 h 48"/>
                    <a:gd name="T10" fmla="*/ 12 w 50"/>
                    <a:gd name="T11" fmla="*/ 4 h 48"/>
                    <a:gd name="T12" fmla="*/ 7 w 50"/>
                    <a:gd name="T13" fmla="*/ 9 h 48"/>
                    <a:gd name="T14" fmla="*/ 8 w 50"/>
                    <a:gd name="T15" fmla="*/ 15 h 48"/>
                    <a:gd name="T16" fmla="*/ 2 w 50"/>
                    <a:gd name="T17" fmla="*/ 25 h 48"/>
                    <a:gd name="T18" fmla="*/ 1 w 50"/>
                    <a:gd name="T19" fmla="*/ 40 h 48"/>
                    <a:gd name="T20" fmla="*/ 7 w 50"/>
                    <a:gd name="T21" fmla="*/ 48 h 48"/>
                    <a:gd name="T22" fmla="*/ 17 w 50"/>
                    <a:gd name="T23" fmla="*/ 42 h 48"/>
                    <a:gd name="T24" fmla="*/ 19 w 50"/>
                    <a:gd name="T25" fmla="*/ 33 h 48"/>
                    <a:gd name="T26" fmla="*/ 18 w 50"/>
                    <a:gd name="T27" fmla="*/ 29 h 48"/>
                    <a:gd name="T28" fmla="*/ 31 w 50"/>
                    <a:gd name="T29" fmla="*/ 30 h 48"/>
                    <a:gd name="T30" fmla="*/ 33 w 50"/>
                    <a:gd name="T31" fmla="*/ 25 h 48"/>
                    <a:gd name="T32" fmla="*/ 38 w 50"/>
                    <a:gd name="T33" fmla="*/ 20 h 48"/>
                    <a:gd name="T34" fmla="*/ 40 w 50"/>
                    <a:gd name="T35" fmla="*/ 15 h 48"/>
                    <a:gd name="T36" fmla="*/ 42 w 50"/>
                    <a:gd name="T3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48">
                      <a:moveTo>
                        <a:pt x="42" y="12"/>
                      </a:moveTo>
                      <a:cubicBezTo>
                        <a:pt x="46" y="11"/>
                        <a:pt x="50" y="9"/>
                        <a:pt x="50" y="6"/>
                      </a:cubicBezTo>
                      <a:cubicBezTo>
                        <a:pt x="50" y="3"/>
                        <a:pt x="44" y="2"/>
                        <a:pt x="41" y="3"/>
                      </a:cubicBezTo>
                      <a:cubicBezTo>
                        <a:pt x="39" y="3"/>
                        <a:pt x="36" y="3"/>
                        <a:pt x="34" y="3"/>
                      </a:cubicBezTo>
                      <a:cubicBezTo>
                        <a:pt x="31" y="3"/>
                        <a:pt x="30" y="2"/>
                        <a:pt x="27" y="2"/>
                      </a:cubicBezTo>
                      <a:cubicBezTo>
                        <a:pt x="22" y="0"/>
                        <a:pt x="17" y="2"/>
                        <a:pt x="12" y="4"/>
                      </a:cubicBezTo>
                      <a:cubicBezTo>
                        <a:pt x="9" y="5"/>
                        <a:pt x="5" y="7"/>
                        <a:pt x="7" y="9"/>
                      </a:cubicBezTo>
                      <a:cubicBezTo>
                        <a:pt x="8" y="11"/>
                        <a:pt x="12" y="14"/>
                        <a:pt x="8" y="15"/>
                      </a:cubicBezTo>
                      <a:cubicBezTo>
                        <a:pt x="3" y="17"/>
                        <a:pt x="3" y="21"/>
                        <a:pt x="2" y="25"/>
                      </a:cubicBezTo>
                      <a:cubicBezTo>
                        <a:pt x="2" y="30"/>
                        <a:pt x="0" y="35"/>
                        <a:pt x="1" y="40"/>
                      </a:cubicBezTo>
                      <a:cubicBezTo>
                        <a:pt x="2" y="42"/>
                        <a:pt x="3" y="48"/>
                        <a:pt x="7" y="48"/>
                      </a:cubicBezTo>
                      <a:cubicBezTo>
                        <a:pt x="10" y="48"/>
                        <a:pt x="15" y="44"/>
                        <a:pt x="17" y="42"/>
                      </a:cubicBezTo>
                      <a:cubicBezTo>
                        <a:pt x="20" y="40"/>
                        <a:pt x="21" y="35"/>
                        <a:pt x="19" y="33"/>
                      </a:cubicBezTo>
                      <a:cubicBezTo>
                        <a:pt x="18" y="32"/>
                        <a:pt x="14" y="29"/>
                        <a:pt x="18" y="29"/>
                      </a:cubicBezTo>
                      <a:cubicBezTo>
                        <a:pt x="22" y="29"/>
                        <a:pt x="28" y="35"/>
                        <a:pt x="31" y="30"/>
                      </a:cubicBezTo>
                      <a:cubicBezTo>
                        <a:pt x="32" y="29"/>
                        <a:pt x="32" y="27"/>
                        <a:pt x="33" y="25"/>
                      </a:cubicBezTo>
                      <a:cubicBezTo>
                        <a:pt x="34" y="23"/>
                        <a:pt x="36" y="22"/>
                        <a:pt x="38" y="20"/>
                      </a:cubicBezTo>
                      <a:cubicBezTo>
                        <a:pt x="38" y="18"/>
                        <a:pt x="40" y="17"/>
                        <a:pt x="40" y="15"/>
                      </a:cubicBezTo>
                      <a:cubicBezTo>
                        <a:pt x="40" y="13"/>
                        <a:pt x="39" y="13"/>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83"/>
                <p:cNvSpPr>
                  <a:spLocks/>
                </p:cNvSpPr>
                <p:nvPr/>
              </p:nvSpPr>
              <p:spPr bwMode="auto">
                <a:xfrm>
                  <a:off x="3011488" y="3895725"/>
                  <a:ext cx="23813" cy="19050"/>
                </a:xfrm>
                <a:custGeom>
                  <a:avLst/>
                  <a:gdLst>
                    <a:gd name="T0" fmla="*/ 9 w 31"/>
                    <a:gd name="T1" fmla="*/ 5 h 25"/>
                    <a:gd name="T2" fmla="*/ 7 w 31"/>
                    <a:gd name="T3" fmla="*/ 20 h 25"/>
                    <a:gd name="T4" fmla="*/ 26 w 31"/>
                    <a:gd name="T5" fmla="*/ 19 h 25"/>
                    <a:gd name="T6" fmla="*/ 22 w 31"/>
                    <a:gd name="T7" fmla="*/ 4 h 25"/>
                    <a:gd name="T8" fmla="*/ 9 w 31"/>
                    <a:gd name="T9" fmla="*/ 5 h 25"/>
                  </a:gdLst>
                  <a:ahLst/>
                  <a:cxnLst>
                    <a:cxn ang="0">
                      <a:pos x="T0" y="T1"/>
                    </a:cxn>
                    <a:cxn ang="0">
                      <a:pos x="T2" y="T3"/>
                    </a:cxn>
                    <a:cxn ang="0">
                      <a:pos x="T4" y="T5"/>
                    </a:cxn>
                    <a:cxn ang="0">
                      <a:pos x="T6" y="T7"/>
                    </a:cxn>
                    <a:cxn ang="0">
                      <a:pos x="T8" y="T9"/>
                    </a:cxn>
                  </a:cxnLst>
                  <a:rect l="0" t="0" r="r" b="b"/>
                  <a:pathLst>
                    <a:path w="31" h="25">
                      <a:moveTo>
                        <a:pt x="9" y="5"/>
                      </a:moveTo>
                      <a:cubicBezTo>
                        <a:pt x="7" y="9"/>
                        <a:pt x="0" y="18"/>
                        <a:pt x="7" y="20"/>
                      </a:cubicBezTo>
                      <a:cubicBezTo>
                        <a:pt x="12" y="22"/>
                        <a:pt x="22" y="25"/>
                        <a:pt x="26" y="19"/>
                      </a:cubicBezTo>
                      <a:cubicBezTo>
                        <a:pt x="31" y="12"/>
                        <a:pt x="25" y="9"/>
                        <a:pt x="22" y="4"/>
                      </a:cubicBezTo>
                      <a:cubicBezTo>
                        <a:pt x="20" y="1"/>
                        <a:pt x="11" y="0"/>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84"/>
                <p:cNvSpPr>
                  <a:spLocks/>
                </p:cNvSpPr>
                <p:nvPr/>
              </p:nvSpPr>
              <p:spPr bwMode="auto">
                <a:xfrm>
                  <a:off x="3414713" y="3898900"/>
                  <a:ext cx="4763" cy="6350"/>
                </a:xfrm>
                <a:custGeom>
                  <a:avLst/>
                  <a:gdLst>
                    <a:gd name="T0" fmla="*/ 5 w 6"/>
                    <a:gd name="T1" fmla="*/ 7 h 8"/>
                    <a:gd name="T2" fmla="*/ 5 w 6"/>
                    <a:gd name="T3" fmla="*/ 4 h 8"/>
                    <a:gd name="T4" fmla="*/ 2 w 6"/>
                    <a:gd name="T5" fmla="*/ 1 h 8"/>
                    <a:gd name="T6" fmla="*/ 2 w 6"/>
                    <a:gd name="T7" fmla="*/ 6 h 8"/>
                    <a:gd name="T8" fmla="*/ 5 w 6"/>
                    <a:gd name="T9" fmla="*/ 7 h 8"/>
                  </a:gdLst>
                  <a:ahLst/>
                  <a:cxnLst>
                    <a:cxn ang="0">
                      <a:pos x="T0" y="T1"/>
                    </a:cxn>
                    <a:cxn ang="0">
                      <a:pos x="T2" y="T3"/>
                    </a:cxn>
                    <a:cxn ang="0">
                      <a:pos x="T4" y="T5"/>
                    </a:cxn>
                    <a:cxn ang="0">
                      <a:pos x="T6" y="T7"/>
                    </a:cxn>
                    <a:cxn ang="0">
                      <a:pos x="T8" y="T9"/>
                    </a:cxn>
                  </a:cxnLst>
                  <a:rect l="0" t="0" r="r" b="b"/>
                  <a:pathLst>
                    <a:path w="6" h="8">
                      <a:moveTo>
                        <a:pt x="5" y="7"/>
                      </a:moveTo>
                      <a:cubicBezTo>
                        <a:pt x="6" y="7"/>
                        <a:pt x="5" y="5"/>
                        <a:pt x="5" y="4"/>
                      </a:cubicBezTo>
                      <a:cubicBezTo>
                        <a:pt x="5" y="2"/>
                        <a:pt x="3" y="1"/>
                        <a:pt x="2" y="1"/>
                      </a:cubicBezTo>
                      <a:cubicBezTo>
                        <a:pt x="0" y="0"/>
                        <a:pt x="2" y="5"/>
                        <a:pt x="2" y="6"/>
                      </a:cubicBezTo>
                      <a:cubicBezTo>
                        <a:pt x="3" y="7"/>
                        <a:pt x="4" y="8"/>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85"/>
                <p:cNvSpPr>
                  <a:spLocks/>
                </p:cNvSpPr>
                <p:nvPr/>
              </p:nvSpPr>
              <p:spPr bwMode="auto">
                <a:xfrm>
                  <a:off x="2974976" y="3835400"/>
                  <a:ext cx="30163" cy="25400"/>
                </a:xfrm>
                <a:custGeom>
                  <a:avLst/>
                  <a:gdLst>
                    <a:gd name="T0" fmla="*/ 29 w 40"/>
                    <a:gd name="T1" fmla="*/ 13 h 34"/>
                    <a:gd name="T2" fmla="*/ 25 w 40"/>
                    <a:gd name="T3" fmla="*/ 7 h 34"/>
                    <a:gd name="T4" fmla="*/ 22 w 40"/>
                    <a:gd name="T5" fmla="*/ 8 h 34"/>
                    <a:gd name="T6" fmla="*/ 18 w 40"/>
                    <a:gd name="T7" fmla="*/ 8 h 34"/>
                    <a:gd name="T8" fmla="*/ 16 w 40"/>
                    <a:gd name="T9" fmla="*/ 2 h 34"/>
                    <a:gd name="T10" fmla="*/ 13 w 40"/>
                    <a:gd name="T11" fmla="*/ 1 h 34"/>
                    <a:gd name="T12" fmla="*/ 6 w 40"/>
                    <a:gd name="T13" fmla="*/ 2 h 34"/>
                    <a:gd name="T14" fmla="*/ 0 w 40"/>
                    <a:gd name="T15" fmla="*/ 9 h 34"/>
                    <a:gd name="T16" fmla="*/ 5 w 40"/>
                    <a:gd name="T17" fmla="*/ 12 h 34"/>
                    <a:gd name="T18" fmla="*/ 9 w 40"/>
                    <a:gd name="T19" fmla="*/ 19 h 34"/>
                    <a:gd name="T20" fmla="*/ 5 w 40"/>
                    <a:gd name="T21" fmla="*/ 20 h 34"/>
                    <a:gd name="T22" fmla="*/ 1 w 40"/>
                    <a:gd name="T23" fmla="*/ 23 h 34"/>
                    <a:gd name="T24" fmla="*/ 15 w 40"/>
                    <a:gd name="T25" fmla="*/ 28 h 34"/>
                    <a:gd name="T26" fmla="*/ 17 w 40"/>
                    <a:gd name="T27" fmla="*/ 25 h 34"/>
                    <a:gd name="T28" fmla="*/ 21 w 40"/>
                    <a:gd name="T29" fmla="*/ 25 h 34"/>
                    <a:gd name="T30" fmla="*/ 25 w 40"/>
                    <a:gd name="T31" fmla="*/ 26 h 34"/>
                    <a:gd name="T32" fmla="*/ 29 w 40"/>
                    <a:gd name="T33" fmla="*/ 27 h 34"/>
                    <a:gd name="T34" fmla="*/ 34 w 40"/>
                    <a:gd name="T35" fmla="*/ 34 h 34"/>
                    <a:gd name="T36" fmla="*/ 38 w 40"/>
                    <a:gd name="T37" fmla="*/ 27 h 34"/>
                    <a:gd name="T38" fmla="*/ 36 w 40"/>
                    <a:gd name="T39" fmla="*/ 25 h 34"/>
                    <a:gd name="T40" fmla="*/ 35 w 40"/>
                    <a:gd name="T41" fmla="*/ 19 h 34"/>
                    <a:gd name="T42" fmla="*/ 29 w 40"/>
                    <a:gd name="T43"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29" y="13"/>
                      </a:moveTo>
                      <a:cubicBezTo>
                        <a:pt x="26" y="11"/>
                        <a:pt x="29" y="8"/>
                        <a:pt x="25" y="7"/>
                      </a:cubicBezTo>
                      <a:cubicBezTo>
                        <a:pt x="24" y="6"/>
                        <a:pt x="23" y="8"/>
                        <a:pt x="22" y="8"/>
                      </a:cubicBezTo>
                      <a:cubicBezTo>
                        <a:pt x="21" y="10"/>
                        <a:pt x="19" y="9"/>
                        <a:pt x="18" y="8"/>
                      </a:cubicBezTo>
                      <a:cubicBezTo>
                        <a:pt x="18" y="6"/>
                        <a:pt x="18" y="3"/>
                        <a:pt x="16" y="2"/>
                      </a:cubicBezTo>
                      <a:cubicBezTo>
                        <a:pt x="15" y="2"/>
                        <a:pt x="14" y="1"/>
                        <a:pt x="13" y="1"/>
                      </a:cubicBezTo>
                      <a:cubicBezTo>
                        <a:pt x="11" y="0"/>
                        <a:pt x="8" y="1"/>
                        <a:pt x="6" y="2"/>
                      </a:cubicBezTo>
                      <a:cubicBezTo>
                        <a:pt x="2" y="4"/>
                        <a:pt x="1" y="6"/>
                        <a:pt x="0" y="9"/>
                      </a:cubicBezTo>
                      <a:cubicBezTo>
                        <a:pt x="0" y="13"/>
                        <a:pt x="3" y="11"/>
                        <a:pt x="5" y="12"/>
                      </a:cubicBezTo>
                      <a:cubicBezTo>
                        <a:pt x="7" y="13"/>
                        <a:pt x="14" y="17"/>
                        <a:pt x="9" y="19"/>
                      </a:cubicBezTo>
                      <a:cubicBezTo>
                        <a:pt x="8" y="20"/>
                        <a:pt x="6" y="20"/>
                        <a:pt x="5" y="20"/>
                      </a:cubicBezTo>
                      <a:cubicBezTo>
                        <a:pt x="3" y="21"/>
                        <a:pt x="1" y="22"/>
                        <a:pt x="1" y="23"/>
                      </a:cubicBezTo>
                      <a:cubicBezTo>
                        <a:pt x="1" y="26"/>
                        <a:pt x="11" y="31"/>
                        <a:pt x="15" y="28"/>
                      </a:cubicBezTo>
                      <a:cubicBezTo>
                        <a:pt x="16" y="28"/>
                        <a:pt x="16" y="26"/>
                        <a:pt x="17" y="25"/>
                      </a:cubicBezTo>
                      <a:cubicBezTo>
                        <a:pt x="18" y="24"/>
                        <a:pt x="20" y="24"/>
                        <a:pt x="21" y="25"/>
                      </a:cubicBezTo>
                      <a:cubicBezTo>
                        <a:pt x="22" y="26"/>
                        <a:pt x="23" y="26"/>
                        <a:pt x="25" y="26"/>
                      </a:cubicBezTo>
                      <a:cubicBezTo>
                        <a:pt x="27" y="26"/>
                        <a:pt x="29" y="26"/>
                        <a:pt x="29" y="27"/>
                      </a:cubicBezTo>
                      <a:cubicBezTo>
                        <a:pt x="29" y="30"/>
                        <a:pt x="29" y="34"/>
                        <a:pt x="34" y="34"/>
                      </a:cubicBezTo>
                      <a:cubicBezTo>
                        <a:pt x="40" y="34"/>
                        <a:pt x="40" y="30"/>
                        <a:pt x="38" y="27"/>
                      </a:cubicBezTo>
                      <a:cubicBezTo>
                        <a:pt x="37" y="26"/>
                        <a:pt x="37" y="25"/>
                        <a:pt x="36" y="25"/>
                      </a:cubicBezTo>
                      <a:cubicBezTo>
                        <a:pt x="34" y="23"/>
                        <a:pt x="35" y="21"/>
                        <a:pt x="35" y="19"/>
                      </a:cubicBezTo>
                      <a:cubicBezTo>
                        <a:pt x="35" y="16"/>
                        <a:pt x="32" y="15"/>
                        <a:pt x="2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86"/>
                <p:cNvSpPr>
                  <a:spLocks/>
                </p:cNvSpPr>
                <p:nvPr/>
              </p:nvSpPr>
              <p:spPr bwMode="auto">
                <a:xfrm>
                  <a:off x="2897188" y="3881438"/>
                  <a:ext cx="73025" cy="50800"/>
                </a:xfrm>
                <a:custGeom>
                  <a:avLst/>
                  <a:gdLst>
                    <a:gd name="T0" fmla="*/ 40 w 98"/>
                    <a:gd name="T1" fmla="*/ 21 h 66"/>
                    <a:gd name="T2" fmla="*/ 33 w 98"/>
                    <a:gd name="T3" fmla="*/ 21 h 66"/>
                    <a:gd name="T4" fmla="*/ 27 w 98"/>
                    <a:gd name="T5" fmla="*/ 18 h 66"/>
                    <a:gd name="T6" fmla="*/ 21 w 98"/>
                    <a:gd name="T7" fmla="*/ 25 h 66"/>
                    <a:gd name="T8" fmla="*/ 13 w 98"/>
                    <a:gd name="T9" fmla="*/ 33 h 66"/>
                    <a:gd name="T10" fmla="*/ 18 w 98"/>
                    <a:gd name="T11" fmla="*/ 35 h 66"/>
                    <a:gd name="T12" fmla="*/ 12 w 98"/>
                    <a:gd name="T13" fmla="*/ 39 h 66"/>
                    <a:gd name="T14" fmla="*/ 17 w 98"/>
                    <a:gd name="T15" fmla="*/ 41 h 66"/>
                    <a:gd name="T16" fmla="*/ 5 w 98"/>
                    <a:gd name="T17" fmla="*/ 45 h 66"/>
                    <a:gd name="T18" fmla="*/ 7 w 98"/>
                    <a:gd name="T19" fmla="*/ 51 h 66"/>
                    <a:gd name="T20" fmla="*/ 11 w 98"/>
                    <a:gd name="T21" fmla="*/ 51 h 66"/>
                    <a:gd name="T22" fmla="*/ 13 w 98"/>
                    <a:gd name="T23" fmla="*/ 55 h 66"/>
                    <a:gd name="T24" fmla="*/ 22 w 98"/>
                    <a:gd name="T25" fmla="*/ 50 h 66"/>
                    <a:gd name="T26" fmla="*/ 25 w 98"/>
                    <a:gd name="T27" fmla="*/ 48 h 66"/>
                    <a:gd name="T28" fmla="*/ 29 w 98"/>
                    <a:gd name="T29" fmla="*/ 48 h 66"/>
                    <a:gd name="T30" fmla="*/ 34 w 98"/>
                    <a:gd name="T31" fmla="*/ 48 h 66"/>
                    <a:gd name="T32" fmla="*/ 41 w 98"/>
                    <a:gd name="T33" fmla="*/ 47 h 66"/>
                    <a:gd name="T34" fmla="*/ 29 w 98"/>
                    <a:gd name="T35" fmla="*/ 52 h 66"/>
                    <a:gd name="T36" fmla="*/ 21 w 98"/>
                    <a:gd name="T37" fmla="*/ 61 h 66"/>
                    <a:gd name="T38" fmla="*/ 30 w 98"/>
                    <a:gd name="T39" fmla="*/ 66 h 66"/>
                    <a:gd name="T40" fmla="*/ 37 w 98"/>
                    <a:gd name="T41" fmla="*/ 64 h 66"/>
                    <a:gd name="T42" fmla="*/ 43 w 98"/>
                    <a:gd name="T43" fmla="*/ 58 h 66"/>
                    <a:gd name="T44" fmla="*/ 50 w 98"/>
                    <a:gd name="T45" fmla="*/ 53 h 66"/>
                    <a:gd name="T46" fmla="*/ 55 w 98"/>
                    <a:gd name="T47" fmla="*/ 48 h 66"/>
                    <a:gd name="T48" fmla="*/ 66 w 98"/>
                    <a:gd name="T49" fmla="*/ 47 h 66"/>
                    <a:gd name="T50" fmla="*/ 73 w 98"/>
                    <a:gd name="T51" fmla="*/ 44 h 66"/>
                    <a:gd name="T52" fmla="*/ 85 w 98"/>
                    <a:gd name="T53" fmla="*/ 38 h 66"/>
                    <a:gd name="T54" fmla="*/ 86 w 98"/>
                    <a:gd name="T55" fmla="*/ 18 h 66"/>
                    <a:gd name="T56" fmla="*/ 79 w 98"/>
                    <a:gd name="T57" fmla="*/ 23 h 66"/>
                    <a:gd name="T58" fmla="*/ 74 w 98"/>
                    <a:gd name="T59" fmla="*/ 19 h 66"/>
                    <a:gd name="T60" fmla="*/ 72 w 98"/>
                    <a:gd name="T61" fmla="*/ 16 h 66"/>
                    <a:gd name="T62" fmla="*/ 72 w 98"/>
                    <a:gd name="T63" fmla="*/ 11 h 66"/>
                    <a:gd name="T64" fmla="*/ 73 w 98"/>
                    <a:gd name="T65" fmla="*/ 2 h 66"/>
                    <a:gd name="T66" fmla="*/ 68 w 98"/>
                    <a:gd name="T67" fmla="*/ 5 h 66"/>
                    <a:gd name="T68" fmla="*/ 60 w 98"/>
                    <a:gd name="T69" fmla="*/ 11 h 66"/>
                    <a:gd name="T70" fmla="*/ 59 w 98"/>
                    <a:gd name="T71" fmla="*/ 18 h 66"/>
                    <a:gd name="T72" fmla="*/ 63 w 98"/>
                    <a:gd name="T73" fmla="*/ 19 h 66"/>
                    <a:gd name="T74" fmla="*/ 63 w 98"/>
                    <a:gd name="T75" fmla="*/ 24 h 66"/>
                    <a:gd name="T76" fmla="*/ 66 w 98"/>
                    <a:gd name="T77" fmla="*/ 31 h 66"/>
                    <a:gd name="T78" fmla="*/ 55 w 98"/>
                    <a:gd name="T79" fmla="*/ 33 h 66"/>
                    <a:gd name="T80" fmla="*/ 50 w 98"/>
                    <a:gd name="T81" fmla="*/ 32 h 66"/>
                    <a:gd name="T82" fmla="*/ 50 w 98"/>
                    <a:gd name="T83" fmla="*/ 29 h 66"/>
                    <a:gd name="T84" fmla="*/ 47 w 98"/>
                    <a:gd name="T85" fmla="*/ 27 h 66"/>
                    <a:gd name="T86" fmla="*/ 47 w 98"/>
                    <a:gd name="T87" fmla="*/ 22 h 66"/>
                    <a:gd name="T88" fmla="*/ 40 w 98"/>
                    <a:gd name="T89"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66">
                      <a:moveTo>
                        <a:pt x="40" y="21"/>
                      </a:moveTo>
                      <a:cubicBezTo>
                        <a:pt x="38" y="23"/>
                        <a:pt x="33" y="24"/>
                        <a:pt x="33" y="21"/>
                      </a:cubicBezTo>
                      <a:cubicBezTo>
                        <a:pt x="33" y="18"/>
                        <a:pt x="32" y="17"/>
                        <a:pt x="27" y="18"/>
                      </a:cubicBezTo>
                      <a:cubicBezTo>
                        <a:pt x="24" y="18"/>
                        <a:pt x="24" y="23"/>
                        <a:pt x="21" y="25"/>
                      </a:cubicBezTo>
                      <a:cubicBezTo>
                        <a:pt x="17" y="27"/>
                        <a:pt x="13" y="30"/>
                        <a:pt x="13" y="33"/>
                      </a:cubicBezTo>
                      <a:cubicBezTo>
                        <a:pt x="13" y="35"/>
                        <a:pt x="18" y="33"/>
                        <a:pt x="18" y="35"/>
                      </a:cubicBezTo>
                      <a:cubicBezTo>
                        <a:pt x="18" y="36"/>
                        <a:pt x="11" y="37"/>
                        <a:pt x="12" y="39"/>
                      </a:cubicBezTo>
                      <a:cubicBezTo>
                        <a:pt x="12" y="40"/>
                        <a:pt x="23" y="38"/>
                        <a:pt x="17" y="41"/>
                      </a:cubicBezTo>
                      <a:cubicBezTo>
                        <a:pt x="13" y="42"/>
                        <a:pt x="8" y="42"/>
                        <a:pt x="5" y="45"/>
                      </a:cubicBezTo>
                      <a:cubicBezTo>
                        <a:pt x="0" y="49"/>
                        <a:pt x="4" y="51"/>
                        <a:pt x="7" y="51"/>
                      </a:cubicBezTo>
                      <a:cubicBezTo>
                        <a:pt x="9" y="51"/>
                        <a:pt x="11" y="50"/>
                        <a:pt x="11" y="51"/>
                      </a:cubicBezTo>
                      <a:cubicBezTo>
                        <a:pt x="12" y="52"/>
                        <a:pt x="11" y="54"/>
                        <a:pt x="13" y="55"/>
                      </a:cubicBezTo>
                      <a:cubicBezTo>
                        <a:pt x="16" y="56"/>
                        <a:pt x="19" y="53"/>
                        <a:pt x="22" y="50"/>
                      </a:cubicBezTo>
                      <a:cubicBezTo>
                        <a:pt x="22" y="49"/>
                        <a:pt x="23" y="47"/>
                        <a:pt x="25" y="48"/>
                      </a:cubicBezTo>
                      <a:cubicBezTo>
                        <a:pt x="26" y="49"/>
                        <a:pt x="27" y="49"/>
                        <a:pt x="29" y="48"/>
                      </a:cubicBezTo>
                      <a:cubicBezTo>
                        <a:pt x="31" y="47"/>
                        <a:pt x="32" y="48"/>
                        <a:pt x="34" y="48"/>
                      </a:cubicBezTo>
                      <a:cubicBezTo>
                        <a:pt x="36" y="47"/>
                        <a:pt x="42" y="45"/>
                        <a:pt x="41" y="47"/>
                      </a:cubicBezTo>
                      <a:cubicBezTo>
                        <a:pt x="39" y="51"/>
                        <a:pt x="32" y="49"/>
                        <a:pt x="29" y="52"/>
                      </a:cubicBezTo>
                      <a:cubicBezTo>
                        <a:pt x="27" y="56"/>
                        <a:pt x="20" y="56"/>
                        <a:pt x="21" y="61"/>
                      </a:cubicBezTo>
                      <a:cubicBezTo>
                        <a:pt x="22" y="64"/>
                        <a:pt x="26" y="66"/>
                        <a:pt x="30" y="66"/>
                      </a:cubicBezTo>
                      <a:cubicBezTo>
                        <a:pt x="32" y="66"/>
                        <a:pt x="35" y="65"/>
                        <a:pt x="37" y="64"/>
                      </a:cubicBezTo>
                      <a:cubicBezTo>
                        <a:pt x="40" y="62"/>
                        <a:pt x="41" y="60"/>
                        <a:pt x="43" y="58"/>
                      </a:cubicBezTo>
                      <a:cubicBezTo>
                        <a:pt x="45" y="56"/>
                        <a:pt x="48" y="55"/>
                        <a:pt x="50" y="53"/>
                      </a:cubicBezTo>
                      <a:cubicBezTo>
                        <a:pt x="52" y="52"/>
                        <a:pt x="53" y="50"/>
                        <a:pt x="55" y="48"/>
                      </a:cubicBezTo>
                      <a:cubicBezTo>
                        <a:pt x="59" y="46"/>
                        <a:pt x="62" y="46"/>
                        <a:pt x="66" y="47"/>
                      </a:cubicBezTo>
                      <a:cubicBezTo>
                        <a:pt x="69" y="47"/>
                        <a:pt x="68" y="41"/>
                        <a:pt x="73" y="44"/>
                      </a:cubicBezTo>
                      <a:cubicBezTo>
                        <a:pt x="77" y="46"/>
                        <a:pt x="82" y="42"/>
                        <a:pt x="85" y="38"/>
                      </a:cubicBezTo>
                      <a:cubicBezTo>
                        <a:pt x="89" y="33"/>
                        <a:pt x="98" y="16"/>
                        <a:pt x="86" y="18"/>
                      </a:cubicBezTo>
                      <a:cubicBezTo>
                        <a:pt x="82" y="18"/>
                        <a:pt x="82" y="24"/>
                        <a:pt x="79" y="23"/>
                      </a:cubicBezTo>
                      <a:cubicBezTo>
                        <a:pt x="77" y="23"/>
                        <a:pt x="77" y="19"/>
                        <a:pt x="74" y="19"/>
                      </a:cubicBezTo>
                      <a:cubicBezTo>
                        <a:pt x="72" y="19"/>
                        <a:pt x="71" y="18"/>
                        <a:pt x="72" y="16"/>
                      </a:cubicBezTo>
                      <a:cubicBezTo>
                        <a:pt x="73" y="14"/>
                        <a:pt x="72" y="13"/>
                        <a:pt x="72" y="11"/>
                      </a:cubicBezTo>
                      <a:cubicBezTo>
                        <a:pt x="72" y="8"/>
                        <a:pt x="75" y="4"/>
                        <a:pt x="73" y="2"/>
                      </a:cubicBezTo>
                      <a:cubicBezTo>
                        <a:pt x="70" y="0"/>
                        <a:pt x="68" y="4"/>
                        <a:pt x="68" y="5"/>
                      </a:cubicBezTo>
                      <a:cubicBezTo>
                        <a:pt x="66" y="8"/>
                        <a:pt x="64" y="9"/>
                        <a:pt x="60" y="11"/>
                      </a:cubicBezTo>
                      <a:cubicBezTo>
                        <a:pt x="57" y="13"/>
                        <a:pt x="55" y="17"/>
                        <a:pt x="59" y="18"/>
                      </a:cubicBezTo>
                      <a:cubicBezTo>
                        <a:pt x="60" y="18"/>
                        <a:pt x="62" y="18"/>
                        <a:pt x="63" y="19"/>
                      </a:cubicBezTo>
                      <a:cubicBezTo>
                        <a:pt x="64" y="20"/>
                        <a:pt x="63" y="22"/>
                        <a:pt x="63" y="24"/>
                      </a:cubicBezTo>
                      <a:cubicBezTo>
                        <a:pt x="64" y="27"/>
                        <a:pt x="67" y="28"/>
                        <a:pt x="66" y="31"/>
                      </a:cubicBezTo>
                      <a:cubicBezTo>
                        <a:pt x="64" y="36"/>
                        <a:pt x="58" y="33"/>
                        <a:pt x="55" y="33"/>
                      </a:cubicBezTo>
                      <a:cubicBezTo>
                        <a:pt x="54" y="33"/>
                        <a:pt x="51" y="33"/>
                        <a:pt x="50" y="32"/>
                      </a:cubicBezTo>
                      <a:cubicBezTo>
                        <a:pt x="49" y="31"/>
                        <a:pt x="51" y="30"/>
                        <a:pt x="50" y="29"/>
                      </a:cubicBezTo>
                      <a:cubicBezTo>
                        <a:pt x="50" y="27"/>
                        <a:pt x="47" y="28"/>
                        <a:pt x="47" y="27"/>
                      </a:cubicBezTo>
                      <a:cubicBezTo>
                        <a:pt x="47" y="25"/>
                        <a:pt x="48" y="23"/>
                        <a:pt x="47" y="22"/>
                      </a:cubicBezTo>
                      <a:cubicBezTo>
                        <a:pt x="46" y="20"/>
                        <a:pt x="43" y="19"/>
                        <a:pt x="4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87"/>
                <p:cNvSpPr>
                  <a:spLocks/>
                </p:cNvSpPr>
                <p:nvPr/>
              </p:nvSpPr>
              <p:spPr bwMode="auto">
                <a:xfrm>
                  <a:off x="2967038" y="3863975"/>
                  <a:ext cx="9525" cy="14288"/>
                </a:xfrm>
                <a:custGeom>
                  <a:avLst/>
                  <a:gdLst>
                    <a:gd name="T0" fmla="*/ 2 w 13"/>
                    <a:gd name="T1" fmla="*/ 15 h 19"/>
                    <a:gd name="T2" fmla="*/ 12 w 13"/>
                    <a:gd name="T3" fmla="*/ 14 h 19"/>
                    <a:gd name="T4" fmla="*/ 11 w 13"/>
                    <a:gd name="T5" fmla="*/ 10 h 19"/>
                    <a:gd name="T6" fmla="*/ 8 w 13"/>
                    <a:gd name="T7" fmla="*/ 4 h 19"/>
                    <a:gd name="T8" fmla="*/ 2 w 13"/>
                    <a:gd name="T9" fmla="*/ 5 h 19"/>
                    <a:gd name="T10" fmla="*/ 2 w 13"/>
                    <a:gd name="T11" fmla="*/ 8 h 19"/>
                    <a:gd name="T12" fmla="*/ 2 w 13"/>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2" y="15"/>
                      </a:moveTo>
                      <a:cubicBezTo>
                        <a:pt x="3" y="17"/>
                        <a:pt x="10" y="19"/>
                        <a:pt x="12" y="14"/>
                      </a:cubicBezTo>
                      <a:cubicBezTo>
                        <a:pt x="13" y="12"/>
                        <a:pt x="12" y="11"/>
                        <a:pt x="11" y="10"/>
                      </a:cubicBezTo>
                      <a:cubicBezTo>
                        <a:pt x="10" y="8"/>
                        <a:pt x="9" y="6"/>
                        <a:pt x="8" y="4"/>
                      </a:cubicBezTo>
                      <a:cubicBezTo>
                        <a:pt x="7" y="2"/>
                        <a:pt x="2" y="0"/>
                        <a:pt x="2" y="5"/>
                      </a:cubicBezTo>
                      <a:cubicBezTo>
                        <a:pt x="2" y="6"/>
                        <a:pt x="2" y="7"/>
                        <a:pt x="2" y="8"/>
                      </a:cubicBezTo>
                      <a:cubicBezTo>
                        <a:pt x="2" y="10"/>
                        <a:pt x="0" y="13"/>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88"/>
                <p:cNvSpPr>
                  <a:spLocks/>
                </p:cNvSpPr>
                <p:nvPr/>
              </p:nvSpPr>
              <p:spPr bwMode="auto">
                <a:xfrm>
                  <a:off x="3014663" y="3757613"/>
                  <a:ext cx="188913" cy="155575"/>
                </a:xfrm>
                <a:custGeom>
                  <a:avLst/>
                  <a:gdLst>
                    <a:gd name="T0" fmla="*/ 26 w 250"/>
                    <a:gd name="T1" fmla="*/ 95 h 206"/>
                    <a:gd name="T2" fmla="*/ 34 w 250"/>
                    <a:gd name="T3" fmla="*/ 113 h 206"/>
                    <a:gd name="T4" fmla="*/ 53 w 250"/>
                    <a:gd name="T5" fmla="*/ 118 h 206"/>
                    <a:gd name="T6" fmla="*/ 73 w 250"/>
                    <a:gd name="T7" fmla="*/ 103 h 206"/>
                    <a:gd name="T8" fmla="*/ 93 w 250"/>
                    <a:gd name="T9" fmla="*/ 104 h 206"/>
                    <a:gd name="T10" fmla="*/ 80 w 250"/>
                    <a:gd name="T11" fmla="*/ 104 h 206"/>
                    <a:gd name="T12" fmla="*/ 83 w 250"/>
                    <a:gd name="T13" fmla="*/ 121 h 206"/>
                    <a:gd name="T14" fmla="*/ 97 w 250"/>
                    <a:gd name="T15" fmla="*/ 141 h 206"/>
                    <a:gd name="T16" fmla="*/ 62 w 250"/>
                    <a:gd name="T17" fmla="*/ 149 h 206"/>
                    <a:gd name="T18" fmla="*/ 29 w 250"/>
                    <a:gd name="T19" fmla="*/ 160 h 206"/>
                    <a:gd name="T20" fmla="*/ 4 w 250"/>
                    <a:gd name="T21" fmla="*/ 160 h 206"/>
                    <a:gd name="T22" fmla="*/ 33 w 250"/>
                    <a:gd name="T23" fmla="*/ 187 h 206"/>
                    <a:gd name="T24" fmla="*/ 59 w 250"/>
                    <a:gd name="T25" fmla="*/ 201 h 206"/>
                    <a:gd name="T26" fmla="*/ 123 w 250"/>
                    <a:gd name="T27" fmla="*/ 201 h 206"/>
                    <a:gd name="T28" fmla="*/ 115 w 250"/>
                    <a:gd name="T29" fmla="*/ 176 h 206"/>
                    <a:gd name="T30" fmla="*/ 62 w 250"/>
                    <a:gd name="T31" fmla="*/ 183 h 206"/>
                    <a:gd name="T32" fmla="*/ 60 w 250"/>
                    <a:gd name="T33" fmla="*/ 162 h 206"/>
                    <a:gd name="T34" fmla="*/ 98 w 250"/>
                    <a:gd name="T35" fmla="*/ 158 h 206"/>
                    <a:gd name="T36" fmla="*/ 133 w 250"/>
                    <a:gd name="T37" fmla="*/ 162 h 206"/>
                    <a:gd name="T38" fmla="*/ 120 w 250"/>
                    <a:gd name="T39" fmla="*/ 142 h 206"/>
                    <a:gd name="T40" fmla="*/ 140 w 250"/>
                    <a:gd name="T41" fmla="*/ 125 h 206"/>
                    <a:gd name="T42" fmla="*/ 161 w 250"/>
                    <a:gd name="T43" fmla="*/ 114 h 206"/>
                    <a:gd name="T44" fmla="*/ 163 w 250"/>
                    <a:gd name="T45" fmla="*/ 96 h 206"/>
                    <a:gd name="T46" fmla="*/ 178 w 250"/>
                    <a:gd name="T47" fmla="*/ 87 h 206"/>
                    <a:gd name="T48" fmla="*/ 195 w 250"/>
                    <a:gd name="T49" fmla="*/ 74 h 206"/>
                    <a:gd name="T50" fmla="*/ 213 w 250"/>
                    <a:gd name="T51" fmla="*/ 59 h 206"/>
                    <a:gd name="T52" fmla="*/ 209 w 250"/>
                    <a:gd name="T53" fmla="*/ 47 h 206"/>
                    <a:gd name="T54" fmla="*/ 223 w 250"/>
                    <a:gd name="T55" fmla="*/ 42 h 206"/>
                    <a:gd name="T56" fmla="*/ 243 w 250"/>
                    <a:gd name="T57" fmla="*/ 33 h 206"/>
                    <a:gd name="T58" fmla="*/ 233 w 250"/>
                    <a:gd name="T59" fmla="*/ 21 h 206"/>
                    <a:gd name="T60" fmla="*/ 216 w 250"/>
                    <a:gd name="T61" fmla="*/ 10 h 206"/>
                    <a:gd name="T62" fmla="*/ 199 w 250"/>
                    <a:gd name="T63" fmla="*/ 14 h 206"/>
                    <a:gd name="T64" fmla="*/ 175 w 250"/>
                    <a:gd name="T65" fmla="*/ 2 h 206"/>
                    <a:gd name="T66" fmla="*/ 158 w 250"/>
                    <a:gd name="T67" fmla="*/ 6 h 206"/>
                    <a:gd name="T68" fmla="*/ 147 w 250"/>
                    <a:gd name="T69" fmla="*/ 11 h 206"/>
                    <a:gd name="T70" fmla="*/ 134 w 250"/>
                    <a:gd name="T71" fmla="*/ 6 h 206"/>
                    <a:gd name="T72" fmla="*/ 112 w 250"/>
                    <a:gd name="T73" fmla="*/ 10 h 206"/>
                    <a:gd name="T74" fmla="*/ 109 w 250"/>
                    <a:gd name="T75" fmla="*/ 23 h 206"/>
                    <a:gd name="T76" fmla="*/ 95 w 250"/>
                    <a:gd name="T77" fmla="*/ 21 h 206"/>
                    <a:gd name="T78" fmla="*/ 87 w 250"/>
                    <a:gd name="T79" fmla="*/ 29 h 206"/>
                    <a:gd name="T80" fmla="*/ 62 w 250"/>
                    <a:gd name="T81" fmla="*/ 32 h 206"/>
                    <a:gd name="T82" fmla="*/ 57 w 250"/>
                    <a:gd name="T83" fmla="*/ 44 h 206"/>
                    <a:gd name="T84" fmla="*/ 63 w 250"/>
                    <a:gd name="T85" fmla="*/ 50 h 206"/>
                    <a:gd name="T86" fmla="*/ 89 w 250"/>
                    <a:gd name="T87" fmla="*/ 49 h 206"/>
                    <a:gd name="T88" fmla="*/ 78 w 250"/>
                    <a:gd name="T89" fmla="*/ 62 h 206"/>
                    <a:gd name="T90" fmla="*/ 85 w 250"/>
                    <a:gd name="T91" fmla="*/ 66 h 206"/>
                    <a:gd name="T92" fmla="*/ 127 w 250"/>
                    <a:gd name="T93" fmla="*/ 57 h 206"/>
                    <a:gd name="T94" fmla="*/ 131 w 250"/>
                    <a:gd name="T95" fmla="*/ 56 h 206"/>
                    <a:gd name="T96" fmla="*/ 123 w 250"/>
                    <a:gd name="T97" fmla="*/ 66 h 206"/>
                    <a:gd name="T98" fmla="*/ 117 w 250"/>
                    <a:gd name="T99" fmla="*/ 87 h 206"/>
                    <a:gd name="T100" fmla="*/ 84 w 250"/>
                    <a:gd name="T101" fmla="*/ 83 h 206"/>
                    <a:gd name="T102" fmla="*/ 75 w 250"/>
                    <a:gd name="T103" fmla="*/ 75 h 206"/>
                    <a:gd name="T104" fmla="*/ 66 w 250"/>
                    <a:gd name="T105" fmla="*/ 70 h 206"/>
                    <a:gd name="T106" fmla="*/ 46 w 250"/>
                    <a:gd name="T107" fmla="*/ 50 h 206"/>
                    <a:gd name="T108" fmla="*/ 32 w 250"/>
                    <a:gd name="T109" fmla="*/ 58 h 206"/>
                    <a:gd name="T110" fmla="*/ 24 w 250"/>
                    <a:gd name="T111"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 h="206">
                      <a:moveTo>
                        <a:pt x="20" y="89"/>
                      </a:moveTo>
                      <a:cubicBezTo>
                        <a:pt x="22" y="90"/>
                        <a:pt x="25" y="88"/>
                        <a:pt x="27" y="88"/>
                      </a:cubicBezTo>
                      <a:cubicBezTo>
                        <a:pt x="28" y="89"/>
                        <a:pt x="26" y="90"/>
                        <a:pt x="25" y="91"/>
                      </a:cubicBezTo>
                      <a:cubicBezTo>
                        <a:pt x="23" y="92"/>
                        <a:pt x="20" y="92"/>
                        <a:pt x="19" y="93"/>
                      </a:cubicBezTo>
                      <a:cubicBezTo>
                        <a:pt x="18" y="94"/>
                        <a:pt x="19" y="94"/>
                        <a:pt x="20" y="95"/>
                      </a:cubicBezTo>
                      <a:cubicBezTo>
                        <a:pt x="22" y="95"/>
                        <a:pt x="24" y="95"/>
                        <a:pt x="26" y="95"/>
                      </a:cubicBezTo>
                      <a:cubicBezTo>
                        <a:pt x="32" y="93"/>
                        <a:pt x="35" y="91"/>
                        <a:pt x="40" y="93"/>
                      </a:cubicBezTo>
                      <a:cubicBezTo>
                        <a:pt x="43" y="94"/>
                        <a:pt x="47" y="97"/>
                        <a:pt x="40" y="98"/>
                      </a:cubicBezTo>
                      <a:cubicBezTo>
                        <a:pt x="36" y="98"/>
                        <a:pt x="34" y="99"/>
                        <a:pt x="31" y="101"/>
                      </a:cubicBezTo>
                      <a:cubicBezTo>
                        <a:pt x="29" y="103"/>
                        <a:pt x="26" y="105"/>
                        <a:pt x="30" y="106"/>
                      </a:cubicBezTo>
                      <a:cubicBezTo>
                        <a:pt x="33" y="108"/>
                        <a:pt x="26" y="111"/>
                        <a:pt x="29" y="113"/>
                      </a:cubicBezTo>
                      <a:cubicBezTo>
                        <a:pt x="30" y="113"/>
                        <a:pt x="32" y="113"/>
                        <a:pt x="34" y="113"/>
                      </a:cubicBezTo>
                      <a:cubicBezTo>
                        <a:pt x="35" y="114"/>
                        <a:pt x="35" y="114"/>
                        <a:pt x="36" y="114"/>
                      </a:cubicBezTo>
                      <a:cubicBezTo>
                        <a:pt x="38" y="114"/>
                        <a:pt x="38" y="113"/>
                        <a:pt x="39" y="113"/>
                      </a:cubicBezTo>
                      <a:cubicBezTo>
                        <a:pt x="40" y="116"/>
                        <a:pt x="33" y="117"/>
                        <a:pt x="32" y="119"/>
                      </a:cubicBezTo>
                      <a:cubicBezTo>
                        <a:pt x="31" y="123"/>
                        <a:pt x="42" y="123"/>
                        <a:pt x="46" y="123"/>
                      </a:cubicBezTo>
                      <a:cubicBezTo>
                        <a:pt x="49" y="123"/>
                        <a:pt x="50" y="122"/>
                        <a:pt x="51" y="120"/>
                      </a:cubicBezTo>
                      <a:cubicBezTo>
                        <a:pt x="51" y="119"/>
                        <a:pt x="52" y="116"/>
                        <a:pt x="53" y="118"/>
                      </a:cubicBezTo>
                      <a:cubicBezTo>
                        <a:pt x="54" y="119"/>
                        <a:pt x="56" y="121"/>
                        <a:pt x="59" y="120"/>
                      </a:cubicBezTo>
                      <a:cubicBezTo>
                        <a:pt x="60" y="119"/>
                        <a:pt x="58" y="117"/>
                        <a:pt x="59" y="116"/>
                      </a:cubicBezTo>
                      <a:cubicBezTo>
                        <a:pt x="62" y="116"/>
                        <a:pt x="61" y="120"/>
                        <a:pt x="64" y="119"/>
                      </a:cubicBezTo>
                      <a:cubicBezTo>
                        <a:pt x="66" y="119"/>
                        <a:pt x="68" y="117"/>
                        <a:pt x="69" y="116"/>
                      </a:cubicBezTo>
                      <a:cubicBezTo>
                        <a:pt x="71" y="115"/>
                        <a:pt x="71" y="112"/>
                        <a:pt x="70" y="111"/>
                      </a:cubicBezTo>
                      <a:cubicBezTo>
                        <a:pt x="70" y="110"/>
                        <a:pt x="70" y="102"/>
                        <a:pt x="73" y="103"/>
                      </a:cubicBezTo>
                      <a:cubicBezTo>
                        <a:pt x="75" y="104"/>
                        <a:pt x="74" y="106"/>
                        <a:pt x="76" y="107"/>
                      </a:cubicBezTo>
                      <a:cubicBezTo>
                        <a:pt x="77" y="105"/>
                        <a:pt x="77" y="103"/>
                        <a:pt x="81" y="101"/>
                      </a:cubicBezTo>
                      <a:cubicBezTo>
                        <a:pt x="83" y="101"/>
                        <a:pt x="86" y="102"/>
                        <a:pt x="87" y="101"/>
                      </a:cubicBezTo>
                      <a:cubicBezTo>
                        <a:pt x="88" y="100"/>
                        <a:pt x="89" y="99"/>
                        <a:pt x="91" y="99"/>
                      </a:cubicBezTo>
                      <a:cubicBezTo>
                        <a:pt x="91" y="101"/>
                        <a:pt x="91" y="102"/>
                        <a:pt x="90" y="104"/>
                      </a:cubicBezTo>
                      <a:cubicBezTo>
                        <a:pt x="89" y="105"/>
                        <a:pt x="93" y="104"/>
                        <a:pt x="93" y="104"/>
                      </a:cubicBezTo>
                      <a:cubicBezTo>
                        <a:pt x="97" y="104"/>
                        <a:pt x="102" y="103"/>
                        <a:pt x="105" y="104"/>
                      </a:cubicBezTo>
                      <a:cubicBezTo>
                        <a:pt x="108" y="105"/>
                        <a:pt x="109" y="107"/>
                        <a:pt x="106" y="108"/>
                      </a:cubicBezTo>
                      <a:cubicBezTo>
                        <a:pt x="103" y="108"/>
                        <a:pt x="99" y="108"/>
                        <a:pt x="96" y="107"/>
                      </a:cubicBezTo>
                      <a:cubicBezTo>
                        <a:pt x="94" y="107"/>
                        <a:pt x="91" y="107"/>
                        <a:pt x="88" y="106"/>
                      </a:cubicBezTo>
                      <a:cubicBezTo>
                        <a:pt x="87" y="106"/>
                        <a:pt x="86" y="105"/>
                        <a:pt x="85" y="104"/>
                      </a:cubicBezTo>
                      <a:cubicBezTo>
                        <a:pt x="84" y="103"/>
                        <a:pt x="81" y="103"/>
                        <a:pt x="80" y="104"/>
                      </a:cubicBezTo>
                      <a:cubicBezTo>
                        <a:pt x="78" y="106"/>
                        <a:pt x="81" y="107"/>
                        <a:pt x="79" y="109"/>
                      </a:cubicBezTo>
                      <a:cubicBezTo>
                        <a:pt x="77" y="109"/>
                        <a:pt x="73" y="109"/>
                        <a:pt x="73" y="110"/>
                      </a:cubicBezTo>
                      <a:cubicBezTo>
                        <a:pt x="72" y="111"/>
                        <a:pt x="74" y="113"/>
                        <a:pt x="73" y="114"/>
                      </a:cubicBezTo>
                      <a:cubicBezTo>
                        <a:pt x="73" y="116"/>
                        <a:pt x="72" y="117"/>
                        <a:pt x="73" y="119"/>
                      </a:cubicBezTo>
                      <a:cubicBezTo>
                        <a:pt x="74" y="121"/>
                        <a:pt x="76" y="122"/>
                        <a:pt x="79" y="122"/>
                      </a:cubicBezTo>
                      <a:cubicBezTo>
                        <a:pt x="80" y="122"/>
                        <a:pt x="82" y="120"/>
                        <a:pt x="83" y="121"/>
                      </a:cubicBezTo>
                      <a:cubicBezTo>
                        <a:pt x="84" y="121"/>
                        <a:pt x="86" y="122"/>
                        <a:pt x="87" y="121"/>
                      </a:cubicBezTo>
                      <a:cubicBezTo>
                        <a:pt x="91" y="121"/>
                        <a:pt x="94" y="120"/>
                        <a:pt x="93" y="123"/>
                      </a:cubicBezTo>
                      <a:cubicBezTo>
                        <a:pt x="92" y="126"/>
                        <a:pt x="86" y="128"/>
                        <a:pt x="89" y="131"/>
                      </a:cubicBezTo>
                      <a:cubicBezTo>
                        <a:pt x="91" y="132"/>
                        <a:pt x="91" y="133"/>
                        <a:pt x="93" y="134"/>
                      </a:cubicBezTo>
                      <a:cubicBezTo>
                        <a:pt x="94" y="136"/>
                        <a:pt x="96" y="136"/>
                        <a:pt x="100" y="136"/>
                      </a:cubicBezTo>
                      <a:cubicBezTo>
                        <a:pt x="104" y="137"/>
                        <a:pt x="98" y="140"/>
                        <a:pt x="97" y="141"/>
                      </a:cubicBezTo>
                      <a:cubicBezTo>
                        <a:pt x="92" y="143"/>
                        <a:pt x="87" y="140"/>
                        <a:pt x="86" y="137"/>
                      </a:cubicBezTo>
                      <a:cubicBezTo>
                        <a:pt x="84" y="135"/>
                        <a:pt x="83" y="132"/>
                        <a:pt x="80" y="130"/>
                      </a:cubicBezTo>
                      <a:cubicBezTo>
                        <a:pt x="75" y="128"/>
                        <a:pt x="70" y="130"/>
                        <a:pt x="66" y="132"/>
                      </a:cubicBezTo>
                      <a:cubicBezTo>
                        <a:pt x="62" y="135"/>
                        <a:pt x="66" y="137"/>
                        <a:pt x="68" y="139"/>
                      </a:cubicBezTo>
                      <a:cubicBezTo>
                        <a:pt x="71" y="142"/>
                        <a:pt x="69" y="144"/>
                        <a:pt x="65" y="146"/>
                      </a:cubicBezTo>
                      <a:cubicBezTo>
                        <a:pt x="63" y="147"/>
                        <a:pt x="63" y="148"/>
                        <a:pt x="62" y="149"/>
                      </a:cubicBezTo>
                      <a:cubicBezTo>
                        <a:pt x="61" y="151"/>
                        <a:pt x="58" y="151"/>
                        <a:pt x="57" y="152"/>
                      </a:cubicBezTo>
                      <a:cubicBezTo>
                        <a:pt x="55" y="154"/>
                        <a:pt x="56" y="155"/>
                        <a:pt x="55" y="157"/>
                      </a:cubicBezTo>
                      <a:cubicBezTo>
                        <a:pt x="53" y="158"/>
                        <a:pt x="52" y="159"/>
                        <a:pt x="49" y="158"/>
                      </a:cubicBezTo>
                      <a:cubicBezTo>
                        <a:pt x="48" y="157"/>
                        <a:pt x="47" y="156"/>
                        <a:pt x="45" y="156"/>
                      </a:cubicBezTo>
                      <a:cubicBezTo>
                        <a:pt x="42" y="155"/>
                        <a:pt x="40" y="157"/>
                        <a:pt x="37" y="158"/>
                      </a:cubicBezTo>
                      <a:cubicBezTo>
                        <a:pt x="35" y="159"/>
                        <a:pt x="32" y="159"/>
                        <a:pt x="29" y="160"/>
                      </a:cubicBezTo>
                      <a:cubicBezTo>
                        <a:pt x="28" y="160"/>
                        <a:pt x="24" y="161"/>
                        <a:pt x="25" y="159"/>
                      </a:cubicBezTo>
                      <a:cubicBezTo>
                        <a:pt x="25" y="156"/>
                        <a:pt x="26" y="154"/>
                        <a:pt x="21" y="152"/>
                      </a:cubicBezTo>
                      <a:cubicBezTo>
                        <a:pt x="20" y="151"/>
                        <a:pt x="18" y="152"/>
                        <a:pt x="16" y="152"/>
                      </a:cubicBezTo>
                      <a:cubicBezTo>
                        <a:pt x="12" y="153"/>
                        <a:pt x="11" y="152"/>
                        <a:pt x="8" y="152"/>
                      </a:cubicBezTo>
                      <a:cubicBezTo>
                        <a:pt x="3" y="152"/>
                        <a:pt x="0" y="154"/>
                        <a:pt x="1" y="157"/>
                      </a:cubicBezTo>
                      <a:cubicBezTo>
                        <a:pt x="2" y="159"/>
                        <a:pt x="4" y="159"/>
                        <a:pt x="4" y="160"/>
                      </a:cubicBezTo>
                      <a:cubicBezTo>
                        <a:pt x="5" y="162"/>
                        <a:pt x="5" y="165"/>
                        <a:pt x="8" y="166"/>
                      </a:cubicBezTo>
                      <a:cubicBezTo>
                        <a:pt x="10" y="167"/>
                        <a:pt x="11" y="167"/>
                        <a:pt x="13" y="169"/>
                      </a:cubicBezTo>
                      <a:cubicBezTo>
                        <a:pt x="14" y="170"/>
                        <a:pt x="16" y="171"/>
                        <a:pt x="19" y="170"/>
                      </a:cubicBezTo>
                      <a:cubicBezTo>
                        <a:pt x="22" y="169"/>
                        <a:pt x="27" y="165"/>
                        <a:pt x="29" y="168"/>
                      </a:cubicBezTo>
                      <a:cubicBezTo>
                        <a:pt x="30" y="170"/>
                        <a:pt x="30" y="173"/>
                        <a:pt x="33" y="175"/>
                      </a:cubicBezTo>
                      <a:cubicBezTo>
                        <a:pt x="37" y="178"/>
                        <a:pt x="34" y="182"/>
                        <a:pt x="33" y="187"/>
                      </a:cubicBezTo>
                      <a:cubicBezTo>
                        <a:pt x="32" y="191"/>
                        <a:pt x="33" y="195"/>
                        <a:pt x="34" y="198"/>
                      </a:cubicBezTo>
                      <a:cubicBezTo>
                        <a:pt x="35" y="200"/>
                        <a:pt x="36" y="201"/>
                        <a:pt x="37" y="203"/>
                      </a:cubicBezTo>
                      <a:cubicBezTo>
                        <a:pt x="38" y="205"/>
                        <a:pt x="40" y="203"/>
                        <a:pt x="42" y="204"/>
                      </a:cubicBezTo>
                      <a:cubicBezTo>
                        <a:pt x="44" y="204"/>
                        <a:pt x="45" y="206"/>
                        <a:pt x="47" y="204"/>
                      </a:cubicBezTo>
                      <a:cubicBezTo>
                        <a:pt x="49" y="202"/>
                        <a:pt x="50" y="201"/>
                        <a:pt x="53" y="200"/>
                      </a:cubicBezTo>
                      <a:cubicBezTo>
                        <a:pt x="55" y="200"/>
                        <a:pt x="57" y="199"/>
                        <a:pt x="59" y="201"/>
                      </a:cubicBezTo>
                      <a:cubicBezTo>
                        <a:pt x="61" y="203"/>
                        <a:pt x="57" y="204"/>
                        <a:pt x="62" y="205"/>
                      </a:cubicBezTo>
                      <a:cubicBezTo>
                        <a:pt x="68" y="206"/>
                        <a:pt x="74" y="205"/>
                        <a:pt x="81" y="205"/>
                      </a:cubicBezTo>
                      <a:cubicBezTo>
                        <a:pt x="86" y="205"/>
                        <a:pt x="90" y="204"/>
                        <a:pt x="95" y="204"/>
                      </a:cubicBezTo>
                      <a:cubicBezTo>
                        <a:pt x="98" y="204"/>
                        <a:pt x="104" y="203"/>
                        <a:pt x="104" y="201"/>
                      </a:cubicBezTo>
                      <a:cubicBezTo>
                        <a:pt x="104" y="196"/>
                        <a:pt x="105" y="199"/>
                        <a:pt x="107" y="201"/>
                      </a:cubicBezTo>
                      <a:cubicBezTo>
                        <a:pt x="111" y="205"/>
                        <a:pt x="118" y="202"/>
                        <a:pt x="123" y="201"/>
                      </a:cubicBezTo>
                      <a:cubicBezTo>
                        <a:pt x="127" y="200"/>
                        <a:pt x="134" y="199"/>
                        <a:pt x="135" y="195"/>
                      </a:cubicBezTo>
                      <a:cubicBezTo>
                        <a:pt x="135" y="194"/>
                        <a:pt x="133" y="192"/>
                        <a:pt x="132" y="191"/>
                      </a:cubicBezTo>
                      <a:cubicBezTo>
                        <a:pt x="131" y="190"/>
                        <a:pt x="128" y="191"/>
                        <a:pt x="128" y="189"/>
                      </a:cubicBezTo>
                      <a:cubicBezTo>
                        <a:pt x="128" y="188"/>
                        <a:pt x="130" y="187"/>
                        <a:pt x="131" y="185"/>
                      </a:cubicBezTo>
                      <a:cubicBezTo>
                        <a:pt x="132" y="183"/>
                        <a:pt x="130" y="181"/>
                        <a:pt x="128" y="178"/>
                      </a:cubicBezTo>
                      <a:cubicBezTo>
                        <a:pt x="126" y="176"/>
                        <a:pt x="120" y="176"/>
                        <a:pt x="115" y="176"/>
                      </a:cubicBezTo>
                      <a:cubicBezTo>
                        <a:pt x="110" y="175"/>
                        <a:pt x="105" y="173"/>
                        <a:pt x="100" y="174"/>
                      </a:cubicBezTo>
                      <a:cubicBezTo>
                        <a:pt x="94" y="176"/>
                        <a:pt x="90" y="180"/>
                        <a:pt x="86" y="182"/>
                      </a:cubicBezTo>
                      <a:cubicBezTo>
                        <a:pt x="84" y="183"/>
                        <a:pt x="82" y="184"/>
                        <a:pt x="79" y="184"/>
                      </a:cubicBezTo>
                      <a:cubicBezTo>
                        <a:pt x="76" y="185"/>
                        <a:pt x="76" y="184"/>
                        <a:pt x="74" y="182"/>
                      </a:cubicBezTo>
                      <a:cubicBezTo>
                        <a:pt x="73" y="182"/>
                        <a:pt x="70" y="180"/>
                        <a:pt x="68" y="181"/>
                      </a:cubicBezTo>
                      <a:cubicBezTo>
                        <a:pt x="66" y="181"/>
                        <a:pt x="64" y="183"/>
                        <a:pt x="62" y="183"/>
                      </a:cubicBezTo>
                      <a:cubicBezTo>
                        <a:pt x="60" y="183"/>
                        <a:pt x="59" y="182"/>
                        <a:pt x="57" y="182"/>
                      </a:cubicBezTo>
                      <a:cubicBezTo>
                        <a:pt x="54" y="182"/>
                        <a:pt x="53" y="182"/>
                        <a:pt x="55" y="180"/>
                      </a:cubicBezTo>
                      <a:cubicBezTo>
                        <a:pt x="58" y="178"/>
                        <a:pt x="50" y="176"/>
                        <a:pt x="48" y="175"/>
                      </a:cubicBezTo>
                      <a:cubicBezTo>
                        <a:pt x="44" y="174"/>
                        <a:pt x="42" y="173"/>
                        <a:pt x="45" y="170"/>
                      </a:cubicBezTo>
                      <a:cubicBezTo>
                        <a:pt x="49" y="166"/>
                        <a:pt x="51" y="170"/>
                        <a:pt x="54" y="169"/>
                      </a:cubicBezTo>
                      <a:cubicBezTo>
                        <a:pt x="57" y="168"/>
                        <a:pt x="57" y="163"/>
                        <a:pt x="60" y="162"/>
                      </a:cubicBezTo>
                      <a:cubicBezTo>
                        <a:pt x="65" y="159"/>
                        <a:pt x="65" y="164"/>
                        <a:pt x="70" y="163"/>
                      </a:cubicBezTo>
                      <a:cubicBezTo>
                        <a:pt x="73" y="163"/>
                        <a:pt x="74" y="161"/>
                        <a:pt x="77" y="161"/>
                      </a:cubicBezTo>
                      <a:cubicBezTo>
                        <a:pt x="79" y="162"/>
                        <a:pt x="81" y="163"/>
                        <a:pt x="83" y="164"/>
                      </a:cubicBezTo>
                      <a:cubicBezTo>
                        <a:pt x="86" y="165"/>
                        <a:pt x="91" y="166"/>
                        <a:pt x="92" y="163"/>
                      </a:cubicBezTo>
                      <a:cubicBezTo>
                        <a:pt x="93" y="161"/>
                        <a:pt x="93" y="160"/>
                        <a:pt x="94" y="158"/>
                      </a:cubicBezTo>
                      <a:cubicBezTo>
                        <a:pt x="95" y="158"/>
                        <a:pt x="97" y="156"/>
                        <a:pt x="98" y="158"/>
                      </a:cubicBezTo>
                      <a:cubicBezTo>
                        <a:pt x="97" y="161"/>
                        <a:pt x="103" y="164"/>
                        <a:pt x="103" y="160"/>
                      </a:cubicBezTo>
                      <a:cubicBezTo>
                        <a:pt x="104" y="156"/>
                        <a:pt x="109" y="161"/>
                        <a:pt x="111" y="159"/>
                      </a:cubicBezTo>
                      <a:cubicBezTo>
                        <a:pt x="113" y="157"/>
                        <a:pt x="114" y="158"/>
                        <a:pt x="115" y="159"/>
                      </a:cubicBezTo>
                      <a:cubicBezTo>
                        <a:pt x="117" y="161"/>
                        <a:pt x="119" y="161"/>
                        <a:pt x="122" y="161"/>
                      </a:cubicBezTo>
                      <a:cubicBezTo>
                        <a:pt x="126" y="162"/>
                        <a:pt x="120" y="166"/>
                        <a:pt x="123" y="167"/>
                      </a:cubicBezTo>
                      <a:cubicBezTo>
                        <a:pt x="126" y="168"/>
                        <a:pt x="132" y="163"/>
                        <a:pt x="133" y="162"/>
                      </a:cubicBezTo>
                      <a:cubicBezTo>
                        <a:pt x="136" y="158"/>
                        <a:pt x="144" y="159"/>
                        <a:pt x="147" y="156"/>
                      </a:cubicBezTo>
                      <a:cubicBezTo>
                        <a:pt x="150" y="154"/>
                        <a:pt x="149" y="149"/>
                        <a:pt x="145" y="147"/>
                      </a:cubicBezTo>
                      <a:cubicBezTo>
                        <a:pt x="143" y="147"/>
                        <a:pt x="141" y="147"/>
                        <a:pt x="140" y="148"/>
                      </a:cubicBezTo>
                      <a:cubicBezTo>
                        <a:pt x="140" y="149"/>
                        <a:pt x="140" y="153"/>
                        <a:pt x="138" y="152"/>
                      </a:cubicBezTo>
                      <a:cubicBezTo>
                        <a:pt x="135" y="150"/>
                        <a:pt x="138" y="146"/>
                        <a:pt x="135" y="144"/>
                      </a:cubicBezTo>
                      <a:cubicBezTo>
                        <a:pt x="132" y="142"/>
                        <a:pt x="125" y="141"/>
                        <a:pt x="120" y="142"/>
                      </a:cubicBezTo>
                      <a:cubicBezTo>
                        <a:pt x="119" y="143"/>
                        <a:pt x="116" y="144"/>
                        <a:pt x="116" y="142"/>
                      </a:cubicBezTo>
                      <a:cubicBezTo>
                        <a:pt x="116" y="141"/>
                        <a:pt x="117" y="140"/>
                        <a:pt x="119" y="140"/>
                      </a:cubicBezTo>
                      <a:cubicBezTo>
                        <a:pt x="123" y="140"/>
                        <a:pt x="125" y="142"/>
                        <a:pt x="129" y="141"/>
                      </a:cubicBezTo>
                      <a:cubicBezTo>
                        <a:pt x="135" y="141"/>
                        <a:pt x="140" y="142"/>
                        <a:pt x="142" y="138"/>
                      </a:cubicBezTo>
                      <a:cubicBezTo>
                        <a:pt x="144" y="135"/>
                        <a:pt x="145" y="132"/>
                        <a:pt x="142" y="130"/>
                      </a:cubicBezTo>
                      <a:cubicBezTo>
                        <a:pt x="140" y="128"/>
                        <a:pt x="139" y="127"/>
                        <a:pt x="140" y="125"/>
                      </a:cubicBezTo>
                      <a:cubicBezTo>
                        <a:pt x="142" y="124"/>
                        <a:pt x="144" y="124"/>
                        <a:pt x="146" y="124"/>
                      </a:cubicBezTo>
                      <a:cubicBezTo>
                        <a:pt x="148" y="125"/>
                        <a:pt x="151" y="126"/>
                        <a:pt x="153" y="126"/>
                      </a:cubicBezTo>
                      <a:cubicBezTo>
                        <a:pt x="156" y="125"/>
                        <a:pt x="159" y="124"/>
                        <a:pt x="161" y="123"/>
                      </a:cubicBezTo>
                      <a:cubicBezTo>
                        <a:pt x="163" y="122"/>
                        <a:pt x="162" y="121"/>
                        <a:pt x="162" y="120"/>
                      </a:cubicBezTo>
                      <a:cubicBezTo>
                        <a:pt x="163" y="119"/>
                        <a:pt x="164" y="119"/>
                        <a:pt x="165" y="118"/>
                      </a:cubicBezTo>
                      <a:cubicBezTo>
                        <a:pt x="168" y="116"/>
                        <a:pt x="160" y="115"/>
                        <a:pt x="161" y="114"/>
                      </a:cubicBezTo>
                      <a:cubicBezTo>
                        <a:pt x="165" y="114"/>
                        <a:pt x="165" y="109"/>
                        <a:pt x="165" y="107"/>
                      </a:cubicBezTo>
                      <a:cubicBezTo>
                        <a:pt x="165" y="106"/>
                        <a:pt x="164" y="105"/>
                        <a:pt x="162" y="104"/>
                      </a:cubicBezTo>
                      <a:cubicBezTo>
                        <a:pt x="160" y="103"/>
                        <a:pt x="160" y="102"/>
                        <a:pt x="158" y="102"/>
                      </a:cubicBezTo>
                      <a:cubicBezTo>
                        <a:pt x="156" y="101"/>
                        <a:pt x="154" y="99"/>
                        <a:pt x="157" y="99"/>
                      </a:cubicBezTo>
                      <a:cubicBezTo>
                        <a:pt x="159" y="100"/>
                        <a:pt x="161" y="101"/>
                        <a:pt x="163" y="101"/>
                      </a:cubicBezTo>
                      <a:cubicBezTo>
                        <a:pt x="168" y="101"/>
                        <a:pt x="168" y="96"/>
                        <a:pt x="163" y="96"/>
                      </a:cubicBezTo>
                      <a:cubicBezTo>
                        <a:pt x="158" y="96"/>
                        <a:pt x="155" y="97"/>
                        <a:pt x="151" y="97"/>
                      </a:cubicBezTo>
                      <a:cubicBezTo>
                        <a:pt x="149" y="96"/>
                        <a:pt x="148" y="95"/>
                        <a:pt x="149" y="95"/>
                      </a:cubicBezTo>
                      <a:cubicBezTo>
                        <a:pt x="151" y="93"/>
                        <a:pt x="153" y="94"/>
                        <a:pt x="156" y="94"/>
                      </a:cubicBezTo>
                      <a:cubicBezTo>
                        <a:pt x="161" y="94"/>
                        <a:pt x="158" y="90"/>
                        <a:pt x="164" y="92"/>
                      </a:cubicBezTo>
                      <a:cubicBezTo>
                        <a:pt x="169" y="93"/>
                        <a:pt x="170" y="88"/>
                        <a:pt x="174" y="88"/>
                      </a:cubicBezTo>
                      <a:cubicBezTo>
                        <a:pt x="176" y="88"/>
                        <a:pt x="177" y="88"/>
                        <a:pt x="178" y="87"/>
                      </a:cubicBezTo>
                      <a:cubicBezTo>
                        <a:pt x="180" y="86"/>
                        <a:pt x="182" y="87"/>
                        <a:pt x="184" y="87"/>
                      </a:cubicBezTo>
                      <a:cubicBezTo>
                        <a:pt x="186" y="87"/>
                        <a:pt x="185" y="84"/>
                        <a:pt x="186" y="84"/>
                      </a:cubicBezTo>
                      <a:cubicBezTo>
                        <a:pt x="186" y="82"/>
                        <a:pt x="186" y="82"/>
                        <a:pt x="188" y="81"/>
                      </a:cubicBezTo>
                      <a:cubicBezTo>
                        <a:pt x="189" y="81"/>
                        <a:pt x="190" y="80"/>
                        <a:pt x="192" y="80"/>
                      </a:cubicBezTo>
                      <a:cubicBezTo>
                        <a:pt x="193" y="79"/>
                        <a:pt x="192" y="78"/>
                        <a:pt x="193" y="77"/>
                      </a:cubicBezTo>
                      <a:cubicBezTo>
                        <a:pt x="194" y="76"/>
                        <a:pt x="197" y="76"/>
                        <a:pt x="195" y="74"/>
                      </a:cubicBezTo>
                      <a:cubicBezTo>
                        <a:pt x="193" y="73"/>
                        <a:pt x="191" y="72"/>
                        <a:pt x="191" y="71"/>
                      </a:cubicBezTo>
                      <a:cubicBezTo>
                        <a:pt x="191" y="70"/>
                        <a:pt x="193" y="69"/>
                        <a:pt x="194" y="69"/>
                      </a:cubicBezTo>
                      <a:cubicBezTo>
                        <a:pt x="195" y="70"/>
                        <a:pt x="196" y="71"/>
                        <a:pt x="197" y="71"/>
                      </a:cubicBezTo>
                      <a:cubicBezTo>
                        <a:pt x="199" y="71"/>
                        <a:pt x="198" y="69"/>
                        <a:pt x="198" y="68"/>
                      </a:cubicBezTo>
                      <a:cubicBezTo>
                        <a:pt x="199" y="67"/>
                        <a:pt x="200" y="65"/>
                        <a:pt x="202" y="64"/>
                      </a:cubicBezTo>
                      <a:cubicBezTo>
                        <a:pt x="204" y="62"/>
                        <a:pt x="210" y="61"/>
                        <a:pt x="213" y="59"/>
                      </a:cubicBezTo>
                      <a:cubicBezTo>
                        <a:pt x="216" y="56"/>
                        <a:pt x="219" y="54"/>
                        <a:pt x="223" y="51"/>
                      </a:cubicBezTo>
                      <a:cubicBezTo>
                        <a:pt x="226" y="50"/>
                        <a:pt x="228" y="49"/>
                        <a:pt x="230" y="47"/>
                      </a:cubicBezTo>
                      <a:cubicBezTo>
                        <a:pt x="231" y="45"/>
                        <a:pt x="230" y="45"/>
                        <a:pt x="227" y="44"/>
                      </a:cubicBezTo>
                      <a:cubicBezTo>
                        <a:pt x="224" y="44"/>
                        <a:pt x="222" y="46"/>
                        <a:pt x="220" y="47"/>
                      </a:cubicBezTo>
                      <a:cubicBezTo>
                        <a:pt x="217" y="48"/>
                        <a:pt x="213" y="49"/>
                        <a:pt x="209" y="49"/>
                      </a:cubicBezTo>
                      <a:cubicBezTo>
                        <a:pt x="209" y="48"/>
                        <a:pt x="209" y="48"/>
                        <a:pt x="209" y="47"/>
                      </a:cubicBezTo>
                      <a:cubicBezTo>
                        <a:pt x="209" y="46"/>
                        <a:pt x="210" y="46"/>
                        <a:pt x="210" y="45"/>
                      </a:cubicBezTo>
                      <a:cubicBezTo>
                        <a:pt x="210" y="44"/>
                        <a:pt x="208" y="44"/>
                        <a:pt x="206" y="44"/>
                      </a:cubicBezTo>
                      <a:cubicBezTo>
                        <a:pt x="205" y="44"/>
                        <a:pt x="203" y="43"/>
                        <a:pt x="202" y="43"/>
                      </a:cubicBezTo>
                      <a:cubicBezTo>
                        <a:pt x="202" y="42"/>
                        <a:pt x="208" y="42"/>
                        <a:pt x="208" y="42"/>
                      </a:cubicBezTo>
                      <a:cubicBezTo>
                        <a:pt x="211" y="42"/>
                        <a:pt x="214" y="42"/>
                        <a:pt x="217" y="42"/>
                      </a:cubicBezTo>
                      <a:cubicBezTo>
                        <a:pt x="219" y="42"/>
                        <a:pt x="222" y="43"/>
                        <a:pt x="223" y="42"/>
                      </a:cubicBezTo>
                      <a:cubicBezTo>
                        <a:pt x="223" y="41"/>
                        <a:pt x="223" y="40"/>
                        <a:pt x="223" y="40"/>
                      </a:cubicBezTo>
                      <a:cubicBezTo>
                        <a:pt x="224" y="39"/>
                        <a:pt x="227" y="40"/>
                        <a:pt x="229" y="40"/>
                      </a:cubicBezTo>
                      <a:cubicBezTo>
                        <a:pt x="231" y="39"/>
                        <a:pt x="231" y="38"/>
                        <a:pt x="233" y="38"/>
                      </a:cubicBezTo>
                      <a:cubicBezTo>
                        <a:pt x="235" y="37"/>
                        <a:pt x="237" y="36"/>
                        <a:pt x="238" y="35"/>
                      </a:cubicBezTo>
                      <a:cubicBezTo>
                        <a:pt x="239" y="35"/>
                        <a:pt x="240" y="34"/>
                        <a:pt x="241" y="34"/>
                      </a:cubicBezTo>
                      <a:cubicBezTo>
                        <a:pt x="241" y="34"/>
                        <a:pt x="242" y="34"/>
                        <a:pt x="243" y="33"/>
                      </a:cubicBezTo>
                      <a:cubicBezTo>
                        <a:pt x="243" y="33"/>
                        <a:pt x="244" y="32"/>
                        <a:pt x="244" y="32"/>
                      </a:cubicBezTo>
                      <a:cubicBezTo>
                        <a:pt x="246" y="31"/>
                        <a:pt x="246" y="31"/>
                        <a:pt x="248" y="30"/>
                      </a:cubicBezTo>
                      <a:cubicBezTo>
                        <a:pt x="250" y="30"/>
                        <a:pt x="247" y="27"/>
                        <a:pt x="247" y="27"/>
                      </a:cubicBezTo>
                      <a:cubicBezTo>
                        <a:pt x="246" y="25"/>
                        <a:pt x="245" y="25"/>
                        <a:pt x="243" y="24"/>
                      </a:cubicBezTo>
                      <a:cubicBezTo>
                        <a:pt x="241" y="23"/>
                        <a:pt x="241" y="22"/>
                        <a:pt x="238" y="22"/>
                      </a:cubicBezTo>
                      <a:cubicBezTo>
                        <a:pt x="237" y="22"/>
                        <a:pt x="235" y="22"/>
                        <a:pt x="233" y="21"/>
                      </a:cubicBezTo>
                      <a:cubicBezTo>
                        <a:pt x="232" y="20"/>
                        <a:pt x="232" y="20"/>
                        <a:pt x="232" y="19"/>
                      </a:cubicBezTo>
                      <a:cubicBezTo>
                        <a:pt x="232" y="17"/>
                        <a:pt x="230" y="16"/>
                        <a:pt x="228" y="15"/>
                      </a:cubicBezTo>
                      <a:cubicBezTo>
                        <a:pt x="225" y="13"/>
                        <a:pt x="231" y="12"/>
                        <a:pt x="227" y="11"/>
                      </a:cubicBezTo>
                      <a:cubicBezTo>
                        <a:pt x="225" y="11"/>
                        <a:pt x="224" y="11"/>
                        <a:pt x="223" y="12"/>
                      </a:cubicBezTo>
                      <a:cubicBezTo>
                        <a:pt x="222" y="13"/>
                        <a:pt x="221" y="11"/>
                        <a:pt x="221" y="11"/>
                      </a:cubicBezTo>
                      <a:cubicBezTo>
                        <a:pt x="220" y="9"/>
                        <a:pt x="215" y="8"/>
                        <a:pt x="216" y="10"/>
                      </a:cubicBezTo>
                      <a:cubicBezTo>
                        <a:pt x="216" y="11"/>
                        <a:pt x="218" y="14"/>
                        <a:pt x="215" y="12"/>
                      </a:cubicBezTo>
                      <a:cubicBezTo>
                        <a:pt x="212" y="10"/>
                        <a:pt x="210" y="10"/>
                        <a:pt x="209" y="12"/>
                      </a:cubicBezTo>
                      <a:cubicBezTo>
                        <a:pt x="208" y="14"/>
                        <a:pt x="204" y="13"/>
                        <a:pt x="203" y="15"/>
                      </a:cubicBezTo>
                      <a:cubicBezTo>
                        <a:pt x="202" y="15"/>
                        <a:pt x="203" y="15"/>
                        <a:pt x="201" y="15"/>
                      </a:cubicBezTo>
                      <a:cubicBezTo>
                        <a:pt x="200" y="15"/>
                        <a:pt x="199" y="16"/>
                        <a:pt x="198" y="15"/>
                      </a:cubicBezTo>
                      <a:cubicBezTo>
                        <a:pt x="197" y="14"/>
                        <a:pt x="198" y="14"/>
                        <a:pt x="199" y="14"/>
                      </a:cubicBezTo>
                      <a:cubicBezTo>
                        <a:pt x="201" y="13"/>
                        <a:pt x="201" y="13"/>
                        <a:pt x="202" y="12"/>
                      </a:cubicBezTo>
                      <a:cubicBezTo>
                        <a:pt x="204" y="11"/>
                        <a:pt x="209" y="9"/>
                        <a:pt x="205" y="8"/>
                      </a:cubicBezTo>
                      <a:cubicBezTo>
                        <a:pt x="203" y="7"/>
                        <a:pt x="200" y="6"/>
                        <a:pt x="197" y="6"/>
                      </a:cubicBezTo>
                      <a:cubicBezTo>
                        <a:pt x="195" y="6"/>
                        <a:pt x="194" y="5"/>
                        <a:pt x="192" y="5"/>
                      </a:cubicBezTo>
                      <a:cubicBezTo>
                        <a:pt x="189" y="4"/>
                        <a:pt x="186" y="5"/>
                        <a:pt x="184" y="4"/>
                      </a:cubicBezTo>
                      <a:cubicBezTo>
                        <a:pt x="183" y="3"/>
                        <a:pt x="176" y="0"/>
                        <a:pt x="175" y="2"/>
                      </a:cubicBezTo>
                      <a:cubicBezTo>
                        <a:pt x="175" y="2"/>
                        <a:pt x="176" y="4"/>
                        <a:pt x="175" y="4"/>
                      </a:cubicBezTo>
                      <a:cubicBezTo>
                        <a:pt x="174" y="4"/>
                        <a:pt x="173" y="3"/>
                        <a:pt x="172" y="3"/>
                      </a:cubicBezTo>
                      <a:cubicBezTo>
                        <a:pt x="170" y="2"/>
                        <a:pt x="168" y="2"/>
                        <a:pt x="166" y="3"/>
                      </a:cubicBezTo>
                      <a:cubicBezTo>
                        <a:pt x="163" y="4"/>
                        <a:pt x="160" y="5"/>
                        <a:pt x="162" y="7"/>
                      </a:cubicBezTo>
                      <a:cubicBezTo>
                        <a:pt x="162" y="7"/>
                        <a:pt x="166" y="10"/>
                        <a:pt x="166" y="10"/>
                      </a:cubicBezTo>
                      <a:cubicBezTo>
                        <a:pt x="164" y="11"/>
                        <a:pt x="158" y="7"/>
                        <a:pt x="158" y="6"/>
                      </a:cubicBezTo>
                      <a:cubicBezTo>
                        <a:pt x="156" y="4"/>
                        <a:pt x="152" y="3"/>
                        <a:pt x="148" y="3"/>
                      </a:cubicBezTo>
                      <a:cubicBezTo>
                        <a:pt x="146" y="3"/>
                        <a:pt x="143" y="4"/>
                        <a:pt x="141" y="4"/>
                      </a:cubicBezTo>
                      <a:cubicBezTo>
                        <a:pt x="140" y="4"/>
                        <a:pt x="137" y="3"/>
                        <a:pt x="136" y="4"/>
                      </a:cubicBezTo>
                      <a:cubicBezTo>
                        <a:pt x="136" y="5"/>
                        <a:pt x="137" y="6"/>
                        <a:pt x="138" y="7"/>
                      </a:cubicBezTo>
                      <a:cubicBezTo>
                        <a:pt x="140" y="7"/>
                        <a:pt x="140" y="8"/>
                        <a:pt x="142" y="9"/>
                      </a:cubicBezTo>
                      <a:cubicBezTo>
                        <a:pt x="144" y="10"/>
                        <a:pt x="146" y="10"/>
                        <a:pt x="147" y="11"/>
                      </a:cubicBezTo>
                      <a:cubicBezTo>
                        <a:pt x="149" y="12"/>
                        <a:pt x="150" y="14"/>
                        <a:pt x="150" y="15"/>
                      </a:cubicBezTo>
                      <a:cubicBezTo>
                        <a:pt x="150" y="16"/>
                        <a:pt x="151" y="17"/>
                        <a:pt x="149" y="17"/>
                      </a:cubicBezTo>
                      <a:cubicBezTo>
                        <a:pt x="147" y="17"/>
                        <a:pt x="147" y="16"/>
                        <a:pt x="146" y="15"/>
                      </a:cubicBezTo>
                      <a:cubicBezTo>
                        <a:pt x="145" y="12"/>
                        <a:pt x="141" y="11"/>
                        <a:pt x="138" y="8"/>
                      </a:cubicBezTo>
                      <a:cubicBezTo>
                        <a:pt x="137" y="8"/>
                        <a:pt x="137" y="7"/>
                        <a:pt x="136" y="6"/>
                      </a:cubicBezTo>
                      <a:cubicBezTo>
                        <a:pt x="135" y="6"/>
                        <a:pt x="135" y="6"/>
                        <a:pt x="134" y="6"/>
                      </a:cubicBezTo>
                      <a:cubicBezTo>
                        <a:pt x="133" y="6"/>
                        <a:pt x="133" y="6"/>
                        <a:pt x="132" y="7"/>
                      </a:cubicBezTo>
                      <a:cubicBezTo>
                        <a:pt x="130" y="8"/>
                        <a:pt x="127" y="6"/>
                        <a:pt x="125" y="5"/>
                      </a:cubicBezTo>
                      <a:cubicBezTo>
                        <a:pt x="122" y="5"/>
                        <a:pt x="119" y="5"/>
                        <a:pt x="118" y="6"/>
                      </a:cubicBezTo>
                      <a:cubicBezTo>
                        <a:pt x="117" y="8"/>
                        <a:pt x="119" y="8"/>
                        <a:pt x="119" y="10"/>
                      </a:cubicBezTo>
                      <a:cubicBezTo>
                        <a:pt x="120" y="11"/>
                        <a:pt x="114" y="8"/>
                        <a:pt x="114" y="8"/>
                      </a:cubicBezTo>
                      <a:cubicBezTo>
                        <a:pt x="110" y="7"/>
                        <a:pt x="111" y="9"/>
                        <a:pt x="112" y="10"/>
                      </a:cubicBezTo>
                      <a:cubicBezTo>
                        <a:pt x="113" y="11"/>
                        <a:pt x="115" y="16"/>
                        <a:pt x="115" y="16"/>
                      </a:cubicBezTo>
                      <a:cubicBezTo>
                        <a:pt x="112" y="17"/>
                        <a:pt x="110" y="14"/>
                        <a:pt x="108" y="13"/>
                      </a:cubicBezTo>
                      <a:cubicBezTo>
                        <a:pt x="107" y="13"/>
                        <a:pt x="106" y="14"/>
                        <a:pt x="107" y="14"/>
                      </a:cubicBezTo>
                      <a:cubicBezTo>
                        <a:pt x="107" y="15"/>
                        <a:pt x="107" y="15"/>
                        <a:pt x="106" y="16"/>
                      </a:cubicBezTo>
                      <a:cubicBezTo>
                        <a:pt x="106" y="17"/>
                        <a:pt x="104" y="17"/>
                        <a:pt x="104" y="18"/>
                      </a:cubicBezTo>
                      <a:cubicBezTo>
                        <a:pt x="104" y="19"/>
                        <a:pt x="106" y="22"/>
                        <a:pt x="109" y="23"/>
                      </a:cubicBezTo>
                      <a:cubicBezTo>
                        <a:pt x="110" y="24"/>
                        <a:pt x="112" y="25"/>
                        <a:pt x="113" y="26"/>
                      </a:cubicBezTo>
                      <a:cubicBezTo>
                        <a:pt x="114" y="26"/>
                        <a:pt x="118" y="28"/>
                        <a:pt x="114" y="28"/>
                      </a:cubicBezTo>
                      <a:cubicBezTo>
                        <a:pt x="112" y="28"/>
                        <a:pt x="109" y="27"/>
                        <a:pt x="107" y="26"/>
                      </a:cubicBezTo>
                      <a:cubicBezTo>
                        <a:pt x="106" y="25"/>
                        <a:pt x="105" y="24"/>
                        <a:pt x="103" y="23"/>
                      </a:cubicBezTo>
                      <a:cubicBezTo>
                        <a:pt x="102" y="23"/>
                        <a:pt x="101" y="24"/>
                        <a:pt x="100" y="24"/>
                      </a:cubicBezTo>
                      <a:cubicBezTo>
                        <a:pt x="98" y="23"/>
                        <a:pt x="97" y="22"/>
                        <a:pt x="95" y="21"/>
                      </a:cubicBezTo>
                      <a:cubicBezTo>
                        <a:pt x="94" y="21"/>
                        <a:pt x="93" y="19"/>
                        <a:pt x="92" y="19"/>
                      </a:cubicBezTo>
                      <a:cubicBezTo>
                        <a:pt x="90" y="18"/>
                        <a:pt x="87" y="18"/>
                        <a:pt x="85" y="18"/>
                      </a:cubicBezTo>
                      <a:cubicBezTo>
                        <a:pt x="79" y="19"/>
                        <a:pt x="83" y="20"/>
                        <a:pt x="85" y="22"/>
                      </a:cubicBezTo>
                      <a:cubicBezTo>
                        <a:pt x="85" y="22"/>
                        <a:pt x="86" y="24"/>
                        <a:pt x="84" y="24"/>
                      </a:cubicBezTo>
                      <a:cubicBezTo>
                        <a:pt x="83" y="24"/>
                        <a:pt x="81" y="24"/>
                        <a:pt x="81" y="25"/>
                      </a:cubicBezTo>
                      <a:cubicBezTo>
                        <a:pt x="80" y="27"/>
                        <a:pt x="86" y="27"/>
                        <a:pt x="87" y="29"/>
                      </a:cubicBezTo>
                      <a:cubicBezTo>
                        <a:pt x="89" y="30"/>
                        <a:pt x="86" y="30"/>
                        <a:pt x="84" y="30"/>
                      </a:cubicBezTo>
                      <a:cubicBezTo>
                        <a:pt x="83" y="29"/>
                        <a:pt x="82" y="29"/>
                        <a:pt x="81" y="29"/>
                      </a:cubicBezTo>
                      <a:cubicBezTo>
                        <a:pt x="79" y="29"/>
                        <a:pt x="79" y="30"/>
                        <a:pt x="77" y="29"/>
                      </a:cubicBezTo>
                      <a:cubicBezTo>
                        <a:pt x="76" y="29"/>
                        <a:pt x="75" y="28"/>
                        <a:pt x="73" y="28"/>
                      </a:cubicBezTo>
                      <a:cubicBezTo>
                        <a:pt x="71" y="28"/>
                        <a:pt x="69" y="29"/>
                        <a:pt x="68" y="30"/>
                      </a:cubicBezTo>
                      <a:cubicBezTo>
                        <a:pt x="65" y="30"/>
                        <a:pt x="64" y="31"/>
                        <a:pt x="62" y="32"/>
                      </a:cubicBezTo>
                      <a:cubicBezTo>
                        <a:pt x="62" y="33"/>
                        <a:pt x="61" y="35"/>
                        <a:pt x="59" y="34"/>
                      </a:cubicBezTo>
                      <a:cubicBezTo>
                        <a:pt x="57" y="34"/>
                        <a:pt x="52" y="35"/>
                        <a:pt x="52" y="37"/>
                      </a:cubicBezTo>
                      <a:cubicBezTo>
                        <a:pt x="52" y="38"/>
                        <a:pt x="50" y="39"/>
                        <a:pt x="49" y="39"/>
                      </a:cubicBezTo>
                      <a:cubicBezTo>
                        <a:pt x="48" y="40"/>
                        <a:pt x="48" y="42"/>
                        <a:pt x="50" y="42"/>
                      </a:cubicBezTo>
                      <a:cubicBezTo>
                        <a:pt x="53" y="42"/>
                        <a:pt x="56" y="41"/>
                        <a:pt x="58" y="41"/>
                      </a:cubicBezTo>
                      <a:cubicBezTo>
                        <a:pt x="63" y="40"/>
                        <a:pt x="58" y="43"/>
                        <a:pt x="57" y="44"/>
                      </a:cubicBezTo>
                      <a:cubicBezTo>
                        <a:pt x="57" y="44"/>
                        <a:pt x="56" y="46"/>
                        <a:pt x="58" y="46"/>
                      </a:cubicBezTo>
                      <a:cubicBezTo>
                        <a:pt x="60" y="46"/>
                        <a:pt x="62" y="45"/>
                        <a:pt x="64" y="44"/>
                      </a:cubicBezTo>
                      <a:cubicBezTo>
                        <a:pt x="65" y="44"/>
                        <a:pt x="68" y="42"/>
                        <a:pt x="71" y="42"/>
                      </a:cubicBezTo>
                      <a:cubicBezTo>
                        <a:pt x="69" y="44"/>
                        <a:pt x="67" y="45"/>
                        <a:pt x="64" y="46"/>
                      </a:cubicBezTo>
                      <a:cubicBezTo>
                        <a:pt x="63" y="46"/>
                        <a:pt x="62" y="47"/>
                        <a:pt x="62" y="48"/>
                      </a:cubicBezTo>
                      <a:cubicBezTo>
                        <a:pt x="62" y="49"/>
                        <a:pt x="64" y="49"/>
                        <a:pt x="63" y="50"/>
                      </a:cubicBezTo>
                      <a:cubicBezTo>
                        <a:pt x="63" y="51"/>
                        <a:pt x="62" y="51"/>
                        <a:pt x="61" y="51"/>
                      </a:cubicBezTo>
                      <a:cubicBezTo>
                        <a:pt x="60" y="52"/>
                        <a:pt x="60" y="52"/>
                        <a:pt x="59" y="53"/>
                      </a:cubicBezTo>
                      <a:cubicBezTo>
                        <a:pt x="57" y="55"/>
                        <a:pt x="60" y="56"/>
                        <a:pt x="63" y="56"/>
                      </a:cubicBezTo>
                      <a:cubicBezTo>
                        <a:pt x="66" y="57"/>
                        <a:pt x="68" y="55"/>
                        <a:pt x="71" y="55"/>
                      </a:cubicBezTo>
                      <a:cubicBezTo>
                        <a:pt x="75" y="54"/>
                        <a:pt x="78" y="54"/>
                        <a:pt x="81" y="53"/>
                      </a:cubicBezTo>
                      <a:cubicBezTo>
                        <a:pt x="84" y="52"/>
                        <a:pt x="87" y="51"/>
                        <a:pt x="89" y="49"/>
                      </a:cubicBezTo>
                      <a:cubicBezTo>
                        <a:pt x="90" y="49"/>
                        <a:pt x="91" y="48"/>
                        <a:pt x="93" y="48"/>
                      </a:cubicBezTo>
                      <a:cubicBezTo>
                        <a:pt x="94" y="48"/>
                        <a:pt x="94" y="49"/>
                        <a:pt x="93" y="49"/>
                      </a:cubicBezTo>
                      <a:cubicBezTo>
                        <a:pt x="89" y="51"/>
                        <a:pt x="87" y="53"/>
                        <a:pt x="83" y="55"/>
                      </a:cubicBezTo>
                      <a:cubicBezTo>
                        <a:pt x="78" y="56"/>
                        <a:pt x="73" y="55"/>
                        <a:pt x="68" y="57"/>
                      </a:cubicBezTo>
                      <a:cubicBezTo>
                        <a:pt x="64" y="58"/>
                        <a:pt x="63" y="59"/>
                        <a:pt x="67" y="60"/>
                      </a:cubicBezTo>
                      <a:cubicBezTo>
                        <a:pt x="69" y="61"/>
                        <a:pt x="75" y="64"/>
                        <a:pt x="78" y="62"/>
                      </a:cubicBezTo>
                      <a:cubicBezTo>
                        <a:pt x="80" y="60"/>
                        <a:pt x="81" y="58"/>
                        <a:pt x="84" y="57"/>
                      </a:cubicBezTo>
                      <a:cubicBezTo>
                        <a:pt x="89" y="55"/>
                        <a:pt x="93" y="53"/>
                        <a:pt x="99" y="53"/>
                      </a:cubicBezTo>
                      <a:cubicBezTo>
                        <a:pt x="101" y="53"/>
                        <a:pt x="108" y="52"/>
                        <a:pt x="103" y="54"/>
                      </a:cubicBezTo>
                      <a:cubicBezTo>
                        <a:pt x="98" y="55"/>
                        <a:pt x="93" y="56"/>
                        <a:pt x="89" y="58"/>
                      </a:cubicBezTo>
                      <a:cubicBezTo>
                        <a:pt x="87" y="59"/>
                        <a:pt x="85" y="60"/>
                        <a:pt x="85" y="62"/>
                      </a:cubicBezTo>
                      <a:cubicBezTo>
                        <a:pt x="85" y="63"/>
                        <a:pt x="83" y="65"/>
                        <a:pt x="85" y="66"/>
                      </a:cubicBezTo>
                      <a:cubicBezTo>
                        <a:pt x="87" y="68"/>
                        <a:pt x="94" y="67"/>
                        <a:pt x="96" y="66"/>
                      </a:cubicBezTo>
                      <a:cubicBezTo>
                        <a:pt x="97" y="65"/>
                        <a:pt x="101" y="61"/>
                        <a:pt x="103" y="62"/>
                      </a:cubicBezTo>
                      <a:cubicBezTo>
                        <a:pt x="105" y="63"/>
                        <a:pt x="101" y="65"/>
                        <a:pt x="104" y="66"/>
                      </a:cubicBezTo>
                      <a:cubicBezTo>
                        <a:pt x="107" y="66"/>
                        <a:pt x="109" y="65"/>
                        <a:pt x="111" y="64"/>
                      </a:cubicBezTo>
                      <a:cubicBezTo>
                        <a:pt x="116" y="63"/>
                        <a:pt x="122" y="63"/>
                        <a:pt x="124" y="60"/>
                      </a:cubicBezTo>
                      <a:cubicBezTo>
                        <a:pt x="124" y="59"/>
                        <a:pt x="126" y="58"/>
                        <a:pt x="127" y="57"/>
                      </a:cubicBezTo>
                      <a:cubicBezTo>
                        <a:pt x="128" y="56"/>
                        <a:pt x="127" y="55"/>
                        <a:pt x="127" y="54"/>
                      </a:cubicBezTo>
                      <a:cubicBezTo>
                        <a:pt x="127" y="50"/>
                        <a:pt x="129" y="48"/>
                        <a:pt x="133" y="46"/>
                      </a:cubicBezTo>
                      <a:cubicBezTo>
                        <a:pt x="135" y="45"/>
                        <a:pt x="138" y="43"/>
                        <a:pt x="141" y="43"/>
                      </a:cubicBezTo>
                      <a:cubicBezTo>
                        <a:pt x="143" y="43"/>
                        <a:pt x="143" y="44"/>
                        <a:pt x="143" y="44"/>
                      </a:cubicBezTo>
                      <a:cubicBezTo>
                        <a:pt x="142" y="46"/>
                        <a:pt x="140" y="46"/>
                        <a:pt x="138" y="47"/>
                      </a:cubicBezTo>
                      <a:cubicBezTo>
                        <a:pt x="136" y="48"/>
                        <a:pt x="127" y="55"/>
                        <a:pt x="131" y="56"/>
                      </a:cubicBezTo>
                      <a:cubicBezTo>
                        <a:pt x="134" y="56"/>
                        <a:pt x="137" y="56"/>
                        <a:pt x="139" y="56"/>
                      </a:cubicBezTo>
                      <a:cubicBezTo>
                        <a:pt x="142" y="56"/>
                        <a:pt x="147" y="56"/>
                        <a:pt x="149" y="57"/>
                      </a:cubicBezTo>
                      <a:cubicBezTo>
                        <a:pt x="152" y="58"/>
                        <a:pt x="145" y="59"/>
                        <a:pt x="144" y="59"/>
                      </a:cubicBezTo>
                      <a:cubicBezTo>
                        <a:pt x="139" y="58"/>
                        <a:pt x="136" y="59"/>
                        <a:pt x="131" y="61"/>
                      </a:cubicBezTo>
                      <a:cubicBezTo>
                        <a:pt x="130" y="62"/>
                        <a:pt x="128" y="62"/>
                        <a:pt x="127" y="63"/>
                      </a:cubicBezTo>
                      <a:cubicBezTo>
                        <a:pt x="126" y="64"/>
                        <a:pt x="124" y="65"/>
                        <a:pt x="123" y="66"/>
                      </a:cubicBezTo>
                      <a:cubicBezTo>
                        <a:pt x="121" y="67"/>
                        <a:pt x="118" y="67"/>
                        <a:pt x="116" y="67"/>
                      </a:cubicBezTo>
                      <a:cubicBezTo>
                        <a:pt x="113" y="68"/>
                        <a:pt x="111" y="69"/>
                        <a:pt x="109" y="70"/>
                      </a:cubicBezTo>
                      <a:cubicBezTo>
                        <a:pt x="103" y="72"/>
                        <a:pt x="107" y="74"/>
                        <a:pt x="109" y="76"/>
                      </a:cubicBezTo>
                      <a:cubicBezTo>
                        <a:pt x="110" y="78"/>
                        <a:pt x="112" y="79"/>
                        <a:pt x="113" y="81"/>
                      </a:cubicBezTo>
                      <a:cubicBezTo>
                        <a:pt x="114" y="82"/>
                        <a:pt x="114" y="84"/>
                        <a:pt x="116" y="85"/>
                      </a:cubicBezTo>
                      <a:cubicBezTo>
                        <a:pt x="119" y="86"/>
                        <a:pt x="123" y="88"/>
                        <a:pt x="117" y="87"/>
                      </a:cubicBezTo>
                      <a:cubicBezTo>
                        <a:pt x="115" y="87"/>
                        <a:pt x="114" y="85"/>
                        <a:pt x="112" y="85"/>
                      </a:cubicBezTo>
                      <a:cubicBezTo>
                        <a:pt x="109" y="83"/>
                        <a:pt x="110" y="82"/>
                        <a:pt x="108" y="80"/>
                      </a:cubicBezTo>
                      <a:cubicBezTo>
                        <a:pt x="106" y="78"/>
                        <a:pt x="104" y="75"/>
                        <a:pt x="100" y="73"/>
                      </a:cubicBezTo>
                      <a:cubicBezTo>
                        <a:pt x="95" y="71"/>
                        <a:pt x="89" y="71"/>
                        <a:pt x="84" y="71"/>
                      </a:cubicBezTo>
                      <a:cubicBezTo>
                        <a:pt x="80" y="70"/>
                        <a:pt x="81" y="76"/>
                        <a:pt x="81" y="77"/>
                      </a:cubicBezTo>
                      <a:cubicBezTo>
                        <a:pt x="81" y="79"/>
                        <a:pt x="80" y="82"/>
                        <a:pt x="84" y="83"/>
                      </a:cubicBezTo>
                      <a:cubicBezTo>
                        <a:pt x="86" y="83"/>
                        <a:pt x="87" y="85"/>
                        <a:pt x="88" y="86"/>
                      </a:cubicBezTo>
                      <a:cubicBezTo>
                        <a:pt x="88" y="87"/>
                        <a:pt x="90" y="88"/>
                        <a:pt x="91" y="89"/>
                      </a:cubicBezTo>
                      <a:cubicBezTo>
                        <a:pt x="94" y="91"/>
                        <a:pt x="88" y="89"/>
                        <a:pt x="87" y="88"/>
                      </a:cubicBezTo>
                      <a:cubicBezTo>
                        <a:pt x="84" y="87"/>
                        <a:pt x="80" y="88"/>
                        <a:pt x="77" y="87"/>
                      </a:cubicBezTo>
                      <a:cubicBezTo>
                        <a:pt x="74" y="87"/>
                        <a:pt x="76" y="80"/>
                        <a:pt x="76" y="78"/>
                      </a:cubicBezTo>
                      <a:cubicBezTo>
                        <a:pt x="76" y="77"/>
                        <a:pt x="73" y="77"/>
                        <a:pt x="75" y="75"/>
                      </a:cubicBezTo>
                      <a:cubicBezTo>
                        <a:pt x="76" y="74"/>
                        <a:pt x="75" y="73"/>
                        <a:pt x="75" y="71"/>
                      </a:cubicBezTo>
                      <a:cubicBezTo>
                        <a:pt x="75" y="70"/>
                        <a:pt x="71" y="67"/>
                        <a:pt x="68" y="70"/>
                      </a:cubicBezTo>
                      <a:cubicBezTo>
                        <a:pt x="67" y="72"/>
                        <a:pt x="68" y="74"/>
                        <a:pt x="70" y="75"/>
                      </a:cubicBezTo>
                      <a:cubicBezTo>
                        <a:pt x="71" y="77"/>
                        <a:pt x="70" y="79"/>
                        <a:pt x="67" y="77"/>
                      </a:cubicBezTo>
                      <a:cubicBezTo>
                        <a:pt x="66" y="76"/>
                        <a:pt x="64" y="75"/>
                        <a:pt x="64" y="74"/>
                      </a:cubicBezTo>
                      <a:cubicBezTo>
                        <a:pt x="64" y="72"/>
                        <a:pt x="66" y="71"/>
                        <a:pt x="66" y="70"/>
                      </a:cubicBezTo>
                      <a:cubicBezTo>
                        <a:pt x="67" y="68"/>
                        <a:pt x="65" y="67"/>
                        <a:pt x="64" y="67"/>
                      </a:cubicBezTo>
                      <a:cubicBezTo>
                        <a:pt x="63" y="67"/>
                        <a:pt x="62" y="67"/>
                        <a:pt x="60" y="67"/>
                      </a:cubicBezTo>
                      <a:cubicBezTo>
                        <a:pt x="59" y="66"/>
                        <a:pt x="57" y="67"/>
                        <a:pt x="56" y="67"/>
                      </a:cubicBezTo>
                      <a:cubicBezTo>
                        <a:pt x="53" y="67"/>
                        <a:pt x="53" y="63"/>
                        <a:pt x="52" y="62"/>
                      </a:cubicBezTo>
                      <a:cubicBezTo>
                        <a:pt x="51" y="60"/>
                        <a:pt x="48" y="59"/>
                        <a:pt x="47" y="57"/>
                      </a:cubicBezTo>
                      <a:cubicBezTo>
                        <a:pt x="47" y="54"/>
                        <a:pt x="49" y="52"/>
                        <a:pt x="46" y="50"/>
                      </a:cubicBezTo>
                      <a:cubicBezTo>
                        <a:pt x="43" y="48"/>
                        <a:pt x="41" y="48"/>
                        <a:pt x="36" y="49"/>
                      </a:cubicBezTo>
                      <a:cubicBezTo>
                        <a:pt x="34" y="49"/>
                        <a:pt x="31" y="49"/>
                        <a:pt x="30" y="50"/>
                      </a:cubicBezTo>
                      <a:cubicBezTo>
                        <a:pt x="28" y="51"/>
                        <a:pt x="27" y="53"/>
                        <a:pt x="29" y="53"/>
                      </a:cubicBezTo>
                      <a:cubicBezTo>
                        <a:pt x="31" y="54"/>
                        <a:pt x="42" y="52"/>
                        <a:pt x="40" y="55"/>
                      </a:cubicBezTo>
                      <a:cubicBezTo>
                        <a:pt x="39" y="55"/>
                        <a:pt x="36" y="55"/>
                        <a:pt x="35" y="56"/>
                      </a:cubicBezTo>
                      <a:cubicBezTo>
                        <a:pt x="35" y="57"/>
                        <a:pt x="36" y="59"/>
                        <a:pt x="32" y="58"/>
                      </a:cubicBezTo>
                      <a:cubicBezTo>
                        <a:pt x="27" y="57"/>
                        <a:pt x="22" y="63"/>
                        <a:pt x="25" y="65"/>
                      </a:cubicBezTo>
                      <a:cubicBezTo>
                        <a:pt x="27" y="65"/>
                        <a:pt x="29" y="66"/>
                        <a:pt x="28" y="67"/>
                      </a:cubicBezTo>
                      <a:cubicBezTo>
                        <a:pt x="27" y="69"/>
                        <a:pt x="24" y="67"/>
                        <a:pt x="22" y="67"/>
                      </a:cubicBezTo>
                      <a:cubicBezTo>
                        <a:pt x="19" y="67"/>
                        <a:pt x="19" y="70"/>
                        <a:pt x="20" y="71"/>
                      </a:cubicBezTo>
                      <a:cubicBezTo>
                        <a:pt x="21" y="73"/>
                        <a:pt x="18" y="74"/>
                        <a:pt x="21" y="75"/>
                      </a:cubicBezTo>
                      <a:cubicBezTo>
                        <a:pt x="22" y="75"/>
                        <a:pt x="25" y="76"/>
                        <a:pt x="24" y="77"/>
                      </a:cubicBezTo>
                      <a:cubicBezTo>
                        <a:pt x="24" y="78"/>
                        <a:pt x="20" y="78"/>
                        <a:pt x="19" y="78"/>
                      </a:cubicBezTo>
                      <a:cubicBezTo>
                        <a:pt x="16" y="79"/>
                        <a:pt x="17" y="81"/>
                        <a:pt x="17" y="82"/>
                      </a:cubicBezTo>
                      <a:cubicBezTo>
                        <a:pt x="17" y="84"/>
                        <a:pt x="14" y="85"/>
                        <a:pt x="15" y="87"/>
                      </a:cubicBezTo>
                      <a:cubicBezTo>
                        <a:pt x="15" y="88"/>
                        <a:pt x="18" y="89"/>
                        <a:pt x="20"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89"/>
                <p:cNvSpPr>
                  <a:spLocks/>
                </p:cNvSpPr>
                <p:nvPr/>
              </p:nvSpPr>
              <p:spPr bwMode="auto">
                <a:xfrm>
                  <a:off x="3406776" y="3875088"/>
                  <a:ext cx="4763" cy="7938"/>
                </a:xfrm>
                <a:custGeom>
                  <a:avLst/>
                  <a:gdLst>
                    <a:gd name="T0" fmla="*/ 0 w 7"/>
                    <a:gd name="T1" fmla="*/ 2 h 11"/>
                    <a:gd name="T2" fmla="*/ 4 w 7"/>
                    <a:gd name="T3" fmla="*/ 8 h 11"/>
                    <a:gd name="T4" fmla="*/ 4 w 7"/>
                    <a:gd name="T5" fmla="*/ 3 h 11"/>
                    <a:gd name="T6" fmla="*/ 0 w 7"/>
                    <a:gd name="T7" fmla="*/ 2 h 11"/>
                  </a:gdLst>
                  <a:ahLst/>
                  <a:cxnLst>
                    <a:cxn ang="0">
                      <a:pos x="T0" y="T1"/>
                    </a:cxn>
                    <a:cxn ang="0">
                      <a:pos x="T2" y="T3"/>
                    </a:cxn>
                    <a:cxn ang="0">
                      <a:pos x="T4" y="T5"/>
                    </a:cxn>
                    <a:cxn ang="0">
                      <a:pos x="T6" y="T7"/>
                    </a:cxn>
                  </a:cxnLst>
                  <a:rect l="0" t="0" r="r" b="b"/>
                  <a:pathLst>
                    <a:path w="7" h="11">
                      <a:moveTo>
                        <a:pt x="0" y="2"/>
                      </a:moveTo>
                      <a:cubicBezTo>
                        <a:pt x="0" y="4"/>
                        <a:pt x="1" y="6"/>
                        <a:pt x="4" y="8"/>
                      </a:cubicBezTo>
                      <a:cubicBezTo>
                        <a:pt x="7" y="11"/>
                        <a:pt x="5" y="4"/>
                        <a:pt x="4" y="3"/>
                      </a:cubicBezTo>
                      <a:cubicBezTo>
                        <a:pt x="3" y="2"/>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90"/>
                <p:cNvSpPr>
                  <a:spLocks/>
                </p:cNvSpPr>
                <p:nvPr/>
              </p:nvSpPr>
              <p:spPr bwMode="auto">
                <a:xfrm>
                  <a:off x="2982913" y="3878263"/>
                  <a:ext cx="31750" cy="31750"/>
                </a:xfrm>
                <a:custGeom>
                  <a:avLst/>
                  <a:gdLst>
                    <a:gd name="T0" fmla="*/ 23 w 41"/>
                    <a:gd name="T1" fmla="*/ 1 h 42"/>
                    <a:gd name="T2" fmla="*/ 10 w 41"/>
                    <a:gd name="T3" fmla="*/ 3 h 42"/>
                    <a:gd name="T4" fmla="*/ 14 w 41"/>
                    <a:gd name="T5" fmla="*/ 6 h 42"/>
                    <a:gd name="T6" fmla="*/ 7 w 41"/>
                    <a:gd name="T7" fmla="*/ 10 h 42"/>
                    <a:gd name="T8" fmla="*/ 10 w 41"/>
                    <a:gd name="T9" fmla="*/ 15 h 42"/>
                    <a:gd name="T10" fmla="*/ 2 w 41"/>
                    <a:gd name="T11" fmla="*/ 21 h 42"/>
                    <a:gd name="T12" fmla="*/ 0 w 41"/>
                    <a:gd name="T13" fmla="*/ 29 h 42"/>
                    <a:gd name="T14" fmla="*/ 9 w 41"/>
                    <a:gd name="T15" fmla="*/ 27 h 42"/>
                    <a:gd name="T16" fmla="*/ 18 w 41"/>
                    <a:gd name="T17" fmla="*/ 25 h 42"/>
                    <a:gd name="T18" fmla="*/ 10 w 41"/>
                    <a:gd name="T19" fmla="*/ 32 h 42"/>
                    <a:gd name="T20" fmla="*/ 10 w 41"/>
                    <a:gd name="T21" fmla="*/ 36 h 42"/>
                    <a:gd name="T22" fmla="*/ 14 w 41"/>
                    <a:gd name="T23" fmla="*/ 40 h 42"/>
                    <a:gd name="T24" fmla="*/ 27 w 41"/>
                    <a:gd name="T25" fmla="*/ 37 h 42"/>
                    <a:gd name="T26" fmla="*/ 31 w 41"/>
                    <a:gd name="T27" fmla="*/ 33 h 42"/>
                    <a:gd name="T28" fmla="*/ 34 w 41"/>
                    <a:gd name="T29" fmla="*/ 28 h 42"/>
                    <a:gd name="T30" fmla="*/ 40 w 41"/>
                    <a:gd name="T31" fmla="*/ 24 h 42"/>
                    <a:gd name="T32" fmla="*/ 36 w 41"/>
                    <a:gd name="T33" fmla="*/ 15 h 42"/>
                    <a:gd name="T34" fmla="*/ 34 w 41"/>
                    <a:gd name="T35" fmla="*/ 4 h 42"/>
                    <a:gd name="T36" fmla="*/ 29 w 41"/>
                    <a:gd name="T37" fmla="*/ 2 h 42"/>
                    <a:gd name="T38" fmla="*/ 23 w 41"/>
                    <a:gd name="T39"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 h="42">
                      <a:moveTo>
                        <a:pt x="23" y="1"/>
                      </a:moveTo>
                      <a:cubicBezTo>
                        <a:pt x="19" y="1"/>
                        <a:pt x="14" y="0"/>
                        <a:pt x="10" y="3"/>
                      </a:cubicBezTo>
                      <a:cubicBezTo>
                        <a:pt x="5" y="6"/>
                        <a:pt x="12" y="6"/>
                        <a:pt x="14" y="6"/>
                      </a:cubicBezTo>
                      <a:cubicBezTo>
                        <a:pt x="19" y="8"/>
                        <a:pt x="7" y="10"/>
                        <a:pt x="7" y="10"/>
                      </a:cubicBezTo>
                      <a:cubicBezTo>
                        <a:pt x="2" y="13"/>
                        <a:pt x="10" y="14"/>
                        <a:pt x="10" y="15"/>
                      </a:cubicBezTo>
                      <a:cubicBezTo>
                        <a:pt x="10" y="18"/>
                        <a:pt x="4" y="18"/>
                        <a:pt x="2" y="21"/>
                      </a:cubicBezTo>
                      <a:cubicBezTo>
                        <a:pt x="0" y="23"/>
                        <a:pt x="0" y="27"/>
                        <a:pt x="0" y="29"/>
                      </a:cubicBezTo>
                      <a:cubicBezTo>
                        <a:pt x="0" y="32"/>
                        <a:pt x="7" y="29"/>
                        <a:pt x="9" y="27"/>
                      </a:cubicBezTo>
                      <a:cubicBezTo>
                        <a:pt x="11" y="27"/>
                        <a:pt x="17" y="24"/>
                        <a:pt x="18" y="25"/>
                      </a:cubicBezTo>
                      <a:cubicBezTo>
                        <a:pt x="19" y="27"/>
                        <a:pt x="11" y="31"/>
                        <a:pt x="10" y="32"/>
                      </a:cubicBezTo>
                      <a:cubicBezTo>
                        <a:pt x="9" y="34"/>
                        <a:pt x="9" y="35"/>
                        <a:pt x="10" y="36"/>
                      </a:cubicBezTo>
                      <a:cubicBezTo>
                        <a:pt x="11" y="37"/>
                        <a:pt x="13" y="39"/>
                        <a:pt x="14" y="40"/>
                      </a:cubicBezTo>
                      <a:cubicBezTo>
                        <a:pt x="18" y="42"/>
                        <a:pt x="24" y="40"/>
                        <a:pt x="27" y="37"/>
                      </a:cubicBezTo>
                      <a:cubicBezTo>
                        <a:pt x="28" y="36"/>
                        <a:pt x="30" y="35"/>
                        <a:pt x="31" y="33"/>
                      </a:cubicBezTo>
                      <a:cubicBezTo>
                        <a:pt x="32" y="32"/>
                        <a:pt x="32" y="30"/>
                        <a:pt x="34" y="28"/>
                      </a:cubicBezTo>
                      <a:cubicBezTo>
                        <a:pt x="36" y="26"/>
                        <a:pt x="41" y="27"/>
                        <a:pt x="40" y="24"/>
                      </a:cubicBezTo>
                      <a:cubicBezTo>
                        <a:pt x="38" y="20"/>
                        <a:pt x="35" y="19"/>
                        <a:pt x="36" y="15"/>
                      </a:cubicBezTo>
                      <a:cubicBezTo>
                        <a:pt x="36" y="11"/>
                        <a:pt x="38" y="7"/>
                        <a:pt x="34" y="4"/>
                      </a:cubicBezTo>
                      <a:cubicBezTo>
                        <a:pt x="33" y="3"/>
                        <a:pt x="31" y="3"/>
                        <a:pt x="29" y="2"/>
                      </a:cubicBezTo>
                      <a:cubicBezTo>
                        <a:pt x="27" y="2"/>
                        <a:pt x="26" y="1"/>
                        <a:pt x="2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91"/>
                <p:cNvSpPr>
                  <a:spLocks/>
                </p:cNvSpPr>
                <p:nvPr/>
              </p:nvSpPr>
              <p:spPr bwMode="auto">
                <a:xfrm>
                  <a:off x="3151188" y="3768725"/>
                  <a:ext cx="280988" cy="377825"/>
                </a:xfrm>
                <a:custGeom>
                  <a:avLst/>
                  <a:gdLst>
                    <a:gd name="T0" fmla="*/ 66 w 372"/>
                    <a:gd name="T1" fmla="*/ 43 h 500"/>
                    <a:gd name="T2" fmla="*/ 33 w 372"/>
                    <a:gd name="T3" fmla="*/ 60 h 500"/>
                    <a:gd name="T4" fmla="*/ 51 w 372"/>
                    <a:gd name="T5" fmla="*/ 71 h 500"/>
                    <a:gd name="T6" fmla="*/ 25 w 372"/>
                    <a:gd name="T7" fmla="*/ 90 h 500"/>
                    <a:gd name="T8" fmla="*/ 22 w 372"/>
                    <a:gd name="T9" fmla="*/ 122 h 500"/>
                    <a:gd name="T10" fmla="*/ 37 w 372"/>
                    <a:gd name="T11" fmla="*/ 128 h 500"/>
                    <a:gd name="T12" fmla="*/ 31 w 372"/>
                    <a:gd name="T13" fmla="*/ 147 h 500"/>
                    <a:gd name="T14" fmla="*/ 71 w 372"/>
                    <a:gd name="T15" fmla="*/ 158 h 500"/>
                    <a:gd name="T16" fmla="*/ 120 w 372"/>
                    <a:gd name="T17" fmla="*/ 186 h 500"/>
                    <a:gd name="T18" fmla="*/ 149 w 372"/>
                    <a:gd name="T19" fmla="*/ 233 h 500"/>
                    <a:gd name="T20" fmla="*/ 162 w 372"/>
                    <a:gd name="T21" fmla="*/ 262 h 500"/>
                    <a:gd name="T22" fmla="*/ 170 w 372"/>
                    <a:gd name="T23" fmla="*/ 282 h 500"/>
                    <a:gd name="T24" fmla="*/ 180 w 372"/>
                    <a:gd name="T25" fmla="*/ 313 h 500"/>
                    <a:gd name="T26" fmla="*/ 191 w 372"/>
                    <a:gd name="T27" fmla="*/ 334 h 500"/>
                    <a:gd name="T28" fmla="*/ 175 w 372"/>
                    <a:gd name="T29" fmla="*/ 348 h 500"/>
                    <a:gd name="T30" fmla="*/ 190 w 372"/>
                    <a:gd name="T31" fmla="*/ 394 h 500"/>
                    <a:gd name="T32" fmla="*/ 220 w 372"/>
                    <a:gd name="T33" fmla="*/ 468 h 500"/>
                    <a:gd name="T34" fmla="*/ 252 w 372"/>
                    <a:gd name="T35" fmla="*/ 496 h 500"/>
                    <a:gd name="T36" fmla="*/ 271 w 372"/>
                    <a:gd name="T37" fmla="*/ 446 h 500"/>
                    <a:gd name="T38" fmla="*/ 275 w 372"/>
                    <a:gd name="T39" fmla="*/ 405 h 500"/>
                    <a:gd name="T40" fmla="*/ 295 w 372"/>
                    <a:gd name="T41" fmla="*/ 396 h 500"/>
                    <a:gd name="T42" fmla="*/ 320 w 372"/>
                    <a:gd name="T43" fmla="*/ 364 h 500"/>
                    <a:gd name="T44" fmla="*/ 358 w 372"/>
                    <a:gd name="T45" fmla="*/ 346 h 500"/>
                    <a:gd name="T46" fmla="*/ 346 w 372"/>
                    <a:gd name="T47" fmla="*/ 319 h 500"/>
                    <a:gd name="T48" fmla="*/ 334 w 372"/>
                    <a:gd name="T49" fmla="*/ 294 h 500"/>
                    <a:gd name="T50" fmla="*/ 365 w 372"/>
                    <a:gd name="T51" fmla="*/ 325 h 500"/>
                    <a:gd name="T52" fmla="*/ 353 w 372"/>
                    <a:gd name="T53" fmla="*/ 289 h 500"/>
                    <a:gd name="T54" fmla="*/ 343 w 372"/>
                    <a:gd name="T55" fmla="*/ 260 h 500"/>
                    <a:gd name="T56" fmla="*/ 356 w 372"/>
                    <a:gd name="T57" fmla="*/ 247 h 500"/>
                    <a:gd name="T58" fmla="*/ 352 w 372"/>
                    <a:gd name="T59" fmla="*/ 226 h 500"/>
                    <a:gd name="T60" fmla="*/ 340 w 372"/>
                    <a:gd name="T61" fmla="*/ 200 h 500"/>
                    <a:gd name="T62" fmla="*/ 355 w 372"/>
                    <a:gd name="T63" fmla="*/ 193 h 500"/>
                    <a:gd name="T64" fmla="*/ 335 w 372"/>
                    <a:gd name="T65" fmla="*/ 168 h 500"/>
                    <a:gd name="T66" fmla="*/ 332 w 372"/>
                    <a:gd name="T67" fmla="*/ 142 h 500"/>
                    <a:gd name="T68" fmla="*/ 326 w 372"/>
                    <a:gd name="T69" fmla="*/ 120 h 500"/>
                    <a:gd name="T70" fmla="*/ 321 w 372"/>
                    <a:gd name="T71" fmla="*/ 108 h 500"/>
                    <a:gd name="T72" fmla="*/ 337 w 372"/>
                    <a:gd name="T73" fmla="*/ 105 h 500"/>
                    <a:gd name="T74" fmla="*/ 320 w 372"/>
                    <a:gd name="T75" fmla="*/ 75 h 500"/>
                    <a:gd name="T76" fmla="*/ 311 w 372"/>
                    <a:gd name="T77" fmla="*/ 79 h 500"/>
                    <a:gd name="T78" fmla="*/ 299 w 372"/>
                    <a:gd name="T79" fmla="*/ 85 h 500"/>
                    <a:gd name="T80" fmla="*/ 294 w 372"/>
                    <a:gd name="T81" fmla="*/ 83 h 500"/>
                    <a:gd name="T82" fmla="*/ 268 w 372"/>
                    <a:gd name="T83" fmla="*/ 67 h 500"/>
                    <a:gd name="T84" fmla="*/ 230 w 372"/>
                    <a:gd name="T85" fmla="*/ 52 h 500"/>
                    <a:gd name="T86" fmla="*/ 279 w 372"/>
                    <a:gd name="T87" fmla="*/ 54 h 500"/>
                    <a:gd name="T88" fmla="*/ 261 w 372"/>
                    <a:gd name="T89" fmla="*/ 35 h 500"/>
                    <a:gd name="T90" fmla="*/ 211 w 372"/>
                    <a:gd name="T91" fmla="*/ 21 h 500"/>
                    <a:gd name="T92" fmla="*/ 248 w 372"/>
                    <a:gd name="T93" fmla="*/ 23 h 500"/>
                    <a:gd name="T94" fmla="*/ 209 w 372"/>
                    <a:gd name="T95" fmla="*/ 4 h 500"/>
                    <a:gd name="T96" fmla="*/ 185 w 372"/>
                    <a:gd name="T97" fmla="*/ 7 h 500"/>
                    <a:gd name="T98" fmla="*/ 170 w 372"/>
                    <a:gd name="T99" fmla="*/ 9 h 500"/>
                    <a:gd name="T100" fmla="*/ 157 w 372"/>
                    <a:gd name="T101" fmla="*/ 6 h 500"/>
                    <a:gd name="T102" fmla="*/ 154 w 372"/>
                    <a:gd name="T103" fmla="*/ 13 h 500"/>
                    <a:gd name="T104" fmla="*/ 151 w 372"/>
                    <a:gd name="T105" fmla="*/ 14 h 500"/>
                    <a:gd name="T106" fmla="*/ 164 w 372"/>
                    <a:gd name="T107" fmla="*/ 40 h 500"/>
                    <a:gd name="T108" fmla="*/ 132 w 372"/>
                    <a:gd name="T109" fmla="*/ 29 h 500"/>
                    <a:gd name="T110" fmla="*/ 116 w 372"/>
                    <a:gd name="T111" fmla="*/ 23 h 500"/>
                    <a:gd name="T112" fmla="*/ 111 w 372"/>
                    <a:gd name="T113" fmla="*/ 23 h 500"/>
                    <a:gd name="T114" fmla="*/ 78 w 372"/>
                    <a:gd name="T115" fmla="*/ 25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500">
                      <a:moveTo>
                        <a:pt x="91" y="36"/>
                      </a:moveTo>
                      <a:cubicBezTo>
                        <a:pt x="89" y="35"/>
                        <a:pt x="88" y="33"/>
                        <a:pt x="86" y="32"/>
                      </a:cubicBezTo>
                      <a:cubicBezTo>
                        <a:pt x="84" y="31"/>
                        <a:pt x="83" y="30"/>
                        <a:pt x="81" y="29"/>
                      </a:cubicBezTo>
                      <a:cubicBezTo>
                        <a:pt x="76" y="28"/>
                        <a:pt x="75" y="25"/>
                        <a:pt x="72" y="23"/>
                      </a:cubicBezTo>
                      <a:cubicBezTo>
                        <a:pt x="69" y="22"/>
                        <a:pt x="66" y="23"/>
                        <a:pt x="64" y="24"/>
                      </a:cubicBezTo>
                      <a:cubicBezTo>
                        <a:pt x="62" y="26"/>
                        <a:pt x="66" y="29"/>
                        <a:pt x="68" y="31"/>
                      </a:cubicBezTo>
                      <a:cubicBezTo>
                        <a:pt x="71" y="33"/>
                        <a:pt x="70" y="35"/>
                        <a:pt x="69" y="37"/>
                      </a:cubicBezTo>
                      <a:cubicBezTo>
                        <a:pt x="68" y="39"/>
                        <a:pt x="71" y="44"/>
                        <a:pt x="66" y="43"/>
                      </a:cubicBezTo>
                      <a:cubicBezTo>
                        <a:pt x="62" y="43"/>
                        <a:pt x="59" y="39"/>
                        <a:pt x="54" y="40"/>
                      </a:cubicBezTo>
                      <a:cubicBezTo>
                        <a:pt x="53" y="40"/>
                        <a:pt x="52" y="41"/>
                        <a:pt x="51" y="42"/>
                      </a:cubicBezTo>
                      <a:cubicBezTo>
                        <a:pt x="49" y="43"/>
                        <a:pt x="48" y="43"/>
                        <a:pt x="47" y="45"/>
                      </a:cubicBezTo>
                      <a:cubicBezTo>
                        <a:pt x="45" y="47"/>
                        <a:pt x="46" y="50"/>
                        <a:pt x="42" y="51"/>
                      </a:cubicBezTo>
                      <a:cubicBezTo>
                        <a:pt x="41" y="51"/>
                        <a:pt x="40" y="50"/>
                        <a:pt x="38" y="50"/>
                      </a:cubicBezTo>
                      <a:cubicBezTo>
                        <a:pt x="37" y="49"/>
                        <a:pt x="38" y="53"/>
                        <a:pt x="38" y="53"/>
                      </a:cubicBezTo>
                      <a:cubicBezTo>
                        <a:pt x="38" y="54"/>
                        <a:pt x="35" y="55"/>
                        <a:pt x="35" y="56"/>
                      </a:cubicBezTo>
                      <a:cubicBezTo>
                        <a:pt x="33" y="57"/>
                        <a:pt x="33" y="59"/>
                        <a:pt x="33" y="60"/>
                      </a:cubicBezTo>
                      <a:cubicBezTo>
                        <a:pt x="33" y="61"/>
                        <a:pt x="33" y="62"/>
                        <a:pt x="34" y="64"/>
                      </a:cubicBezTo>
                      <a:cubicBezTo>
                        <a:pt x="35" y="65"/>
                        <a:pt x="38" y="64"/>
                        <a:pt x="40" y="65"/>
                      </a:cubicBezTo>
                      <a:cubicBezTo>
                        <a:pt x="42" y="66"/>
                        <a:pt x="44" y="67"/>
                        <a:pt x="46" y="67"/>
                      </a:cubicBezTo>
                      <a:cubicBezTo>
                        <a:pt x="47" y="67"/>
                        <a:pt x="46" y="66"/>
                        <a:pt x="47" y="66"/>
                      </a:cubicBezTo>
                      <a:cubicBezTo>
                        <a:pt x="49" y="66"/>
                        <a:pt x="51" y="66"/>
                        <a:pt x="52" y="67"/>
                      </a:cubicBezTo>
                      <a:cubicBezTo>
                        <a:pt x="53" y="67"/>
                        <a:pt x="52" y="68"/>
                        <a:pt x="51" y="68"/>
                      </a:cubicBezTo>
                      <a:cubicBezTo>
                        <a:pt x="51" y="68"/>
                        <a:pt x="52" y="69"/>
                        <a:pt x="53" y="69"/>
                      </a:cubicBezTo>
                      <a:cubicBezTo>
                        <a:pt x="56" y="71"/>
                        <a:pt x="53" y="71"/>
                        <a:pt x="51" y="71"/>
                      </a:cubicBezTo>
                      <a:cubicBezTo>
                        <a:pt x="46" y="72"/>
                        <a:pt x="52" y="74"/>
                        <a:pt x="53" y="76"/>
                      </a:cubicBezTo>
                      <a:cubicBezTo>
                        <a:pt x="56" y="78"/>
                        <a:pt x="54" y="81"/>
                        <a:pt x="51" y="82"/>
                      </a:cubicBezTo>
                      <a:cubicBezTo>
                        <a:pt x="47" y="83"/>
                        <a:pt x="47" y="87"/>
                        <a:pt x="43" y="87"/>
                      </a:cubicBezTo>
                      <a:cubicBezTo>
                        <a:pt x="42" y="87"/>
                        <a:pt x="41" y="87"/>
                        <a:pt x="40" y="87"/>
                      </a:cubicBezTo>
                      <a:cubicBezTo>
                        <a:pt x="39" y="86"/>
                        <a:pt x="39" y="86"/>
                        <a:pt x="38" y="86"/>
                      </a:cubicBezTo>
                      <a:cubicBezTo>
                        <a:pt x="37" y="86"/>
                        <a:pt x="36" y="87"/>
                        <a:pt x="35" y="87"/>
                      </a:cubicBezTo>
                      <a:cubicBezTo>
                        <a:pt x="34" y="88"/>
                        <a:pt x="31" y="87"/>
                        <a:pt x="29" y="87"/>
                      </a:cubicBezTo>
                      <a:cubicBezTo>
                        <a:pt x="26" y="87"/>
                        <a:pt x="27" y="89"/>
                        <a:pt x="25" y="90"/>
                      </a:cubicBezTo>
                      <a:cubicBezTo>
                        <a:pt x="23" y="91"/>
                        <a:pt x="22" y="92"/>
                        <a:pt x="21" y="92"/>
                      </a:cubicBezTo>
                      <a:cubicBezTo>
                        <a:pt x="19" y="93"/>
                        <a:pt x="16" y="94"/>
                        <a:pt x="14" y="94"/>
                      </a:cubicBezTo>
                      <a:cubicBezTo>
                        <a:pt x="10" y="96"/>
                        <a:pt x="5" y="96"/>
                        <a:pt x="1" y="99"/>
                      </a:cubicBezTo>
                      <a:cubicBezTo>
                        <a:pt x="0" y="99"/>
                        <a:pt x="0" y="102"/>
                        <a:pt x="0" y="103"/>
                      </a:cubicBezTo>
                      <a:cubicBezTo>
                        <a:pt x="0" y="105"/>
                        <a:pt x="1" y="106"/>
                        <a:pt x="2" y="108"/>
                      </a:cubicBezTo>
                      <a:cubicBezTo>
                        <a:pt x="4" y="111"/>
                        <a:pt x="5" y="113"/>
                        <a:pt x="10" y="115"/>
                      </a:cubicBezTo>
                      <a:cubicBezTo>
                        <a:pt x="14" y="116"/>
                        <a:pt x="21" y="115"/>
                        <a:pt x="23" y="119"/>
                      </a:cubicBezTo>
                      <a:cubicBezTo>
                        <a:pt x="23" y="120"/>
                        <a:pt x="22" y="121"/>
                        <a:pt x="22" y="122"/>
                      </a:cubicBezTo>
                      <a:cubicBezTo>
                        <a:pt x="22" y="124"/>
                        <a:pt x="26" y="124"/>
                        <a:pt x="28" y="125"/>
                      </a:cubicBezTo>
                      <a:cubicBezTo>
                        <a:pt x="30" y="125"/>
                        <a:pt x="32" y="125"/>
                        <a:pt x="33" y="124"/>
                      </a:cubicBezTo>
                      <a:cubicBezTo>
                        <a:pt x="33" y="123"/>
                        <a:pt x="34" y="122"/>
                        <a:pt x="35" y="122"/>
                      </a:cubicBezTo>
                      <a:cubicBezTo>
                        <a:pt x="37" y="121"/>
                        <a:pt x="39" y="122"/>
                        <a:pt x="40" y="123"/>
                      </a:cubicBezTo>
                      <a:cubicBezTo>
                        <a:pt x="43" y="124"/>
                        <a:pt x="43" y="121"/>
                        <a:pt x="44" y="120"/>
                      </a:cubicBezTo>
                      <a:cubicBezTo>
                        <a:pt x="46" y="118"/>
                        <a:pt x="52" y="122"/>
                        <a:pt x="53" y="124"/>
                      </a:cubicBezTo>
                      <a:cubicBezTo>
                        <a:pt x="56" y="129"/>
                        <a:pt x="48" y="125"/>
                        <a:pt x="48" y="128"/>
                      </a:cubicBezTo>
                      <a:cubicBezTo>
                        <a:pt x="49" y="132"/>
                        <a:pt x="39" y="127"/>
                        <a:pt x="37" y="128"/>
                      </a:cubicBezTo>
                      <a:cubicBezTo>
                        <a:pt x="34" y="128"/>
                        <a:pt x="33" y="132"/>
                        <a:pt x="29" y="131"/>
                      </a:cubicBezTo>
                      <a:cubicBezTo>
                        <a:pt x="28" y="130"/>
                        <a:pt x="25" y="128"/>
                        <a:pt x="24" y="129"/>
                      </a:cubicBezTo>
                      <a:cubicBezTo>
                        <a:pt x="22" y="130"/>
                        <a:pt x="20" y="129"/>
                        <a:pt x="18" y="130"/>
                      </a:cubicBezTo>
                      <a:cubicBezTo>
                        <a:pt x="14" y="131"/>
                        <a:pt x="12" y="135"/>
                        <a:pt x="15" y="137"/>
                      </a:cubicBezTo>
                      <a:cubicBezTo>
                        <a:pt x="18" y="139"/>
                        <a:pt x="22" y="138"/>
                        <a:pt x="25" y="140"/>
                      </a:cubicBezTo>
                      <a:cubicBezTo>
                        <a:pt x="27" y="141"/>
                        <a:pt x="29" y="143"/>
                        <a:pt x="32" y="143"/>
                      </a:cubicBezTo>
                      <a:cubicBezTo>
                        <a:pt x="33" y="142"/>
                        <a:pt x="38" y="142"/>
                        <a:pt x="39" y="144"/>
                      </a:cubicBezTo>
                      <a:cubicBezTo>
                        <a:pt x="41" y="147"/>
                        <a:pt x="34" y="147"/>
                        <a:pt x="31" y="147"/>
                      </a:cubicBezTo>
                      <a:cubicBezTo>
                        <a:pt x="29" y="148"/>
                        <a:pt x="22" y="150"/>
                        <a:pt x="27" y="151"/>
                      </a:cubicBezTo>
                      <a:cubicBezTo>
                        <a:pt x="29" y="152"/>
                        <a:pt x="32" y="152"/>
                        <a:pt x="34" y="153"/>
                      </a:cubicBezTo>
                      <a:cubicBezTo>
                        <a:pt x="36" y="154"/>
                        <a:pt x="36" y="156"/>
                        <a:pt x="39" y="157"/>
                      </a:cubicBezTo>
                      <a:cubicBezTo>
                        <a:pt x="41" y="158"/>
                        <a:pt x="44" y="158"/>
                        <a:pt x="46" y="159"/>
                      </a:cubicBezTo>
                      <a:cubicBezTo>
                        <a:pt x="49" y="159"/>
                        <a:pt x="51" y="161"/>
                        <a:pt x="54" y="161"/>
                      </a:cubicBezTo>
                      <a:cubicBezTo>
                        <a:pt x="54" y="160"/>
                        <a:pt x="53" y="155"/>
                        <a:pt x="56" y="156"/>
                      </a:cubicBezTo>
                      <a:cubicBezTo>
                        <a:pt x="58" y="157"/>
                        <a:pt x="60" y="159"/>
                        <a:pt x="62" y="159"/>
                      </a:cubicBezTo>
                      <a:cubicBezTo>
                        <a:pt x="62" y="155"/>
                        <a:pt x="66" y="156"/>
                        <a:pt x="71" y="158"/>
                      </a:cubicBezTo>
                      <a:cubicBezTo>
                        <a:pt x="72" y="158"/>
                        <a:pt x="77" y="160"/>
                        <a:pt x="77" y="158"/>
                      </a:cubicBezTo>
                      <a:cubicBezTo>
                        <a:pt x="76" y="157"/>
                        <a:pt x="74" y="155"/>
                        <a:pt x="75" y="154"/>
                      </a:cubicBezTo>
                      <a:cubicBezTo>
                        <a:pt x="76" y="154"/>
                        <a:pt x="80" y="156"/>
                        <a:pt x="82" y="156"/>
                      </a:cubicBezTo>
                      <a:cubicBezTo>
                        <a:pt x="84" y="157"/>
                        <a:pt x="87" y="159"/>
                        <a:pt x="89" y="160"/>
                      </a:cubicBezTo>
                      <a:cubicBezTo>
                        <a:pt x="92" y="161"/>
                        <a:pt x="95" y="161"/>
                        <a:pt x="97" y="163"/>
                      </a:cubicBezTo>
                      <a:cubicBezTo>
                        <a:pt x="101" y="164"/>
                        <a:pt x="104" y="166"/>
                        <a:pt x="108" y="168"/>
                      </a:cubicBezTo>
                      <a:cubicBezTo>
                        <a:pt x="113" y="170"/>
                        <a:pt x="116" y="176"/>
                        <a:pt x="118" y="180"/>
                      </a:cubicBezTo>
                      <a:cubicBezTo>
                        <a:pt x="118" y="182"/>
                        <a:pt x="119" y="184"/>
                        <a:pt x="120" y="186"/>
                      </a:cubicBezTo>
                      <a:cubicBezTo>
                        <a:pt x="122" y="188"/>
                        <a:pt x="125" y="190"/>
                        <a:pt x="126" y="192"/>
                      </a:cubicBezTo>
                      <a:cubicBezTo>
                        <a:pt x="127" y="193"/>
                        <a:pt x="129" y="196"/>
                        <a:pt x="130" y="197"/>
                      </a:cubicBezTo>
                      <a:cubicBezTo>
                        <a:pt x="133" y="198"/>
                        <a:pt x="134" y="199"/>
                        <a:pt x="134" y="201"/>
                      </a:cubicBezTo>
                      <a:cubicBezTo>
                        <a:pt x="136" y="203"/>
                        <a:pt x="136" y="205"/>
                        <a:pt x="137" y="208"/>
                      </a:cubicBezTo>
                      <a:cubicBezTo>
                        <a:pt x="138" y="210"/>
                        <a:pt x="139" y="213"/>
                        <a:pt x="138" y="216"/>
                      </a:cubicBezTo>
                      <a:cubicBezTo>
                        <a:pt x="138" y="218"/>
                        <a:pt x="136" y="219"/>
                        <a:pt x="140" y="220"/>
                      </a:cubicBezTo>
                      <a:cubicBezTo>
                        <a:pt x="142" y="221"/>
                        <a:pt x="145" y="223"/>
                        <a:pt x="146" y="226"/>
                      </a:cubicBezTo>
                      <a:cubicBezTo>
                        <a:pt x="147" y="228"/>
                        <a:pt x="143" y="232"/>
                        <a:pt x="149" y="233"/>
                      </a:cubicBezTo>
                      <a:cubicBezTo>
                        <a:pt x="152" y="234"/>
                        <a:pt x="153" y="235"/>
                        <a:pt x="151" y="238"/>
                      </a:cubicBezTo>
                      <a:cubicBezTo>
                        <a:pt x="150" y="239"/>
                        <a:pt x="148" y="239"/>
                        <a:pt x="147" y="241"/>
                      </a:cubicBezTo>
                      <a:cubicBezTo>
                        <a:pt x="147" y="242"/>
                        <a:pt x="150" y="245"/>
                        <a:pt x="151" y="246"/>
                      </a:cubicBezTo>
                      <a:cubicBezTo>
                        <a:pt x="153" y="250"/>
                        <a:pt x="147" y="249"/>
                        <a:pt x="149" y="254"/>
                      </a:cubicBezTo>
                      <a:cubicBezTo>
                        <a:pt x="149" y="256"/>
                        <a:pt x="151" y="257"/>
                        <a:pt x="151" y="260"/>
                      </a:cubicBezTo>
                      <a:cubicBezTo>
                        <a:pt x="152" y="262"/>
                        <a:pt x="150" y="264"/>
                        <a:pt x="153" y="266"/>
                      </a:cubicBezTo>
                      <a:cubicBezTo>
                        <a:pt x="157" y="270"/>
                        <a:pt x="161" y="270"/>
                        <a:pt x="161" y="266"/>
                      </a:cubicBezTo>
                      <a:cubicBezTo>
                        <a:pt x="161" y="264"/>
                        <a:pt x="160" y="262"/>
                        <a:pt x="162" y="262"/>
                      </a:cubicBezTo>
                      <a:cubicBezTo>
                        <a:pt x="163" y="261"/>
                        <a:pt x="166" y="261"/>
                        <a:pt x="168" y="262"/>
                      </a:cubicBezTo>
                      <a:cubicBezTo>
                        <a:pt x="171" y="263"/>
                        <a:pt x="168" y="266"/>
                        <a:pt x="169" y="268"/>
                      </a:cubicBezTo>
                      <a:cubicBezTo>
                        <a:pt x="169" y="270"/>
                        <a:pt x="173" y="269"/>
                        <a:pt x="174" y="269"/>
                      </a:cubicBezTo>
                      <a:cubicBezTo>
                        <a:pt x="177" y="270"/>
                        <a:pt x="177" y="272"/>
                        <a:pt x="177" y="274"/>
                      </a:cubicBezTo>
                      <a:cubicBezTo>
                        <a:pt x="178" y="276"/>
                        <a:pt x="179" y="277"/>
                        <a:pt x="182" y="278"/>
                      </a:cubicBezTo>
                      <a:cubicBezTo>
                        <a:pt x="184" y="279"/>
                        <a:pt x="185" y="281"/>
                        <a:pt x="186" y="284"/>
                      </a:cubicBezTo>
                      <a:cubicBezTo>
                        <a:pt x="188" y="291"/>
                        <a:pt x="182" y="286"/>
                        <a:pt x="178" y="285"/>
                      </a:cubicBezTo>
                      <a:cubicBezTo>
                        <a:pt x="175" y="284"/>
                        <a:pt x="173" y="284"/>
                        <a:pt x="170" y="282"/>
                      </a:cubicBezTo>
                      <a:cubicBezTo>
                        <a:pt x="168" y="281"/>
                        <a:pt x="166" y="279"/>
                        <a:pt x="164" y="279"/>
                      </a:cubicBezTo>
                      <a:cubicBezTo>
                        <a:pt x="158" y="278"/>
                        <a:pt x="164" y="287"/>
                        <a:pt x="164" y="290"/>
                      </a:cubicBezTo>
                      <a:cubicBezTo>
                        <a:pt x="164" y="292"/>
                        <a:pt x="162" y="293"/>
                        <a:pt x="161" y="294"/>
                      </a:cubicBezTo>
                      <a:cubicBezTo>
                        <a:pt x="160" y="296"/>
                        <a:pt x="160" y="299"/>
                        <a:pt x="160" y="301"/>
                      </a:cubicBezTo>
                      <a:cubicBezTo>
                        <a:pt x="160" y="303"/>
                        <a:pt x="161" y="307"/>
                        <a:pt x="164" y="307"/>
                      </a:cubicBezTo>
                      <a:cubicBezTo>
                        <a:pt x="168" y="308"/>
                        <a:pt x="165" y="310"/>
                        <a:pt x="167" y="312"/>
                      </a:cubicBezTo>
                      <a:cubicBezTo>
                        <a:pt x="169" y="315"/>
                        <a:pt x="170" y="314"/>
                        <a:pt x="173" y="313"/>
                      </a:cubicBezTo>
                      <a:cubicBezTo>
                        <a:pt x="175" y="313"/>
                        <a:pt x="178" y="313"/>
                        <a:pt x="180" y="313"/>
                      </a:cubicBezTo>
                      <a:cubicBezTo>
                        <a:pt x="186" y="312"/>
                        <a:pt x="182" y="307"/>
                        <a:pt x="179" y="304"/>
                      </a:cubicBezTo>
                      <a:cubicBezTo>
                        <a:pt x="173" y="299"/>
                        <a:pt x="182" y="300"/>
                        <a:pt x="184" y="300"/>
                      </a:cubicBezTo>
                      <a:cubicBezTo>
                        <a:pt x="189" y="298"/>
                        <a:pt x="193" y="303"/>
                        <a:pt x="193" y="307"/>
                      </a:cubicBezTo>
                      <a:cubicBezTo>
                        <a:pt x="194" y="310"/>
                        <a:pt x="193" y="313"/>
                        <a:pt x="192" y="315"/>
                      </a:cubicBezTo>
                      <a:cubicBezTo>
                        <a:pt x="192" y="317"/>
                        <a:pt x="192" y="321"/>
                        <a:pt x="190" y="322"/>
                      </a:cubicBezTo>
                      <a:cubicBezTo>
                        <a:pt x="186" y="323"/>
                        <a:pt x="193" y="330"/>
                        <a:pt x="187" y="330"/>
                      </a:cubicBezTo>
                      <a:cubicBezTo>
                        <a:pt x="185" y="330"/>
                        <a:pt x="178" y="331"/>
                        <a:pt x="181" y="335"/>
                      </a:cubicBezTo>
                      <a:cubicBezTo>
                        <a:pt x="183" y="337"/>
                        <a:pt x="188" y="333"/>
                        <a:pt x="191" y="334"/>
                      </a:cubicBezTo>
                      <a:cubicBezTo>
                        <a:pt x="193" y="335"/>
                        <a:pt x="192" y="338"/>
                        <a:pt x="194" y="339"/>
                      </a:cubicBezTo>
                      <a:cubicBezTo>
                        <a:pt x="195" y="340"/>
                        <a:pt x="196" y="340"/>
                        <a:pt x="197" y="341"/>
                      </a:cubicBezTo>
                      <a:cubicBezTo>
                        <a:pt x="198" y="343"/>
                        <a:pt x="199" y="344"/>
                        <a:pt x="197" y="344"/>
                      </a:cubicBezTo>
                      <a:cubicBezTo>
                        <a:pt x="195" y="344"/>
                        <a:pt x="194" y="341"/>
                        <a:pt x="192" y="340"/>
                      </a:cubicBezTo>
                      <a:cubicBezTo>
                        <a:pt x="189" y="340"/>
                        <a:pt x="186" y="341"/>
                        <a:pt x="184" y="339"/>
                      </a:cubicBezTo>
                      <a:cubicBezTo>
                        <a:pt x="181" y="338"/>
                        <a:pt x="180" y="338"/>
                        <a:pt x="178" y="340"/>
                      </a:cubicBezTo>
                      <a:cubicBezTo>
                        <a:pt x="177" y="341"/>
                        <a:pt x="175" y="341"/>
                        <a:pt x="173" y="343"/>
                      </a:cubicBezTo>
                      <a:cubicBezTo>
                        <a:pt x="171" y="344"/>
                        <a:pt x="173" y="347"/>
                        <a:pt x="175" y="348"/>
                      </a:cubicBezTo>
                      <a:cubicBezTo>
                        <a:pt x="176" y="350"/>
                        <a:pt x="175" y="352"/>
                        <a:pt x="177" y="354"/>
                      </a:cubicBezTo>
                      <a:cubicBezTo>
                        <a:pt x="178" y="356"/>
                        <a:pt x="177" y="357"/>
                        <a:pt x="175" y="357"/>
                      </a:cubicBezTo>
                      <a:cubicBezTo>
                        <a:pt x="173" y="356"/>
                        <a:pt x="174" y="358"/>
                        <a:pt x="175" y="359"/>
                      </a:cubicBezTo>
                      <a:cubicBezTo>
                        <a:pt x="176" y="361"/>
                        <a:pt x="179" y="363"/>
                        <a:pt x="182" y="363"/>
                      </a:cubicBezTo>
                      <a:cubicBezTo>
                        <a:pt x="182" y="365"/>
                        <a:pt x="180" y="366"/>
                        <a:pt x="180" y="368"/>
                      </a:cubicBezTo>
                      <a:cubicBezTo>
                        <a:pt x="179" y="371"/>
                        <a:pt x="178" y="373"/>
                        <a:pt x="180" y="376"/>
                      </a:cubicBezTo>
                      <a:cubicBezTo>
                        <a:pt x="182" y="379"/>
                        <a:pt x="184" y="382"/>
                        <a:pt x="186" y="385"/>
                      </a:cubicBezTo>
                      <a:cubicBezTo>
                        <a:pt x="189" y="388"/>
                        <a:pt x="189" y="390"/>
                        <a:pt x="190" y="394"/>
                      </a:cubicBezTo>
                      <a:cubicBezTo>
                        <a:pt x="191" y="397"/>
                        <a:pt x="192" y="401"/>
                        <a:pt x="193" y="405"/>
                      </a:cubicBezTo>
                      <a:cubicBezTo>
                        <a:pt x="193" y="408"/>
                        <a:pt x="192" y="411"/>
                        <a:pt x="193" y="414"/>
                      </a:cubicBezTo>
                      <a:cubicBezTo>
                        <a:pt x="195" y="416"/>
                        <a:pt x="196" y="413"/>
                        <a:pt x="197" y="412"/>
                      </a:cubicBezTo>
                      <a:cubicBezTo>
                        <a:pt x="198" y="410"/>
                        <a:pt x="199" y="407"/>
                        <a:pt x="202" y="407"/>
                      </a:cubicBezTo>
                      <a:cubicBezTo>
                        <a:pt x="207" y="408"/>
                        <a:pt x="200" y="417"/>
                        <a:pt x="200" y="420"/>
                      </a:cubicBezTo>
                      <a:cubicBezTo>
                        <a:pt x="199" y="428"/>
                        <a:pt x="205" y="433"/>
                        <a:pt x="208" y="440"/>
                      </a:cubicBezTo>
                      <a:cubicBezTo>
                        <a:pt x="211" y="444"/>
                        <a:pt x="211" y="450"/>
                        <a:pt x="213" y="455"/>
                      </a:cubicBezTo>
                      <a:cubicBezTo>
                        <a:pt x="215" y="460"/>
                        <a:pt x="219" y="463"/>
                        <a:pt x="220" y="468"/>
                      </a:cubicBezTo>
                      <a:cubicBezTo>
                        <a:pt x="221" y="470"/>
                        <a:pt x="223" y="472"/>
                        <a:pt x="225" y="473"/>
                      </a:cubicBezTo>
                      <a:cubicBezTo>
                        <a:pt x="227" y="474"/>
                        <a:pt x="230" y="475"/>
                        <a:pt x="230" y="478"/>
                      </a:cubicBezTo>
                      <a:cubicBezTo>
                        <a:pt x="230" y="478"/>
                        <a:pt x="230" y="485"/>
                        <a:pt x="231" y="483"/>
                      </a:cubicBezTo>
                      <a:cubicBezTo>
                        <a:pt x="233" y="481"/>
                        <a:pt x="232" y="478"/>
                        <a:pt x="236" y="479"/>
                      </a:cubicBezTo>
                      <a:cubicBezTo>
                        <a:pt x="238" y="479"/>
                        <a:pt x="241" y="479"/>
                        <a:pt x="242" y="481"/>
                      </a:cubicBezTo>
                      <a:cubicBezTo>
                        <a:pt x="243" y="484"/>
                        <a:pt x="243" y="485"/>
                        <a:pt x="245" y="486"/>
                      </a:cubicBezTo>
                      <a:cubicBezTo>
                        <a:pt x="246" y="487"/>
                        <a:pt x="250" y="487"/>
                        <a:pt x="250" y="489"/>
                      </a:cubicBezTo>
                      <a:cubicBezTo>
                        <a:pt x="251" y="492"/>
                        <a:pt x="249" y="494"/>
                        <a:pt x="252" y="496"/>
                      </a:cubicBezTo>
                      <a:cubicBezTo>
                        <a:pt x="254" y="499"/>
                        <a:pt x="255" y="495"/>
                        <a:pt x="256" y="494"/>
                      </a:cubicBezTo>
                      <a:cubicBezTo>
                        <a:pt x="258" y="492"/>
                        <a:pt x="260" y="493"/>
                        <a:pt x="262" y="495"/>
                      </a:cubicBezTo>
                      <a:cubicBezTo>
                        <a:pt x="267" y="500"/>
                        <a:pt x="265" y="485"/>
                        <a:pt x="265" y="482"/>
                      </a:cubicBezTo>
                      <a:cubicBezTo>
                        <a:pt x="265" y="479"/>
                        <a:pt x="265" y="476"/>
                        <a:pt x="267" y="474"/>
                      </a:cubicBezTo>
                      <a:cubicBezTo>
                        <a:pt x="268" y="471"/>
                        <a:pt x="270" y="470"/>
                        <a:pt x="269" y="467"/>
                      </a:cubicBezTo>
                      <a:cubicBezTo>
                        <a:pt x="268" y="464"/>
                        <a:pt x="268" y="461"/>
                        <a:pt x="267" y="458"/>
                      </a:cubicBezTo>
                      <a:cubicBezTo>
                        <a:pt x="267" y="455"/>
                        <a:pt x="264" y="453"/>
                        <a:pt x="265" y="450"/>
                      </a:cubicBezTo>
                      <a:cubicBezTo>
                        <a:pt x="266" y="447"/>
                        <a:pt x="272" y="450"/>
                        <a:pt x="271" y="446"/>
                      </a:cubicBezTo>
                      <a:cubicBezTo>
                        <a:pt x="271" y="443"/>
                        <a:pt x="271" y="440"/>
                        <a:pt x="272" y="439"/>
                      </a:cubicBezTo>
                      <a:cubicBezTo>
                        <a:pt x="274" y="438"/>
                        <a:pt x="275" y="436"/>
                        <a:pt x="276" y="433"/>
                      </a:cubicBezTo>
                      <a:cubicBezTo>
                        <a:pt x="276" y="430"/>
                        <a:pt x="277" y="427"/>
                        <a:pt x="274" y="425"/>
                      </a:cubicBezTo>
                      <a:cubicBezTo>
                        <a:pt x="273" y="423"/>
                        <a:pt x="272" y="420"/>
                        <a:pt x="274" y="419"/>
                      </a:cubicBezTo>
                      <a:cubicBezTo>
                        <a:pt x="279" y="418"/>
                        <a:pt x="274" y="415"/>
                        <a:pt x="272" y="414"/>
                      </a:cubicBezTo>
                      <a:cubicBezTo>
                        <a:pt x="268" y="410"/>
                        <a:pt x="272" y="408"/>
                        <a:pt x="274" y="408"/>
                      </a:cubicBezTo>
                      <a:cubicBezTo>
                        <a:pt x="275" y="408"/>
                        <a:pt x="277" y="409"/>
                        <a:pt x="278" y="408"/>
                      </a:cubicBezTo>
                      <a:cubicBezTo>
                        <a:pt x="278" y="407"/>
                        <a:pt x="276" y="405"/>
                        <a:pt x="275" y="405"/>
                      </a:cubicBezTo>
                      <a:cubicBezTo>
                        <a:pt x="274" y="404"/>
                        <a:pt x="277" y="404"/>
                        <a:pt x="277" y="403"/>
                      </a:cubicBezTo>
                      <a:cubicBezTo>
                        <a:pt x="278" y="402"/>
                        <a:pt x="277" y="400"/>
                        <a:pt x="278" y="399"/>
                      </a:cubicBezTo>
                      <a:cubicBezTo>
                        <a:pt x="279" y="397"/>
                        <a:pt x="281" y="397"/>
                        <a:pt x="283" y="397"/>
                      </a:cubicBezTo>
                      <a:cubicBezTo>
                        <a:pt x="284" y="397"/>
                        <a:pt x="285" y="395"/>
                        <a:pt x="286" y="395"/>
                      </a:cubicBezTo>
                      <a:cubicBezTo>
                        <a:pt x="290" y="394"/>
                        <a:pt x="288" y="392"/>
                        <a:pt x="289" y="388"/>
                      </a:cubicBezTo>
                      <a:cubicBezTo>
                        <a:pt x="289" y="387"/>
                        <a:pt x="292" y="386"/>
                        <a:pt x="292" y="388"/>
                      </a:cubicBezTo>
                      <a:cubicBezTo>
                        <a:pt x="292" y="390"/>
                        <a:pt x="291" y="391"/>
                        <a:pt x="291" y="392"/>
                      </a:cubicBezTo>
                      <a:cubicBezTo>
                        <a:pt x="290" y="394"/>
                        <a:pt x="293" y="396"/>
                        <a:pt x="295" y="396"/>
                      </a:cubicBezTo>
                      <a:cubicBezTo>
                        <a:pt x="297" y="397"/>
                        <a:pt x="296" y="394"/>
                        <a:pt x="298" y="393"/>
                      </a:cubicBezTo>
                      <a:cubicBezTo>
                        <a:pt x="299" y="392"/>
                        <a:pt x="301" y="395"/>
                        <a:pt x="302" y="394"/>
                      </a:cubicBezTo>
                      <a:cubicBezTo>
                        <a:pt x="304" y="393"/>
                        <a:pt x="305" y="392"/>
                        <a:pt x="306" y="391"/>
                      </a:cubicBezTo>
                      <a:cubicBezTo>
                        <a:pt x="306" y="388"/>
                        <a:pt x="307" y="387"/>
                        <a:pt x="309" y="386"/>
                      </a:cubicBezTo>
                      <a:cubicBezTo>
                        <a:pt x="310" y="385"/>
                        <a:pt x="312" y="385"/>
                        <a:pt x="312" y="382"/>
                      </a:cubicBezTo>
                      <a:cubicBezTo>
                        <a:pt x="312" y="379"/>
                        <a:pt x="314" y="375"/>
                        <a:pt x="313" y="371"/>
                      </a:cubicBezTo>
                      <a:cubicBezTo>
                        <a:pt x="313" y="368"/>
                        <a:pt x="312" y="367"/>
                        <a:pt x="315" y="366"/>
                      </a:cubicBezTo>
                      <a:cubicBezTo>
                        <a:pt x="317" y="366"/>
                        <a:pt x="319" y="365"/>
                        <a:pt x="320" y="364"/>
                      </a:cubicBezTo>
                      <a:cubicBezTo>
                        <a:pt x="323" y="362"/>
                        <a:pt x="323" y="362"/>
                        <a:pt x="321" y="359"/>
                      </a:cubicBezTo>
                      <a:cubicBezTo>
                        <a:pt x="320" y="357"/>
                        <a:pt x="319" y="356"/>
                        <a:pt x="320" y="353"/>
                      </a:cubicBezTo>
                      <a:cubicBezTo>
                        <a:pt x="322" y="354"/>
                        <a:pt x="323" y="356"/>
                        <a:pt x="325" y="358"/>
                      </a:cubicBezTo>
                      <a:cubicBezTo>
                        <a:pt x="327" y="361"/>
                        <a:pt x="330" y="361"/>
                        <a:pt x="332" y="360"/>
                      </a:cubicBezTo>
                      <a:cubicBezTo>
                        <a:pt x="333" y="359"/>
                        <a:pt x="334" y="358"/>
                        <a:pt x="335" y="358"/>
                      </a:cubicBezTo>
                      <a:cubicBezTo>
                        <a:pt x="336" y="357"/>
                        <a:pt x="338" y="357"/>
                        <a:pt x="339" y="357"/>
                      </a:cubicBezTo>
                      <a:cubicBezTo>
                        <a:pt x="342" y="356"/>
                        <a:pt x="346" y="355"/>
                        <a:pt x="349" y="356"/>
                      </a:cubicBezTo>
                      <a:cubicBezTo>
                        <a:pt x="354" y="357"/>
                        <a:pt x="355" y="349"/>
                        <a:pt x="358" y="346"/>
                      </a:cubicBezTo>
                      <a:cubicBezTo>
                        <a:pt x="359" y="345"/>
                        <a:pt x="362" y="346"/>
                        <a:pt x="363" y="344"/>
                      </a:cubicBezTo>
                      <a:cubicBezTo>
                        <a:pt x="364" y="341"/>
                        <a:pt x="364" y="340"/>
                        <a:pt x="366" y="339"/>
                      </a:cubicBezTo>
                      <a:cubicBezTo>
                        <a:pt x="368" y="338"/>
                        <a:pt x="370" y="337"/>
                        <a:pt x="370" y="335"/>
                      </a:cubicBezTo>
                      <a:cubicBezTo>
                        <a:pt x="370" y="332"/>
                        <a:pt x="367" y="331"/>
                        <a:pt x="365" y="329"/>
                      </a:cubicBezTo>
                      <a:cubicBezTo>
                        <a:pt x="363" y="328"/>
                        <a:pt x="362" y="327"/>
                        <a:pt x="361" y="327"/>
                      </a:cubicBezTo>
                      <a:cubicBezTo>
                        <a:pt x="359" y="326"/>
                        <a:pt x="357" y="324"/>
                        <a:pt x="355" y="323"/>
                      </a:cubicBezTo>
                      <a:cubicBezTo>
                        <a:pt x="353" y="322"/>
                        <a:pt x="351" y="325"/>
                        <a:pt x="348" y="322"/>
                      </a:cubicBezTo>
                      <a:cubicBezTo>
                        <a:pt x="347" y="321"/>
                        <a:pt x="347" y="320"/>
                        <a:pt x="346" y="319"/>
                      </a:cubicBezTo>
                      <a:cubicBezTo>
                        <a:pt x="346" y="319"/>
                        <a:pt x="343" y="317"/>
                        <a:pt x="344" y="316"/>
                      </a:cubicBezTo>
                      <a:cubicBezTo>
                        <a:pt x="345" y="316"/>
                        <a:pt x="350" y="317"/>
                        <a:pt x="346" y="314"/>
                      </a:cubicBezTo>
                      <a:cubicBezTo>
                        <a:pt x="345" y="313"/>
                        <a:pt x="341" y="311"/>
                        <a:pt x="340" y="309"/>
                      </a:cubicBezTo>
                      <a:cubicBezTo>
                        <a:pt x="340" y="308"/>
                        <a:pt x="343" y="310"/>
                        <a:pt x="343" y="310"/>
                      </a:cubicBezTo>
                      <a:cubicBezTo>
                        <a:pt x="345" y="310"/>
                        <a:pt x="345" y="310"/>
                        <a:pt x="346" y="309"/>
                      </a:cubicBezTo>
                      <a:cubicBezTo>
                        <a:pt x="347" y="308"/>
                        <a:pt x="350" y="308"/>
                        <a:pt x="348" y="305"/>
                      </a:cubicBezTo>
                      <a:cubicBezTo>
                        <a:pt x="346" y="302"/>
                        <a:pt x="343" y="302"/>
                        <a:pt x="341" y="301"/>
                      </a:cubicBezTo>
                      <a:cubicBezTo>
                        <a:pt x="338" y="299"/>
                        <a:pt x="336" y="296"/>
                        <a:pt x="334" y="294"/>
                      </a:cubicBezTo>
                      <a:cubicBezTo>
                        <a:pt x="331" y="293"/>
                        <a:pt x="327" y="290"/>
                        <a:pt x="327" y="287"/>
                      </a:cubicBezTo>
                      <a:cubicBezTo>
                        <a:pt x="328" y="287"/>
                        <a:pt x="329" y="288"/>
                        <a:pt x="330" y="289"/>
                      </a:cubicBezTo>
                      <a:cubicBezTo>
                        <a:pt x="330" y="290"/>
                        <a:pt x="331" y="290"/>
                        <a:pt x="332" y="291"/>
                      </a:cubicBezTo>
                      <a:cubicBezTo>
                        <a:pt x="334" y="292"/>
                        <a:pt x="336" y="293"/>
                        <a:pt x="338" y="295"/>
                      </a:cubicBezTo>
                      <a:cubicBezTo>
                        <a:pt x="340" y="297"/>
                        <a:pt x="342" y="299"/>
                        <a:pt x="343" y="300"/>
                      </a:cubicBezTo>
                      <a:cubicBezTo>
                        <a:pt x="345" y="302"/>
                        <a:pt x="347" y="302"/>
                        <a:pt x="349" y="303"/>
                      </a:cubicBezTo>
                      <a:cubicBezTo>
                        <a:pt x="353" y="305"/>
                        <a:pt x="354" y="312"/>
                        <a:pt x="355" y="315"/>
                      </a:cubicBezTo>
                      <a:cubicBezTo>
                        <a:pt x="356" y="318"/>
                        <a:pt x="364" y="329"/>
                        <a:pt x="365" y="325"/>
                      </a:cubicBezTo>
                      <a:cubicBezTo>
                        <a:pt x="366" y="323"/>
                        <a:pt x="366" y="321"/>
                        <a:pt x="368" y="324"/>
                      </a:cubicBezTo>
                      <a:cubicBezTo>
                        <a:pt x="369" y="325"/>
                        <a:pt x="369" y="326"/>
                        <a:pt x="370" y="327"/>
                      </a:cubicBezTo>
                      <a:cubicBezTo>
                        <a:pt x="370" y="327"/>
                        <a:pt x="372" y="330"/>
                        <a:pt x="372" y="329"/>
                      </a:cubicBezTo>
                      <a:cubicBezTo>
                        <a:pt x="372" y="326"/>
                        <a:pt x="370" y="323"/>
                        <a:pt x="370" y="320"/>
                      </a:cubicBezTo>
                      <a:cubicBezTo>
                        <a:pt x="370" y="318"/>
                        <a:pt x="370" y="316"/>
                        <a:pt x="369" y="313"/>
                      </a:cubicBezTo>
                      <a:cubicBezTo>
                        <a:pt x="369" y="311"/>
                        <a:pt x="367" y="309"/>
                        <a:pt x="367" y="307"/>
                      </a:cubicBezTo>
                      <a:cubicBezTo>
                        <a:pt x="366" y="301"/>
                        <a:pt x="363" y="299"/>
                        <a:pt x="359" y="295"/>
                      </a:cubicBezTo>
                      <a:cubicBezTo>
                        <a:pt x="357" y="293"/>
                        <a:pt x="355" y="291"/>
                        <a:pt x="353" y="289"/>
                      </a:cubicBezTo>
                      <a:cubicBezTo>
                        <a:pt x="352" y="287"/>
                        <a:pt x="350" y="286"/>
                        <a:pt x="348" y="284"/>
                      </a:cubicBezTo>
                      <a:cubicBezTo>
                        <a:pt x="347" y="283"/>
                        <a:pt x="346" y="281"/>
                        <a:pt x="346" y="279"/>
                      </a:cubicBezTo>
                      <a:cubicBezTo>
                        <a:pt x="345" y="277"/>
                        <a:pt x="343" y="277"/>
                        <a:pt x="341" y="276"/>
                      </a:cubicBezTo>
                      <a:cubicBezTo>
                        <a:pt x="339" y="276"/>
                        <a:pt x="339" y="274"/>
                        <a:pt x="340" y="273"/>
                      </a:cubicBezTo>
                      <a:cubicBezTo>
                        <a:pt x="341" y="273"/>
                        <a:pt x="343" y="273"/>
                        <a:pt x="343" y="272"/>
                      </a:cubicBezTo>
                      <a:cubicBezTo>
                        <a:pt x="346" y="270"/>
                        <a:pt x="339" y="268"/>
                        <a:pt x="338" y="266"/>
                      </a:cubicBezTo>
                      <a:cubicBezTo>
                        <a:pt x="337" y="263"/>
                        <a:pt x="341" y="263"/>
                        <a:pt x="342" y="262"/>
                      </a:cubicBezTo>
                      <a:cubicBezTo>
                        <a:pt x="342" y="261"/>
                        <a:pt x="341" y="259"/>
                        <a:pt x="343" y="260"/>
                      </a:cubicBezTo>
                      <a:cubicBezTo>
                        <a:pt x="345" y="262"/>
                        <a:pt x="348" y="264"/>
                        <a:pt x="350" y="266"/>
                      </a:cubicBezTo>
                      <a:cubicBezTo>
                        <a:pt x="353" y="269"/>
                        <a:pt x="358" y="271"/>
                        <a:pt x="360" y="270"/>
                      </a:cubicBezTo>
                      <a:cubicBezTo>
                        <a:pt x="361" y="269"/>
                        <a:pt x="361" y="267"/>
                        <a:pt x="362" y="266"/>
                      </a:cubicBezTo>
                      <a:cubicBezTo>
                        <a:pt x="363" y="265"/>
                        <a:pt x="364" y="264"/>
                        <a:pt x="363" y="261"/>
                      </a:cubicBezTo>
                      <a:cubicBezTo>
                        <a:pt x="362" y="260"/>
                        <a:pt x="360" y="258"/>
                        <a:pt x="359" y="257"/>
                      </a:cubicBezTo>
                      <a:cubicBezTo>
                        <a:pt x="357" y="256"/>
                        <a:pt x="354" y="255"/>
                        <a:pt x="353" y="253"/>
                      </a:cubicBezTo>
                      <a:cubicBezTo>
                        <a:pt x="352" y="252"/>
                        <a:pt x="352" y="250"/>
                        <a:pt x="352" y="249"/>
                      </a:cubicBezTo>
                      <a:cubicBezTo>
                        <a:pt x="352" y="247"/>
                        <a:pt x="354" y="247"/>
                        <a:pt x="356" y="247"/>
                      </a:cubicBezTo>
                      <a:cubicBezTo>
                        <a:pt x="358" y="248"/>
                        <a:pt x="359" y="249"/>
                        <a:pt x="361" y="250"/>
                      </a:cubicBezTo>
                      <a:cubicBezTo>
                        <a:pt x="363" y="251"/>
                        <a:pt x="365" y="252"/>
                        <a:pt x="365" y="251"/>
                      </a:cubicBezTo>
                      <a:cubicBezTo>
                        <a:pt x="366" y="249"/>
                        <a:pt x="363" y="244"/>
                        <a:pt x="361" y="243"/>
                      </a:cubicBezTo>
                      <a:cubicBezTo>
                        <a:pt x="359" y="243"/>
                        <a:pt x="358" y="243"/>
                        <a:pt x="356" y="241"/>
                      </a:cubicBezTo>
                      <a:cubicBezTo>
                        <a:pt x="355" y="239"/>
                        <a:pt x="355" y="238"/>
                        <a:pt x="354" y="236"/>
                      </a:cubicBezTo>
                      <a:cubicBezTo>
                        <a:pt x="351" y="231"/>
                        <a:pt x="359" y="236"/>
                        <a:pt x="356" y="232"/>
                      </a:cubicBezTo>
                      <a:cubicBezTo>
                        <a:pt x="354" y="229"/>
                        <a:pt x="352" y="229"/>
                        <a:pt x="349" y="226"/>
                      </a:cubicBezTo>
                      <a:cubicBezTo>
                        <a:pt x="348" y="224"/>
                        <a:pt x="351" y="226"/>
                        <a:pt x="352" y="226"/>
                      </a:cubicBezTo>
                      <a:cubicBezTo>
                        <a:pt x="353" y="228"/>
                        <a:pt x="355" y="230"/>
                        <a:pt x="357" y="231"/>
                      </a:cubicBezTo>
                      <a:cubicBezTo>
                        <a:pt x="360" y="234"/>
                        <a:pt x="358" y="229"/>
                        <a:pt x="358" y="227"/>
                      </a:cubicBezTo>
                      <a:cubicBezTo>
                        <a:pt x="357" y="225"/>
                        <a:pt x="357" y="222"/>
                        <a:pt x="356" y="219"/>
                      </a:cubicBezTo>
                      <a:cubicBezTo>
                        <a:pt x="354" y="217"/>
                        <a:pt x="350" y="216"/>
                        <a:pt x="350" y="214"/>
                      </a:cubicBezTo>
                      <a:cubicBezTo>
                        <a:pt x="350" y="213"/>
                        <a:pt x="352" y="213"/>
                        <a:pt x="352" y="212"/>
                      </a:cubicBezTo>
                      <a:cubicBezTo>
                        <a:pt x="353" y="212"/>
                        <a:pt x="351" y="210"/>
                        <a:pt x="350" y="208"/>
                      </a:cubicBezTo>
                      <a:cubicBezTo>
                        <a:pt x="347" y="204"/>
                        <a:pt x="345" y="206"/>
                        <a:pt x="342" y="203"/>
                      </a:cubicBezTo>
                      <a:cubicBezTo>
                        <a:pt x="341" y="202"/>
                        <a:pt x="342" y="200"/>
                        <a:pt x="340" y="200"/>
                      </a:cubicBezTo>
                      <a:cubicBezTo>
                        <a:pt x="338" y="199"/>
                        <a:pt x="337" y="199"/>
                        <a:pt x="337" y="197"/>
                      </a:cubicBezTo>
                      <a:cubicBezTo>
                        <a:pt x="335" y="195"/>
                        <a:pt x="335" y="193"/>
                        <a:pt x="338" y="195"/>
                      </a:cubicBezTo>
                      <a:cubicBezTo>
                        <a:pt x="340" y="196"/>
                        <a:pt x="341" y="197"/>
                        <a:pt x="342" y="196"/>
                      </a:cubicBezTo>
                      <a:cubicBezTo>
                        <a:pt x="343" y="195"/>
                        <a:pt x="341" y="193"/>
                        <a:pt x="342" y="192"/>
                      </a:cubicBezTo>
                      <a:cubicBezTo>
                        <a:pt x="343" y="192"/>
                        <a:pt x="345" y="192"/>
                        <a:pt x="347" y="194"/>
                      </a:cubicBezTo>
                      <a:cubicBezTo>
                        <a:pt x="348" y="196"/>
                        <a:pt x="350" y="197"/>
                        <a:pt x="352" y="197"/>
                      </a:cubicBezTo>
                      <a:cubicBezTo>
                        <a:pt x="353" y="198"/>
                        <a:pt x="355" y="199"/>
                        <a:pt x="355" y="198"/>
                      </a:cubicBezTo>
                      <a:cubicBezTo>
                        <a:pt x="356" y="197"/>
                        <a:pt x="355" y="194"/>
                        <a:pt x="355" y="193"/>
                      </a:cubicBezTo>
                      <a:cubicBezTo>
                        <a:pt x="354" y="191"/>
                        <a:pt x="353" y="189"/>
                        <a:pt x="351" y="188"/>
                      </a:cubicBezTo>
                      <a:cubicBezTo>
                        <a:pt x="349" y="186"/>
                        <a:pt x="349" y="187"/>
                        <a:pt x="347" y="186"/>
                      </a:cubicBezTo>
                      <a:cubicBezTo>
                        <a:pt x="346" y="186"/>
                        <a:pt x="346" y="185"/>
                        <a:pt x="345" y="184"/>
                      </a:cubicBezTo>
                      <a:cubicBezTo>
                        <a:pt x="344" y="184"/>
                        <a:pt x="343" y="183"/>
                        <a:pt x="342" y="183"/>
                      </a:cubicBezTo>
                      <a:cubicBezTo>
                        <a:pt x="341" y="182"/>
                        <a:pt x="338" y="180"/>
                        <a:pt x="338" y="179"/>
                      </a:cubicBezTo>
                      <a:cubicBezTo>
                        <a:pt x="339" y="177"/>
                        <a:pt x="346" y="180"/>
                        <a:pt x="343" y="176"/>
                      </a:cubicBezTo>
                      <a:cubicBezTo>
                        <a:pt x="342" y="175"/>
                        <a:pt x="341" y="174"/>
                        <a:pt x="340" y="173"/>
                      </a:cubicBezTo>
                      <a:cubicBezTo>
                        <a:pt x="338" y="172"/>
                        <a:pt x="337" y="169"/>
                        <a:pt x="335" y="168"/>
                      </a:cubicBezTo>
                      <a:cubicBezTo>
                        <a:pt x="333" y="167"/>
                        <a:pt x="334" y="174"/>
                        <a:pt x="331" y="170"/>
                      </a:cubicBezTo>
                      <a:cubicBezTo>
                        <a:pt x="330" y="169"/>
                        <a:pt x="330" y="167"/>
                        <a:pt x="330" y="166"/>
                      </a:cubicBezTo>
                      <a:cubicBezTo>
                        <a:pt x="330" y="164"/>
                        <a:pt x="331" y="163"/>
                        <a:pt x="330" y="161"/>
                      </a:cubicBezTo>
                      <a:cubicBezTo>
                        <a:pt x="329" y="157"/>
                        <a:pt x="327" y="154"/>
                        <a:pt x="327" y="151"/>
                      </a:cubicBezTo>
                      <a:cubicBezTo>
                        <a:pt x="327" y="149"/>
                        <a:pt x="327" y="148"/>
                        <a:pt x="329" y="148"/>
                      </a:cubicBezTo>
                      <a:cubicBezTo>
                        <a:pt x="331" y="148"/>
                        <a:pt x="332" y="148"/>
                        <a:pt x="331" y="147"/>
                      </a:cubicBezTo>
                      <a:cubicBezTo>
                        <a:pt x="331" y="146"/>
                        <a:pt x="330" y="144"/>
                        <a:pt x="330" y="143"/>
                      </a:cubicBezTo>
                      <a:cubicBezTo>
                        <a:pt x="330" y="142"/>
                        <a:pt x="331" y="142"/>
                        <a:pt x="332" y="142"/>
                      </a:cubicBezTo>
                      <a:cubicBezTo>
                        <a:pt x="333" y="141"/>
                        <a:pt x="334" y="141"/>
                        <a:pt x="333" y="139"/>
                      </a:cubicBezTo>
                      <a:cubicBezTo>
                        <a:pt x="332" y="138"/>
                        <a:pt x="331" y="138"/>
                        <a:pt x="331" y="137"/>
                      </a:cubicBezTo>
                      <a:cubicBezTo>
                        <a:pt x="330" y="137"/>
                        <a:pt x="329" y="136"/>
                        <a:pt x="328" y="135"/>
                      </a:cubicBezTo>
                      <a:cubicBezTo>
                        <a:pt x="327" y="133"/>
                        <a:pt x="325" y="127"/>
                        <a:pt x="328" y="128"/>
                      </a:cubicBezTo>
                      <a:cubicBezTo>
                        <a:pt x="329" y="128"/>
                        <a:pt x="330" y="129"/>
                        <a:pt x="332" y="129"/>
                      </a:cubicBezTo>
                      <a:cubicBezTo>
                        <a:pt x="333" y="130"/>
                        <a:pt x="333" y="127"/>
                        <a:pt x="333" y="127"/>
                      </a:cubicBezTo>
                      <a:cubicBezTo>
                        <a:pt x="333" y="125"/>
                        <a:pt x="335" y="122"/>
                        <a:pt x="331" y="120"/>
                      </a:cubicBezTo>
                      <a:cubicBezTo>
                        <a:pt x="329" y="120"/>
                        <a:pt x="328" y="120"/>
                        <a:pt x="326" y="120"/>
                      </a:cubicBezTo>
                      <a:cubicBezTo>
                        <a:pt x="325" y="119"/>
                        <a:pt x="323" y="118"/>
                        <a:pt x="323" y="119"/>
                      </a:cubicBezTo>
                      <a:cubicBezTo>
                        <a:pt x="323" y="120"/>
                        <a:pt x="325" y="126"/>
                        <a:pt x="322" y="124"/>
                      </a:cubicBezTo>
                      <a:cubicBezTo>
                        <a:pt x="319" y="123"/>
                        <a:pt x="318" y="118"/>
                        <a:pt x="318" y="116"/>
                      </a:cubicBezTo>
                      <a:cubicBezTo>
                        <a:pt x="317" y="114"/>
                        <a:pt x="318" y="112"/>
                        <a:pt x="322" y="114"/>
                      </a:cubicBezTo>
                      <a:cubicBezTo>
                        <a:pt x="324" y="115"/>
                        <a:pt x="332" y="120"/>
                        <a:pt x="333" y="119"/>
                      </a:cubicBezTo>
                      <a:cubicBezTo>
                        <a:pt x="335" y="118"/>
                        <a:pt x="336" y="116"/>
                        <a:pt x="335" y="114"/>
                      </a:cubicBezTo>
                      <a:cubicBezTo>
                        <a:pt x="333" y="110"/>
                        <a:pt x="327" y="108"/>
                        <a:pt x="324" y="107"/>
                      </a:cubicBezTo>
                      <a:cubicBezTo>
                        <a:pt x="323" y="106"/>
                        <a:pt x="323" y="108"/>
                        <a:pt x="321" y="108"/>
                      </a:cubicBezTo>
                      <a:cubicBezTo>
                        <a:pt x="320" y="107"/>
                        <a:pt x="319" y="107"/>
                        <a:pt x="317" y="105"/>
                      </a:cubicBezTo>
                      <a:cubicBezTo>
                        <a:pt x="315" y="102"/>
                        <a:pt x="320" y="105"/>
                        <a:pt x="321" y="105"/>
                      </a:cubicBezTo>
                      <a:cubicBezTo>
                        <a:pt x="323" y="105"/>
                        <a:pt x="320" y="101"/>
                        <a:pt x="321" y="101"/>
                      </a:cubicBezTo>
                      <a:cubicBezTo>
                        <a:pt x="323" y="102"/>
                        <a:pt x="324" y="103"/>
                        <a:pt x="326" y="104"/>
                      </a:cubicBezTo>
                      <a:cubicBezTo>
                        <a:pt x="327" y="105"/>
                        <a:pt x="329" y="105"/>
                        <a:pt x="330" y="106"/>
                      </a:cubicBezTo>
                      <a:cubicBezTo>
                        <a:pt x="331" y="106"/>
                        <a:pt x="333" y="108"/>
                        <a:pt x="334" y="107"/>
                      </a:cubicBezTo>
                      <a:cubicBezTo>
                        <a:pt x="335" y="107"/>
                        <a:pt x="334" y="105"/>
                        <a:pt x="335" y="105"/>
                      </a:cubicBezTo>
                      <a:cubicBezTo>
                        <a:pt x="335" y="105"/>
                        <a:pt x="337" y="105"/>
                        <a:pt x="337" y="105"/>
                      </a:cubicBezTo>
                      <a:cubicBezTo>
                        <a:pt x="338" y="103"/>
                        <a:pt x="335" y="102"/>
                        <a:pt x="335" y="100"/>
                      </a:cubicBezTo>
                      <a:cubicBezTo>
                        <a:pt x="335" y="99"/>
                        <a:pt x="336" y="99"/>
                        <a:pt x="337" y="99"/>
                      </a:cubicBezTo>
                      <a:cubicBezTo>
                        <a:pt x="338" y="100"/>
                        <a:pt x="339" y="100"/>
                        <a:pt x="339" y="99"/>
                      </a:cubicBezTo>
                      <a:cubicBezTo>
                        <a:pt x="339" y="96"/>
                        <a:pt x="342" y="95"/>
                        <a:pt x="342" y="93"/>
                      </a:cubicBezTo>
                      <a:cubicBezTo>
                        <a:pt x="344" y="91"/>
                        <a:pt x="338" y="87"/>
                        <a:pt x="335" y="85"/>
                      </a:cubicBezTo>
                      <a:cubicBezTo>
                        <a:pt x="333" y="83"/>
                        <a:pt x="331" y="82"/>
                        <a:pt x="329" y="80"/>
                      </a:cubicBezTo>
                      <a:cubicBezTo>
                        <a:pt x="328" y="79"/>
                        <a:pt x="326" y="77"/>
                        <a:pt x="324" y="76"/>
                      </a:cubicBezTo>
                      <a:cubicBezTo>
                        <a:pt x="322" y="75"/>
                        <a:pt x="321" y="75"/>
                        <a:pt x="320" y="75"/>
                      </a:cubicBezTo>
                      <a:cubicBezTo>
                        <a:pt x="319" y="75"/>
                        <a:pt x="319" y="76"/>
                        <a:pt x="318" y="76"/>
                      </a:cubicBezTo>
                      <a:cubicBezTo>
                        <a:pt x="318" y="76"/>
                        <a:pt x="317" y="75"/>
                        <a:pt x="316" y="76"/>
                      </a:cubicBezTo>
                      <a:cubicBezTo>
                        <a:pt x="315" y="76"/>
                        <a:pt x="314" y="76"/>
                        <a:pt x="314" y="77"/>
                      </a:cubicBezTo>
                      <a:cubicBezTo>
                        <a:pt x="315" y="78"/>
                        <a:pt x="315" y="79"/>
                        <a:pt x="315" y="80"/>
                      </a:cubicBezTo>
                      <a:cubicBezTo>
                        <a:pt x="315" y="81"/>
                        <a:pt x="309" y="75"/>
                        <a:pt x="308" y="74"/>
                      </a:cubicBezTo>
                      <a:cubicBezTo>
                        <a:pt x="307" y="73"/>
                        <a:pt x="305" y="72"/>
                        <a:pt x="305" y="73"/>
                      </a:cubicBezTo>
                      <a:cubicBezTo>
                        <a:pt x="303" y="73"/>
                        <a:pt x="306" y="74"/>
                        <a:pt x="307" y="75"/>
                      </a:cubicBezTo>
                      <a:cubicBezTo>
                        <a:pt x="308" y="76"/>
                        <a:pt x="309" y="77"/>
                        <a:pt x="311" y="79"/>
                      </a:cubicBezTo>
                      <a:cubicBezTo>
                        <a:pt x="312" y="80"/>
                        <a:pt x="314" y="81"/>
                        <a:pt x="315" y="82"/>
                      </a:cubicBezTo>
                      <a:cubicBezTo>
                        <a:pt x="317" y="85"/>
                        <a:pt x="314" y="85"/>
                        <a:pt x="311" y="83"/>
                      </a:cubicBezTo>
                      <a:cubicBezTo>
                        <a:pt x="310" y="82"/>
                        <a:pt x="308" y="80"/>
                        <a:pt x="308" y="80"/>
                      </a:cubicBezTo>
                      <a:cubicBezTo>
                        <a:pt x="306" y="80"/>
                        <a:pt x="306" y="80"/>
                        <a:pt x="304" y="78"/>
                      </a:cubicBezTo>
                      <a:cubicBezTo>
                        <a:pt x="303" y="77"/>
                        <a:pt x="302" y="76"/>
                        <a:pt x="301" y="75"/>
                      </a:cubicBezTo>
                      <a:cubicBezTo>
                        <a:pt x="300" y="74"/>
                        <a:pt x="297" y="73"/>
                        <a:pt x="299" y="75"/>
                      </a:cubicBezTo>
                      <a:cubicBezTo>
                        <a:pt x="302" y="78"/>
                        <a:pt x="301" y="79"/>
                        <a:pt x="300" y="81"/>
                      </a:cubicBezTo>
                      <a:cubicBezTo>
                        <a:pt x="300" y="83"/>
                        <a:pt x="299" y="83"/>
                        <a:pt x="299" y="85"/>
                      </a:cubicBezTo>
                      <a:cubicBezTo>
                        <a:pt x="299" y="86"/>
                        <a:pt x="299" y="87"/>
                        <a:pt x="299" y="89"/>
                      </a:cubicBezTo>
                      <a:cubicBezTo>
                        <a:pt x="299" y="90"/>
                        <a:pt x="298" y="90"/>
                        <a:pt x="297" y="91"/>
                      </a:cubicBezTo>
                      <a:cubicBezTo>
                        <a:pt x="296" y="91"/>
                        <a:pt x="296" y="93"/>
                        <a:pt x="296" y="94"/>
                      </a:cubicBezTo>
                      <a:cubicBezTo>
                        <a:pt x="295" y="94"/>
                        <a:pt x="294" y="96"/>
                        <a:pt x="293" y="96"/>
                      </a:cubicBezTo>
                      <a:cubicBezTo>
                        <a:pt x="293" y="96"/>
                        <a:pt x="292" y="94"/>
                        <a:pt x="292" y="94"/>
                      </a:cubicBezTo>
                      <a:cubicBezTo>
                        <a:pt x="292" y="93"/>
                        <a:pt x="292" y="91"/>
                        <a:pt x="293" y="90"/>
                      </a:cubicBezTo>
                      <a:cubicBezTo>
                        <a:pt x="294" y="89"/>
                        <a:pt x="294" y="88"/>
                        <a:pt x="294" y="86"/>
                      </a:cubicBezTo>
                      <a:cubicBezTo>
                        <a:pt x="294" y="85"/>
                        <a:pt x="293" y="84"/>
                        <a:pt x="294" y="83"/>
                      </a:cubicBezTo>
                      <a:cubicBezTo>
                        <a:pt x="294" y="81"/>
                        <a:pt x="294" y="81"/>
                        <a:pt x="294" y="79"/>
                      </a:cubicBezTo>
                      <a:cubicBezTo>
                        <a:pt x="292" y="76"/>
                        <a:pt x="291" y="72"/>
                        <a:pt x="290" y="69"/>
                      </a:cubicBezTo>
                      <a:cubicBezTo>
                        <a:pt x="290" y="68"/>
                        <a:pt x="289" y="65"/>
                        <a:pt x="287" y="63"/>
                      </a:cubicBezTo>
                      <a:cubicBezTo>
                        <a:pt x="284" y="61"/>
                        <a:pt x="280" y="61"/>
                        <a:pt x="280" y="63"/>
                      </a:cubicBezTo>
                      <a:cubicBezTo>
                        <a:pt x="279" y="65"/>
                        <a:pt x="282" y="68"/>
                        <a:pt x="279" y="69"/>
                      </a:cubicBezTo>
                      <a:cubicBezTo>
                        <a:pt x="277" y="70"/>
                        <a:pt x="273" y="69"/>
                        <a:pt x="271" y="70"/>
                      </a:cubicBezTo>
                      <a:cubicBezTo>
                        <a:pt x="271" y="70"/>
                        <a:pt x="267" y="73"/>
                        <a:pt x="265" y="71"/>
                      </a:cubicBezTo>
                      <a:cubicBezTo>
                        <a:pt x="264" y="69"/>
                        <a:pt x="267" y="67"/>
                        <a:pt x="268" y="67"/>
                      </a:cubicBezTo>
                      <a:cubicBezTo>
                        <a:pt x="271" y="66"/>
                        <a:pt x="274" y="67"/>
                        <a:pt x="273" y="64"/>
                      </a:cubicBezTo>
                      <a:cubicBezTo>
                        <a:pt x="272" y="61"/>
                        <a:pt x="271" y="60"/>
                        <a:pt x="268" y="59"/>
                      </a:cubicBezTo>
                      <a:cubicBezTo>
                        <a:pt x="264" y="58"/>
                        <a:pt x="261" y="57"/>
                        <a:pt x="257" y="55"/>
                      </a:cubicBezTo>
                      <a:cubicBezTo>
                        <a:pt x="252" y="54"/>
                        <a:pt x="250" y="54"/>
                        <a:pt x="247" y="55"/>
                      </a:cubicBezTo>
                      <a:cubicBezTo>
                        <a:pt x="246" y="56"/>
                        <a:pt x="244" y="56"/>
                        <a:pt x="242" y="55"/>
                      </a:cubicBezTo>
                      <a:cubicBezTo>
                        <a:pt x="240" y="55"/>
                        <a:pt x="237" y="54"/>
                        <a:pt x="236" y="55"/>
                      </a:cubicBezTo>
                      <a:cubicBezTo>
                        <a:pt x="236" y="56"/>
                        <a:pt x="235" y="59"/>
                        <a:pt x="232" y="57"/>
                      </a:cubicBezTo>
                      <a:cubicBezTo>
                        <a:pt x="230" y="56"/>
                        <a:pt x="230" y="52"/>
                        <a:pt x="230" y="52"/>
                      </a:cubicBezTo>
                      <a:cubicBezTo>
                        <a:pt x="230" y="51"/>
                        <a:pt x="232" y="51"/>
                        <a:pt x="234" y="51"/>
                      </a:cubicBezTo>
                      <a:cubicBezTo>
                        <a:pt x="235" y="51"/>
                        <a:pt x="237" y="51"/>
                        <a:pt x="239" y="51"/>
                      </a:cubicBezTo>
                      <a:cubicBezTo>
                        <a:pt x="243" y="52"/>
                        <a:pt x="243" y="49"/>
                        <a:pt x="248" y="51"/>
                      </a:cubicBezTo>
                      <a:cubicBezTo>
                        <a:pt x="250" y="51"/>
                        <a:pt x="251" y="51"/>
                        <a:pt x="253" y="51"/>
                      </a:cubicBezTo>
                      <a:cubicBezTo>
                        <a:pt x="255" y="52"/>
                        <a:pt x="258" y="52"/>
                        <a:pt x="260" y="53"/>
                      </a:cubicBezTo>
                      <a:cubicBezTo>
                        <a:pt x="265" y="55"/>
                        <a:pt x="267" y="55"/>
                        <a:pt x="271" y="55"/>
                      </a:cubicBezTo>
                      <a:cubicBezTo>
                        <a:pt x="273" y="56"/>
                        <a:pt x="274" y="54"/>
                        <a:pt x="276" y="54"/>
                      </a:cubicBezTo>
                      <a:cubicBezTo>
                        <a:pt x="277" y="54"/>
                        <a:pt x="278" y="54"/>
                        <a:pt x="279" y="54"/>
                      </a:cubicBezTo>
                      <a:cubicBezTo>
                        <a:pt x="280" y="54"/>
                        <a:pt x="280" y="54"/>
                        <a:pt x="281" y="53"/>
                      </a:cubicBezTo>
                      <a:cubicBezTo>
                        <a:pt x="281" y="52"/>
                        <a:pt x="282" y="51"/>
                        <a:pt x="283" y="51"/>
                      </a:cubicBezTo>
                      <a:cubicBezTo>
                        <a:pt x="283" y="50"/>
                        <a:pt x="284" y="50"/>
                        <a:pt x="284" y="49"/>
                      </a:cubicBezTo>
                      <a:cubicBezTo>
                        <a:pt x="284" y="48"/>
                        <a:pt x="281" y="46"/>
                        <a:pt x="280" y="44"/>
                      </a:cubicBezTo>
                      <a:cubicBezTo>
                        <a:pt x="279" y="43"/>
                        <a:pt x="277" y="41"/>
                        <a:pt x="275" y="40"/>
                      </a:cubicBezTo>
                      <a:cubicBezTo>
                        <a:pt x="273" y="40"/>
                        <a:pt x="271" y="39"/>
                        <a:pt x="270" y="37"/>
                      </a:cubicBezTo>
                      <a:cubicBezTo>
                        <a:pt x="267" y="35"/>
                        <a:pt x="267" y="35"/>
                        <a:pt x="266" y="36"/>
                      </a:cubicBezTo>
                      <a:cubicBezTo>
                        <a:pt x="265" y="37"/>
                        <a:pt x="261" y="37"/>
                        <a:pt x="261" y="35"/>
                      </a:cubicBezTo>
                      <a:cubicBezTo>
                        <a:pt x="260" y="33"/>
                        <a:pt x="262" y="32"/>
                        <a:pt x="261" y="30"/>
                      </a:cubicBezTo>
                      <a:cubicBezTo>
                        <a:pt x="260" y="29"/>
                        <a:pt x="259" y="27"/>
                        <a:pt x="257" y="27"/>
                      </a:cubicBezTo>
                      <a:cubicBezTo>
                        <a:pt x="255" y="26"/>
                        <a:pt x="253" y="26"/>
                        <a:pt x="252" y="26"/>
                      </a:cubicBezTo>
                      <a:cubicBezTo>
                        <a:pt x="251" y="26"/>
                        <a:pt x="250" y="27"/>
                        <a:pt x="249" y="27"/>
                      </a:cubicBezTo>
                      <a:cubicBezTo>
                        <a:pt x="247" y="26"/>
                        <a:pt x="242" y="25"/>
                        <a:pt x="240" y="24"/>
                      </a:cubicBezTo>
                      <a:cubicBezTo>
                        <a:pt x="236" y="22"/>
                        <a:pt x="232" y="21"/>
                        <a:pt x="229" y="22"/>
                      </a:cubicBezTo>
                      <a:cubicBezTo>
                        <a:pt x="227" y="22"/>
                        <a:pt x="224" y="22"/>
                        <a:pt x="221" y="22"/>
                      </a:cubicBezTo>
                      <a:cubicBezTo>
                        <a:pt x="218" y="22"/>
                        <a:pt x="214" y="20"/>
                        <a:pt x="211" y="21"/>
                      </a:cubicBezTo>
                      <a:cubicBezTo>
                        <a:pt x="210" y="21"/>
                        <a:pt x="208" y="22"/>
                        <a:pt x="206" y="21"/>
                      </a:cubicBezTo>
                      <a:cubicBezTo>
                        <a:pt x="205" y="20"/>
                        <a:pt x="209" y="20"/>
                        <a:pt x="211" y="20"/>
                      </a:cubicBezTo>
                      <a:cubicBezTo>
                        <a:pt x="212" y="20"/>
                        <a:pt x="213" y="20"/>
                        <a:pt x="215" y="20"/>
                      </a:cubicBezTo>
                      <a:cubicBezTo>
                        <a:pt x="218" y="21"/>
                        <a:pt x="219" y="20"/>
                        <a:pt x="221" y="20"/>
                      </a:cubicBezTo>
                      <a:cubicBezTo>
                        <a:pt x="222" y="20"/>
                        <a:pt x="224" y="21"/>
                        <a:pt x="226" y="20"/>
                      </a:cubicBezTo>
                      <a:cubicBezTo>
                        <a:pt x="227" y="20"/>
                        <a:pt x="227" y="19"/>
                        <a:pt x="229" y="20"/>
                      </a:cubicBezTo>
                      <a:cubicBezTo>
                        <a:pt x="234" y="21"/>
                        <a:pt x="239" y="22"/>
                        <a:pt x="244" y="23"/>
                      </a:cubicBezTo>
                      <a:cubicBezTo>
                        <a:pt x="246" y="24"/>
                        <a:pt x="247" y="23"/>
                        <a:pt x="248" y="23"/>
                      </a:cubicBezTo>
                      <a:cubicBezTo>
                        <a:pt x="249" y="23"/>
                        <a:pt x="251" y="23"/>
                        <a:pt x="251" y="23"/>
                      </a:cubicBezTo>
                      <a:cubicBezTo>
                        <a:pt x="253" y="22"/>
                        <a:pt x="253" y="20"/>
                        <a:pt x="249" y="18"/>
                      </a:cubicBezTo>
                      <a:cubicBezTo>
                        <a:pt x="247" y="17"/>
                        <a:pt x="243" y="15"/>
                        <a:pt x="240" y="14"/>
                      </a:cubicBezTo>
                      <a:cubicBezTo>
                        <a:pt x="239" y="14"/>
                        <a:pt x="238" y="14"/>
                        <a:pt x="236" y="14"/>
                      </a:cubicBezTo>
                      <a:cubicBezTo>
                        <a:pt x="234" y="13"/>
                        <a:pt x="234" y="11"/>
                        <a:pt x="232" y="10"/>
                      </a:cubicBezTo>
                      <a:cubicBezTo>
                        <a:pt x="228" y="8"/>
                        <a:pt x="224" y="6"/>
                        <a:pt x="220" y="6"/>
                      </a:cubicBezTo>
                      <a:cubicBezTo>
                        <a:pt x="218" y="5"/>
                        <a:pt x="215" y="5"/>
                        <a:pt x="213" y="4"/>
                      </a:cubicBezTo>
                      <a:cubicBezTo>
                        <a:pt x="211" y="3"/>
                        <a:pt x="210" y="3"/>
                        <a:pt x="209" y="4"/>
                      </a:cubicBezTo>
                      <a:cubicBezTo>
                        <a:pt x="206" y="4"/>
                        <a:pt x="204" y="2"/>
                        <a:pt x="201" y="1"/>
                      </a:cubicBezTo>
                      <a:cubicBezTo>
                        <a:pt x="199" y="1"/>
                        <a:pt x="199" y="2"/>
                        <a:pt x="197" y="2"/>
                      </a:cubicBezTo>
                      <a:cubicBezTo>
                        <a:pt x="196" y="2"/>
                        <a:pt x="193" y="1"/>
                        <a:pt x="192" y="1"/>
                      </a:cubicBezTo>
                      <a:cubicBezTo>
                        <a:pt x="192" y="1"/>
                        <a:pt x="194" y="4"/>
                        <a:pt x="194" y="5"/>
                      </a:cubicBezTo>
                      <a:cubicBezTo>
                        <a:pt x="194" y="7"/>
                        <a:pt x="190" y="3"/>
                        <a:pt x="190" y="3"/>
                      </a:cubicBezTo>
                      <a:cubicBezTo>
                        <a:pt x="188" y="1"/>
                        <a:pt x="186" y="0"/>
                        <a:pt x="185" y="1"/>
                      </a:cubicBezTo>
                      <a:cubicBezTo>
                        <a:pt x="184" y="2"/>
                        <a:pt x="180" y="1"/>
                        <a:pt x="182" y="4"/>
                      </a:cubicBezTo>
                      <a:cubicBezTo>
                        <a:pt x="182" y="5"/>
                        <a:pt x="184" y="6"/>
                        <a:pt x="185" y="7"/>
                      </a:cubicBezTo>
                      <a:cubicBezTo>
                        <a:pt x="187" y="8"/>
                        <a:pt x="189" y="8"/>
                        <a:pt x="191" y="10"/>
                      </a:cubicBezTo>
                      <a:cubicBezTo>
                        <a:pt x="194" y="13"/>
                        <a:pt x="185" y="10"/>
                        <a:pt x="188" y="13"/>
                      </a:cubicBezTo>
                      <a:cubicBezTo>
                        <a:pt x="192" y="16"/>
                        <a:pt x="187" y="14"/>
                        <a:pt x="185" y="14"/>
                      </a:cubicBezTo>
                      <a:cubicBezTo>
                        <a:pt x="184" y="15"/>
                        <a:pt x="187" y="17"/>
                        <a:pt x="187" y="17"/>
                      </a:cubicBezTo>
                      <a:cubicBezTo>
                        <a:pt x="188" y="18"/>
                        <a:pt x="190" y="20"/>
                        <a:pt x="188" y="19"/>
                      </a:cubicBezTo>
                      <a:cubicBezTo>
                        <a:pt x="186" y="18"/>
                        <a:pt x="186" y="17"/>
                        <a:pt x="184" y="16"/>
                      </a:cubicBezTo>
                      <a:cubicBezTo>
                        <a:pt x="182" y="14"/>
                        <a:pt x="179" y="14"/>
                        <a:pt x="176" y="12"/>
                      </a:cubicBezTo>
                      <a:cubicBezTo>
                        <a:pt x="174" y="11"/>
                        <a:pt x="172" y="10"/>
                        <a:pt x="170" y="9"/>
                      </a:cubicBezTo>
                      <a:cubicBezTo>
                        <a:pt x="168" y="7"/>
                        <a:pt x="168" y="6"/>
                        <a:pt x="167" y="5"/>
                      </a:cubicBezTo>
                      <a:cubicBezTo>
                        <a:pt x="166" y="4"/>
                        <a:pt x="165" y="3"/>
                        <a:pt x="163" y="2"/>
                      </a:cubicBezTo>
                      <a:cubicBezTo>
                        <a:pt x="161" y="2"/>
                        <a:pt x="160" y="2"/>
                        <a:pt x="160" y="3"/>
                      </a:cubicBezTo>
                      <a:cubicBezTo>
                        <a:pt x="161" y="3"/>
                        <a:pt x="162" y="5"/>
                        <a:pt x="161" y="5"/>
                      </a:cubicBezTo>
                      <a:cubicBezTo>
                        <a:pt x="161" y="5"/>
                        <a:pt x="156" y="3"/>
                        <a:pt x="157" y="4"/>
                      </a:cubicBezTo>
                      <a:cubicBezTo>
                        <a:pt x="157" y="4"/>
                        <a:pt x="158" y="4"/>
                        <a:pt x="158" y="5"/>
                      </a:cubicBezTo>
                      <a:cubicBezTo>
                        <a:pt x="159" y="5"/>
                        <a:pt x="159" y="6"/>
                        <a:pt x="160" y="6"/>
                      </a:cubicBezTo>
                      <a:cubicBezTo>
                        <a:pt x="160" y="7"/>
                        <a:pt x="158" y="6"/>
                        <a:pt x="157" y="6"/>
                      </a:cubicBezTo>
                      <a:cubicBezTo>
                        <a:pt x="156" y="6"/>
                        <a:pt x="145" y="2"/>
                        <a:pt x="149" y="5"/>
                      </a:cubicBezTo>
                      <a:cubicBezTo>
                        <a:pt x="150" y="6"/>
                        <a:pt x="152" y="8"/>
                        <a:pt x="149" y="8"/>
                      </a:cubicBezTo>
                      <a:cubicBezTo>
                        <a:pt x="148" y="8"/>
                        <a:pt x="146" y="5"/>
                        <a:pt x="145" y="5"/>
                      </a:cubicBezTo>
                      <a:cubicBezTo>
                        <a:pt x="143" y="4"/>
                        <a:pt x="141" y="4"/>
                        <a:pt x="142" y="5"/>
                      </a:cubicBezTo>
                      <a:cubicBezTo>
                        <a:pt x="142" y="6"/>
                        <a:pt x="145" y="7"/>
                        <a:pt x="145" y="8"/>
                      </a:cubicBezTo>
                      <a:cubicBezTo>
                        <a:pt x="145" y="9"/>
                        <a:pt x="143" y="9"/>
                        <a:pt x="144" y="10"/>
                      </a:cubicBezTo>
                      <a:cubicBezTo>
                        <a:pt x="145" y="12"/>
                        <a:pt x="148" y="11"/>
                        <a:pt x="149" y="11"/>
                      </a:cubicBezTo>
                      <a:cubicBezTo>
                        <a:pt x="151" y="11"/>
                        <a:pt x="152" y="12"/>
                        <a:pt x="154" y="13"/>
                      </a:cubicBezTo>
                      <a:cubicBezTo>
                        <a:pt x="157" y="13"/>
                        <a:pt x="161" y="14"/>
                        <a:pt x="164" y="14"/>
                      </a:cubicBezTo>
                      <a:cubicBezTo>
                        <a:pt x="167" y="15"/>
                        <a:pt x="169" y="16"/>
                        <a:pt x="172" y="17"/>
                      </a:cubicBezTo>
                      <a:cubicBezTo>
                        <a:pt x="174" y="18"/>
                        <a:pt x="177" y="19"/>
                        <a:pt x="180" y="20"/>
                      </a:cubicBezTo>
                      <a:cubicBezTo>
                        <a:pt x="184" y="23"/>
                        <a:pt x="184" y="24"/>
                        <a:pt x="184" y="27"/>
                      </a:cubicBezTo>
                      <a:cubicBezTo>
                        <a:pt x="182" y="27"/>
                        <a:pt x="180" y="24"/>
                        <a:pt x="178" y="23"/>
                      </a:cubicBezTo>
                      <a:cubicBezTo>
                        <a:pt x="176" y="21"/>
                        <a:pt x="173" y="20"/>
                        <a:pt x="170" y="19"/>
                      </a:cubicBezTo>
                      <a:cubicBezTo>
                        <a:pt x="168" y="18"/>
                        <a:pt x="164" y="15"/>
                        <a:pt x="161" y="16"/>
                      </a:cubicBezTo>
                      <a:cubicBezTo>
                        <a:pt x="158" y="16"/>
                        <a:pt x="154" y="14"/>
                        <a:pt x="151" y="14"/>
                      </a:cubicBezTo>
                      <a:cubicBezTo>
                        <a:pt x="151" y="15"/>
                        <a:pt x="155" y="18"/>
                        <a:pt x="156" y="20"/>
                      </a:cubicBezTo>
                      <a:cubicBezTo>
                        <a:pt x="159" y="22"/>
                        <a:pt x="163" y="24"/>
                        <a:pt x="163" y="27"/>
                      </a:cubicBezTo>
                      <a:cubicBezTo>
                        <a:pt x="163" y="28"/>
                        <a:pt x="162" y="28"/>
                        <a:pt x="160" y="27"/>
                      </a:cubicBezTo>
                      <a:cubicBezTo>
                        <a:pt x="159" y="27"/>
                        <a:pt x="158" y="27"/>
                        <a:pt x="159" y="28"/>
                      </a:cubicBezTo>
                      <a:cubicBezTo>
                        <a:pt x="160" y="30"/>
                        <a:pt x="160" y="30"/>
                        <a:pt x="160" y="32"/>
                      </a:cubicBezTo>
                      <a:cubicBezTo>
                        <a:pt x="161" y="33"/>
                        <a:pt x="160" y="35"/>
                        <a:pt x="162" y="37"/>
                      </a:cubicBezTo>
                      <a:cubicBezTo>
                        <a:pt x="163" y="37"/>
                        <a:pt x="164" y="38"/>
                        <a:pt x="165" y="39"/>
                      </a:cubicBezTo>
                      <a:cubicBezTo>
                        <a:pt x="165" y="40"/>
                        <a:pt x="166" y="41"/>
                        <a:pt x="164" y="40"/>
                      </a:cubicBezTo>
                      <a:cubicBezTo>
                        <a:pt x="162" y="39"/>
                        <a:pt x="160" y="38"/>
                        <a:pt x="159" y="37"/>
                      </a:cubicBezTo>
                      <a:cubicBezTo>
                        <a:pt x="157" y="35"/>
                        <a:pt x="157" y="34"/>
                        <a:pt x="155" y="32"/>
                      </a:cubicBezTo>
                      <a:cubicBezTo>
                        <a:pt x="151" y="30"/>
                        <a:pt x="147" y="27"/>
                        <a:pt x="143" y="25"/>
                      </a:cubicBezTo>
                      <a:cubicBezTo>
                        <a:pt x="141" y="24"/>
                        <a:pt x="139" y="23"/>
                        <a:pt x="137" y="22"/>
                      </a:cubicBezTo>
                      <a:cubicBezTo>
                        <a:pt x="135" y="21"/>
                        <a:pt x="134" y="19"/>
                        <a:pt x="132" y="18"/>
                      </a:cubicBezTo>
                      <a:cubicBezTo>
                        <a:pt x="130" y="17"/>
                        <a:pt x="125" y="16"/>
                        <a:pt x="123" y="16"/>
                      </a:cubicBezTo>
                      <a:cubicBezTo>
                        <a:pt x="118" y="16"/>
                        <a:pt x="123" y="19"/>
                        <a:pt x="124" y="21"/>
                      </a:cubicBezTo>
                      <a:cubicBezTo>
                        <a:pt x="126" y="23"/>
                        <a:pt x="128" y="27"/>
                        <a:pt x="132" y="29"/>
                      </a:cubicBezTo>
                      <a:cubicBezTo>
                        <a:pt x="133" y="30"/>
                        <a:pt x="136" y="30"/>
                        <a:pt x="136" y="32"/>
                      </a:cubicBezTo>
                      <a:cubicBezTo>
                        <a:pt x="137" y="33"/>
                        <a:pt x="135" y="33"/>
                        <a:pt x="133" y="32"/>
                      </a:cubicBezTo>
                      <a:cubicBezTo>
                        <a:pt x="130" y="31"/>
                        <a:pt x="125" y="31"/>
                        <a:pt x="129" y="33"/>
                      </a:cubicBezTo>
                      <a:cubicBezTo>
                        <a:pt x="129" y="34"/>
                        <a:pt x="131" y="35"/>
                        <a:pt x="129" y="35"/>
                      </a:cubicBezTo>
                      <a:cubicBezTo>
                        <a:pt x="128" y="35"/>
                        <a:pt x="126" y="34"/>
                        <a:pt x="125" y="33"/>
                      </a:cubicBezTo>
                      <a:cubicBezTo>
                        <a:pt x="123" y="32"/>
                        <a:pt x="122" y="30"/>
                        <a:pt x="122" y="28"/>
                      </a:cubicBezTo>
                      <a:cubicBezTo>
                        <a:pt x="122" y="28"/>
                        <a:pt x="122" y="27"/>
                        <a:pt x="120" y="26"/>
                      </a:cubicBezTo>
                      <a:cubicBezTo>
                        <a:pt x="118" y="25"/>
                        <a:pt x="117" y="24"/>
                        <a:pt x="116" y="23"/>
                      </a:cubicBezTo>
                      <a:cubicBezTo>
                        <a:pt x="115" y="21"/>
                        <a:pt x="111" y="18"/>
                        <a:pt x="112" y="21"/>
                      </a:cubicBezTo>
                      <a:cubicBezTo>
                        <a:pt x="112" y="22"/>
                        <a:pt x="113" y="23"/>
                        <a:pt x="114" y="24"/>
                      </a:cubicBezTo>
                      <a:cubicBezTo>
                        <a:pt x="116" y="26"/>
                        <a:pt x="115" y="26"/>
                        <a:pt x="114" y="27"/>
                      </a:cubicBezTo>
                      <a:cubicBezTo>
                        <a:pt x="113" y="29"/>
                        <a:pt x="116" y="33"/>
                        <a:pt x="115" y="35"/>
                      </a:cubicBezTo>
                      <a:cubicBezTo>
                        <a:pt x="115" y="35"/>
                        <a:pt x="114" y="37"/>
                        <a:pt x="113" y="37"/>
                      </a:cubicBezTo>
                      <a:cubicBezTo>
                        <a:pt x="112" y="37"/>
                        <a:pt x="112" y="34"/>
                        <a:pt x="112" y="34"/>
                      </a:cubicBezTo>
                      <a:cubicBezTo>
                        <a:pt x="112" y="31"/>
                        <a:pt x="111" y="29"/>
                        <a:pt x="111" y="26"/>
                      </a:cubicBezTo>
                      <a:cubicBezTo>
                        <a:pt x="111" y="25"/>
                        <a:pt x="111" y="24"/>
                        <a:pt x="111" y="23"/>
                      </a:cubicBezTo>
                      <a:cubicBezTo>
                        <a:pt x="111" y="22"/>
                        <a:pt x="109" y="22"/>
                        <a:pt x="108" y="21"/>
                      </a:cubicBezTo>
                      <a:cubicBezTo>
                        <a:pt x="105" y="19"/>
                        <a:pt x="106" y="17"/>
                        <a:pt x="101" y="17"/>
                      </a:cubicBezTo>
                      <a:cubicBezTo>
                        <a:pt x="99" y="17"/>
                        <a:pt x="98" y="18"/>
                        <a:pt x="97" y="18"/>
                      </a:cubicBezTo>
                      <a:cubicBezTo>
                        <a:pt x="96" y="19"/>
                        <a:pt x="95" y="19"/>
                        <a:pt x="92" y="19"/>
                      </a:cubicBezTo>
                      <a:cubicBezTo>
                        <a:pt x="90" y="19"/>
                        <a:pt x="89" y="20"/>
                        <a:pt x="88" y="20"/>
                      </a:cubicBezTo>
                      <a:cubicBezTo>
                        <a:pt x="86" y="21"/>
                        <a:pt x="83" y="21"/>
                        <a:pt x="81" y="21"/>
                      </a:cubicBezTo>
                      <a:cubicBezTo>
                        <a:pt x="79" y="21"/>
                        <a:pt x="76" y="21"/>
                        <a:pt x="75" y="21"/>
                      </a:cubicBezTo>
                      <a:cubicBezTo>
                        <a:pt x="74" y="22"/>
                        <a:pt x="77" y="24"/>
                        <a:pt x="78" y="25"/>
                      </a:cubicBezTo>
                      <a:cubicBezTo>
                        <a:pt x="81" y="27"/>
                        <a:pt x="85" y="30"/>
                        <a:pt x="89" y="32"/>
                      </a:cubicBezTo>
                      <a:cubicBezTo>
                        <a:pt x="91" y="33"/>
                        <a:pt x="93" y="34"/>
                        <a:pt x="94" y="36"/>
                      </a:cubicBezTo>
                      <a:cubicBezTo>
                        <a:pt x="95" y="38"/>
                        <a:pt x="93" y="37"/>
                        <a:pt x="9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92"/>
                <p:cNvSpPr>
                  <a:spLocks/>
                </p:cNvSpPr>
                <p:nvPr/>
              </p:nvSpPr>
              <p:spPr bwMode="auto">
                <a:xfrm>
                  <a:off x="2846388" y="3932238"/>
                  <a:ext cx="58738" cy="63500"/>
                </a:xfrm>
                <a:custGeom>
                  <a:avLst/>
                  <a:gdLst>
                    <a:gd name="T0" fmla="*/ 4 w 78"/>
                    <a:gd name="T1" fmla="*/ 59 h 83"/>
                    <a:gd name="T2" fmla="*/ 3 w 78"/>
                    <a:gd name="T3" fmla="*/ 65 h 83"/>
                    <a:gd name="T4" fmla="*/ 11 w 78"/>
                    <a:gd name="T5" fmla="*/ 73 h 83"/>
                    <a:gd name="T6" fmla="*/ 13 w 78"/>
                    <a:gd name="T7" fmla="*/ 79 h 83"/>
                    <a:gd name="T8" fmla="*/ 16 w 78"/>
                    <a:gd name="T9" fmla="*/ 82 h 83"/>
                    <a:gd name="T10" fmla="*/ 23 w 78"/>
                    <a:gd name="T11" fmla="*/ 74 h 83"/>
                    <a:gd name="T12" fmla="*/ 35 w 78"/>
                    <a:gd name="T13" fmla="*/ 65 h 83"/>
                    <a:gd name="T14" fmla="*/ 41 w 78"/>
                    <a:gd name="T15" fmla="*/ 50 h 83"/>
                    <a:gd name="T16" fmla="*/ 46 w 78"/>
                    <a:gd name="T17" fmla="*/ 46 h 83"/>
                    <a:gd name="T18" fmla="*/ 51 w 78"/>
                    <a:gd name="T19" fmla="*/ 39 h 83"/>
                    <a:gd name="T20" fmla="*/ 58 w 78"/>
                    <a:gd name="T21" fmla="*/ 34 h 83"/>
                    <a:gd name="T22" fmla="*/ 62 w 78"/>
                    <a:gd name="T23" fmla="*/ 29 h 83"/>
                    <a:gd name="T24" fmla="*/ 71 w 78"/>
                    <a:gd name="T25" fmla="*/ 24 h 83"/>
                    <a:gd name="T26" fmla="*/ 77 w 78"/>
                    <a:gd name="T27" fmla="*/ 18 h 83"/>
                    <a:gd name="T28" fmla="*/ 74 w 78"/>
                    <a:gd name="T29" fmla="*/ 12 h 83"/>
                    <a:gd name="T30" fmla="*/ 59 w 78"/>
                    <a:gd name="T31" fmla="*/ 7 h 83"/>
                    <a:gd name="T32" fmla="*/ 55 w 78"/>
                    <a:gd name="T33" fmla="*/ 10 h 83"/>
                    <a:gd name="T34" fmla="*/ 50 w 78"/>
                    <a:gd name="T35" fmla="*/ 8 h 83"/>
                    <a:gd name="T36" fmla="*/ 45 w 78"/>
                    <a:gd name="T37" fmla="*/ 6 h 83"/>
                    <a:gd name="T38" fmla="*/ 42 w 78"/>
                    <a:gd name="T39" fmla="*/ 2 h 83"/>
                    <a:gd name="T40" fmla="*/ 37 w 78"/>
                    <a:gd name="T41" fmla="*/ 5 h 83"/>
                    <a:gd name="T42" fmla="*/ 31 w 78"/>
                    <a:gd name="T43" fmla="*/ 7 h 83"/>
                    <a:gd name="T44" fmla="*/ 25 w 78"/>
                    <a:gd name="T45" fmla="*/ 10 h 83"/>
                    <a:gd name="T46" fmla="*/ 20 w 78"/>
                    <a:gd name="T47" fmla="*/ 13 h 83"/>
                    <a:gd name="T48" fmla="*/ 18 w 78"/>
                    <a:gd name="T49" fmla="*/ 18 h 83"/>
                    <a:gd name="T50" fmla="*/ 21 w 78"/>
                    <a:gd name="T51" fmla="*/ 23 h 83"/>
                    <a:gd name="T52" fmla="*/ 18 w 78"/>
                    <a:gd name="T53" fmla="*/ 29 h 83"/>
                    <a:gd name="T54" fmla="*/ 14 w 78"/>
                    <a:gd name="T55" fmla="*/ 27 h 83"/>
                    <a:gd name="T56" fmla="*/ 13 w 78"/>
                    <a:gd name="T57" fmla="*/ 37 h 83"/>
                    <a:gd name="T58" fmla="*/ 9 w 78"/>
                    <a:gd name="T59" fmla="*/ 49 h 83"/>
                    <a:gd name="T60" fmla="*/ 4 w 78"/>
                    <a:gd name="T6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83">
                      <a:moveTo>
                        <a:pt x="4" y="59"/>
                      </a:moveTo>
                      <a:cubicBezTo>
                        <a:pt x="2" y="61"/>
                        <a:pt x="0" y="65"/>
                        <a:pt x="3" y="65"/>
                      </a:cubicBezTo>
                      <a:cubicBezTo>
                        <a:pt x="8" y="66"/>
                        <a:pt x="8" y="70"/>
                        <a:pt x="11" y="73"/>
                      </a:cubicBezTo>
                      <a:cubicBezTo>
                        <a:pt x="12" y="75"/>
                        <a:pt x="13" y="77"/>
                        <a:pt x="13" y="79"/>
                      </a:cubicBezTo>
                      <a:cubicBezTo>
                        <a:pt x="13" y="80"/>
                        <a:pt x="13" y="83"/>
                        <a:pt x="16" y="82"/>
                      </a:cubicBezTo>
                      <a:cubicBezTo>
                        <a:pt x="18" y="79"/>
                        <a:pt x="20" y="76"/>
                        <a:pt x="23" y="74"/>
                      </a:cubicBezTo>
                      <a:cubicBezTo>
                        <a:pt x="28" y="71"/>
                        <a:pt x="32" y="71"/>
                        <a:pt x="35" y="65"/>
                      </a:cubicBezTo>
                      <a:cubicBezTo>
                        <a:pt x="37" y="60"/>
                        <a:pt x="36" y="53"/>
                        <a:pt x="41" y="50"/>
                      </a:cubicBezTo>
                      <a:cubicBezTo>
                        <a:pt x="43" y="49"/>
                        <a:pt x="45" y="48"/>
                        <a:pt x="46" y="46"/>
                      </a:cubicBezTo>
                      <a:cubicBezTo>
                        <a:pt x="48" y="44"/>
                        <a:pt x="49" y="41"/>
                        <a:pt x="51" y="39"/>
                      </a:cubicBezTo>
                      <a:cubicBezTo>
                        <a:pt x="53" y="37"/>
                        <a:pt x="55" y="35"/>
                        <a:pt x="58" y="34"/>
                      </a:cubicBezTo>
                      <a:cubicBezTo>
                        <a:pt x="59" y="32"/>
                        <a:pt x="60" y="30"/>
                        <a:pt x="62" y="29"/>
                      </a:cubicBezTo>
                      <a:cubicBezTo>
                        <a:pt x="64" y="27"/>
                        <a:pt x="68" y="25"/>
                        <a:pt x="71" y="24"/>
                      </a:cubicBezTo>
                      <a:cubicBezTo>
                        <a:pt x="73" y="22"/>
                        <a:pt x="76" y="21"/>
                        <a:pt x="77" y="18"/>
                      </a:cubicBezTo>
                      <a:cubicBezTo>
                        <a:pt x="78" y="16"/>
                        <a:pt x="75" y="14"/>
                        <a:pt x="74" y="12"/>
                      </a:cubicBezTo>
                      <a:cubicBezTo>
                        <a:pt x="72" y="10"/>
                        <a:pt x="66" y="0"/>
                        <a:pt x="59" y="7"/>
                      </a:cubicBezTo>
                      <a:cubicBezTo>
                        <a:pt x="58" y="8"/>
                        <a:pt x="57" y="10"/>
                        <a:pt x="55" y="10"/>
                      </a:cubicBezTo>
                      <a:cubicBezTo>
                        <a:pt x="53" y="10"/>
                        <a:pt x="52" y="9"/>
                        <a:pt x="50" y="8"/>
                      </a:cubicBezTo>
                      <a:cubicBezTo>
                        <a:pt x="48" y="7"/>
                        <a:pt x="47" y="7"/>
                        <a:pt x="45" y="6"/>
                      </a:cubicBezTo>
                      <a:cubicBezTo>
                        <a:pt x="44" y="5"/>
                        <a:pt x="44" y="2"/>
                        <a:pt x="42" y="2"/>
                      </a:cubicBezTo>
                      <a:cubicBezTo>
                        <a:pt x="40" y="2"/>
                        <a:pt x="38" y="3"/>
                        <a:pt x="37" y="5"/>
                      </a:cubicBezTo>
                      <a:cubicBezTo>
                        <a:pt x="35" y="7"/>
                        <a:pt x="32" y="7"/>
                        <a:pt x="31" y="7"/>
                      </a:cubicBezTo>
                      <a:cubicBezTo>
                        <a:pt x="29" y="8"/>
                        <a:pt x="27" y="9"/>
                        <a:pt x="25" y="10"/>
                      </a:cubicBezTo>
                      <a:cubicBezTo>
                        <a:pt x="23" y="11"/>
                        <a:pt x="22" y="12"/>
                        <a:pt x="20" y="13"/>
                      </a:cubicBezTo>
                      <a:cubicBezTo>
                        <a:pt x="18" y="15"/>
                        <a:pt x="19" y="16"/>
                        <a:pt x="18" y="18"/>
                      </a:cubicBezTo>
                      <a:cubicBezTo>
                        <a:pt x="17" y="21"/>
                        <a:pt x="20" y="21"/>
                        <a:pt x="21" y="23"/>
                      </a:cubicBezTo>
                      <a:cubicBezTo>
                        <a:pt x="21" y="24"/>
                        <a:pt x="20" y="27"/>
                        <a:pt x="18" y="29"/>
                      </a:cubicBezTo>
                      <a:cubicBezTo>
                        <a:pt x="17" y="30"/>
                        <a:pt x="15" y="27"/>
                        <a:pt x="14" y="27"/>
                      </a:cubicBezTo>
                      <a:cubicBezTo>
                        <a:pt x="12" y="31"/>
                        <a:pt x="13" y="34"/>
                        <a:pt x="13" y="37"/>
                      </a:cubicBezTo>
                      <a:cubicBezTo>
                        <a:pt x="13" y="41"/>
                        <a:pt x="11" y="45"/>
                        <a:pt x="9" y="49"/>
                      </a:cubicBezTo>
                      <a:cubicBezTo>
                        <a:pt x="8" y="53"/>
                        <a:pt x="7" y="56"/>
                        <a:pt x="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93"/>
                <p:cNvSpPr>
                  <a:spLocks noEditPoints="1"/>
                </p:cNvSpPr>
                <p:nvPr/>
              </p:nvSpPr>
              <p:spPr bwMode="auto">
                <a:xfrm>
                  <a:off x="2678113" y="3956050"/>
                  <a:ext cx="619125" cy="385763"/>
                </a:xfrm>
                <a:custGeom>
                  <a:avLst/>
                  <a:gdLst>
                    <a:gd name="T0" fmla="*/ 5 w 819"/>
                    <a:gd name="T1" fmla="*/ 203 h 509"/>
                    <a:gd name="T2" fmla="*/ 483 w 819"/>
                    <a:gd name="T3" fmla="*/ 442 h 509"/>
                    <a:gd name="T4" fmla="*/ 520 w 819"/>
                    <a:gd name="T5" fmla="*/ 433 h 509"/>
                    <a:gd name="T6" fmla="*/ 547 w 819"/>
                    <a:gd name="T7" fmla="*/ 466 h 509"/>
                    <a:gd name="T8" fmla="*/ 615 w 819"/>
                    <a:gd name="T9" fmla="*/ 495 h 509"/>
                    <a:gd name="T10" fmla="*/ 687 w 819"/>
                    <a:gd name="T11" fmla="*/ 482 h 509"/>
                    <a:gd name="T12" fmla="*/ 713 w 819"/>
                    <a:gd name="T13" fmla="*/ 489 h 509"/>
                    <a:gd name="T14" fmla="*/ 738 w 819"/>
                    <a:gd name="T15" fmla="*/ 458 h 509"/>
                    <a:gd name="T16" fmla="*/ 685 w 819"/>
                    <a:gd name="T17" fmla="*/ 430 h 509"/>
                    <a:gd name="T18" fmla="*/ 719 w 819"/>
                    <a:gd name="T19" fmla="*/ 401 h 509"/>
                    <a:gd name="T20" fmla="*/ 773 w 819"/>
                    <a:gd name="T21" fmla="*/ 419 h 509"/>
                    <a:gd name="T22" fmla="*/ 792 w 819"/>
                    <a:gd name="T23" fmla="*/ 435 h 509"/>
                    <a:gd name="T24" fmla="*/ 809 w 819"/>
                    <a:gd name="T25" fmla="*/ 430 h 509"/>
                    <a:gd name="T26" fmla="*/ 808 w 819"/>
                    <a:gd name="T27" fmla="*/ 418 h 509"/>
                    <a:gd name="T28" fmla="*/ 797 w 819"/>
                    <a:gd name="T29" fmla="*/ 375 h 509"/>
                    <a:gd name="T30" fmla="*/ 776 w 819"/>
                    <a:gd name="T31" fmla="*/ 330 h 509"/>
                    <a:gd name="T32" fmla="*/ 745 w 819"/>
                    <a:gd name="T33" fmla="*/ 282 h 509"/>
                    <a:gd name="T34" fmla="*/ 714 w 819"/>
                    <a:gd name="T35" fmla="*/ 248 h 509"/>
                    <a:gd name="T36" fmla="*/ 681 w 819"/>
                    <a:gd name="T37" fmla="*/ 256 h 509"/>
                    <a:gd name="T38" fmla="*/ 666 w 819"/>
                    <a:gd name="T39" fmla="*/ 219 h 509"/>
                    <a:gd name="T40" fmla="*/ 623 w 819"/>
                    <a:gd name="T41" fmla="*/ 196 h 509"/>
                    <a:gd name="T42" fmla="*/ 598 w 819"/>
                    <a:gd name="T43" fmla="*/ 226 h 509"/>
                    <a:gd name="T44" fmla="*/ 611 w 819"/>
                    <a:gd name="T45" fmla="*/ 311 h 509"/>
                    <a:gd name="T46" fmla="*/ 584 w 819"/>
                    <a:gd name="T47" fmla="*/ 380 h 509"/>
                    <a:gd name="T48" fmla="*/ 552 w 819"/>
                    <a:gd name="T49" fmla="*/ 342 h 509"/>
                    <a:gd name="T50" fmla="*/ 492 w 819"/>
                    <a:gd name="T51" fmla="*/ 294 h 509"/>
                    <a:gd name="T52" fmla="*/ 441 w 819"/>
                    <a:gd name="T53" fmla="*/ 260 h 509"/>
                    <a:gd name="T54" fmla="*/ 472 w 819"/>
                    <a:gd name="T55" fmla="*/ 176 h 509"/>
                    <a:gd name="T56" fmla="*/ 501 w 819"/>
                    <a:gd name="T57" fmla="*/ 136 h 509"/>
                    <a:gd name="T58" fmla="*/ 518 w 819"/>
                    <a:gd name="T59" fmla="*/ 112 h 509"/>
                    <a:gd name="T60" fmla="*/ 563 w 819"/>
                    <a:gd name="T61" fmla="*/ 88 h 509"/>
                    <a:gd name="T62" fmla="*/ 564 w 819"/>
                    <a:gd name="T63" fmla="*/ 54 h 509"/>
                    <a:gd name="T64" fmla="*/ 528 w 819"/>
                    <a:gd name="T65" fmla="*/ 49 h 509"/>
                    <a:gd name="T66" fmla="*/ 511 w 819"/>
                    <a:gd name="T67" fmla="*/ 95 h 509"/>
                    <a:gd name="T68" fmla="*/ 492 w 819"/>
                    <a:gd name="T69" fmla="*/ 56 h 509"/>
                    <a:gd name="T70" fmla="*/ 466 w 819"/>
                    <a:gd name="T71" fmla="*/ 45 h 509"/>
                    <a:gd name="T72" fmla="*/ 454 w 819"/>
                    <a:gd name="T73" fmla="*/ 5 h 509"/>
                    <a:gd name="T74" fmla="*/ 432 w 819"/>
                    <a:gd name="T75" fmla="*/ 33 h 509"/>
                    <a:gd name="T76" fmla="*/ 440 w 819"/>
                    <a:gd name="T77" fmla="*/ 85 h 509"/>
                    <a:gd name="T78" fmla="*/ 410 w 819"/>
                    <a:gd name="T79" fmla="*/ 90 h 509"/>
                    <a:gd name="T80" fmla="*/ 347 w 819"/>
                    <a:gd name="T81" fmla="*/ 88 h 509"/>
                    <a:gd name="T82" fmla="*/ 282 w 819"/>
                    <a:gd name="T83" fmla="*/ 97 h 509"/>
                    <a:gd name="T84" fmla="*/ 251 w 819"/>
                    <a:gd name="T85" fmla="*/ 73 h 509"/>
                    <a:gd name="T86" fmla="*/ 218 w 819"/>
                    <a:gd name="T87" fmla="*/ 75 h 509"/>
                    <a:gd name="T88" fmla="*/ 186 w 819"/>
                    <a:gd name="T89" fmla="*/ 76 h 509"/>
                    <a:gd name="T90" fmla="*/ 153 w 819"/>
                    <a:gd name="T91" fmla="*/ 101 h 509"/>
                    <a:gd name="T92" fmla="*/ 128 w 819"/>
                    <a:gd name="T93" fmla="*/ 97 h 509"/>
                    <a:gd name="T94" fmla="*/ 81 w 819"/>
                    <a:gd name="T95" fmla="*/ 98 h 509"/>
                    <a:gd name="T96" fmla="*/ 65 w 819"/>
                    <a:gd name="T97" fmla="*/ 95 h 509"/>
                    <a:gd name="T98" fmla="*/ 48 w 819"/>
                    <a:gd name="T99" fmla="*/ 98 h 509"/>
                    <a:gd name="T100" fmla="*/ 23 w 819"/>
                    <a:gd name="T101" fmla="*/ 136 h 509"/>
                    <a:gd name="T102" fmla="*/ 21 w 819"/>
                    <a:gd name="T103" fmla="*/ 161 h 509"/>
                    <a:gd name="T104" fmla="*/ 500 w 819"/>
                    <a:gd name="T105" fmla="*/ 404 h 509"/>
                    <a:gd name="T106" fmla="*/ 411 w 819"/>
                    <a:gd name="T107" fmla="*/ 375 h 509"/>
                    <a:gd name="T108" fmla="*/ 396 w 819"/>
                    <a:gd name="T109" fmla="*/ 382 h 509"/>
                    <a:gd name="T110" fmla="*/ 304 w 819"/>
                    <a:gd name="T111" fmla="*/ 268 h 509"/>
                    <a:gd name="T112" fmla="*/ 282 w 819"/>
                    <a:gd name="T113" fmla="*/ 206 h 509"/>
                    <a:gd name="T114" fmla="*/ 301 w 819"/>
                    <a:gd name="T115" fmla="*/ 211 h 509"/>
                    <a:gd name="T116" fmla="*/ 247 w 819"/>
                    <a:gd name="T117" fmla="*/ 228 h 509"/>
                    <a:gd name="T118" fmla="*/ 251 w 819"/>
                    <a:gd name="T119" fmla="*/ 124 h 509"/>
                    <a:gd name="T120" fmla="*/ 251 w 819"/>
                    <a:gd name="T121" fmla="*/ 145 h 509"/>
                    <a:gd name="T122" fmla="*/ 224 w 819"/>
                    <a:gd name="T123" fmla="*/ 162 h 509"/>
                    <a:gd name="T124" fmla="*/ 221 w 819"/>
                    <a:gd name="T125" fmla="*/ 13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9" h="509">
                      <a:moveTo>
                        <a:pt x="19" y="176"/>
                      </a:moveTo>
                      <a:cubicBezTo>
                        <a:pt x="18" y="173"/>
                        <a:pt x="12" y="180"/>
                        <a:pt x="11" y="182"/>
                      </a:cubicBezTo>
                      <a:cubicBezTo>
                        <a:pt x="9" y="184"/>
                        <a:pt x="8" y="186"/>
                        <a:pt x="6" y="187"/>
                      </a:cubicBezTo>
                      <a:cubicBezTo>
                        <a:pt x="5" y="188"/>
                        <a:pt x="3" y="189"/>
                        <a:pt x="2" y="190"/>
                      </a:cubicBezTo>
                      <a:cubicBezTo>
                        <a:pt x="0" y="195"/>
                        <a:pt x="3" y="197"/>
                        <a:pt x="5" y="198"/>
                      </a:cubicBezTo>
                      <a:cubicBezTo>
                        <a:pt x="6" y="198"/>
                        <a:pt x="7" y="198"/>
                        <a:pt x="6" y="200"/>
                      </a:cubicBezTo>
                      <a:cubicBezTo>
                        <a:pt x="6" y="201"/>
                        <a:pt x="5" y="202"/>
                        <a:pt x="5" y="203"/>
                      </a:cubicBezTo>
                      <a:cubicBezTo>
                        <a:pt x="11" y="202"/>
                        <a:pt x="18" y="201"/>
                        <a:pt x="25" y="201"/>
                      </a:cubicBezTo>
                      <a:cubicBezTo>
                        <a:pt x="25" y="201"/>
                        <a:pt x="26" y="201"/>
                        <a:pt x="26" y="200"/>
                      </a:cubicBezTo>
                      <a:cubicBezTo>
                        <a:pt x="27" y="199"/>
                        <a:pt x="27" y="200"/>
                        <a:pt x="27" y="201"/>
                      </a:cubicBezTo>
                      <a:cubicBezTo>
                        <a:pt x="29" y="201"/>
                        <a:pt x="31" y="201"/>
                        <a:pt x="34" y="201"/>
                      </a:cubicBezTo>
                      <a:cubicBezTo>
                        <a:pt x="81" y="204"/>
                        <a:pt x="130" y="229"/>
                        <a:pt x="191" y="268"/>
                      </a:cubicBezTo>
                      <a:cubicBezTo>
                        <a:pt x="253" y="307"/>
                        <a:pt x="328" y="361"/>
                        <a:pt x="415" y="408"/>
                      </a:cubicBezTo>
                      <a:cubicBezTo>
                        <a:pt x="437" y="420"/>
                        <a:pt x="460" y="431"/>
                        <a:pt x="483" y="442"/>
                      </a:cubicBezTo>
                      <a:cubicBezTo>
                        <a:pt x="484" y="442"/>
                        <a:pt x="484" y="442"/>
                        <a:pt x="484" y="442"/>
                      </a:cubicBezTo>
                      <a:cubicBezTo>
                        <a:pt x="487" y="440"/>
                        <a:pt x="488" y="438"/>
                        <a:pt x="491" y="437"/>
                      </a:cubicBezTo>
                      <a:cubicBezTo>
                        <a:pt x="493" y="436"/>
                        <a:pt x="495" y="435"/>
                        <a:pt x="498" y="434"/>
                      </a:cubicBezTo>
                      <a:cubicBezTo>
                        <a:pt x="502" y="431"/>
                        <a:pt x="500" y="424"/>
                        <a:pt x="506" y="425"/>
                      </a:cubicBezTo>
                      <a:cubicBezTo>
                        <a:pt x="508" y="425"/>
                        <a:pt x="510" y="426"/>
                        <a:pt x="511" y="428"/>
                      </a:cubicBezTo>
                      <a:cubicBezTo>
                        <a:pt x="512" y="430"/>
                        <a:pt x="513" y="431"/>
                        <a:pt x="513" y="429"/>
                      </a:cubicBezTo>
                      <a:cubicBezTo>
                        <a:pt x="515" y="424"/>
                        <a:pt x="519" y="430"/>
                        <a:pt x="520" y="433"/>
                      </a:cubicBezTo>
                      <a:cubicBezTo>
                        <a:pt x="522" y="438"/>
                        <a:pt x="521" y="439"/>
                        <a:pt x="527" y="439"/>
                      </a:cubicBezTo>
                      <a:cubicBezTo>
                        <a:pt x="533" y="439"/>
                        <a:pt x="534" y="442"/>
                        <a:pt x="536" y="447"/>
                      </a:cubicBezTo>
                      <a:cubicBezTo>
                        <a:pt x="539" y="457"/>
                        <a:pt x="527" y="454"/>
                        <a:pt x="521" y="454"/>
                      </a:cubicBezTo>
                      <a:cubicBezTo>
                        <a:pt x="518" y="453"/>
                        <a:pt x="516" y="455"/>
                        <a:pt x="514" y="456"/>
                      </a:cubicBezTo>
                      <a:cubicBezTo>
                        <a:pt x="521" y="459"/>
                        <a:pt x="528" y="462"/>
                        <a:pt x="534" y="465"/>
                      </a:cubicBezTo>
                      <a:cubicBezTo>
                        <a:pt x="536" y="464"/>
                        <a:pt x="537" y="463"/>
                        <a:pt x="538" y="462"/>
                      </a:cubicBezTo>
                      <a:cubicBezTo>
                        <a:pt x="540" y="464"/>
                        <a:pt x="544" y="464"/>
                        <a:pt x="547" y="466"/>
                      </a:cubicBezTo>
                      <a:cubicBezTo>
                        <a:pt x="549" y="467"/>
                        <a:pt x="552" y="470"/>
                        <a:pt x="555" y="472"/>
                      </a:cubicBezTo>
                      <a:cubicBezTo>
                        <a:pt x="560" y="475"/>
                        <a:pt x="559" y="470"/>
                        <a:pt x="561" y="467"/>
                      </a:cubicBezTo>
                      <a:cubicBezTo>
                        <a:pt x="564" y="464"/>
                        <a:pt x="572" y="465"/>
                        <a:pt x="575" y="467"/>
                      </a:cubicBezTo>
                      <a:cubicBezTo>
                        <a:pt x="579" y="471"/>
                        <a:pt x="580" y="477"/>
                        <a:pt x="578" y="482"/>
                      </a:cubicBezTo>
                      <a:cubicBezTo>
                        <a:pt x="585" y="485"/>
                        <a:pt x="592" y="487"/>
                        <a:pt x="600" y="490"/>
                      </a:cubicBezTo>
                      <a:cubicBezTo>
                        <a:pt x="605" y="487"/>
                        <a:pt x="614" y="483"/>
                        <a:pt x="615" y="492"/>
                      </a:cubicBezTo>
                      <a:cubicBezTo>
                        <a:pt x="615" y="493"/>
                        <a:pt x="615" y="494"/>
                        <a:pt x="615" y="495"/>
                      </a:cubicBezTo>
                      <a:cubicBezTo>
                        <a:pt x="630" y="500"/>
                        <a:pt x="646" y="505"/>
                        <a:pt x="661" y="509"/>
                      </a:cubicBezTo>
                      <a:cubicBezTo>
                        <a:pt x="660" y="508"/>
                        <a:pt x="662" y="506"/>
                        <a:pt x="662" y="504"/>
                      </a:cubicBezTo>
                      <a:cubicBezTo>
                        <a:pt x="663" y="502"/>
                        <a:pt x="664" y="502"/>
                        <a:pt x="666" y="502"/>
                      </a:cubicBezTo>
                      <a:cubicBezTo>
                        <a:pt x="670" y="502"/>
                        <a:pt x="668" y="500"/>
                        <a:pt x="669" y="497"/>
                      </a:cubicBezTo>
                      <a:cubicBezTo>
                        <a:pt x="669" y="495"/>
                        <a:pt x="671" y="493"/>
                        <a:pt x="672" y="491"/>
                      </a:cubicBezTo>
                      <a:cubicBezTo>
                        <a:pt x="673" y="488"/>
                        <a:pt x="675" y="491"/>
                        <a:pt x="677" y="491"/>
                      </a:cubicBezTo>
                      <a:cubicBezTo>
                        <a:pt x="680" y="493"/>
                        <a:pt x="683" y="483"/>
                        <a:pt x="687" y="482"/>
                      </a:cubicBezTo>
                      <a:cubicBezTo>
                        <a:pt x="689" y="482"/>
                        <a:pt x="705" y="480"/>
                        <a:pt x="705" y="477"/>
                      </a:cubicBezTo>
                      <a:cubicBezTo>
                        <a:pt x="704" y="472"/>
                        <a:pt x="710" y="472"/>
                        <a:pt x="713" y="470"/>
                      </a:cubicBezTo>
                      <a:cubicBezTo>
                        <a:pt x="716" y="468"/>
                        <a:pt x="718" y="466"/>
                        <a:pt x="721" y="464"/>
                      </a:cubicBezTo>
                      <a:cubicBezTo>
                        <a:pt x="722" y="464"/>
                        <a:pt x="725" y="469"/>
                        <a:pt x="725" y="470"/>
                      </a:cubicBezTo>
                      <a:cubicBezTo>
                        <a:pt x="723" y="472"/>
                        <a:pt x="720" y="473"/>
                        <a:pt x="718" y="474"/>
                      </a:cubicBezTo>
                      <a:cubicBezTo>
                        <a:pt x="715" y="476"/>
                        <a:pt x="713" y="478"/>
                        <a:pt x="712" y="481"/>
                      </a:cubicBezTo>
                      <a:cubicBezTo>
                        <a:pt x="710" y="484"/>
                        <a:pt x="711" y="487"/>
                        <a:pt x="713" y="489"/>
                      </a:cubicBezTo>
                      <a:cubicBezTo>
                        <a:pt x="714" y="491"/>
                        <a:pt x="714" y="494"/>
                        <a:pt x="716" y="494"/>
                      </a:cubicBezTo>
                      <a:cubicBezTo>
                        <a:pt x="720" y="495"/>
                        <a:pt x="724" y="486"/>
                        <a:pt x="726" y="484"/>
                      </a:cubicBezTo>
                      <a:cubicBezTo>
                        <a:pt x="727" y="482"/>
                        <a:pt x="728" y="480"/>
                        <a:pt x="730" y="478"/>
                      </a:cubicBezTo>
                      <a:cubicBezTo>
                        <a:pt x="732" y="475"/>
                        <a:pt x="738" y="476"/>
                        <a:pt x="742" y="475"/>
                      </a:cubicBezTo>
                      <a:cubicBezTo>
                        <a:pt x="744" y="474"/>
                        <a:pt x="757" y="469"/>
                        <a:pt x="755" y="465"/>
                      </a:cubicBezTo>
                      <a:cubicBezTo>
                        <a:pt x="753" y="462"/>
                        <a:pt x="748" y="465"/>
                        <a:pt x="747" y="461"/>
                      </a:cubicBezTo>
                      <a:cubicBezTo>
                        <a:pt x="746" y="457"/>
                        <a:pt x="742" y="458"/>
                        <a:pt x="738" y="458"/>
                      </a:cubicBezTo>
                      <a:cubicBezTo>
                        <a:pt x="735" y="458"/>
                        <a:pt x="731" y="454"/>
                        <a:pt x="728" y="452"/>
                      </a:cubicBezTo>
                      <a:cubicBezTo>
                        <a:pt x="723" y="450"/>
                        <a:pt x="723" y="444"/>
                        <a:pt x="724" y="439"/>
                      </a:cubicBezTo>
                      <a:cubicBezTo>
                        <a:pt x="727" y="432"/>
                        <a:pt x="735" y="420"/>
                        <a:pt x="725" y="416"/>
                      </a:cubicBezTo>
                      <a:cubicBezTo>
                        <a:pt x="720" y="414"/>
                        <a:pt x="715" y="412"/>
                        <a:pt x="711" y="414"/>
                      </a:cubicBezTo>
                      <a:cubicBezTo>
                        <a:pt x="706" y="415"/>
                        <a:pt x="702" y="417"/>
                        <a:pt x="698" y="419"/>
                      </a:cubicBezTo>
                      <a:cubicBezTo>
                        <a:pt x="696" y="421"/>
                        <a:pt x="694" y="422"/>
                        <a:pt x="693" y="424"/>
                      </a:cubicBezTo>
                      <a:cubicBezTo>
                        <a:pt x="690" y="426"/>
                        <a:pt x="687" y="428"/>
                        <a:pt x="685" y="430"/>
                      </a:cubicBezTo>
                      <a:cubicBezTo>
                        <a:pt x="684" y="432"/>
                        <a:pt x="684" y="440"/>
                        <a:pt x="682" y="441"/>
                      </a:cubicBezTo>
                      <a:cubicBezTo>
                        <a:pt x="682" y="438"/>
                        <a:pt x="681" y="436"/>
                        <a:pt x="681" y="433"/>
                      </a:cubicBezTo>
                      <a:cubicBezTo>
                        <a:pt x="680" y="430"/>
                        <a:pt x="682" y="428"/>
                        <a:pt x="683" y="426"/>
                      </a:cubicBezTo>
                      <a:cubicBezTo>
                        <a:pt x="687" y="420"/>
                        <a:pt x="691" y="418"/>
                        <a:pt x="697" y="414"/>
                      </a:cubicBezTo>
                      <a:cubicBezTo>
                        <a:pt x="699" y="413"/>
                        <a:pt x="702" y="411"/>
                        <a:pt x="704" y="409"/>
                      </a:cubicBezTo>
                      <a:cubicBezTo>
                        <a:pt x="706" y="407"/>
                        <a:pt x="707" y="404"/>
                        <a:pt x="710" y="402"/>
                      </a:cubicBezTo>
                      <a:cubicBezTo>
                        <a:pt x="712" y="401"/>
                        <a:pt x="717" y="401"/>
                        <a:pt x="719" y="401"/>
                      </a:cubicBezTo>
                      <a:cubicBezTo>
                        <a:pt x="722" y="400"/>
                        <a:pt x="724" y="402"/>
                        <a:pt x="725" y="405"/>
                      </a:cubicBezTo>
                      <a:cubicBezTo>
                        <a:pt x="727" y="410"/>
                        <a:pt x="728" y="416"/>
                        <a:pt x="733" y="418"/>
                      </a:cubicBezTo>
                      <a:cubicBezTo>
                        <a:pt x="737" y="419"/>
                        <a:pt x="744" y="416"/>
                        <a:pt x="748" y="415"/>
                      </a:cubicBezTo>
                      <a:cubicBezTo>
                        <a:pt x="750" y="414"/>
                        <a:pt x="752" y="413"/>
                        <a:pt x="753" y="411"/>
                      </a:cubicBezTo>
                      <a:cubicBezTo>
                        <a:pt x="755" y="408"/>
                        <a:pt x="755" y="406"/>
                        <a:pt x="758" y="404"/>
                      </a:cubicBezTo>
                      <a:cubicBezTo>
                        <a:pt x="765" y="401"/>
                        <a:pt x="771" y="405"/>
                        <a:pt x="775" y="409"/>
                      </a:cubicBezTo>
                      <a:cubicBezTo>
                        <a:pt x="772" y="412"/>
                        <a:pt x="776" y="417"/>
                        <a:pt x="773" y="419"/>
                      </a:cubicBezTo>
                      <a:cubicBezTo>
                        <a:pt x="773" y="420"/>
                        <a:pt x="762" y="420"/>
                        <a:pt x="766" y="424"/>
                      </a:cubicBezTo>
                      <a:cubicBezTo>
                        <a:pt x="767" y="424"/>
                        <a:pt x="770" y="424"/>
                        <a:pt x="770" y="426"/>
                      </a:cubicBezTo>
                      <a:cubicBezTo>
                        <a:pt x="770" y="428"/>
                        <a:pt x="768" y="429"/>
                        <a:pt x="767" y="430"/>
                      </a:cubicBezTo>
                      <a:cubicBezTo>
                        <a:pt x="764" y="433"/>
                        <a:pt x="761" y="438"/>
                        <a:pt x="768" y="437"/>
                      </a:cubicBezTo>
                      <a:cubicBezTo>
                        <a:pt x="771" y="437"/>
                        <a:pt x="773" y="435"/>
                        <a:pt x="776" y="434"/>
                      </a:cubicBezTo>
                      <a:cubicBezTo>
                        <a:pt x="779" y="433"/>
                        <a:pt x="782" y="434"/>
                        <a:pt x="785" y="433"/>
                      </a:cubicBezTo>
                      <a:cubicBezTo>
                        <a:pt x="788" y="433"/>
                        <a:pt x="790" y="432"/>
                        <a:pt x="792" y="435"/>
                      </a:cubicBezTo>
                      <a:cubicBezTo>
                        <a:pt x="793" y="437"/>
                        <a:pt x="796" y="439"/>
                        <a:pt x="794" y="442"/>
                      </a:cubicBezTo>
                      <a:cubicBezTo>
                        <a:pt x="792" y="445"/>
                        <a:pt x="790" y="442"/>
                        <a:pt x="788" y="442"/>
                      </a:cubicBezTo>
                      <a:cubicBezTo>
                        <a:pt x="786" y="443"/>
                        <a:pt x="789" y="446"/>
                        <a:pt x="790" y="446"/>
                      </a:cubicBezTo>
                      <a:cubicBezTo>
                        <a:pt x="793" y="447"/>
                        <a:pt x="795" y="446"/>
                        <a:pt x="796" y="443"/>
                      </a:cubicBezTo>
                      <a:cubicBezTo>
                        <a:pt x="797" y="440"/>
                        <a:pt x="799" y="439"/>
                        <a:pt x="802" y="438"/>
                      </a:cubicBezTo>
                      <a:cubicBezTo>
                        <a:pt x="804" y="437"/>
                        <a:pt x="807" y="436"/>
                        <a:pt x="807" y="434"/>
                      </a:cubicBezTo>
                      <a:cubicBezTo>
                        <a:pt x="807" y="432"/>
                        <a:pt x="807" y="429"/>
                        <a:pt x="809" y="430"/>
                      </a:cubicBezTo>
                      <a:cubicBezTo>
                        <a:pt x="812" y="432"/>
                        <a:pt x="806" y="442"/>
                        <a:pt x="807" y="445"/>
                      </a:cubicBezTo>
                      <a:cubicBezTo>
                        <a:pt x="808" y="446"/>
                        <a:pt x="811" y="449"/>
                        <a:pt x="813" y="448"/>
                      </a:cubicBezTo>
                      <a:cubicBezTo>
                        <a:pt x="815" y="446"/>
                        <a:pt x="815" y="442"/>
                        <a:pt x="816" y="439"/>
                      </a:cubicBezTo>
                      <a:cubicBezTo>
                        <a:pt x="817" y="437"/>
                        <a:pt x="819" y="434"/>
                        <a:pt x="818" y="431"/>
                      </a:cubicBezTo>
                      <a:cubicBezTo>
                        <a:pt x="816" y="427"/>
                        <a:pt x="814" y="426"/>
                        <a:pt x="815" y="421"/>
                      </a:cubicBezTo>
                      <a:cubicBezTo>
                        <a:pt x="815" y="419"/>
                        <a:pt x="814" y="409"/>
                        <a:pt x="811" y="408"/>
                      </a:cubicBezTo>
                      <a:cubicBezTo>
                        <a:pt x="805" y="407"/>
                        <a:pt x="811" y="415"/>
                        <a:pt x="808" y="418"/>
                      </a:cubicBezTo>
                      <a:cubicBezTo>
                        <a:pt x="802" y="422"/>
                        <a:pt x="801" y="414"/>
                        <a:pt x="799" y="411"/>
                      </a:cubicBezTo>
                      <a:cubicBezTo>
                        <a:pt x="797" y="408"/>
                        <a:pt x="796" y="410"/>
                        <a:pt x="794" y="412"/>
                      </a:cubicBezTo>
                      <a:cubicBezTo>
                        <a:pt x="790" y="415"/>
                        <a:pt x="788" y="410"/>
                        <a:pt x="787" y="408"/>
                      </a:cubicBezTo>
                      <a:cubicBezTo>
                        <a:pt x="786" y="404"/>
                        <a:pt x="787" y="402"/>
                        <a:pt x="787" y="398"/>
                      </a:cubicBezTo>
                      <a:cubicBezTo>
                        <a:pt x="788" y="395"/>
                        <a:pt x="791" y="397"/>
                        <a:pt x="793" y="397"/>
                      </a:cubicBezTo>
                      <a:cubicBezTo>
                        <a:pt x="793" y="392"/>
                        <a:pt x="803" y="390"/>
                        <a:pt x="800" y="384"/>
                      </a:cubicBezTo>
                      <a:cubicBezTo>
                        <a:pt x="798" y="381"/>
                        <a:pt x="799" y="377"/>
                        <a:pt x="797" y="375"/>
                      </a:cubicBezTo>
                      <a:cubicBezTo>
                        <a:pt x="796" y="373"/>
                        <a:pt x="793" y="370"/>
                        <a:pt x="795" y="368"/>
                      </a:cubicBezTo>
                      <a:cubicBezTo>
                        <a:pt x="797" y="366"/>
                        <a:pt x="798" y="366"/>
                        <a:pt x="799" y="363"/>
                      </a:cubicBezTo>
                      <a:cubicBezTo>
                        <a:pt x="799" y="360"/>
                        <a:pt x="799" y="357"/>
                        <a:pt x="797" y="354"/>
                      </a:cubicBezTo>
                      <a:cubicBezTo>
                        <a:pt x="794" y="351"/>
                        <a:pt x="790" y="350"/>
                        <a:pt x="786" y="348"/>
                      </a:cubicBezTo>
                      <a:cubicBezTo>
                        <a:pt x="780" y="345"/>
                        <a:pt x="788" y="343"/>
                        <a:pt x="785" y="338"/>
                      </a:cubicBezTo>
                      <a:cubicBezTo>
                        <a:pt x="785" y="336"/>
                        <a:pt x="783" y="333"/>
                        <a:pt x="782" y="332"/>
                      </a:cubicBezTo>
                      <a:cubicBezTo>
                        <a:pt x="780" y="331"/>
                        <a:pt x="778" y="331"/>
                        <a:pt x="776" y="330"/>
                      </a:cubicBezTo>
                      <a:cubicBezTo>
                        <a:pt x="774" y="330"/>
                        <a:pt x="773" y="327"/>
                        <a:pt x="773" y="325"/>
                      </a:cubicBezTo>
                      <a:cubicBezTo>
                        <a:pt x="772" y="322"/>
                        <a:pt x="769" y="323"/>
                        <a:pt x="767" y="322"/>
                      </a:cubicBezTo>
                      <a:cubicBezTo>
                        <a:pt x="765" y="321"/>
                        <a:pt x="764" y="319"/>
                        <a:pt x="761" y="319"/>
                      </a:cubicBezTo>
                      <a:cubicBezTo>
                        <a:pt x="759" y="319"/>
                        <a:pt x="757" y="317"/>
                        <a:pt x="755" y="315"/>
                      </a:cubicBezTo>
                      <a:cubicBezTo>
                        <a:pt x="752" y="311"/>
                        <a:pt x="748" y="304"/>
                        <a:pt x="747" y="299"/>
                      </a:cubicBezTo>
                      <a:cubicBezTo>
                        <a:pt x="747" y="296"/>
                        <a:pt x="750" y="293"/>
                        <a:pt x="749" y="290"/>
                      </a:cubicBezTo>
                      <a:cubicBezTo>
                        <a:pt x="748" y="287"/>
                        <a:pt x="746" y="284"/>
                        <a:pt x="745" y="282"/>
                      </a:cubicBezTo>
                      <a:cubicBezTo>
                        <a:pt x="743" y="278"/>
                        <a:pt x="742" y="275"/>
                        <a:pt x="740" y="271"/>
                      </a:cubicBezTo>
                      <a:cubicBezTo>
                        <a:pt x="737" y="267"/>
                        <a:pt x="735" y="264"/>
                        <a:pt x="733" y="259"/>
                      </a:cubicBezTo>
                      <a:cubicBezTo>
                        <a:pt x="731" y="252"/>
                        <a:pt x="726" y="246"/>
                        <a:pt x="723" y="239"/>
                      </a:cubicBezTo>
                      <a:cubicBezTo>
                        <a:pt x="721" y="234"/>
                        <a:pt x="724" y="230"/>
                        <a:pt x="724" y="226"/>
                      </a:cubicBezTo>
                      <a:cubicBezTo>
                        <a:pt x="723" y="222"/>
                        <a:pt x="718" y="222"/>
                        <a:pt x="719" y="227"/>
                      </a:cubicBezTo>
                      <a:cubicBezTo>
                        <a:pt x="722" y="233"/>
                        <a:pt x="721" y="234"/>
                        <a:pt x="716" y="238"/>
                      </a:cubicBezTo>
                      <a:cubicBezTo>
                        <a:pt x="711" y="241"/>
                        <a:pt x="716" y="244"/>
                        <a:pt x="714" y="248"/>
                      </a:cubicBezTo>
                      <a:cubicBezTo>
                        <a:pt x="713" y="252"/>
                        <a:pt x="714" y="258"/>
                        <a:pt x="711" y="261"/>
                      </a:cubicBezTo>
                      <a:cubicBezTo>
                        <a:pt x="710" y="262"/>
                        <a:pt x="708" y="261"/>
                        <a:pt x="707" y="263"/>
                      </a:cubicBezTo>
                      <a:cubicBezTo>
                        <a:pt x="706" y="264"/>
                        <a:pt x="705" y="266"/>
                        <a:pt x="704" y="267"/>
                      </a:cubicBezTo>
                      <a:cubicBezTo>
                        <a:pt x="702" y="271"/>
                        <a:pt x="699" y="274"/>
                        <a:pt x="695" y="270"/>
                      </a:cubicBezTo>
                      <a:cubicBezTo>
                        <a:pt x="693" y="268"/>
                        <a:pt x="692" y="262"/>
                        <a:pt x="689" y="262"/>
                      </a:cubicBezTo>
                      <a:cubicBezTo>
                        <a:pt x="687" y="262"/>
                        <a:pt x="684" y="264"/>
                        <a:pt x="682" y="262"/>
                      </a:cubicBezTo>
                      <a:cubicBezTo>
                        <a:pt x="681" y="261"/>
                        <a:pt x="682" y="258"/>
                        <a:pt x="681" y="256"/>
                      </a:cubicBezTo>
                      <a:cubicBezTo>
                        <a:pt x="681" y="254"/>
                        <a:pt x="679" y="252"/>
                        <a:pt x="677" y="251"/>
                      </a:cubicBezTo>
                      <a:cubicBezTo>
                        <a:pt x="676" y="250"/>
                        <a:pt x="676" y="247"/>
                        <a:pt x="677" y="246"/>
                      </a:cubicBezTo>
                      <a:cubicBezTo>
                        <a:pt x="677" y="243"/>
                        <a:pt x="677" y="241"/>
                        <a:pt x="677" y="238"/>
                      </a:cubicBezTo>
                      <a:cubicBezTo>
                        <a:pt x="677" y="235"/>
                        <a:pt x="675" y="233"/>
                        <a:pt x="675" y="230"/>
                      </a:cubicBezTo>
                      <a:cubicBezTo>
                        <a:pt x="674" y="228"/>
                        <a:pt x="682" y="220"/>
                        <a:pt x="678" y="219"/>
                      </a:cubicBezTo>
                      <a:cubicBezTo>
                        <a:pt x="675" y="218"/>
                        <a:pt x="676" y="222"/>
                        <a:pt x="674" y="221"/>
                      </a:cubicBezTo>
                      <a:cubicBezTo>
                        <a:pt x="671" y="220"/>
                        <a:pt x="668" y="220"/>
                        <a:pt x="666" y="219"/>
                      </a:cubicBezTo>
                      <a:cubicBezTo>
                        <a:pt x="665" y="218"/>
                        <a:pt x="664" y="216"/>
                        <a:pt x="663" y="216"/>
                      </a:cubicBezTo>
                      <a:cubicBezTo>
                        <a:pt x="661" y="215"/>
                        <a:pt x="659" y="215"/>
                        <a:pt x="658" y="214"/>
                      </a:cubicBezTo>
                      <a:cubicBezTo>
                        <a:pt x="656" y="214"/>
                        <a:pt x="654" y="211"/>
                        <a:pt x="653" y="209"/>
                      </a:cubicBezTo>
                      <a:cubicBezTo>
                        <a:pt x="651" y="206"/>
                        <a:pt x="648" y="204"/>
                        <a:pt x="645" y="201"/>
                      </a:cubicBezTo>
                      <a:cubicBezTo>
                        <a:pt x="644" y="200"/>
                        <a:pt x="637" y="191"/>
                        <a:pt x="635" y="191"/>
                      </a:cubicBezTo>
                      <a:cubicBezTo>
                        <a:pt x="634" y="191"/>
                        <a:pt x="632" y="194"/>
                        <a:pt x="631" y="195"/>
                      </a:cubicBezTo>
                      <a:cubicBezTo>
                        <a:pt x="629" y="196"/>
                        <a:pt x="625" y="196"/>
                        <a:pt x="623" y="196"/>
                      </a:cubicBezTo>
                      <a:cubicBezTo>
                        <a:pt x="618" y="196"/>
                        <a:pt x="614" y="192"/>
                        <a:pt x="609" y="192"/>
                      </a:cubicBezTo>
                      <a:cubicBezTo>
                        <a:pt x="607" y="191"/>
                        <a:pt x="605" y="192"/>
                        <a:pt x="603" y="190"/>
                      </a:cubicBezTo>
                      <a:cubicBezTo>
                        <a:pt x="602" y="189"/>
                        <a:pt x="600" y="185"/>
                        <a:pt x="599" y="187"/>
                      </a:cubicBezTo>
                      <a:cubicBezTo>
                        <a:pt x="596" y="189"/>
                        <a:pt x="596" y="193"/>
                        <a:pt x="595" y="195"/>
                      </a:cubicBezTo>
                      <a:cubicBezTo>
                        <a:pt x="594" y="199"/>
                        <a:pt x="592" y="200"/>
                        <a:pt x="594" y="203"/>
                      </a:cubicBezTo>
                      <a:cubicBezTo>
                        <a:pt x="598" y="209"/>
                        <a:pt x="598" y="214"/>
                        <a:pt x="594" y="220"/>
                      </a:cubicBezTo>
                      <a:cubicBezTo>
                        <a:pt x="588" y="226"/>
                        <a:pt x="595" y="223"/>
                        <a:pt x="598" y="226"/>
                      </a:cubicBezTo>
                      <a:cubicBezTo>
                        <a:pt x="600" y="228"/>
                        <a:pt x="599" y="231"/>
                        <a:pt x="600" y="234"/>
                      </a:cubicBezTo>
                      <a:cubicBezTo>
                        <a:pt x="601" y="237"/>
                        <a:pt x="603" y="238"/>
                        <a:pt x="601" y="242"/>
                      </a:cubicBezTo>
                      <a:cubicBezTo>
                        <a:pt x="600" y="244"/>
                        <a:pt x="598" y="248"/>
                        <a:pt x="596" y="249"/>
                      </a:cubicBezTo>
                      <a:cubicBezTo>
                        <a:pt x="593" y="250"/>
                        <a:pt x="592" y="253"/>
                        <a:pt x="592" y="256"/>
                      </a:cubicBezTo>
                      <a:cubicBezTo>
                        <a:pt x="592" y="264"/>
                        <a:pt x="599" y="268"/>
                        <a:pt x="603" y="274"/>
                      </a:cubicBezTo>
                      <a:cubicBezTo>
                        <a:pt x="606" y="280"/>
                        <a:pt x="608" y="287"/>
                        <a:pt x="609" y="294"/>
                      </a:cubicBezTo>
                      <a:cubicBezTo>
                        <a:pt x="610" y="299"/>
                        <a:pt x="612" y="306"/>
                        <a:pt x="611" y="311"/>
                      </a:cubicBezTo>
                      <a:cubicBezTo>
                        <a:pt x="610" y="313"/>
                        <a:pt x="607" y="315"/>
                        <a:pt x="606" y="317"/>
                      </a:cubicBezTo>
                      <a:cubicBezTo>
                        <a:pt x="604" y="320"/>
                        <a:pt x="602" y="322"/>
                        <a:pt x="599" y="324"/>
                      </a:cubicBezTo>
                      <a:cubicBezTo>
                        <a:pt x="596" y="325"/>
                        <a:pt x="592" y="327"/>
                        <a:pt x="589" y="328"/>
                      </a:cubicBezTo>
                      <a:cubicBezTo>
                        <a:pt x="586" y="329"/>
                        <a:pt x="579" y="329"/>
                        <a:pt x="583" y="333"/>
                      </a:cubicBezTo>
                      <a:cubicBezTo>
                        <a:pt x="588" y="340"/>
                        <a:pt x="588" y="345"/>
                        <a:pt x="589" y="352"/>
                      </a:cubicBezTo>
                      <a:cubicBezTo>
                        <a:pt x="590" y="359"/>
                        <a:pt x="596" y="367"/>
                        <a:pt x="591" y="374"/>
                      </a:cubicBezTo>
                      <a:cubicBezTo>
                        <a:pt x="589" y="378"/>
                        <a:pt x="583" y="373"/>
                        <a:pt x="584" y="380"/>
                      </a:cubicBezTo>
                      <a:cubicBezTo>
                        <a:pt x="584" y="387"/>
                        <a:pt x="581" y="389"/>
                        <a:pt x="575" y="385"/>
                      </a:cubicBezTo>
                      <a:cubicBezTo>
                        <a:pt x="568" y="382"/>
                        <a:pt x="574" y="372"/>
                        <a:pt x="574" y="367"/>
                      </a:cubicBezTo>
                      <a:cubicBezTo>
                        <a:pt x="574" y="362"/>
                        <a:pt x="573" y="354"/>
                        <a:pt x="566" y="356"/>
                      </a:cubicBezTo>
                      <a:cubicBezTo>
                        <a:pt x="566" y="358"/>
                        <a:pt x="568" y="359"/>
                        <a:pt x="567" y="361"/>
                      </a:cubicBezTo>
                      <a:cubicBezTo>
                        <a:pt x="566" y="363"/>
                        <a:pt x="561" y="362"/>
                        <a:pt x="560" y="362"/>
                      </a:cubicBezTo>
                      <a:cubicBezTo>
                        <a:pt x="553" y="360"/>
                        <a:pt x="555" y="353"/>
                        <a:pt x="554" y="348"/>
                      </a:cubicBezTo>
                      <a:cubicBezTo>
                        <a:pt x="554" y="346"/>
                        <a:pt x="551" y="344"/>
                        <a:pt x="552" y="342"/>
                      </a:cubicBezTo>
                      <a:cubicBezTo>
                        <a:pt x="552" y="338"/>
                        <a:pt x="555" y="337"/>
                        <a:pt x="557" y="334"/>
                      </a:cubicBezTo>
                      <a:cubicBezTo>
                        <a:pt x="558" y="331"/>
                        <a:pt x="556" y="327"/>
                        <a:pt x="555" y="324"/>
                      </a:cubicBezTo>
                      <a:cubicBezTo>
                        <a:pt x="553" y="322"/>
                        <a:pt x="548" y="323"/>
                        <a:pt x="545" y="323"/>
                      </a:cubicBezTo>
                      <a:cubicBezTo>
                        <a:pt x="537" y="323"/>
                        <a:pt x="531" y="322"/>
                        <a:pt x="523" y="317"/>
                      </a:cubicBezTo>
                      <a:cubicBezTo>
                        <a:pt x="520" y="315"/>
                        <a:pt x="516" y="313"/>
                        <a:pt x="513" y="311"/>
                      </a:cubicBezTo>
                      <a:cubicBezTo>
                        <a:pt x="509" y="309"/>
                        <a:pt x="505" y="308"/>
                        <a:pt x="503" y="304"/>
                      </a:cubicBezTo>
                      <a:cubicBezTo>
                        <a:pt x="499" y="299"/>
                        <a:pt x="500" y="294"/>
                        <a:pt x="492" y="294"/>
                      </a:cubicBezTo>
                      <a:cubicBezTo>
                        <a:pt x="488" y="295"/>
                        <a:pt x="485" y="296"/>
                        <a:pt x="482" y="295"/>
                      </a:cubicBezTo>
                      <a:cubicBezTo>
                        <a:pt x="479" y="295"/>
                        <a:pt x="476" y="292"/>
                        <a:pt x="474" y="291"/>
                      </a:cubicBezTo>
                      <a:cubicBezTo>
                        <a:pt x="468" y="288"/>
                        <a:pt x="467" y="293"/>
                        <a:pt x="462" y="294"/>
                      </a:cubicBezTo>
                      <a:cubicBezTo>
                        <a:pt x="459" y="295"/>
                        <a:pt x="459" y="292"/>
                        <a:pt x="459" y="290"/>
                      </a:cubicBezTo>
                      <a:cubicBezTo>
                        <a:pt x="459" y="286"/>
                        <a:pt x="458" y="284"/>
                        <a:pt x="456" y="280"/>
                      </a:cubicBezTo>
                      <a:cubicBezTo>
                        <a:pt x="454" y="276"/>
                        <a:pt x="457" y="270"/>
                        <a:pt x="454" y="265"/>
                      </a:cubicBezTo>
                      <a:cubicBezTo>
                        <a:pt x="451" y="261"/>
                        <a:pt x="444" y="265"/>
                        <a:pt x="441" y="260"/>
                      </a:cubicBezTo>
                      <a:cubicBezTo>
                        <a:pt x="437" y="256"/>
                        <a:pt x="439" y="244"/>
                        <a:pt x="439" y="238"/>
                      </a:cubicBezTo>
                      <a:cubicBezTo>
                        <a:pt x="439" y="230"/>
                        <a:pt x="444" y="225"/>
                        <a:pt x="447" y="218"/>
                      </a:cubicBezTo>
                      <a:cubicBezTo>
                        <a:pt x="450" y="211"/>
                        <a:pt x="452" y="206"/>
                        <a:pt x="457" y="201"/>
                      </a:cubicBezTo>
                      <a:cubicBezTo>
                        <a:pt x="459" y="199"/>
                        <a:pt x="461" y="197"/>
                        <a:pt x="462" y="194"/>
                      </a:cubicBezTo>
                      <a:cubicBezTo>
                        <a:pt x="463" y="193"/>
                        <a:pt x="462" y="190"/>
                        <a:pt x="464" y="189"/>
                      </a:cubicBezTo>
                      <a:cubicBezTo>
                        <a:pt x="467" y="187"/>
                        <a:pt x="472" y="186"/>
                        <a:pt x="475" y="184"/>
                      </a:cubicBezTo>
                      <a:cubicBezTo>
                        <a:pt x="481" y="181"/>
                        <a:pt x="475" y="177"/>
                        <a:pt x="472" y="176"/>
                      </a:cubicBezTo>
                      <a:cubicBezTo>
                        <a:pt x="471" y="176"/>
                        <a:pt x="459" y="173"/>
                        <a:pt x="463" y="171"/>
                      </a:cubicBezTo>
                      <a:cubicBezTo>
                        <a:pt x="465" y="168"/>
                        <a:pt x="474" y="172"/>
                        <a:pt x="478" y="172"/>
                      </a:cubicBezTo>
                      <a:cubicBezTo>
                        <a:pt x="485" y="172"/>
                        <a:pt x="480" y="167"/>
                        <a:pt x="482" y="163"/>
                      </a:cubicBezTo>
                      <a:cubicBezTo>
                        <a:pt x="484" y="158"/>
                        <a:pt x="492" y="164"/>
                        <a:pt x="496" y="161"/>
                      </a:cubicBezTo>
                      <a:cubicBezTo>
                        <a:pt x="501" y="157"/>
                        <a:pt x="503" y="149"/>
                        <a:pt x="508" y="144"/>
                      </a:cubicBezTo>
                      <a:cubicBezTo>
                        <a:pt x="510" y="143"/>
                        <a:pt x="511" y="141"/>
                        <a:pt x="510" y="139"/>
                      </a:cubicBezTo>
                      <a:cubicBezTo>
                        <a:pt x="509" y="134"/>
                        <a:pt x="504" y="137"/>
                        <a:pt x="501" y="136"/>
                      </a:cubicBezTo>
                      <a:cubicBezTo>
                        <a:pt x="497" y="136"/>
                        <a:pt x="494" y="137"/>
                        <a:pt x="492" y="134"/>
                      </a:cubicBezTo>
                      <a:cubicBezTo>
                        <a:pt x="491" y="132"/>
                        <a:pt x="491" y="130"/>
                        <a:pt x="487" y="130"/>
                      </a:cubicBezTo>
                      <a:cubicBezTo>
                        <a:pt x="479" y="128"/>
                        <a:pt x="486" y="120"/>
                        <a:pt x="492" y="122"/>
                      </a:cubicBezTo>
                      <a:cubicBezTo>
                        <a:pt x="497" y="124"/>
                        <a:pt x="499" y="130"/>
                        <a:pt x="505" y="132"/>
                      </a:cubicBezTo>
                      <a:cubicBezTo>
                        <a:pt x="508" y="133"/>
                        <a:pt x="511" y="132"/>
                        <a:pt x="513" y="130"/>
                      </a:cubicBezTo>
                      <a:cubicBezTo>
                        <a:pt x="516" y="128"/>
                        <a:pt x="519" y="125"/>
                        <a:pt x="520" y="122"/>
                      </a:cubicBezTo>
                      <a:cubicBezTo>
                        <a:pt x="522" y="119"/>
                        <a:pt x="514" y="113"/>
                        <a:pt x="518" y="112"/>
                      </a:cubicBezTo>
                      <a:cubicBezTo>
                        <a:pt x="525" y="110"/>
                        <a:pt x="526" y="117"/>
                        <a:pt x="531" y="118"/>
                      </a:cubicBezTo>
                      <a:cubicBezTo>
                        <a:pt x="536" y="120"/>
                        <a:pt x="533" y="113"/>
                        <a:pt x="532" y="111"/>
                      </a:cubicBezTo>
                      <a:cubicBezTo>
                        <a:pt x="532" y="109"/>
                        <a:pt x="530" y="108"/>
                        <a:pt x="530" y="106"/>
                      </a:cubicBezTo>
                      <a:cubicBezTo>
                        <a:pt x="529" y="103"/>
                        <a:pt x="531" y="101"/>
                        <a:pt x="534" y="103"/>
                      </a:cubicBezTo>
                      <a:cubicBezTo>
                        <a:pt x="538" y="106"/>
                        <a:pt x="538" y="110"/>
                        <a:pt x="542" y="113"/>
                      </a:cubicBezTo>
                      <a:cubicBezTo>
                        <a:pt x="546" y="117"/>
                        <a:pt x="553" y="107"/>
                        <a:pt x="555" y="105"/>
                      </a:cubicBezTo>
                      <a:cubicBezTo>
                        <a:pt x="559" y="100"/>
                        <a:pt x="564" y="95"/>
                        <a:pt x="563" y="88"/>
                      </a:cubicBezTo>
                      <a:cubicBezTo>
                        <a:pt x="562" y="86"/>
                        <a:pt x="558" y="84"/>
                        <a:pt x="559" y="82"/>
                      </a:cubicBezTo>
                      <a:cubicBezTo>
                        <a:pt x="559" y="80"/>
                        <a:pt x="562" y="78"/>
                        <a:pt x="559" y="76"/>
                      </a:cubicBezTo>
                      <a:cubicBezTo>
                        <a:pt x="555" y="73"/>
                        <a:pt x="552" y="72"/>
                        <a:pt x="559" y="70"/>
                      </a:cubicBezTo>
                      <a:cubicBezTo>
                        <a:pt x="561" y="70"/>
                        <a:pt x="564" y="68"/>
                        <a:pt x="565" y="66"/>
                      </a:cubicBezTo>
                      <a:cubicBezTo>
                        <a:pt x="566" y="64"/>
                        <a:pt x="563" y="61"/>
                        <a:pt x="561" y="61"/>
                      </a:cubicBezTo>
                      <a:cubicBezTo>
                        <a:pt x="559" y="58"/>
                        <a:pt x="564" y="59"/>
                        <a:pt x="566" y="58"/>
                      </a:cubicBezTo>
                      <a:cubicBezTo>
                        <a:pt x="567" y="57"/>
                        <a:pt x="565" y="55"/>
                        <a:pt x="564" y="54"/>
                      </a:cubicBezTo>
                      <a:cubicBezTo>
                        <a:pt x="564" y="53"/>
                        <a:pt x="562" y="53"/>
                        <a:pt x="561" y="52"/>
                      </a:cubicBezTo>
                      <a:cubicBezTo>
                        <a:pt x="560" y="51"/>
                        <a:pt x="560" y="50"/>
                        <a:pt x="558" y="49"/>
                      </a:cubicBezTo>
                      <a:cubicBezTo>
                        <a:pt x="557" y="49"/>
                        <a:pt x="556" y="48"/>
                        <a:pt x="555" y="47"/>
                      </a:cubicBezTo>
                      <a:cubicBezTo>
                        <a:pt x="554" y="46"/>
                        <a:pt x="554" y="45"/>
                        <a:pt x="553" y="44"/>
                      </a:cubicBezTo>
                      <a:cubicBezTo>
                        <a:pt x="551" y="43"/>
                        <a:pt x="548" y="43"/>
                        <a:pt x="545" y="43"/>
                      </a:cubicBezTo>
                      <a:cubicBezTo>
                        <a:pt x="541" y="42"/>
                        <a:pt x="532" y="40"/>
                        <a:pt x="529" y="42"/>
                      </a:cubicBezTo>
                      <a:cubicBezTo>
                        <a:pt x="527" y="43"/>
                        <a:pt x="527" y="47"/>
                        <a:pt x="528" y="49"/>
                      </a:cubicBezTo>
                      <a:cubicBezTo>
                        <a:pt x="529" y="51"/>
                        <a:pt x="532" y="53"/>
                        <a:pt x="533" y="55"/>
                      </a:cubicBezTo>
                      <a:cubicBezTo>
                        <a:pt x="534" y="58"/>
                        <a:pt x="532" y="60"/>
                        <a:pt x="529" y="60"/>
                      </a:cubicBezTo>
                      <a:cubicBezTo>
                        <a:pt x="525" y="60"/>
                        <a:pt x="524" y="63"/>
                        <a:pt x="524" y="66"/>
                      </a:cubicBezTo>
                      <a:cubicBezTo>
                        <a:pt x="524" y="69"/>
                        <a:pt x="529" y="77"/>
                        <a:pt x="522" y="77"/>
                      </a:cubicBezTo>
                      <a:cubicBezTo>
                        <a:pt x="518" y="77"/>
                        <a:pt x="513" y="76"/>
                        <a:pt x="512" y="82"/>
                      </a:cubicBezTo>
                      <a:cubicBezTo>
                        <a:pt x="511" y="86"/>
                        <a:pt x="515" y="88"/>
                        <a:pt x="514" y="92"/>
                      </a:cubicBezTo>
                      <a:cubicBezTo>
                        <a:pt x="514" y="93"/>
                        <a:pt x="513" y="95"/>
                        <a:pt x="511" y="95"/>
                      </a:cubicBezTo>
                      <a:cubicBezTo>
                        <a:pt x="510" y="95"/>
                        <a:pt x="509" y="94"/>
                        <a:pt x="508" y="93"/>
                      </a:cubicBezTo>
                      <a:cubicBezTo>
                        <a:pt x="508" y="91"/>
                        <a:pt x="506" y="91"/>
                        <a:pt x="505" y="90"/>
                      </a:cubicBezTo>
                      <a:cubicBezTo>
                        <a:pt x="501" y="87"/>
                        <a:pt x="500" y="79"/>
                        <a:pt x="504" y="75"/>
                      </a:cubicBezTo>
                      <a:cubicBezTo>
                        <a:pt x="506" y="73"/>
                        <a:pt x="508" y="73"/>
                        <a:pt x="509" y="70"/>
                      </a:cubicBezTo>
                      <a:cubicBezTo>
                        <a:pt x="509" y="67"/>
                        <a:pt x="508" y="65"/>
                        <a:pt x="505" y="63"/>
                      </a:cubicBezTo>
                      <a:cubicBezTo>
                        <a:pt x="502" y="61"/>
                        <a:pt x="501" y="58"/>
                        <a:pt x="500" y="55"/>
                      </a:cubicBezTo>
                      <a:cubicBezTo>
                        <a:pt x="498" y="53"/>
                        <a:pt x="494" y="55"/>
                        <a:pt x="492" y="56"/>
                      </a:cubicBezTo>
                      <a:cubicBezTo>
                        <a:pt x="485" y="61"/>
                        <a:pt x="487" y="68"/>
                        <a:pt x="485" y="74"/>
                      </a:cubicBezTo>
                      <a:cubicBezTo>
                        <a:pt x="482" y="74"/>
                        <a:pt x="481" y="66"/>
                        <a:pt x="481" y="65"/>
                      </a:cubicBezTo>
                      <a:cubicBezTo>
                        <a:pt x="481" y="64"/>
                        <a:pt x="480" y="62"/>
                        <a:pt x="480" y="61"/>
                      </a:cubicBezTo>
                      <a:cubicBezTo>
                        <a:pt x="480" y="58"/>
                        <a:pt x="483" y="55"/>
                        <a:pt x="482" y="52"/>
                      </a:cubicBezTo>
                      <a:cubicBezTo>
                        <a:pt x="481" y="50"/>
                        <a:pt x="478" y="51"/>
                        <a:pt x="477" y="49"/>
                      </a:cubicBezTo>
                      <a:cubicBezTo>
                        <a:pt x="474" y="47"/>
                        <a:pt x="473" y="49"/>
                        <a:pt x="470" y="49"/>
                      </a:cubicBezTo>
                      <a:cubicBezTo>
                        <a:pt x="468" y="50"/>
                        <a:pt x="466" y="47"/>
                        <a:pt x="466" y="45"/>
                      </a:cubicBezTo>
                      <a:cubicBezTo>
                        <a:pt x="466" y="44"/>
                        <a:pt x="468" y="43"/>
                        <a:pt x="468" y="42"/>
                      </a:cubicBezTo>
                      <a:cubicBezTo>
                        <a:pt x="468" y="40"/>
                        <a:pt x="466" y="39"/>
                        <a:pt x="467" y="37"/>
                      </a:cubicBezTo>
                      <a:cubicBezTo>
                        <a:pt x="470" y="36"/>
                        <a:pt x="476" y="39"/>
                        <a:pt x="474" y="33"/>
                      </a:cubicBezTo>
                      <a:cubicBezTo>
                        <a:pt x="473" y="31"/>
                        <a:pt x="471" y="29"/>
                        <a:pt x="470" y="28"/>
                      </a:cubicBezTo>
                      <a:cubicBezTo>
                        <a:pt x="467" y="25"/>
                        <a:pt x="467" y="23"/>
                        <a:pt x="467" y="20"/>
                      </a:cubicBezTo>
                      <a:cubicBezTo>
                        <a:pt x="466" y="17"/>
                        <a:pt x="462" y="15"/>
                        <a:pt x="462" y="11"/>
                      </a:cubicBezTo>
                      <a:cubicBezTo>
                        <a:pt x="461" y="6"/>
                        <a:pt x="460" y="4"/>
                        <a:pt x="454" y="5"/>
                      </a:cubicBezTo>
                      <a:cubicBezTo>
                        <a:pt x="451" y="5"/>
                        <a:pt x="452" y="3"/>
                        <a:pt x="451" y="2"/>
                      </a:cubicBezTo>
                      <a:cubicBezTo>
                        <a:pt x="449" y="0"/>
                        <a:pt x="446" y="3"/>
                        <a:pt x="445" y="4"/>
                      </a:cubicBezTo>
                      <a:cubicBezTo>
                        <a:pt x="443" y="6"/>
                        <a:pt x="444" y="12"/>
                        <a:pt x="441" y="13"/>
                      </a:cubicBezTo>
                      <a:cubicBezTo>
                        <a:pt x="439" y="14"/>
                        <a:pt x="437" y="14"/>
                        <a:pt x="436" y="16"/>
                      </a:cubicBezTo>
                      <a:cubicBezTo>
                        <a:pt x="435" y="19"/>
                        <a:pt x="435" y="21"/>
                        <a:pt x="436" y="24"/>
                      </a:cubicBezTo>
                      <a:cubicBezTo>
                        <a:pt x="437" y="25"/>
                        <a:pt x="439" y="27"/>
                        <a:pt x="437" y="29"/>
                      </a:cubicBezTo>
                      <a:cubicBezTo>
                        <a:pt x="436" y="31"/>
                        <a:pt x="433" y="31"/>
                        <a:pt x="432" y="33"/>
                      </a:cubicBezTo>
                      <a:cubicBezTo>
                        <a:pt x="430" y="38"/>
                        <a:pt x="436" y="41"/>
                        <a:pt x="438" y="44"/>
                      </a:cubicBezTo>
                      <a:cubicBezTo>
                        <a:pt x="441" y="49"/>
                        <a:pt x="447" y="50"/>
                        <a:pt x="453" y="51"/>
                      </a:cubicBezTo>
                      <a:cubicBezTo>
                        <a:pt x="454" y="52"/>
                        <a:pt x="457" y="54"/>
                        <a:pt x="456" y="55"/>
                      </a:cubicBezTo>
                      <a:cubicBezTo>
                        <a:pt x="455" y="57"/>
                        <a:pt x="452" y="58"/>
                        <a:pt x="451" y="59"/>
                      </a:cubicBezTo>
                      <a:cubicBezTo>
                        <a:pt x="448" y="60"/>
                        <a:pt x="447" y="62"/>
                        <a:pt x="447" y="64"/>
                      </a:cubicBezTo>
                      <a:cubicBezTo>
                        <a:pt x="447" y="67"/>
                        <a:pt x="449" y="68"/>
                        <a:pt x="452" y="68"/>
                      </a:cubicBezTo>
                      <a:cubicBezTo>
                        <a:pt x="462" y="70"/>
                        <a:pt x="441" y="82"/>
                        <a:pt x="440" y="85"/>
                      </a:cubicBezTo>
                      <a:cubicBezTo>
                        <a:pt x="437" y="90"/>
                        <a:pt x="444" y="93"/>
                        <a:pt x="441" y="99"/>
                      </a:cubicBezTo>
                      <a:cubicBezTo>
                        <a:pt x="437" y="104"/>
                        <a:pt x="430" y="97"/>
                        <a:pt x="433" y="92"/>
                      </a:cubicBezTo>
                      <a:cubicBezTo>
                        <a:pt x="434" y="90"/>
                        <a:pt x="435" y="88"/>
                        <a:pt x="434" y="86"/>
                      </a:cubicBezTo>
                      <a:cubicBezTo>
                        <a:pt x="432" y="84"/>
                        <a:pt x="432" y="83"/>
                        <a:pt x="431" y="81"/>
                      </a:cubicBezTo>
                      <a:cubicBezTo>
                        <a:pt x="430" y="78"/>
                        <a:pt x="427" y="80"/>
                        <a:pt x="425" y="80"/>
                      </a:cubicBezTo>
                      <a:cubicBezTo>
                        <a:pt x="421" y="81"/>
                        <a:pt x="416" y="80"/>
                        <a:pt x="414" y="84"/>
                      </a:cubicBezTo>
                      <a:cubicBezTo>
                        <a:pt x="413" y="86"/>
                        <a:pt x="414" y="89"/>
                        <a:pt x="410" y="90"/>
                      </a:cubicBezTo>
                      <a:cubicBezTo>
                        <a:pt x="409" y="91"/>
                        <a:pt x="406" y="90"/>
                        <a:pt x="404" y="90"/>
                      </a:cubicBezTo>
                      <a:cubicBezTo>
                        <a:pt x="397" y="88"/>
                        <a:pt x="390" y="92"/>
                        <a:pt x="383" y="93"/>
                      </a:cubicBezTo>
                      <a:cubicBezTo>
                        <a:pt x="381" y="93"/>
                        <a:pt x="378" y="92"/>
                        <a:pt x="377" y="90"/>
                      </a:cubicBezTo>
                      <a:cubicBezTo>
                        <a:pt x="376" y="89"/>
                        <a:pt x="376" y="86"/>
                        <a:pt x="374" y="85"/>
                      </a:cubicBezTo>
                      <a:cubicBezTo>
                        <a:pt x="373" y="83"/>
                        <a:pt x="369" y="89"/>
                        <a:pt x="367" y="88"/>
                      </a:cubicBezTo>
                      <a:cubicBezTo>
                        <a:pt x="363" y="88"/>
                        <a:pt x="363" y="82"/>
                        <a:pt x="359" y="82"/>
                      </a:cubicBezTo>
                      <a:cubicBezTo>
                        <a:pt x="357" y="81"/>
                        <a:pt x="348" y="85"/>
                        <a:pt x="347" y="88"/>
                      </a:cubicBezTo>
                      <a:cubicBezTo>
                        <a:pt x="346" y="90"/>
                        <a:pt x="343" y="90"/>
                        <a:pt x="342" y="92"/>
                      </a:cubicBezTo>
                      <a:cubicBezTo>
                        <a:pt x="340" y="94"/>
                        <a:pt x="337" y="95"/>
                        <a:pt x="336" y="97"/>
                      </a:cubicBezTo>
                      <a:cubicBezTo>
                        <a:pt x="335" y="99"/>
                        <a:pt x="338" y="107"/>
                        <a:pt x="333" y="104"/>
                      </a:cubicBezTo>
                      <a:cubicBezTo>
                        <a:pt x="329" y="101"/>
                        <a:pt x="325" y="98"/>
                        <a:pt x="320" y="97"/>
                      </a:cubicBezTo>
                      <a:cubicBezTo>
                        <a:pt x="313" y="97"/>
                        <a:pt x="308" y="101"/>
                        <a:pt x="303" y="104"/>
                      </a:cubicBezTo>
                      <a:cubicBezTo>
                        <a:pt x="296" y="107"/>
                        <a:pt x="294" y="101"/>
                        <a:pt x="288" y="102"/>
                      </a:cubicBezTo>
                      <a:cubicBezTo>
                        <a:pt x="285" y="103"/>
                        <a:pt x="281" y="102"/>
                        <a:pt x="282" y="97"/>
                      </a:cubicBezTo>
                      <a:cubicBezTo>
                        <a:pt x="284" y="93"/>
                        <a:pt x="288" y="94"/>
                        <a:pt x="291" y="93"/>
                      </a:cubicBezTo>
                      <a:cubicBezTo>
                        <a:pt x="297" y="91"/>
                        <a:pt x="289" y="84"/>
                        <a:pt x="288" y="83"/>
                      </a:cubicBezTo>
                      <a:cubicBezTo>
                        <a:pt x="286" y="82"/>
                        <a:pt x="285" y="80"/>
                        <a:pt x="283" y="81"/>
                      </a:cubicBezTo>
                      <a:cubicBezTo>
                        <a:pt x="280" y="81"/>
                        <a:pt x="277" y="83"/>
                        <a:pt x="275" y="84"/>
                      </a:cubicBezTo>
                      <a:cubicBezTo>
                        <a:pt x="269" y="84"/>
                        <a:pt x="265" y="80"/>
                        <a:pt x="262" y="77"/>
                      </a:cubicBezTo>
                      <a:cubicBezTo>
                        <a:pt x="260" y="76"/>
                        <a:pt x="259" y="75"/>
                        <a:pt x="256" y="75"/>
                      </a:cubicBezTo>
                      <a:cubicBezTo>
                        <a:pt x="254" y="75"/>
                        <a:pt x="252" y="75"/>
                        <a:pt x="251" y="73"/>
                      </a:cubicBezTo>
                      <a:cubicBezTo>
                        <a:pt x="249" y="73"/>
                        <a:pt x="247" y="71"/>
                        <a:pt x="245" y="70"/>
                      </a:cubicBezTo>
                      <a:cubicBezTo>
                        <a:pt x="243" y="69"/>
                        <a:pt x="240" y="70"/>
                        <a:pt x="237" y="71"/>
                      </a:cubicBezTo>
                      <a:cubicBezTo>
                        <a:pt x="235" y="72"/>
                        <a:pt x="234" y="73"/>
                        <a:pt x="233" y="75"/>
                      </a:cubicBezTo>
                      <a:cubicBezTo>
                        <a:pt x="232" y="77"/>
                        <a:pt x="230" y="78"/>
                        <a:pt x="229" y="80"/>
                      </a:cubicBezTo>
                      <a:cubicBezTo>
                        <a:pt x="226" y="82"/>
                        <a:pt x="222" y="84"/>
                        <a:pt x="224" y="78"/>
                      </a:cubicBezTo>
                      <a:cubicBezTo>
                        <a:pt x="226" y="74"/>
                        <a:pt x="228" y="71"/>
                        <a:pt x="225" y="69"/>
                      </a:cubicBezTo>
                      <a:cubicBezTo>
                        <a:pt x="220" y="66"/>
                        <a:pt x="220" y="75"/>
                        <a:pt x="218" y="75"/>
                      </a:cubicBezTo>
                      <a:cubicBezTo>
                        <a:pt x="219" y="77"/>
                        <a:pt x="216" y="82"/>
                        <a:pt x="214" y="83"/>
                      </a:cubicBezTo>
                      <a:cubicBezTo>
                        <a:pt x="212" y="85"/>
                        <a:pt x="209" y="76"/>
                        <a:pt x="209" y="74"/>
                      </a:cubicBezTo>
                      <a:cubicBezTo>
                        <a:pt x="208" y="70"/>
                        <a:pt x="208" y="64"/>
                        <a:pt x="205" y="62"/>
                      </a:cubicBezTo>
                      <a:cubicBezTo>
                        <a:pt x="200" y="59"/>
                        <a:pt x="202" y="69"/>
                        <a:pt x="200" y="72"/>
                      </a:cubicBezTo>
                      <a:cubicBezTo>
                        <a:pt x="200" y="74"/>
                        <a:pt x="192" y="84"/>
                        <a:pt x="192" y="79"/>
                      </a:cubicBezTo>
                      <a:cubicBezTo>
                        <a:pt x="192" y="78"/>
                        <a:pt x="193" y="75"/>
                        <a:pt x="191" y="75"/>
                      </a:cubicBezTo>
                      <a:cubicBezTo>
                        <a:pt x="190" y="74"/>
                        <a:pt x="188" y="74"/>
                        <a:pt x="186" y="76"/>
                      </a:cubicBezTo>
                      <a:cubicBezTo>
                        <a:pt x="183" y="80"/>
                        <a:pt x="183" y="83"/>
                        <a:pt x="179" y="83"/>
                      </a:cubicBezTo>
                      <a:cubicBezTo>
                        <a:pt x="178" y="84"/>
                        <a:pt x="176" y="84"/>
                        <a:pt x="175" y="85"/>
                      </a:cubicBezTo>
                      <a:cubicBezTo>
                        <a:pt x="173" y="87"/>
                        <a:pt x="174" y="88"/>
                        <a:pt x="173" y="89"/>
                      </a:cubicBezTo>
                      <a:cubicBezTo>
                        <a:pt x="172" y="90"/>
                        <a:pt x="170" y="92"/>
                        <a:pt x="169" y="92"/>
                      </a:cubicBezTo>
                      <a:cubicBezTo>
                        <a:pt x="168" y="92"/>
                        <a:pt x="168" y="90"/>
                        <a:pt x="168" y="90"/>
                      </a:cubicBezTo>
                      <a:cubicBezTo>
                        <a:pt x="167" y="85"/>
                        <a:pt x="164" y="90"/>
                        <a:pt x="162" y="93"/>
                      </a:cubicBezTo>
                      <a:cubicBezTo>
                        <a:pt x="161" y="94"/>
                        <a:pt x="152" y="99"/>
                        <a:pt x="153" y="101"/>
                      </a:cubicBezTo>
                      <a:cubicBezTo>
                        <a:pt x="154" y="102"/>
                        <a:pt x="156" y="102"/>
                        <a:pt x="156" y="104"/>
                      </a:cubicBezTo>
                      <a:cubicBezTo>
                        <a:pt x="156" y="104"/>
                        <a:pt x="155" y="108"/>
                        <a:pt x="155" y="108"/>
                      </a:cubicBezTo>
                      <a:cubicBezTo>
                        <a:pt x="152" y="107"/>
                        <a:pt x="151" y="107"/>
                        <a:pt x="148" y="107"/>
                      </a:cubicBezTo>
                      <a:cubicBezTo>
                        <a:pt x="146" y="107"/>
                        <a:pt x="145" y="106"/>
                        <a:pt x="145" y="104"/>
                      </a:cubicBezTo>
                      <a:cubicBezTo>
                        <a:pt x="143" y="102"/>
                        <a:pt x="140" y="99"/>
                        <a:pt x="137" y="99"/>
                      </a:cubicBezTo>
                      <a:cubicBezTo>
                        <a:pt x="136" y="100"/>
                        <a:pt x="135" y="98"/>
                        <a:pt x="134" y="98"/>
                      </a:cubicBezTo>
                      <a:cubicBezTo>
                        <a:pt x="132" y="97"/>
                        <a:pt x="130" y="98"/>
                        <a:pt x="128" y="97"/>
                      </a:cubicBezTo>
                      <a:cubicBezTo>
                        <a:pt x="127" y="97"/>
                        <a:pt x="125" y="96"/>
                        <a:pt x="124" y="95"/>
                      </a:cubicBezTo>
                      <a:cubicBezTo>
                        <a:pt x="123" y="94"/>
                        <a:pt x="121" y="92"/>
                        <a:pt x="119" y="93"/>
                      </a:cubicBezTo>
                      <a:cubicBezTo>
                        <a:pt x="116" y="93"/>
                        <a:pt x="112" y="96"/>
                        <a:pt x="109" y="96"/>
                      </a:cubicBezTo>
                      <a:cubicBezTo>
                        <a:pt x="106" y="96"/>
                        <a:pt x="105" y="93"/>
                        <a:pt x="102" y="95"/>
                      </a:cubicBezTo>
                      <a:cubicBezTo>
                        <a:pt x="98" y="97"/>
                        <a:pt x="96" y="95"/>
                        <a:pt x="93" y="94"/>
                      </a:cubicBezTo>
                      <a:cubicBezTo>
                        <a:pt x="91" y="92"/>
                        <a:pt x="88" y="90"/>
                        <a:pt x="85" y="95"/>
                      </a:cubicBezTo>
                      <a:cubicBezTo>
                        <a:pt x="84" y="97"/>
                        <a:pt x="82" y="99"/>
                        <a:pt x="81" y="98"/>
                      </a:cubicBezTo>
                      <a:cubicBezTo>
                        <a:pt x="81" y="97"/>
                        <a:pt x="81" y="95"/>
                        <a:pt x="79" y="95"/>
                      </a:cubicBezTo>
                      <a:cubicBezTo>
                        <a:pt x="78" y="96"/>
                        <a:pt x="78" y="95"/>
                        <a:pt x="77" y="94"/>
                      </a:cubicBezTo>
                      <a:cubicBezTo>
                        <a:pt x="77" y="93"/>
                        <a:pt x="77" y="92"/>
                        <a:pt x="77" y="92"/>
                      </a:cubicBezTo>
                      <a:cubicBezTo>
                        <a:pt x="77" y="91"/>
                        <a:pt x="75" y="91"/>
                        <a:pt x="74" y="91"/>
                      </a:cubicBezTo>
                      <a:cubicBezTo>
                        <a:pt x="72" y="92"/>
                        <a:pt x="69" y="97"/>
                        <a:pt x="69" y="91"/>
                      </a:cubicBezTo>
                      <a:cubicBezTo>
                        <a:pt x="69" y="89"/>
                        <a:pt x="67" y="86"/>
                        <a:pt x="66" y="91"/>
                      </a:cubicBezTo>
                      <a:cubicBezTo>
                        <a:pt x="65" y="92"/>
                        <a:pt x="65" y="94"/>
                        <a:pt x="65" y="95"/>
                      </a:cubicBezTo>
                      <a:cubicBezTo>
                        <a:pt x="65" y="96"/>
                        <a:pt x="66" y="96"/>
                        <a:pt x="66" y="98"/>
                      </a:cubicBezTo>
                      <a:cubicBezTo>
                        <a:pt x="66" y="99"/>
                        <a:pt x="64" y="99"/>
                        <a:pt x="64" y="99"/>
                      </a:cubicBezTo>
                      <a:cubicBezTo>
                        <a:pt x="63" y="98"/>
                        <a:pt x="63" y="97"/>
                        <a:pt x="62" y="96"/>
                      </a:cubicBezTo>
                      <a:cubicBezTo>
                        <a:pt x="61" y="93"/>
                        <a:pt x="66" y="88"/>
                        <a:pt x="62" y="87"/>
                      </a:cubicBezTo>
                      <a:cubicBezTo>
                        <a:pt x="60" y="87"/>
                        <a:pt x="57" y="94"/>
                        <a:pt x="55" y="96"/>
                      </a:cubicBezTo>
                      <a:cubicBezTo>
                        <a:pt x="53" y="97"/>
                        <a:pt x="52" y="98"/>
                        <a:pt x="51" y="99"/>
                      </a:cubicBezTo>
                      <a:cubicBezTo>
                        <a:pt x="49" y="100"/>
                        <a:pt x="49" y="99"/>
                        <a:pt x="48" y="98"/>
                      </a:cubicBezTo>
                      <a:cubicBezTo>
                        <a:pt x="47" y="97"/>
                        <a:pt x="44" y="103"/>
                        <a:pt x="43" y="105"/>
                      </a:cubicBezTo>
                      <a:cubicBezTo>
                        <a:pt x="42" y="106"/>
                        <a:pt x="41" y="107"/>
                        <a:pt x="40" y="108"/>
                      </a:cubicBezTo>
                      <a:cubicBezTo>
                        <a:pt x="39" y="109"/>
                        <a:pt x="38" y="109"/>
                        <a:pt x="37" y="109"/>
                      </a:cubicBezTo>
                      <a:cubicBezTo>
                        <a:pt x="36" y="110"/>
                        <a:pt x="35" y="115"/>
                        <a:pt x="34" y="116"/>
                      </a:cubicBezTo>
                      <a:cubicBezTo>
                        <a:pt x="33" y="118"/>
                        <a:pt x="32" y="119"/>
                        <a:pt x="31" y="120"/>
                      </a:cubicBezTo>
                      <a:cubicBezTo>
                        <a:pt x="30" y="122"/>
                        <a:pt x="31" y="124"/>
                        <a:pt x="30" y="126"/>
                      </a:cubicBezTo>
                      <a:cubicBezTo>
                        <a:pt x="29" y="130"/>
                        <a:pt x="26" y="134"/>
                        <a:pt x="23" y="136"/>
                      </a:cubicBezTo>
                      <a:cubicBezTo>
                        <a:pt x="21" y="139"/>
                        <a:pt x="19" y="137"/>
                        <a:pt x="17" y="139"/>
                      </a:cubicBezTo>
                      <a:cubicBezTo>
                        <a:pt x="16" y="141"/>
                        <a:pt x="15" y="143"/>
                        <a:pt x="15" y="144"/>
                      </a:cubicBezTo>
                      <a:cubicBezTo>
                        <a:pt x="14" y="147"/>
                        <a:pt x="14" y="148"/>
                        <a:pt x="12" y="149"/>
                      </a:cubicBezTo>
                      <a:cubicBezTo>
                        <a:pt x="11" y="149"/>
                        <a:pt x="12" y="150"/>
                        <a:pt x="13" y="150"/>
                      </a:cubicBezTo>
                      <a:cubicBezTo>
                        <a:pt x="14" y="151"/>
                        <a:pt x="15" y="151"/>
                        <a:pt x="16" y="152"/>
                      </a:cubicBezTo>
                      <a:cubicBezTo>
                        <a:pt x="17" y="152"/>
                        <a:pt x="18" y="154"/>
                        <a:pt x="19" y="156"/>
                      </a:cubicBezTo>
                      <a:cubicBezTo>
                        <a:pt x="20" y="157"/>
                        <a:pt x="21" y="158"/>
                        <a:pt x="21" y="161"/>
                      </a:cubicBezTo>
                      <a:cubicBezTo>
                        <a:pt x="20" y="165"/>
                        <a:pt x="18" y="170"/>
                        <a:pt x="22" y="169"/>
                      </a:cubicBezTo>
                      <a:cubicBezTo>
                        <a:pt x="23" y="168"/>
                        <a:pt x="28" y="171"/>
                        <a:pt x="26" y="174"/>
                      </a:cubicBezTo>
                      <a:cubicBezTo>
                        <a:pt x="24" y="178"/>
                        <a:pt x="28" y="175"/>
                        <a:pt x="28" y="178"/>
                      </a:cubicBezTo>
                      <a:cubicBezTo>
                        <a:pt x="27" y="182"/>
                        <a:pt x="23" y="181"/>
                        <a:pt x="21" y="181"/>
                      </a:cubicBezTo>
                      <a:cubicBezTo>
                        <a:pt x="21" y="181"/>
                        <a:pt x="18" y="181"/>
                        <a:pt x="18" y="180"/>
                      </a:cubicBezTo>
                      <a:cubicBezTo>
                        <a:pt x="18" y="179"/>
                        <a:pt x="20" y="177"/>
                        <a:pt x="19" y="176"/>
                      </a:cubicBezTo>
                      <a:close/>
                      <a:moveTo>
                        <a:pt x="500" y="404"/>
                      </a:moveTo>
                      <a:cubicBezTo>
                        <a:pt x="503" y="406"/>
                        <a:pt x="504" y="411"/>
                        <a:pt x="502" y="414"/>
                      </a:cubicBezTo>
                      <a:cubicBezTo>
                        <a:pt x="500" y="416"/>
                        <a:pt x="492" y="414"/>
                        <a:pt x="493" y="411"/>
                      </a:cubicBezTo>
                      <a:cubicBezTo>
                        <a:pt x="493" y="409"/>
                        <a:pt x="498" y="403"/>
                        <a:pt x="500" y="404"/>
                      </a:cubicBezTo>
                      <a:close/>
                      <a:moveTo>
                        <a:pt x="411" y="350"/>
                      </a:moveTo>
                      <a:cubicBezTo>
                        <a:pt x="419" y="352"/>
                        <a:pt x="416" y="366"/>
                        <a:pt x="418" y="372"/>
                      </a:cubicBezTo>
                      <a:cubicBezTo>
                        <a:pt x="419" y="374"/>
                        <a:pt x="423" y="381"/>
                        <a:pt x="421" y="383"/>
                      </a:cubicBezTo>
                      <a:cubicBezTo>
                        <a:pt x="420" y="384"/>
                        <a:pt x="412" y="376"/>
                        <a:pt x="411" y="375"/>
                      </a:cubicBezTo>
                      <a:cubicBezTo>
                        <a:pt x="408" y="372"/>
                        <a:pt x="405" y="368"/>
                        <a:pt x="405" y="364"/>
                      </a:cubicBezTo>
                      <a:cubicBezTo>
                        <a:pt x="405" y="360"/>
                        <a:pt x="405" y="361"/>
                        <a:pt x="402" y="359"/>
                      </a:cubicBezTo>
                      <a:cubicBezTo>
                        <a:pt x="400" y="358"/>
                        <a:pt x="399" y="356"/>
                        <a:pt x="399" y="354"/>
                      </a:cubicBezTo>
                      <a:cubicBezTo>
                        <a:pt x="398" y="347"/>
                        <a:pt x="408" y="350"/>
                        <a:pt x="411" y="350"/>
                      </a:cubicBezTo>
                      <a:close/>
                      <a:moveTo>
                        <a:pt x="396" y="365"/>
                      </a:moveTo>
                      <a:cubicBezTo>
                        <a:pt x="397" y="368"/>
                        <a:pt x="396" y="371"/>
                        <a:pt x="396" y="374"/>
                      </a:cubicBezTo>
                      <a:cubicBezTo>
                        <a:pt x="396" y="376"/>
                        <a:pt x="397" y="380"/>
                        <a:pt x="396" y="382"/>
                      </a:cubicBezTo>
                      <a:cubicBezTo>
                        <a:pt x="395" y="384"/>
                        <a:pt x="393" y="375"/>
                        <a:pt x="393" y="374"/>
                      </a:cubicBezTo>
                      <a:cubicBezTo>
                        <a:pt x="392" y="372"/>
                        <a:pt x="392" y="369"/>
                        <a:pt x="391" y="368"/>
                      </a:cubicBezTo>
                      <a:cubicBezTo>
                        <a:pt x="388" y="366"/>
                        <a:pt x="385" y="366"/>
                        <a:pt x="385" y="363"/>
                      </a:cubicBezTo>
                      <a:cubicBezTo>
                        <a:pt x="383" y="357"/>
                        <a:pt x="395" y="361"/>
                        <a:pt x="396" y="365"/>
                      </a:cubicBezTo>
                      <a:close/>
                      <a:moveTo>
                        <a:pt x="319" y="261"/>
                      </a:moveTo>
                      <a:cubicBezTo>
                        <a:pt x="317" y="265"/>
                        <a:pt x="311" y="262"/>
                        <a:pt x="308" y="266"/>
                      </a:cubicBezTo>
                      <a:cubicBezTo>
                        <a:pt x="307" y="268"/>
                        <a:pt x="303" y="274"/>
                        <a:pt x="304" y="268"/>
                      </a:cubicBezTo>
                      <a:cubicBezTo>
                        <a:pt x="305" y="262"/>
                        <a:pt x="311" y="260"/>
                        <a:pt x="314" y="254"/>
                      </a:cubicBezTo>
                      <a:cubicBezTo>
                        <a:pt x="317" y="247"/>
                        <a:pt x="322" y="256"/>
                        <a:pt x="319" y="261"/>
                      </a:cubicBezTo>
                      <a:close/>
                      <a:moveTo>
                        <a:pt x="267" y="229"/>
                      </a:moveTo>
                      <a:cubicBezTo>
                        <a:pt x="269" y="227"/>
                        <a:pt x="269" y="225"/>
                        <a:pt x="271" y="223"/>
                      </a:cubicBezTo>
                      <a:cubicBezTo>
                        <a:pt x="273" y="221"/>
                        <a:pt x="275" y="219"/>
                        <a:pt x="276" y="217"/>
                      </a:cubicBezTo>
                      <a:cubicBezTo>
                        <a:pt x="279" y="214"/>
                        <a:pt x="280" y="213"/>
                        <a:pt x="278" y="210"/>
                      </a:cubicBezTo>
                      <a:cubicBezTo>
                        <a:pt x="276" y="206"/>
                        <a:pt x="280" y="204"/>
                        <a:pt x="282" y="206"/>
                      </a:cubicBezTo>
                      <a:cubicBezTo>
                        <a:pt x="284" y="208"/>
                        <a:pt x="285" y="212"/>
                        <a:pt x="288" y="213"/>
                      </a:cubicBezTo>
                      <a:cubicBezTo>
                        <a:pt x="291" y="213"/>
                        <a:pt x="296" y="209"/>
                        <a:pt x="298" y="206"/>
                      </a:cubicBezTo>
                      <a:cubicBezTo>
                        <a:pt x="300" y="202"/>
                        <a:pt x="303" y="200"/>
                        <a:pt x="307" y="199"/>
                      </a:cubicBezTo>
                      <a:cubicBezTo>
                        <a:pt x="308" y="198"/>
                        <a:pt x="320" y="193"/>
                        <a:pt x="320" y="196"/>
                      </a:cubicBezTo>
                      <a:cubicBezTo>
                        <a:pt x="320" y="199"/>
                        <a:pt x="315" y="202"/>
                        <a:pt x="312" y="202"/>
                      </a:cubicBezTo>
                      <a:cubicBezTo>
                        <a:pt x="310" y="203"/>
                        <a:pt x="308" y="204"/>
                        <a:pt x="306" y="205"/>
                      </a:cubicBezTo>
                      <a:cubicBezTo>
                        <a:pt x="304" y="207"/>
                        <a:pt x="303" y="209"/>
                        <a:pt x="301" y="211"/>
                      </a:cubicBezTo>
                      <a:cubicBezTo>
                        <a:pt x="300" y="212"/>
                        <a:pt x="297" y="212"/>
                        <a:pt x="297" y="214"/>
                      </a:cubicBezTo>
                      <a:cubicBezTo>
                        <a:pt x="297" y="217"/>
                        <a:pt x="296" y="218"/>
                        <a:pt x="294" y="219"/>
                      </a:cubicBezTo>
                      <a:cubicBezTo>
                        <a:pt x="290" y="223"/>
                        <a:pt x="286" y="225"/>
                        <a:pt x="282" y="228"/>
                      </a:cubicBezTo>
                      <a:cubicBezTo>
                        <a:pt x="278" y="230"/>
                        <a:pt x="275" y="233"/>
                        <a:pt x="270" y="233"/>
                      </a:cubicBezTo>
                      <a:cubicBezTo>
                        <a:pt x="265" y="233"/>
                        <a:pt x="262" y="232"/>
                        <a:pt x="258" y="229"/>
                      </a:cubicBezTo>
                      <a:cubicBezTo>
                        <a:pt x="256" y="228"/>
                        <a:pt x="255" y="228"/>
                        <a:pt x="253" y="228"/>
                      </a:cubicBezTo>
                      <a:cubicBezTo>
                        <a:pt x="251" y="228"/>
                        <a:pt x="249" y="230"/>
                        <a:pt x="247" y="228"/>
                      </a:cubicBezTo>
                      <a:cubicBezTo>
                        <a:pt x="243" y="225"/>
                        <a:pt x="252" y="226"/>
                        <a:pt x="253" y="226"/>
                      </a:cubicBezTo>
                      <a:cubicBezTo>
                        <a:pt x="257" y="227"/>
                        <a:pt x="262" y="232"/>
                        <a:pt x="267" y="229"/>
                      </a:cubicBezTo>
                      <a:close/>
                      <a:moveTo>
                        <a:pt x="221" y="139"/>
                      </a:moveTo>
                      <a:cubicBezTo>
                        <a:pt x="224" y="137"/>
                        <a:pt x="228" y="136"/>
                        <a:pt x="232" y="135"/>
                      </a:cubicBezTo>
                      <a:cubicBezTo>
                        <a:pt x="234" y="133"/>
                        <a:pt x="237" y="132"/>
                        <a:pt x="239" y="130"/>
                      </a:cubicBezTo>
                      <a:cubicBezTo>
                        <a:pt x="241" y="129"/>
                        <a:pt x="244" y="126"/>
                        <a:pt x="246" y="125"/>
                      </a:cubicBezTo>
                      <a:cubicBezTo>
                        <a:pt x="248" y="124"/>
                        <a:pt x="250" y="123"/>
                        <a:pt x="251" y="124"/>
                      </a:cubicBezTo>
                      <a:cubicBezTo>
                        <a:pt x="253" y="124"/>
                        <a:pt x="249" y="126"/>
                        <a:pt x="248" y="127"/>
                      </a:cubicBezTo>
                      <a:cubicBezTo>
                        <a:pt x="244" y="130"/>
                        <a:pt x="244" y="136"/>
                        <a:pt x="249" y="136"/>
                      </a:cubicBezTo>
                      <a:cubicBezTo>
                        <a:pt x="251" y="135"/>
                        <a:pt x="253" y="136"/>
                        <a:pt x="255" y="134"/>
                      </a:cubicBezTo>
                      <a:cubicBezTo>
                        <a:pt x="256" y="133"/>
                        <a:pt x="257" y="131"/>
                        <a:pt x="259" y="130"/>
                      </a:cubicBezTo>
                      <a:cubicBezTo>
                        <a:pt x="260" y="129"/>
                        <a:pt x="263" y="129"/>
                        <a:pt x="263" y="131"/>
                      </a:cubicBezTo>
                      <a:cubicBezTo>
                        <a:pt x="263" y="134"/>
                        <a:pt x="260" y="134"/>
                        <a:pt x="259" y="137"/>
                      </a:cubicBezTo>
                      <a:cubicBezTo>
                        <a:pt x="258" y="141"/>
                        <a:pt x="255" y="147"/>
                        <a:pt x="251" y="145"/>
                      </a:cubicBezTo>
                      <a:cubicBezTo>
                        <a:pt x="249" y="143"/>
                        <a:pt x="249" y="146"/>
                        <a:pt x="248" y="147"/>
                      </a:cubicBezTo>
                      <a:cubicBezTo>
                        <a:pt x="248" y="150"/>
                        <a:pt x="247" y="153"/>
                        <a:pt x="245" y="155"/>
                      </a:cubicBezTo>
                      <a:cubicBezTo>
                        <a:pt x="244" y="156"/>
                        <a:pt x="236" y="164"/>
                        <a:pt x="236" y="160"/>
                      </a:cubicBezTo>
                      <a:cubicBezTo>
                        <a:pt x="237" y="158"/>
                        <a:pt x="239" y="155"/>
                        <a:pt x="239" y="153"/>
                      </a:cubicBezTo>
                      <a:cubicBezTo>
                        <a:pt x="240" y="152"/>
                        <a:pt x="239" y="151"/>
                        <a:pt x="238" y="151"/>
                      </a:cubicBezTo>
                      <a:cubicBezTo>
                        <a:pt x="236" y="152"/>
                        <a:pt x="235" y="155"/>
                        <a:pt x="234" y="157"/>
                      </a:cubicBezTo>
                      <a:cubicBezTo>
                        <a:pt x="232" y="160"/>
                        <a:pt x="226" y="165"/>
                        <a:pt x="224" y="162"/>
                      </a:cubicBezTo>
                      <a:cubicBezTo>
                        <a:pt x="220" y="158"/>
                        <a:pt x="225" y="154"/>
                        <a:pt x="229" y="151"/>
                      </a:cubicBezTo>
                      <a:cubicBezTo>
                        <a:pt x="232" y="149"/>
                        <a:pt x="235" y="147"/>
                        <a:pt x="234" y="142"/>
                      </a:cubicBezTo>
                      <a:cubicBezTo>
                        <a:pt x="234" y="140"/>
                        <a:pt x="231" y="139"/>
                        <a:pt x="230" y="139"/>
                      </a:cubicBezTo>
                      <a:cubicBezTo>
                        <a:pt x="228" y="139"/>
                        <a:pt x="225" y="141"/>
                        <a:pt x="222" y="142"/>
                      </a:cubicBezTo>
                      <a:cubicBezTo>
                        <a:pt x="220" y="142"/>
                        <a:pt x="217" y="143"/>
                        <a:pt x="215" y="145"/>
                      </a:cubicBezTo>
                      <a:cubicBezTo>
                        <a:pt x="214" y="146"/>
                        <a:pt x="211" y="147"/>
                        <a:pt x="211" y="145"/>
                      </a:cubicBezTo>
                      <a:cubicBezTo>
                        <a:pt x="211" y="140"/>
                        <a:pt x="219" y="142"/>
                        <a:pt x="221"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94"/>
                <p:cNvSpPr>
                  <a:spLocks/>
                </p:cNvSpPr>
                <p:nvPr/>
              </p:nvSpPr>
              <p:spPr bwMode="auto">
                <a:xfrm>
                  <a:off x="2930526" y="3851275"/>
                  <a:ext cx="23813" cy="12700"/>
                </a:xfrm>
                <a:custGeom>
                  <a:avLst/>
                  <a:gdLst>
                    <a:gd name="T0" fmla="*/ 8 w 30"/>
                    <a:gd name="T1" fmla="*/ 13 h 18"/>
                    <a:gd name="T2" fmla="*/ 15 w 30"/>
                    <a:gd name="T3" fmla="*/ 13 h 18"/>
                    <a:gd name="T4" fmla="*/ 17 w 30"/>
                    <a:gd name="T5" fmla="*/ 12 h 18"/>
                    <a:gd name="T6" fmla="*/ 20 w 30"/>
                    <a:gd name="T7" fmla="*/ 12 h 18"/>
                    <a:gd name="T8" fmla="*/ 27 w 30"/>
                    <a:gd name="T9" fmla="*/ 11 h 18"/>
                    <a:gd name="T10" fmla="*/ 26 w 30"/>
                    <a:gd name="T11" fmla="*/ 5 h 18"/>
                    <a:gd name="T12" fmla="*/ 10 w 30"/>
                    <a:gd name="T13" fmla="*/ 8 h 18"/>
                    <a:gd name="T14" fmla="*/ 2 w 30"/>
                    <a:gd name="T15" fmla="*/ 14 h 18"/>
                    <a:gd name="T16" fmla="*/ 8 w 30"/>
                    <a:gd name="T1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8" y="13"/>
                      </a:moveTo>
                      <a:cubicBezTo>
                        <a:pt x="10" y="12"/>
                        <a:pt x="13" y="13"/>
                        <a:pt x="15" y="13"/>
                      </a:cubicBezTo>
                      <a:cubicBezTo>
                        <a:pt x="16" y="13"/>
                        <a:pt x="16" y="12"/>
                        <a:pt x="17" y="12"/>
                      </a:cubicBezTo>
                      <a:cubicBezTo>
                        <a:pt x="18" y="11"/>
                        <a:pt x="19" y="12"/>
                        <a:pt x="20" y="12"/>
                      </a:cubicBezTo>
                      <a:cubicBezTo>
                        <a:pt x="22" y="12"/>
                        <a:pt x="24" y="13"/>
                        <a:pt x="27" y="11"/>
                      </a:cubicBezTo>
                      <a:cubicBezTo>
                        <a:pt x="30" y="9"/>
                        <a:pt x="27" y="6"/>
                        <a:pt x="26" y="5"/>
                      </a:cubicBezTo>
                      <a:cubicBezTo>
                        <a:pt x="24" y="0"/>
                        <a:pt x="16" y="6"/>
                        <a:pt x="10" y="8"/>
                      </a:cubicBezTo>
                      <a:cubicBezTo>
                        <a:pt x="7" y="9"/>
                        <a:pt x="3" y="11"/>
                        <a:pt x="2" y="14"/>
                      </a:cubicBezTo>
                      <a:cubicBezTo>
                        <a:pt x="0" y="18"/>
                        <a:pt x="6" y="15"/>
                        <a:pt x="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95"/>
                <p:cNvSpPr>
                  <a:spLocks/>
                </p:cNvSpPr>
                <p:nvPr/>
              </p:nvSpPr>
              <p:spPr bwMode="auto">
                <a:xfrm>
                  <a:off x="2932113" y="3862388"/>
                  <a:ext cx="19050" cy="17463"/>
                </a:xfrm>
                <a:custGeom>
                  <a:avLst/>
                  <a:gdLst>
                    <a:gd name="T0" fmla="*/ 13 w 25"/>
                    <a:gd name="T1" fmla="*/ 19 h 23"/>
                    <a:gd name="T2" fmla="*/ 19 w 25"/>
                    <a:gd name="T3" fmla="*/ 12 h 23"/>
                    <a:gd name="T4" fmla="*/ 18 w 25"/>
                    <a:gd name="T5" fmla="*/ 7 h 23"/>
                    <a:gd name="T6" fmla="*/ 24 w 25"/>
                    <a:gd name="T7" fmla="*/ 5 h 23"/>
                    <a:gd name="T8" fmla="*/ 25 w 25"/>
                    <a:gd name="T9" fmla="*/ 2 h 23"/>
                    <a:gd name="T10" fmla="*/ 19 w 25"/>
                    <a:gd name="T11" fmla="*/ 3 h 23"/>
                    <a:gd name="T12" fmla="*/ 13 w 25"/>
                    <a:gd name="T13" fmla="*/ 4 h 23"/>
                    <a:gd name="T14" fmla="*/ 8 w 25"/>
                    <a:gd name="T15" fmla="*/ 6 h 23"/>
                    <a:gd name="T16" fmla="*/ 0 w 25"/>
                    <a:gd name="T17" fmla="*/ 14 h 23"/>
                    <a:gd name="T18" fmla="*/ 13 w 25"/>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19"/>
                      </a:moveTo>
                      <a:cubicBezTo>
                        <a:pt x="16" y="17"/>
                        <a:pt x="19" y="15"/>
                        <a:pt x="19" y="12"/>
                      </a:cubicBezTo>
                      <a:cubicBezTo>
                        <a:pt x="19" y="11"/>
                        <a:pt x="14" y="9"/>
                        <a:pt x="18" y="7"/>
                      </a:cubicBezTo>
                      <a:cubicBezTo>
                        <a:pt x="20" y="6"/>
                        <a:pt x="22" y="7"/>
                        <a:pt x="24" y="5"/>
                      </a:cubicBezTo>
                      <a:cubicBezTo>
                        <a:pt x="25" y="5"/>
                        <a:pt x="25" y="3"/>
                        <a:pt x="25" y="2"/>
                      </a:cubicBezTo>
                      <a:cubicBezTo>
                        <a:pt x="25" y="0"/>
                        <a:pt x="20" y="2"/>
                        <a:pt x="19" y="3"/>
                      </a:cubicBezTo>
                      <a:cubicBezTo>
                        <a:pt x="17" y="4"/>
                        <a:pt x="15" y="3"/>
                        <a:pt x="13" y="4"/>
                      </a:cubicBezTo>
                      <a:cubicBezTo>
                        <a:pt x="11" y="5"/>
                        <a:pt x="10" y="6"/>
                        <a:pt x="8" y="6"/>
                      </a:cubicBezTo>
                      <a:cubicBezTo>
                        <a:pt x="4" y="8"/>
                        <a:pt x="1" y="11"/>
                        <a:pt x="0" y="14"/>
                      </a:cubicBezTo>
                      <a:cubicBezTo>
                        <a:pt x="0" y="19"/>
                        <a:pt x="5" y="23"/>
                        <a:pt x="1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96"/>
                <p:cNvSpPr>
                  <a:spLocks/>
                </p:cNvSpPr>
                <p:nvPr/>
              </p:nvSpPr>
              <p:spPr bwMode="auto">
                <a:xfrm>
                  <a:off x="2876551" y="3876675"/>
                  <a:ext cx="44450" cy="36513"/>
                </a:xfrm>
                <a:custGeom>
                  <a:avLst/>
                  <a:gdLst>
                    <a:gd name="T0" fmla="*/ 1 w 59"/>
                    <a:gd name="T1" fmla="*/ 49 h 49"/>
                    <a:gd name="T2" fmla="*/ 7 w 59"/>
                    <a:gd name="T3" fmla="*/ 49 h 49"/>
                    <a:gd name="T4" fmla="*/ 14 w 59"/>
                    <a:gd name="T5" fmla="*/ 46 h 49"/>
                    <a:gd name="T6" fmla="*/ 18 w 59"/>
                    <a:gd name="T7" fmla="*/ 48 h 49"/>
                    <a:gd name="T8" fmla="*/ 25 w 59"/>
                    <a:gd name="T9" fmla="*/ 40 h 49"/>
                    <a:gd name="T10" fmla="*/ 29 w 59"/>
                    <a:gd name="T11" fmla="*/ 32 h 49"/>
                    <a:gd name="T12" fmla="*/ 35 w 59"/>
                    <a:gd name="T13" fmla="*/ 30 h 49"/>
                    <a:gd name="T14" fmla="*/ 39 w 59"/>
                    <a:gd name="T15" fmla="*/ 34 h 49"/>
                    <a:gd name="T16" fmla="*/ 43 w 59"/>
                    <a:gd name="T17" fmla="*/ 29 h 49"/>
                    <a:gd name="T18" fmla="*/ 48 w 59"/>
                    <a:gd name="T19" fmla="*/ 23 h 49"/>
                    <a:gd name="T20" fmla="*/ 51 w 59"/>
                    <a:gd name="T21" fmla="*/ 17 h 49"/>
                    <a:gd name="T22" fmla="*/ 53 w 59"/>
                    <a:gd name="T23" fmla="*/ 11 h 49"/>
                    <a:gd name="T24" fmla="*/ 55 w 59"/>
                    <a:gd name="T25" fmla="*/ 7 h 49"/>
                    <a:gd name="T26" fmla="*/ 55 w 59"/>
                    <a:gd name="T27" fmla="*/ 4 h 49"/>
                    <a:gd name="T28" fmla="*/ 57 w 59"/>
                    <a:gd name="T29" fmla="*/ 0 h 49"/>
                    <a:gd name="T30" fmla="*/ 51 w 59"/>
                    <a:gd name="T31" fmla="*/ 4 h 49"/>
                    <a:gd name="T32" fmla="*/ 45 w 59"/>
                    <a:gd name="T33" fmla="*/ 8 h 49"/>
                    <a:gd name="T34" fmla="*/ 35 w 59"/>
                    <a:gd name="T35" fmla="*/ 12 h 49"/>
                    <a:gd name="T36" fmla="*/ 25 w 59"/>
                    <a:gd name="T37" fmla="*/ 20 h 49"/>
                    <a:gd name="T38" fmla="*/ 16 w 59"/>
                    <a:gd name="T39" fmla="*/ 29 h 49"/>
                    <a:gd name="T40" fmla="*/ 10 w 59"/>
                    <a:gd name="T41" fmla="*/ 35 h 49"/>
                    <a:gd name="T42" fmla="*/ 2 w 59"/>
                    <a:gd name="T43" fmla="*/ 40 h 49"/>
                    <a:gd name="T44" fmla="*/ 3 w 59"/>
                    <a:gd name="T45" fmla="*/ 43 h 49"/>
                    <a:gd name="T46" fmla="*/ 2 w 59"/>
                    <a:gd name="T47" fmla="*/ 45 h 49"/>
                    <a:gd name="T48" fmla="*/ 1 w 59"/>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49">
                      <a:moveTo>
                        <a:pt x="1" y="49"/>
                      </a:moveTo>
                      <a:cubicBezTo>
                        <a:pt x="4" y="48"/>
                        <a:pt x="6" y="46"/>
                        <a:pt x="7" y="49"/>
                      </a:cubicBezTo>
                      <a:cubicBezTo>
                        <a:pt x="10" y="49"/>
                        <a:pt x="11" y="44"/>
                        <a:pt x="14" y="46"/>
                      </a:cubicBezTo>
                      <a:cubicBezTo>
                        <a:pt x="15" y="46"/>
                        <a:pt x="16" y="49"/>
                        <a:pt x="18" y="48"/>
                      </a:cubicBezTo>
                      <a:cubicBezTo>
                        <a:pt x="21" y="47"/>
                        <a:pt x="24" y="42"/>
                        <a:pt x="25" y="40"/>
                      </a:cubicBezTo>
                      <a:cubicBezTo>
                        <a:pt x="27" y="37"/>
                        <a:pt x="26" y="35"/>
                        <a:pt x="29" y="32"/>
                      </a:cubicBezTo>
                      <a:cubicBezTo>
                        <a:pt x="30" y="31"/>
                        <a:pt x="35" y="27"/>
                        <a:pt x="35" y="30"/>
                      </a:cubicBezTo>
                      <a:cubicBezTo>
                        <a:pt x="35" y="32"/>
                        <a:pt x="38" y="37"/>
                        <a:pt x="39" y="34"/>
                      </a:cubicBezTo>
                      <a:cubicBezTo>
                        <a:pt x="41" y="33"/>
                        <a:pt x="42" y="31"/>
                        <a:pt x="43" y="29"/>
                      </a:cubicBezTo>
                      <a:cubicBezTo>
                        <a:pt x="44" y="27"/>
                        <a:pt x="46" y="25"/>
                        <a:pt x="48" y="23"/>
                      </a:cubicBezTo>
                      <a:cubicBezTo>
                        <a:pt x="50" y="22"/>
                        <a:pt x="51" y="19"/>
                        <a:pt x="51" y="17"/>
                      </a:cubicBezTo>
                      <a:cubicBezTo>
                        <a:pt x="51" y="15"/>
                        <a:pt x="50" y="13"/>
                        <a:pt x="53" y="11"/>
                      </a:cubicBezTo>
                      <a:cubicBezTo>
                        <a:pt x="56" y="9"/>
                        <a:pt x="57" y="9"/>
                        <a:pt x="55" y="7"/>
                      </a:cubicBezTo>
                      <a:cubicBezTo>
                        <a:pt x="55" y="6"/>
                        <a:pt x="53" y="6"/>
                        <a:pt x="55" y="4"/>
                      </a:cubicBezTo>
                      <a:cubicBezTo>
                        <a:pt x="55" y="4"/>
                        <a:pt x="59" y="0"/>
                        <a:pt x="57" y="0"/>
                      </a:cubicBezTo>
                      <a:cubicBezTo>
                        <a:pt x="55" y="0"/>
                        <a:pt x="52" y="3"/>
                        <a:pt x="51" y="4"/>
                      </a:cubicBezTo>
                      <a:cubicBezTo>
                        <a:pt x="49" y="5"/>
                        <a:pt x="47" y="7"/>
                        <a:pt x="45" y="8"/>
                      </a:cubicBezTo>
                      <a:cubicBezTo>
                        <a:pt x="42" y="10"/>
                        <a:pt x="38" y="10"/>
                        <a:pt x="35" y="12"/>
                      </a:cubicBezTo>
                      <a:cubicBezTo>
                        <a:pt x="32" y="15"/>
                        <a:pt x="28" y="18"/>
                        <a:pt x="25" y="20"/>
                      </a:cubicBezTo>
                      <a:cubicBezTo>
                        <a:pt x="21" y="23"/>
                        <a:pt x="19" y="25"/>
                        <a:pt x="16" y="29"/>
                      </a:cubicBezTo>
                      <a:cubicBezTo>
                        <a:pt x="15" y="31"/>
                        <a:pt x="13" y="33"/>
                        <a:pt x="10" y="35"/>
                      </a:cubicBezTo>
                      <a:cubicBezTo>
                        <a:pt x="8" y="36"/>
                        <a:pt x="3" y="37"/>
                        <a:pt x="2" y="40"/>
                      </a:cubicBezTo>
                      <a:cubicBezTo>
                        <a:pt x="2" y="41"/>
                        <a:pt x="3" y="42"/>
                        <a:pt x="3" y="43"/>
                      </a:cubicBezTo>
                      <a:cubicBezTo>
                        <a:pt x="3" y="43"/>
                        <a:pt x="3" y="44"/>
                        <a:pt x="2" y="45"/>
                      </a:cubicBezTo>
                      <a:cubicBezTo>
                        <a:pt x="2" y="46"/>
                        <a:pt x="0" y="49"/>
                        <a:pt x="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97"/>
                <p:cNvSpPr>
                  <a:spLocks/>
                </p:cNvSpPr>
                <p:nvPr/>
              </p:nvSpPr>
              <p:spPr bwMode="auto">
                <a:xfrm>
                  <a:off x="3124201" y="4075113"/>
                  <a:ext cx="9525" cy="4763"/>
                </a:xfrm>
                <a:custGeom>
                  <a:avLst/>
                  <a:gdLst>
                    <a:gd name="T0" fmla="*/ 8 w 12"/>
                    <a:gd name="T1" fmla="*/ 3 h 7"/>
                    <a:gd name="T2" fmla="*/ 5 w 12"/>
                    <a:gd name="T3" fmla="*/ 7 h 7"/>
                    <a:gd name="T4" fmla="*/ 8 w 12"/>
                    <a:gd name="T5" fmla="*/ 3 h 7"/>
                  </a:gdLst>
                  <a:ahLst/>
                  <a:cxnLst>
                    <a:cxn ang="0">
                      <a:pos x="T0" y="T1"/>
                    </a:cxn>
                    <a:cxn ang="0">
                      <a:pos x="T2" y="T3"/>
                    </a:cxn>
                    <a:cxn ang="0">
                      <a:pos x="T4" y="T5"/>
                    </a:cxn>
                  </a:cxnLst>
                  <a:rect l="0" t="0" r="r" b="b"/>
                  <a:pathLst>
                    <a:path w="12" h="7">
                      <a:moveTo>
                        <a:pt x="8" y="3"/>
                      </a:moveTo>
                      <a:cubicBezTo>
                        <a:pt x="4" y="0"/>
                        <a:pt x="0" y="5"/>
                        <a:pt x="5" y="7"/>
                      </a:cubicBezTo>
                      <a:cubicBezTo>
                        <a:pt x="7" y="7"/>
                        <a:pt x="12" y="5"/>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98"/>
                <p:cNvSpPr>
                  <a:spLocks/>
                </p:cNvSpPr>
                <p:nvPr/>
              </p:nvSpPr>
              <p:spPr bwMode="auto">
                <a:xfrm>
                  <a:off x="3216276" y="4111625"/>
                  <a:ext cx="6350" cy="4763"/>
                </a:xfrm>
                <a:custGeom>
                  <a:avLst/>
                  <a:gdLst>
                    <a:gd name="T0" fmla="*/ 2 w 9"/>
                    <a:gd name="T1" fmla="*/ 4 h 7"/>
                    <a:gd name="T2" fmla="*/ 6 w 9"/>
                    <a:gd name="T3" fmla="*/ 1 h 7"/>
                    <a:gd name="T4" fmla="*/ 2 w 9"/>
                    <a:gd name="T5" fmla="*/ 4 h 7"/>
                  </a:gdLst>
                  <a:ahLst/>
                  <a:cxnLst>
                    <a:cxn ang="0">
                      <a:pos x="T0" y="T1"/>
                    </a:cxn>
                    <a:cxn ang="0">
                      <a:pos x="T2" y="T3"/>
                    </a:cxn>
                    <a:cxn ang="0">
                      <a:pos x="T4" y="T5"/>
                    </a:cxn>
                  </a:cxnLst>
                  <a:rect l="0" t="0" r="r" b="b"/>
                  <a:pathLst>
                    <a:path w="9" h="7">
                      <a:moveTo>
                        <a:pt x="2" y="4"/>
                      </a:moveTo>
                      <a:cubicBezTo>
                        <a:pt x="4" y="7"/>
                        <a:pt x="9" y="3"/>
                        <a:pt x="6" y="1"/>
                      </a:cubicBezTo>
                      <a:cubicBezTo>
                        <a:pt x="4" y="0"/>
                        <a:pt x="0"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99"/>
                <p:cNvSpPr>
                  <a:spLocks/>
                </p:cNvSpPr>
                <p:nvPr/>
              </p:nvSpPr>
              <p:spPr bwMode="auto">
                <a:xfrm>
                  <a:off x="3219451" y="4102100"/>
                  <a:ext cx="6350" cy="4763"/>
                </a:xfrm>
                <a:custGeom>
                  <a:avLst/>
                  <a:gdLst>
                    <a:gd name="T0" fmla="*/ 3 w 7"/>
                    <a:gd name="T1" fmla="*/ 0 h 5"/>
                    <a:gd name="T2" fmla="*/ 5 w 7"/>
                    <a:gd name="T3" fmla="*/ 5 h 5"/>
                    <a:gd name="T4" fmla="*/ 5 w 7"/>
                    <a:gd name="T5" fmla="*/ 0 h 5"/>
                    <a:gd name="T6" fmla="*/ 3 w 7"/>
                    <a:gd name="T7" fmla="*/ 0 h 5"/>
                  </a:gdLst>
                  <a:ahLst/>
                  <a:cxnLst>
                    <a:cxn ang="0">
                      <a:pos x="T0" y="T1"/>
                    </a:cxn>
                    <a:cxn ang="0">
                      <a:pos x="T2" y="T3"/>
                    </a:cxn>
                    <a:cxn ang="0">
                      <a:pos x="T4" y="T5"/>
                    </a:cxn>
                    <a:cxn ang="0">
                      <a:pos x="T6" y="T7"/>
                    </a:cxn>
                  </a:cxnLst>
                  <a:rect l="0" t="0" r="r" b="b"/>
                  <a:pathLst>
                    <a:path w="7" h="5">
                      <a:moveTo>
                        <a:pt x="3" y="0"/>
                      </a:moveTo>
                      <a:cubicBezTo>
                        <a:pt x="0" y="0"/>
                        <a:pt x="2" y="5"/>
                        <a:pt x="5" y="5"/>
                      </a:cubicBezTo>
                      <a:cubicBezTo>
                        <a:pt x="7" y="5"/>
                        <a:pt x="7" y="0"/>
                        <a:pt x="5" y="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100"/>
                <p:cNvSpPr>
                  <a:spLocks/>
                </p:cNvSpPr>
                <p:nvPr/>
              </p:nvSpPr>
              <p:spPr bwMode="auto">
                <a:xfrm>
                  <a:off x="3048001" y="3922713"/>
                  <a:ext cx="193675" cy="188913"/>
                </a:xfrm>
                <a:custGeom>
                  <a:avLst/>
                  <a:gdLst>
                    <a:gd name="T0" fmla="*/ 247 w 256"/>
                    <a:gd name="T1" fmla="*/ 167 h 250"/>
                    <a:gd name="T2" fmla="*/ 231 w 256"/>
                    <a:gd name="T3" fmla="*/ 143 h 250"/>
                    <a:gd name="T4" fmla="*/ 200 w 256"/>
                    <a:gd name="T5" fmla="*/ 119 h 250"/>
                    <a:gd name="T6" fmla="*/ 187 w 256"/>
                    <a:gd name="T7" fmla="*/ 101 h 250"/>
                    <a:gd name="T8" fmla="*/ 194 w 256"/>
                    <a:gd name="T9" fmla="*/ 93 h 250"/>
                    <a:gd name="T10" fmla="*/ 184 w 256"/>
                    <a:gd name="T11" fmla="*/ 80 h 250"/>
                    <a:gd name="T12" fmla="*/ 178 w 256"/>
                    <a:gd name="T13" fmla="*/ 80 h 250"/>
                    <a:gd name="T14" fmla="*/ 166 w 256"/>
                    <a:gd name="T15" fmla="*/ 65 h 250"/>
                    <a:gd name="T16" fmla="*/ 153 w 256"/>
                    <a:gd name="T17" fmla="*/ 62 h 250"/>
                    <a:gd name="T18" fmla="*/ 157 w 256"/>
                    <a:gd name="T19" fmla="*/ 50 h 250"/>
                    <a:gd name="T20" fmla="*/ 139 w 256"/>
                    <a:gd name="T21" fmla="*/ 45 h 250"/>
                    <a:gd name="T22" fmla="*/ 129 w 256"/>
                    <a:gd name="T23" fmla="*/ 38 h 250"/>
                    <a:gd name="T24" fmla="*/ 120 w 256"/>
                    <a:gd name="T25" fmla="*/ 27 h 250"/>
                    <a:gd name="T26" fmla="*/ 103 w 256"/>
                    <a:gd name="T27" fmla="*/ 5 h 250"/>
                    <a:gd name="T28" fmla="*/ 82 w 256"/>
                    <a:gd name="T29" fmla="*/ 12 h 250"/>
                    <a:gd name="T30" fmla="*/ 103 w 256"/>
                    <a:gd name="T31" fmla="*/ 24 h 250"/>
                    <a:gd name="T32" fmla="*/ 99 w 256"/>
                    <a:gd name="T33" fmla="*/ 34 h 250"/>
                    <a:gd name="T34" fmla="*/ 89 w 256"/>
                    <a:gd name="T35" fmla="*/ 36 h 250"/>
                    <a:gd name="T36" fmla="*/ 75 w 256"/>
                    <a:gd name="T37" fmla="*/ 38 h 250"/>
                    <a:gd name="T38" fmla="*/ 63 w 256"/>
                    <a:gd name="T39" fmla="*/ 3 h 250"/>
                    <a:gd name="T40" fmla="*/ 46 w 256"/>
                    <a:gd name="T41" fmla="*/ 9 h 250"/>
                    <a:gd name="T42" fmla="*/ 40 w 256"/>
                    <a:gd name="T43" fmla="*/ 20 h 250"/>
                    <a:gd name="T44" fmla="*/ 42 w 256"/>
                    <a:gd name="T45" fmla="*/ 45 h 250"/>
                    <a:gd name="T46" fmla="*/ 32 w 256"/>
                    <a:gd name="T47" fmla="*/ 38 h 250"/>
                    <a:gd name="T48" fmla="*/ 34 w 256"/>
                    <a:gd name="T49" fmla="*/ 17 h 250"/>
                    <a:gd name="T50" fmla="*/ 41 w 256"/>
                    <a:gd name="T51" fmla="*/ 0 h 250"/>
                    <a:gd name="T52" fmla="*/ 9 w 256"/>
                    <a:gd name="T53" fmla="*/ 17 h 250"/>
                    <a:gd name="T54" fmla="*/ 1 w 256"/>
                    <a:gd name="T55" fmla="*/ 53 h 250"/>
                    <a:gd name="T56" fmla="*/ 10 w 256"/>
                    <a:gd name="T57" fmla="*/ 61 h 250"/>
                    <a:gd name="T58" fmla="*/ 20 w 256"/>
                    <a:gd name="T59" fmla="*/ 78 h 250"/>
                    <a:gd name="T60" fmla="*/ 58 w 256"/>
                    <a:gd name="T61" fmla="*/ 84 h 250"/>
                    <a:gd name="T62" fmla="*/ 92 w 256"/>
                    <a:gd name="T63" fmla="*/ 85 h 250"/>
                    <a:gd name="T64" fmla="*/ 104 w 256"/>
                    <a:gd name="T65" fmla="*/ 74 h 250"/>
                    <a:gd name="T66" fmla="*/ 112 w 256"/>
                    <a:gd name="T67" fmla="*/ 89 h 250"/>
                    <a:gd name="T68" fmla="*/ 117 w 256"/>
                    <a:gd name="T69" fmla="*/ 99 h 250"/>
                    <a:gd name="T70" fmla="*/ 120 w 256"/>
                    <a:gd name="T71" fmla="*/ 105 h 250"/>
                    <a:gd name="T72" fmla="*/ 140 w 256"/>
                    <a:gd name="T73" fmla="*/ 115 h 250"/>
                    <a:gd name="T74" fmla="*/ 154 w 256"/>
                    <a:gd name="T75" fmla="*/ 142 h 250"/>
                    <a:gd name="T76" fmla="*/ 166 w 256"/>
                    <a:gd name="T77" fmla="*/ 149 h 250"/>
                    <a:gd name="T78" fmla="*/ 183 w 256"/>
                    <a:gd name="T79" fmla="*/ 158 h 250"/>
                    <a:gd name="T80" fmla="*/ 156 w 256"/>
                    <a:gd name="T81" fmla="*/ 155 h 250"/>
                    <a:gd name="T82" fmla="*/ 145 w 256"/>
                    <a:gd name="T83" fmla="*/ 172 h 250"/>
                    <a:gd name="T84" fmla="*/ 110 w 256"/>
                    <a:gd name="T85" fmla="*/ 180 h 250"/>
                    <a:gd name="T86" fmla="*/ 120 w 256"/>
                    <a:gd name="T87" fmla="*/ 202 h 250"/>
                    <a:gd name="T88" fmla="*/ 141 w 256"/>
                    <a:gd name="T89" fmla="*/ 198 h 250"/>
                    <a:gd name="T90" fmla="*/ 160 w 256"/>
                    <a:gd name="T91" fmla="*/ 212 h 250"/>
                    <a:gd name="T92" fmla="*/ 179 w 256"/>
                    <a:gd name="T93" fmla="*/ 231 h 250"/>
                    <a:gd name="T94" fmla="*/ 204 w 256"/>
                    <a:gd name="T95" fmla="*/ 245 h 250"/>
                    <a:gd name="T96" fmla="*/ 202 w 256"/>
                    <a:gd name="T97" fmla="*/ 228 h 250"/>
                    <a:gd name="T98" fmla="*/ 230 w 256"/>
                    <a:gd name="T99" fmla="*/ 234 h 250"/>
                    <a:gd name="T100" fmla="*/ 222 w 256"/>
                    <a:gd name="T101" fmla="*/ 203 h 250"/>
                    <a:gd name="T102" fmla="*/ 203 w 256"/>
                    <a:gd name="T103" fmla="*/ 179 h 250"/>
                    <a:gd name="T104" fmla="*/ 205 w 256"/>
                    <a:gd name="T105" fmla="*/ 159 h 250"/>
                    <a:gd name="T106" fmla="*/ 220 w 256"/>
                    <a:gd name="T107" fmla="*/ 178 h 250"/>
                    <a:gd name="T108" fmla="*/ 242 w 256"/>
                    <a:gd name="T109" fmla="*/ 17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0">
                      <a:moveTo>
                        <a:pt x="242" y="179"/>
                      </a:moveTo>
                      <a:cubicBezTo>
                        <a:pt x="244" y="180"/>
                        <a:pt x="244" y="176"/>
                        <a:pt x="244" y="175"/>
                      </a:cubicBezTo>
                      <a:cubicBezTo>
                        <a:pt x="245" y="172"/>
                        <a:pt x="246" y="170"/>
                        <a:pt x="247" y="167"/>
                      </a:cubicBezTo>
                      <a:cubicBezTo>
                        <a:pt x="250" y="163"/>
                        <a:pt x="256" y="158"/>
                        <a:pt x="253" y="152"/>
                      </a:cubicBezTo>
                      <a:cubicBezTo>
                        <a:pt x="249" y="145"/>
                        <a:pt x="244" y="150"/>
                        <a:pt x="239" y="150"/>
                      </a:cubicBezTo>
                      <a:cubicBezTo>
                        <a:pt x="236" y="150"/>
                        <a:pt x="235" y="144"/>
                        <a:pt x="231" y="143"/>
                      </a:cubicBezTo>
                      <a:cubicBezTo>
                        <a:pt x="227" y="142"/>
                        <a:pt x="229" y="137"/>
                        <a:pt x="226" y="134"/>
                      </a:cubicBezTo>
                      <a:cubicBezTo>
                        <a:pt x="220" y="130"/>
                        <a:pt x="212" y="131"/>
                        <a:pt x="207" y="126"/>
                      </a:cubicBezTo>
                      <a:cubicBezTo>
                        <a:pt x="205" y="124"/>
                        <a:pt x="203" y="121"/>
                        <a:pt x="200" y="119"/>
                      </a:cubicBezTo>
                      <a:cubicBezTo>
                        <a:pt x="198" y="118"/>
                        <a:pt x="196" y="117"/>
                        <a:pt x="194" y="116"/>
                      </a:cubicBezTo>
                      <a:cubicBezTo>
                        <a:pt x="191" y="114"/>
                        <a:pt x="191" y="111"/>
                        <a:pt x="191" y="109"/>
                      </a:cubicBezTo>
                      <a:cubicBezTo>
                        <a:pt x="191" y="105"/>
                        <a:pt x="189" y="104"/>
                        <a:pt x="187" y="101"/>
                      </a:cubicBezTo>
                      <a:cubicBezTo>
                        <a:pt x="186" y="98"/>
                        <a:pt x="191" y="98"/>
                        <a:pt x="193" y="98"/>
                      </a:cubicBezTo>
                      <a:cubicBezTo>
                        <a:pt x="195" y="98"/>
                        <a:pt x="203" y="100"/>
                        <a:pt x="203" y="99"/>
                      </a:cubicBezTo>
                      <a:cubicBezTo>
                        <a:pt x="205" y="95"/>
                        <a:pt x="196" y="95"/>
                        <a:pt x="194" y="93"/>
                      </a:cubicBezTo>
                      <a:cubicBezTo>
                        <a:pt x="192" y="91"/>
                        <a:pt x="192" y="89"/>
                        <a:pt x="195" y="88"/>
                      </a:cubicBezTo>
                      <a:cubicBezTo>
                        <a:pt x="197" y="88"/>
                        <a:pt x="197" y="86"/>
                        <a:pt x="197" y="84"/>
                      </a:cubicBezTo>
                      <a:cubicBezTo>
                        <a:pt x="195" y="80"/>
                        <a:pt x="188" y="77"/>
                        <a:pt x="184" y="80"/>
                      </a:cubicBezTo>
                      <a:cubicBezTo>
                        <a:pt x="181" y="82"/>
                        <a:pt x="180" y="89"/>
                        <a:pt x="175" y="88"/>
                      </a:cubicBezTo>
                      <a:cubicBezTo>
                        <a:pt x="173" y="88"/>
                        <a:pt x="173" y="86"/>
                        <a:pt x="173" y="84"/>
                      </a:cubicBezTo>
                      <a:cubicBezTo>
                        <a:pt x="173" y="82"/>
                        <a:pt x="175" y="81"/>
                        <a:pt x="178" y="80"/>
                      </a:cubicBezTo>
                      <a:cubicBezTo>
                        <a:pt x="183" y="78"/>
                        <a:pt x="186" y="74"/>
                        <a:pt x="184" y="69"/>
                      </a:cubicBezTo>
                      <a:cubicBezTo>
                        <a:pt x="179" y="68"/>
                        <a:pt x="175" y="67"/>
                        <a:pt x="171" y="68"/>
                      </a:cubicBezTo>
                      <a:cubicBezTo>
                        <a:pt x="167" y="70"/>
                        <a:pt x="166" y="67"/>
                        <a:pt x="166" y="65"/>
                      </a:cubicBezTo>
                      <a:cubicBezTo>
                        <a:pt x="165" y="61"/>
                        <a:pt x="158" y="64"/>
                        <a:pt x="156" y="65"/>
                      </a:cubicBezTo>
                      <a:cubicBezTo>
                        <a:pt x="156" y="65"/>
                        <a:pt x="153" y="66"/>
                        <a:pt x="152" y="65"/>
                      </a:cubicBezTo>
                      <a:cubicBezTo>
                        <a:pt x="152" y="64"/>
                        <a:pt x="152" y="62"/>
                        <a:pt x="153" y="62"/>
                      </a:cubicBezTo>
                      <a:cubicBezTo>
                        <a:pt x="154" y="61"/>
                        <a:pt x="155" y="60"/>
                        <a:pt x="157" y="60"/>
                      </a:cubicBezTo>
                      <a:cubicBezTo>
                        <a:pt x="159" y="60"/>
                        <a:pt x="161" y="59"/>
                        <a:pt x="162" y="58"/>
                      </a:cubicBezTo>
                      <a:cubicBezTo>
                        <a:pt x="163" y="55"/>
                        <a:pt x="160" y="51"/>
                        <a:pt x="157" y="50"/>
                      </a:cubicBezTo>
                      <a:cubicBezTo>
                        <a:pt x="154" y="48"/>
                        <a:pt x="149" y="48"/>
                        <a:pt x="146" y="49"/>
                      </a:cubicBezTo>
                      <a:cubicBezTo>
                        <a:pt x="142" y="50"/>
                        <a:pt x="142" y="52"/>
                        <a:pt x="141" y="55"/>
                      </a:cubicBezTo>
                      <a:cubicBezTo>
                        <a:pt x="136" y="55"/>
                        <a:pt x="146" y="45"/>
                        <a:pt x="139" y="45"/>
                      </a:cubicBezTo>
                      <a:cubicBezTo>
                        <a:pt x="136" y="46"/>
                        <a:pt x="134" y="47"/>
                        <a:pt x="132" y="49"/>
                      </a:cubicBezTo>
                      <a:cubicBezTo>
                        <a:pt x="129" y="52"/>
                        <a:pt x="128" y="45"/>
                        <a:pt x="130" y="44"/>
                      </a:cubicBezTo>
                      <a:cubicBezTo>
                        <a:pt x="133" y="42"/>
                        <a:pt x="134" y="39"/>
                        <a:pt x="129" y="38"/>
                      </a:cubicBezTo>
                      <a:cubicBezTo>
                        <a:pt x="123" y="36"/>
                        <a:pt x="128" y="33"/>
                        <a:pt x="127" y="30"/>
                      </a:cubicBezTo>
                      <a:cubicBezTo>
                        <a:pt x="127" y="29"/>
                        <a:pt x="127" y="27"/>
                        <a:pt x="125" y="26"/>
                      </a:cubicBezTo>
                      <a:cubicBezTo>
                        <a:pt x="123" y="26"/>
                        <a:pt x="121" y="27"/>
                        <a:pt x="120" y="27"/>
                      </a:cubicBezTo>
                      <a:cubicBezTo>
                        <a:pt x="117" y="27"/>
                        <a:pt x="113" y="23"/>
                        <a:pt x="112" y="21"/>
                      </a:cubicBezTo>
                      <a:cubicBezTo>
                        <a:pt x="119" y="23"/>
                        <a:pt x="119" y="18"/>
                        <a:pt x="115" y="14"/>
                      </a:cubicBezTo>
                      <a:cubicBezTo>
                        <a:pt x="112" y="11"/>
                        <a:pt x="109" y="6"/>
                        <a:pt x="103" y="5"/>
                      </a:cubicBezTo>
                      <a:cubicBezTo>
                        <a:pt x="99" y="5"/>
                        <a:pt x="96" y="5"/>
                        <a:pt x="93" y="5"/>
                      </a:cubicBezTo>
                      <a:cubicBezTo>
                        <a:pt x="90" y="5"/>
                        <a:pt x="86" y="4"/>
                        <a:pt x="83" y="4"/>
                      </a:cubicBezTo>
                      <a:cubicBezTo>
                        <a:pt x="77" y="2"/>
                        <a:pt x="80" y="10"/>
                        <a:pt x="82" y="12"/>
                      </a:cubicBezTo>
                      <a:cubicBezTo>
                        <a:pt x="84" y="15"/>
                        <a:pt x="88" y="22"/>
                        <a:pt x="92" y="22"/>
                      </a:cubicBezTo>
                      <a:cubicBezTo>
                        <a:pt x="95" y="22"/>
                        <a:pt x="97" y="21"/>
                        <a:pt x="100" y="21"/>
                      </a:cubicBezTo>
                      <a:cubicBezTo>
                        <a:pt x="102" y="21"/>
                        <a:pt x="105" y="23"/>
                        <a:pt x="103" y="24"/>
                      </a:cubicBezTo>
                      <a:cubicBezTo>
                        <a:pt x="101" y="25"/>
                        <a:pt x="99" y="24"/>
                        <a:pt x="97" y="25"/>
                      </a:cubicBezTo>
                      <a:cubicBezTo>
                        <a:pt x="96" y="26"/>
                        <a:pt x="99" y="29"/>
                        <a:pt x="100" y="30"/>
                      </a:cubicBezTo>
                      <a:cubicBezTo>
                        <a:pt x="100" y="31"/>
                        <a:pt x="101" y="34"/>
                        <a:pt x="99" y="34"/>
                      </a:cubicBezTo>
                      <a:cubicBezTo>
                        <a:pt x="98" y="35"/>
                        <a:pt x="94" y="35"/>
                        <a:pt x="94" y="36"/>
                      </a:cubicBezTo>
                      <a:cubicBezTo>
                        <a:pt x="93" y="37"/>
                        <a:pt x="94" y="39"/>
                        <a:pt x="92" y="39"/>
                      </a:cubicBezTo>
                      <a:cubicBezTo>
                        <a:pt x="91" y="39"/>
                        <a:pt x="89" y="37"/>
                        <a:pt x="89" y="36"/>
                      </a:cubicBezTo>
                      <a:cubicBezTo>
                        <a:pt x="87" y="35"/>
                        <a:pt x="86" y="31"/>
                        <a:pt x="83" y="33"/>
                      </a:cubicBezTo>
                      <a:cubicBezTo>
                        <a:pt x="81" y="35"/>
                        <a:pt x="80" y="37"/>
                        <a:pt x="78" y="39"/>
                      </a:cubicBezTo>
                      <a:cubicBezTo>
                        <a:pt x="77" y="41"/>
                        <a:pt x="75" y="39"/>
                        <a:pt x="75" y="38"/>
                      </a:cubicBezTo>
                      <a:cubicBezTo>
                        <a:pt x="73" y="35"/>
                        <a:pt x="75" y="33"/>
                        <a:pt x="76" y="31"/>
                      </a:cubicBezTo>
                      <a:cubicBezTo>
                        <a:pt x="82" y="24"/>
                        <a:pt x="79" y="12"/>
                        <a:pt x="73" y="5"/>
                      </a:cubicBezTo>
                      <a:cubicBezTo>
                        <a:pt x="71" y="3"/>
                        <a:pt x="67" y="2"/>
                        <a:pt x="63" y="3"/>
                      </a:cubicBezTo>
                      <a:cubicBezTo>
                        <a:pt x="60" y="4"/>
                        <a:pt x="58" y="3"/>
                        <a:pt x="56" y="4"/>
                      </a:cubicBezTo>
                      <a:cubicBezTo>
                        <a:pt x="54" y="6"/>
                        <a:pt x="54" y="8"/>
                        <a:pt x="51" y="9"/>
                      </a:cubicBezTo>
                      <a:cubicBezTo>
                        <a:pt x="50" y="9"/>
                        <a:pt x="48" y="9"/>
                        <a:pt x="46" y="9"/>
                      </a:cubicBezTo>
                      <a:cubicBezTo>
                        <a:pt x="46" y="10"/>
                        <a:pt x="45" y="14"/>
                        <a:pt x="45" y="14"/>
                      </a:cubicBezTo>
                      <a:cubicBezTo>
                        <a:pt x="44" y="16"/>
                        <a:pt x="46" y="17"/>
                        <a:pt x="44" y="18"/>
                      </a:cubicBezTo>
                      <a:cubicBezTo>
                        <a:pt x="43" y="19"/>
                        <a:pt x="41" y="19"/>
                        <a:pt x="40" y="20"/>
                      </a:cubicBezTo>
                      <a:cubicBezTo>
                        <a:pt x="37" y="22"/>
                        <a:pt x="40" y="27"/>
                        <a:pt x="42" y="28"/>
                      </a:cubicBezTo>
                      <a:cubicBezTo>
                        <a:pt x="46" y="32"/>
                        <a:pt x="45" y="32"/>
                        <a:pt x="40" y="35"/>
                      </a:cubicBezTo>
                      <a:cubicBezTo>
                        <a:pt x="35" y="37"/>
                        <a:pt x="40" y="43"/>
                        <a:pt x="42" y="45"/>
                      </a:cubicBezTo>
                      <a:cubicBezTo>
                        <a:pt x="44" y="47"/>
                        <a:pt x="48" y="53"/>
                        <a:pt x="42" y="51"/>
                      </a:cubicBezTo>
                      <a:cubicBezTo>
                        <a:pt x="36" y="50"/>
                        <a:pt x="37" y="47"/>
                        <a:pt x="35" y="44"/>
                      </a:cubicBezTo>
                      <a:cubicBezTo>
                        <a:pt x="34" y="42"/>
                        <a:pt x="32" y="40"/>
                        <a:pt x="32" y="38"/>
                      </a:cubicBezTo>
                      <a:cubicBezTo>
                        <a:pt x="32" y="35"/>
                        <a:pt x="34" y="32"/>
                        <a:pt x="33" y="29"/>
                      </a:cubicBezTo>
                      <a:cubicBezTo>
                        <a:pt x="32" y="27"/>
                        <a:pt x="31" y="26"/>
                        <a:pt x="30" y="24"/>
                      </a:cubicBezTo>
                      <a:cubicBezTo>
                        <a:pt x="30" y="21"/>
                        <a:pt x="32" y="19"/>
                        <a:pt x="34" y="17"/>
                      </a:cubicBezTo>
                      <a:cubicBezTo>
                        <a:pt x="36" y="16"/>
                        <a:pt x="37" y="14"/>
                        <a:pt x="40" y="13"/>
                      </a:cubicBezTo>
                      <a:cubicBezTo>
                        <a:pt x="42" y="11"/>
                        <a:pt x="42" y="8"/>
                        <a:pt x="44" y="7"/>
                      </a:cubicBezTo>
                      <a:cubicBezTo>
                        <a:pt x="50" y="3"/>
                        <a:pt x="47" y="0"/>
                        <a:pt x="41" y="0"/>
                      </a:cubicBezTo>
                      <a:cubicBezTo>
                        <a:pt x="34" y="0"/>
                        <a:pt x="27" y="2"/>
                        <a:pt x="22" y="6"/>
                      </a:cubicBezTo>
                      <a:cubicBezTo>
                        <a:pt x="20" y="7"/>
                        <a:pt x="17" y="9"/>
                        <a:pt x="14" y="10"/>
                      </a:cubicBezTo>
                      <a:cubicBezTo>
                        <a:pt x="12" y="12"/>
                        <a:pt x="11" y="15"/>
                        <a:pt x="9" y="17"/>
                      </a:cubicBezTo>
                      <a:cubicBezTo>
                        <a:pt x="6" y="23"/>
                        <a:pt x="2" y="29"/>
                        <a:pt x="1" y="36"/>
                      </a:cubicBezTo>
                      <a:cubicBezTo>
                        <a:pt x="1" y="38"/>
                        <a:pt x="1" y="41"/>
                        <a:pt x="1" y="44"/>
                      </a:cubicBezTo>
                      <a:cubicBezTo>
                        <a:pt x="1" y="47"/>
                        <a:pt x="0" y="51"/>
                        <a:pt x="1" y="53"/>
                      </a:cubicBezTo>
                      <a:cubicBezTo>
                        <a:pt x="4" y="57"/>
                        <a:pt x="12" y="57"/>
                        <a:pt x="17" y="59"/>
                      </a:cubicBezTo>
                      <a:cubicBezTo>
                        <a:pt x="18" y="60"/>
                        <a:pt x="22" y="63"/>
                        <a:pt x="20" y="63"/>
                      </a:cubicBezTo>
                      <a:cubicBezTo>
                        <a:pt x="17" y="64"/>
                        <a:pt x="12" y="61"/>
                        <a:pt x="10" y="61"/>
                      </a:cubicBezTo>
                      <a:cubicBezTo>
                        <a:pt x="7" y="60"/>
                        <a:pt x="6" y="62"/>
                        <a:pt x="6" y="65"/>
                      </a:cubicBezTo>
                      <a:cubicBezTo>
                        <a:pt x="6" y="68"/>
                        <a:pt x="10" y="69"/>
                        <a:pt x="12" y="71"/>
                      </a:cubicBezTo>
                      <a:cubicBezTo>
                        <a:pt x="15" y="73"/>
                        <a:pt x="17" y="76"/>
                        <a:pt x="20" y="78"/>
                      </a:cubicBezTo>
                      <a:cubicBezTo>
                        <a:pt x="23" y="80"/>
                        <a:pt x="27" y="80"/>
                        <a:pt x="31" y="80"/>
                      </a:cubicBezTo>
                      <a:cubicBezTo>
                        <a:pt x="37" y="81"/>
                        <a:pt x="41" y="84"/>
                        <a:pt x="48" y="84"/>
                      </a:cubicBezTo>
                      <a:cubicBezTo>
                        <a:pt x="51" y="84"/>
                        <a:pt x="55" y="84"/>
                        <a:pt x="58" y="84"/>
                      </a:cubicBezTo>
                      <a:cubicBezTo>
                        <a:pt x="63" y="84"/>
                        <a:pt x="68" y="85"/>
                        <a:pt x="72" y="85"/>
                      </a:cubicBezTo>
                      <a:cubicBezTo>
                        <a:pt x="76" y="85"/>
                        <a:pt x="77" y="83"/>
                        <a:pt x="80" y="82"/>
                      </a:cubicBezTo>
                      <a:cubicBezTo>
                        <a:pt x="84" y="82"/>
                        <a:pt x="88" y="84"/>
                        <a:pt x="92" y="85"/>
                      </a:cubicBezTo>
                      <a:cubicBezTo>
                        <a:pt x="96" y="85"/>
                        <a:pt x="102" y="84"/>
                        <a:pt x="99" y="79"/>
                      </a:cubicBezTo>
                      <a:cubicBezTo>
                        <a:pt x="98" y="79"/>
                        <a:pt x="92" y="73"/>
                        <a:pt x="92" y="72"/>
                      </a:cubicBezTo>
                      <a:cubicBezTo>
                        <a:pt x="96" y="70"/>
                        <a:pt x="102" y="70"/>
                        <a:pt x="104" y="74"/>
                      </a:cubicBezTo>
                      <a:cubicBezTo>
                        <a:pt x="105" y="75"/>
                        <a:pt x="107" y="79"/>
                        <a:pt x="107" y="81"/>
                      </a:cubicBezTo>
                      <a:cubicBezTo>
                        <a:pt x="107" y="84"/>
                        <a:pt x="105" y="86"/>
                        <a:pt x="108" y="88"/>
                      </a:cubicBezTo>
                      <a:cubicBezTo>
                        <a:pt x="109" y="88"/>
                        <a:pt x="110" y="89"/>
                        <a:pt x="112" y="89"/>
                      </a:cubicBezTo>
                      <a:cubicBezTo>
                        <a:pt x="113" y="90"/>
                        <a:pt x="115" y="89"/>
                        <a:pt x="116" y="90"/>
                      </a:cubicBezTo>
                      <a:cubicBezTo>
                        <a:pt x="117" y="91"/>
                        <a:pt x="113" y="94"/>
                        <a:pt x="113" y="95"/>
                      </a:cubicBezTo>
                      <a:cubicBezTo>
                        <a:pt x="112" y="97"/>
                        <a:pt x="116" y="99"/>
                        <a:pt x="117" y="99"/>
                      </a:cubicBezTo>
                      <a:cubicBezTo>
                        <a:pt x="119" y="98"/>
                        <a:pt x="120" y="96"/>
                        <a:pt x="123" y="98"/>
                      </a:cubicBezTo>
                      <a:cubicBezTo>
                        <a:pt x="125" y="99"/>
                        <a:pt x="126" y="102"/>
                        <a:pt x="125" y="103"/>
                      </a:cubicBezTo>
                      <a:cubicBezTo>
                        <a:pt x="124" y="105"/>
                        <a:pt x="121" y="104"/>
                        <a:pt x="120" y="105"/>
                      </a:cubicBezTo>
                      <a:cubicBezTo>
                        <a:pt x="116" y="107"/>
                        <a:pt x="121" y="110"/>
                        <a:pt x="124" y="110"/>
                      </a:cubicBezTo>
                      <a:cubicBezTo>
                        <a:pt x="127" y="111"/>
                        <a:pt x="128" y="109"/>
                        <a:pt x="131" y="108"/>
                      </a:cubicBezTo>
                      <a:cubicBezTo>
                        <a:pt x="135" y="106"/>
                        <a:pt x="139" y="113"/>
                        <a:pt x="140" y="115"/>
                      </a:cubicBezTo>
                      <a:cubicBezTo>
                        <a:pt x="142" y="118"/>
                        <a:pt x="145" y="119"/>
                        <a:pt x="147" y="122"/>
                      </a:cubicBezTo>
                      <a:cubicBezTo>
                        <a:pt x="149" y="124"/>
                        <a:pt x="152" y="126"/>
                        <a:pt x="153" y="129"/>
                      </a:cubicBezTo>
                      <a:cubicBezTo>
                        <a:pt x="154" y="133"/>
                        <a:pt x="155" y="138"/>
                        <a:pt x="154" y="142"/>
                      </a:cubicBezTo>
                      <a:cubicBezTo>
                        <a:pt x="153" y="145"/>
                        <a:pt x="150" y="149"/>
                        <a:pt x="151" y="152"/>
                      </a:cubicBezTo>
                      <a:cubicBezTo>
                        <a:pt x="152" y="155"/>
                        <a:pt x="160" y="153"/>
                        <a:pt x="162" y="153"/>
                      </a:cubicBezTo>
                      <a:cubicBezTo>
                        <a:pt x="165" y="152"/>
                        <a:pt x="164" y="151"/>
                        <a:pt x="166" y="149"/>
                      </a:cubicBezTo>
                      <a:cubicBezTo>
                        <a:pt x="167" y="147"/>
                        <a:pt x="171" y="147"/>
                        <a:pt x="173" y="148"/>
                      </a:cubicBezTo>
                      <a:cubicBezTo>
                        <a:pt x="176" y="148"/>
                        <a:pt x="177" y="151"/>
                        <a:pt x="178" y="152"/>
                      </a:cubicBezTo>
                      <a:cubicBezTo>
                        <a:pt x="179" y="155"/>
                        <a:pt x="182" y="156"/>
                        <a:pt x="183" y="158"/>
                      </a:cubicBezTo>
                      <a:cubicBezTo>
                        <a:pt x="184" y="162"/>
                        <a:pt x="174" y="167"/>
                        <a:pt x="171" y="168"/>
                      </a:cubicBezTo>
                      <a:cubicBezTo>
                        <a:pt x="168" y="169"/>
                        <a:pt x="165" y="159"/>
                        <a:pt x="164" y="157"/>
                      </a:cubicBezTo>
                      <a:cubicBezTo>
                        <a:pt x="162" y="155"/>
                        <a:pt x="159" y="155"/>
                        <a:pt x="156" y="155"/>
                      </a:cubicBezTo>
                      <a:cubicBezTo>
                        <a:pt x="153" y="155"/>
                        <a:pt x="149" y="153"/>
                        <a:pt x="146" y="156"/>
                      </a:cubicBezTo>
                      <a:cubicBezTo>
                        <a:pt x="144" y="158"/>
                        <a:pt x="137" y="163"/>
                        <a:pt x="141" y="166"/>
                      </a:cubicBezTo>
                      <a:cubicBezTo>
                        <a:pt x="143" y="168"/>
                        <a:pt x="145" y="169"/>
                        <a:pt x="145" y="172"/>
                      </a:cubicBezTo>
                      <a:cubicBezTo>
                        <a:pt x="145" y="174"/>
                        <a:pt x="145" y="176"/>
                        <a:pt x="143" y="177"/>
                      </a:cubicBezTo>
                      <a:cubicBezTo>
                        <a:pt x="138" y="180"/>
                        <a:pt x="128" y="180"/>
                        <a:pt x="123" y="179"/>
                      </a:cubicBezTo>
                      <a:cubicBezTo>
                        <a:pt x="118" y="178"/>
                        <a:pt x="112" y="174"/>
                        <a:pt x="110" y="180"/>
                      </a:cubicBezTo>
                      <a:cubicBezTo>
                        <a:pt x="109" y="183"/>
                        <a:pt x="108" y="185"/>
                        <a:pt x="107" y="188"/>
                      </a:cubicBezTo>
                      <a:cubicBezTo>
                        <a:pt x="106" y="190"/>
                        <a:pt x="105" y="193"/>
                        <a:pt x="106" y="196"/>
                      </a:cubicBezTo>
                      <a:cubicBezTo>
                        <a:pt x="108" y="199"/>
                        <a:pt x="116" y="205"/>
                        <a:pt x="120" y="202"/>
                      </a:cubicBezTo>
                      <a:cubicBezTo>
                        <a:pt x="123" y="199"/>
                        <a:pt x="124" y="201"/>
                        <a:pt x="127" y="200"/>
                      </a:cubicBezTo>
                      <a:cubicBezTo>
                        <a:pt x="129" y="200"/>
                        <a:pt x="128" y="198"/>
                        <a:pt x="129" y="196"/>
                      </a:cubicBezTo>
                      <a:cubicBezTo>
                        <a:pt x="130" y="191"/>
                        <a:pt x="138" y="200"/>
                        <a:pt x="141" y="198"/>
                      </a:cubicBezTo>
                      <a:cubicBezTo>
                        <a:pt x="144" y="196"/>
                        <a:pt x="144" y="196"/>
                        <a:pt x="147" y="198"/>
                      </a:cubicBezTo>
                      <a:cubicBezTo>
                        <a:pt x="150" y="199"/>
                        <a:pt x="153" y="201"/>
                        <a:pt x="154" y="204"/>
                      </a:cubicBezTo>
                      <a:cubicBezTo>
                        <a:pt x="156" y="206"/>
                        <a:pt x="157" y="211"/>
                        <a:pt x="160" y="212"/>
                      </a:cubicBezTo>
                      <a:cubicBezTo>
                        <a:pt x="162" y="213"/>
                        <a:pt x="165" y="212"/>
                        <a:pt x="165" y="215"/>
                      </a:cubicBezTo>
                      <a:cubicBezTo>
                        <a:pt x="165" y="219"/>
                        <a:pt x="166" y="226"/>
                        <a:pt x="172" y="226"/>
                      </a:cubicBezTo>
                      <a:cubicBezTo>
                        <a:pt x="176" y="226"/>
                        <a:pt x="176" y="229"/>
                        <a:pt x="179" y="231"/>
                      </a:cubicBezTo>
                      <a:cubicBezTo>
                        <a:pt x="182" y="232"/>
                        <a:pt x="185" y="231"/>
                        <a:pt x="188" y="234"/>
                      </a:cubicBezTo>
                      <a:cubicBezTo>
                        <a:pt x="190" y="236"/>
                        <a:pt x="192" y="238"/>
                        <a:pt x="194" y="240"/>
                      </a:cubicBezTo>
                      <a:cubicBezTo>
                        <a:pt x="197" y="243"/>
                        <a:pt x="201" y="244"/>
                        <a:pt x="204" y="245"/>
                      </a:cubicBezTo>
                      <a:cubicBezTo>
                        <a:pt x="207" y="246"/>
                        <a:pt x="211" y="250"/>
                        <a:pt x="214" y="248"/>
                      </a:cubicBezTo>
                      <a:cubicBezTo>
                        <a:pt x="216" y="247"/>
                        <a:pt x="216" y="244"/>
                        <a:pt x="215" y="241"/>
                      </a:cubicBezTo>
                      <a:cubicBezTo>
                        <a:pt x="212" y="235"/>
                        <a:pt x="207" y="232"/>
                        <a:pt x="202" y="228"/>
                      </a:cubicBezTo>
                      <a:cubicBezTo>
                        <a:pt x="196" y="224"/>
                        <a:pt x="192" y="221"/>
                        <a:pt x="192" y="214"/>
                      </a:cubicBezTo>
                      <a:cubicBezTo>
                        <a:pt x="196" y="212"/>
                        <a:pt x="212" y="225"/>
                        <a:pt x="213" y="228"/>
                      </a:cubicBezTo>
                      <a:cubicBezTo>
                        <a:pt x="216" y="233"/>
                        <a:pt x="225" y="237"/>
                        <a:pt x="230" y="234"/>
                      </a:cubicBezTo>
                      <a:cubicBezTo>
                        <a:pt x="232" y="232"/>
                        <a:pt x="232" y="228"/>
                        <a:pt x="231" y="226"/>
                      </a:cubicBezTo>
                      <a:cubicBezTo>
                        <a:pt x="229" y="223"/>
                        <a:pt x="232" y="221"/>
                        <a:pt x="232" y="218"/>
                      </a:cubicBezTo>
                      <a:cubicBezTo>
                        <a:pt x="231" y="211"/>
                        <a:pt x="225" y="208"/>
                        <a:pt x="222" y="203"/>
                      </a:cubicBezTo>
                      <a:cubicBezTo>
                        <a:pt x="221" y="200"/>
                        <a:pt x="221" y="198"/>
                        <a:pt x="219" y="196"/>
                      </a:cubicBezTo>
                      <a:cubicBezTo>
                        <a:pt x="217" y="194"/>
                        <a:pt x="214" y="193"/>
                        <a:pt x="212" y="192"/>
                      </a:cubicBezTo>
                      <a:cubicBezTo>
                        <a:pt x="208" y="189"/>
                        <a:pt x="207" y="182"/>
                        <a:pt x="203" y="179"/>
                      </a:cubicBezTo>
                      <a:cubicBezTo>
                        <a:pt x="197" y="176"/>
                        <a:pt x="195" y="170"/>
                        <a:pt x="193" y="165"/>
                      </a:cubicBezTo>
                      <a:cubicBezTo>
                        <a:pt x="196" y="164"/>
                        <a:pt x="202" y="172"/>
                        <a:pt x="203" y="169"/>
                      </a:cubicBezTo>
                      <a:cubicBezTo>
                        <a:pt x="204" y="167"/>
                        <a:pt x="202" y="158"/>
                        <a:pt x="205" y="159"/>
                      </a:cubicBezTo>
                      <a:cubicBezTo>
                        <a:pt x="208" y="160"/>
                        <a:pt x="211" y="165"/>
                        <a:pt x="213" y="167"/>
                      </a:cubicBezTo>
                      <a:cubicBezTo>
                        <a:pt x="216" y="169"/>
                        <a:pt x="224" y="164"/>
                        <a:pt x="225" y="167"/>
                      </a:cubicBezTo>
                      <a:cubicBezTo>
                        <a:pt x="227" y="171"/>
                        <a:pt x="218" y="172"/>
                        <a:pt x="220" y="178"/>
                      </a:cubicBezTo>
                      <a:cubicBezTo>
                        <a:pt x="221" y="182"/>
                        <a:pt x="228" y="185"/>
                        <a:pt x="231" y="187"/>
                      </a:cubicBezTo>
                      <a:cubicBezTo>
                        <a:pt x="237" y="192"/>
                        <a:pt x="237" y="186"/>
                        <a:pt x="236" y="182"/>
                      </a:cubicBezTo>
                      <a:cubicBezTo>
                        <a:pt x="235" y="176"/>
                        <a:pt x="237" y="177"/>
                        <a:pt x="242"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101"/>
                <p:cNvSpPr>
                  <a:spLocks/>
                </p:cNvSpPr>
                <p:nvPr/>
              </p:nvSpPr>
              <p:spPr bwMode="auto">
                <a:xfrm>
                  <a:off x="3132138" y="4081463"/>
                  <a:ext cx="7938" cy="7938"/>
                </a:xfrm>
                <a:custGeom>
                  <a:avLst/>
                  <a:gdLst>
                    <a:gd name="T0" fmla="*/ 3 w 10"/>
                    <a:gd name="T1" fmla="*/ 1 h 9"/>
                    <a:gd name="T2" fmla="*/ 3 w 10"/>
                    <a:gd name="T3" fmla="*/ 5 h 9"/>
                    <a:gd name="T4" fmla="*/ 9 w 10"/>
                    <a:gd name="T5" fmla="*/ 6 h 9"/>
                    <a:gd name="T6" fmla="*/ 3 w 10"/>
                    <a:gd name="T7" fmla="*/ 1 h 9"/>
                  </a:gdLst>
                  <a:ahLst/>
                  <a:cxnLst>
                    <a:cxn ang="0">
                      <a:pos x="T0" y="T1"/>
                    </a:cxn>
                    <a:cxn ang="0">
                      <a:pos x="T2" y="T3"/>
                    </a:cxn>
                    <a:cxn ang="0">
                      <a:pos x="T4" y="T5"/>
                    </a:cxn>
                    <a:cxn ang="0">
                      <a:pos x="T6" y="T7"/>
                    </a:cxn>
                  </a:cxnLst>
                  <a:rect l="0" t="0" r="r" b="b"/>
                  <a:pathLst>
                    <a:path w="10" h="9">
                      <a:moveTo>
                        <a:pt x="3" y="1"/>
                      </a:moveTo>
                      <a:cubicBezTo>
                        <a:pt x="0" y="1"/>
                        <a:pt x="3" y="3"/>
                        <a:pt x="3" y="5"/>
                      </a:cubicBezTo>
                      <a:cubicBezTo>
                        <a:pt x="4" y="6"/>
                        <a:pt x="7" y="9"/>
                        <a:pt x="9" y="6"/>
                      </a:cubicBezTo>
                      <a:cubicBezTo>
                        <a:pt x="10" y="4"/>
                        <a:pt x="6"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102"/>
                <p:cNvSpPr>
                  <a:spLocks/>
                </p:cNvSpPr>
                <p:nvPr/>
              </p:nvSpPr>
              <p:spPr bwMode="auto">
                <a:xfrm>
                  <a:off x="3197226" y="4129088"/>
                  <a:ext cx="4763" cy="4763"/>
                </a:xfrm>
                <a:custGeom>
                  <a:avLst/>
                  <a:gdLst>
                    <a:gd name="T0" fmla="*/ 0 w 6"/>
                    <a:gd name="T1" fmla="*/ 3 h 7"/>
                    <a:gd name="T2" fmla="*/ 3 w 6"/>
                    <a:gd name="T3" fmla="*/ 7 h 7"/>
                    <a:gd name="T4" fmla="*/ 6 w 6"/>
                    <a:gd name="T5" fmla="*/ 2 h 7"/>
                    <a:gd name="T6" fmla="*/ 1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6"/>
                        <a:pt x="1" y="6"/>
                        <a:pt x="3" y="7"/>
                      </a:cubicBezTo>
                      <a:cubicBezTo>
                        <a:pt x="5" y="7"/>
                        <a:pt x="6" y="3"/>
                        <a:pt x="6" y="2"/>
                      </a:cubicBezTo>
                      <a:cubicBezTo>
                        <a:pt x="1" y="0"/>
                        <a:pt x="1" y="0"/>
                        <a:pt x="1" y="0"/>
                      </a:cubicBezTo>
                      <a:cubicBezTo>
                        <a:pt x="0" y="0"/>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103"/>
                <p:cNvSpPr>
                  <a:spLocks/>
                </p:cNvSpPr>
                <p:nvPr/>
              </p:nvSpPr>
              <p:spPr bwMode="auto">
                <a:xfrm>
                  <a:off x="3416301" y="4354513"/>
                  <a:ext cx="3175" cy="4763"/>
                </a:xfrm>
                <a:custGeom>
                  <a:avLst/>
                  <a:gdLst>
                    <a:gd name="T0" fmla="*/ 0 w 5"/>
                    <a:gd name="T1" fmla="*/ 2 h 7"/>
                    <a:gd name="T2" fmla="*/ 2 w 5"/>
                    <a:gd name="T3" fmla="*/ 6 h 7"/>
                    <a:gd name="T4" fmla="*/ 5 w 5"/>
                    <a:gd name="T5" fmla="*/ 0 h 7"/>
                    <a:gd name="T6" fmla="*/ 0 w 5"/>
                    <a:gd name="T7" fmla="*/ 2 h 7"/>
                  </a:gdLst>
                  <a:ahLst/>
                  <a:cxnLst>
                    <a:cxn ang="0">
                      <a:pos x="T0" y="T1"/>
                    </a:cxn>
                    <a:cxn ang="0">
                      <a:pos x="T2" y="T3"/>
                    </a:cxn>
                    <a:cxn ang="0">
                      <a:pos x="T4" y="T5"/>
                    </a:cxn>
                    <a:cxn ang="0">
                      <a:pos x="T6" y="T7"/>
                    </a:cxn>
                  </a:cxnLst>
                  <a:rect l="0" t="0" r="r" b="b"/>
                  <a:pathLst>
                    <a:path w="5" h="7">
                      <a:moveTo>
                        <a:pt x="0" y="2"/>
                      </a:moveTo>
                      <a:cubicBezTo>
                        <a:pt x="0" y="4"/>
                        <a:pt x="0" y="5"/>
                        <a:pt x="2" y="6"/>
                      </a:cubicBezTo>
                      <a:cubicBezTo>
                        <a:pt x="5" y="7"/>
                        <a:pt x="5" y="0"/>
                        <a:pt x="5" y="0"/>
                      </a:cubicBezTo>
                      <a:cubicBezTo>
                        <a:pt x="3"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04"/>
                <p:cNvSpPr>
                  <a:spLocks/>
                </p:cNvSpPr>
                <p:nvPr/>
              </p:nvSpPr>
              <p:spPr bwMode="auto">
                <a:xfrm>
                  <a:off x="3411538" y="4340225"/>
                  <a:ext cx="14288" cy="12700"/>
                </a:xfrm>
                <a:custGeom>
                  <a:avLst/>
                  <a:gdLst>
                    <a:gd name="T0" fmla="*/ 18 w 19"/>
                    <a:gd name="T1" fmla="*/ 5 h 17"/>
                    <a:gd name="T2" fmla="*/ 9 w 19"/>
                    <a:gd name="T3" fmla="*/ 3 h 17"/>
                    <a:gd name="T4" fmla="*/ 6 w 19"/>
                    <a:gd name="T5" fmla="*/ 9 h 17"/>
                    <a:gd name="T6" fmla="*/ 2 w 19"/>
                    <a:gd name="T7" fmla="*/ 11 h 17"/>
                    <a:gd name="T8" fmla="*/ 10 w 19"/>
                    <a:gd name="T9" fmla="*/ 13 h 17"/>
                    <a:gd name="T10" fmla="*/ 18 w 19"/>
                    <a:gd name="T11" fmla="*/ 5 h 17"/>
                  </a:gdLst>
                  <a:ahLst/>
                  <a:cxnLst>
                    <a:cxn ang="0">
                      <a:pos x="T0" y="T1"/>
                    </a:cxn>
                    <a:cxn ang="0">
                      <a:pos x="T2" y="T3"/>
                    </a:cxn>
                    <a:cxn ang="0">
                      <a:pos x="T4" y="T5"/>
                    </a:cxn>
                    <a:cxn ang="0">
                      <a:pos x="T6" y="T7"/>
                    </a:cxn>
                    <a:cxn ang="0">
                      <a:pos x="T8" y="T9"/>
                    </a:cxn>
                    <a:cxn ang="0">
                      <a:pos x="T10" y="T11"/>
                    </a:cxn>
                  </a:cxnLst>
                  <a:rect l="0" t="0" r="r" b="b"/>
                  <a:pathLst>
                    <a:path w="19" h="17">
                      <a:moveTo>
                        <a:pt x="18" y="5"/>
                      </a:moveTo>
                      <a:cubicBezTo>
                        <a:pt x="17" y="2"/>
                        <a:pt x="12" y="0"/>
                        <a:pt x="9" y="3"/>
                      </a:cubicBezTo>
                      <a:cubicBezTo>
                        <a:pt x="8" y="5"/>
                        <a:pt x="7" y="8"/>
                        <a:pt x="6" y="9"/>
                      </a:cubicBezTo>
                      <a:cubicBezTo>
                        <a:pt x="5" y="10"/>
                        <a:pt x="3" y="10"/>
                        <a:pt x="2" y="11"/>
                      </a:cubicBezTo>
                      <a:cubicBezTo>
                        <a:pt x="0" y="15"/>
                        <a:pt x="8" y="17"/>
                        <a:pt x="10" y="13"/>
                      </a:cubicBezTo>
                      <a:cubicBezTo>
                        <a:pt x="12" y="9"/>
                        <a:pt x="19" y="12"/>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05"/>
                <p:cNvSpPr>
                  <a:spLocks/>
                </p:cNvSpPr>
                <p:nvPr/>
              </p:nvSpPr>
              <p:spPr bwMode="auto">
                <a:xfrm>
                  <a:off x="3424238" y="3940175"/>
                  <a:ext cx="9525" cy="11113"/>
                </a:xfrm>
                <a:custGeom>
                  <a:avLst/>
                  <a:gdLst>
                    <a:gd name="T0" fmla="*/ 11 w 12"/>
                    <a:gd name="T1" fmla="*/ 13 h 14"/>
                    <a:gd name="T2" fmla="*/ 9 w 12"/>
                    <a:gd name="T3" fmla="*/ 7 h 14"/>
                    <a:gd name="T4" fmla="*/ 3 w 12"/>
                    <a:gd name="T5" fmla="*/ 0 h 14"/>
                    <a:gd name="T6" fmla="*/ 0 w 12"/>
                    <a:gd name="T7" fmla="*/ 2 h 14"/>
                    <a:gd name="T8" fmla="*/ 2 w 12"/>
                    <a:gd name="T9" fmla="*/ 7 h 14"/>
                    <a:gd name="T10" fmla="*/ 11 w 12"/>
                    <a:gd name="T11" fmla="*/ 13 h 14"/>
                  </a:gdLst>
                  <a:ahLst/>
                  <a:cxnLst>
                    <a:cxn ang="0">
                      <a:pos x="T0" y="T1"/>
                    </a:cxn>
                    <a:cxn ang="0">
                      <a:pos x="T2" y="T3"/>
                    </a:cxn>
                    <a:cxn ang="0">
                      <a:pos x="T4" y="T5"/>
                    </a:cxn>
                    <a:cxn ang="0">
                      <a:pos x="T6" y="T7"/>
                    </a:cxn>
                    <a:cxn ang="0">
                      <a:pos x="T8" y="T9"/>
                    </a:cxn>
                    <a:cxn ang="0">
                      <a:pos x="T10" y="T11"/>
                    </a:cxn>
                  </a:cxnLst>
                  <a:rect l="0" t="0" r="r" b="b"/>
                  <a:pathLst>
                    <a:path w="12" h="14">
                      <a:moveTo>
                        <a:pt x="11" y="13"/>
                      </a:moveTo>
                      <a:cubicBezTo>
                        <a:pt x="12" y="12"/>
                        <a:pt x="10" y="8"/>
                        <a:pt x="9" y="7"/>
                      </a:cubicBezTo>
                      <a:cubicBezTo>
                        <a:pt x="7" y="5"/>
                        <a:pt x="3" y="3"/>
                        <a:pt x="3" y="0"/>
                      </a:cubicBezTo>
                      <a:cubicBezTo>
                        <a:pt x="2" y="1"/>
                        <a:pt x="0" y="1"/>
                        <a:pt x="0" y="2"/>
                      </a:cubicBezTo>
                      <a:cubicBezTo>
                        <a:pt x="0" y="3"/>
                        <a:pt x="0" y="6"/>
                        <a:pt x="2" y="7"/>
                      </a:cubicBezTo>
                      <a:cubicBezTo>
                        <a:pt x="3" y="10"/>
                        <a:pt x="10" y="14"/>
                        <a:pt x="1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06"/>
                <p:cNvSpPr>
                  <a:spLocks/>
                </p:cNvSpPr>
                <p:nvPr/>
              </p:nvSpPr>
              <p:spPr bwMode="auto">
                <a:xfrm>
                  <a:off x="3432176" y="4068763"/>
                  <a:ext cx="42863" cy="44450"/>
                </a:xfrm>
                <a:custGeom>
                  <a:avLst/>
                  <a:gdLst>
                    <a:gd name="T0" fmla="*/ 1 w 57"/>
                    <a:gd name="T1" fmla="*/ 16 h 59"/>
                    <a:gd name="T2" fmla="*/ 8 w 57"/>
                    <a:gd name="T3" fmla="*/ 16 h 59"/>
                    <a:gd name="T4" fmla="*/ 15 w 57"/>
                    <a:gd name="T5" fmla="*/ 23 h 59"/>
                    <a:gd name="T6" fmla="*/ 11 w 57"/>
                    <a:gd name="T7" fmla="*/ 26 h 59"/>
                    <a:gd name="T8" fmla="*/ 5 w 57"/>
                    <a:gd name="T9" fmla="*/ 27 h 59"/>
                    <a:gd name="T10" fmla="*/ 7 w 57"/>
                    <a:gd name="T11" fmla="*/ 32 h 59"/>
                    <a:gd name="T12" fmla="*/ 13 w 57"/>
                    <a:gd name="T13" fmla="*/ 33 h 59"/>
                    <a:gd name="T14" fmla="*/ 17 w 57"/>
                    <a:gd name="T15" fmla="*/ 39 h 59"/>
                    <a:gd name="T16" fmla="*/ 13 w 57"/>
                    <a:gd name="T17" fmla="*/ 40 h 59"/>
                    <a:gd name="T18" fmla="*/ 12 w 57"/>
                    <a:gd name="T19" fmla="*/ 44 h 59"/>
                    <a:gd name="T20" fmla="*/ 17 w 57"/>
                    <a:gd name="T21" fmla="*/ 50 h 59"/>
                    <a:gd name="T22" fmla="*/ 23 w 57"/>
                    <a:gd name="T23" fmla="*/ 48 h 59"/>
                    <a:gd name="T24" fmla="*/ 29 w 57"/>
                    <a:gd name="T25" fmla="*/ 54 h 59"/>
                    <a:gd name="T26" fmla="*/ 38 w 57"/>
                    <a:gd name="T27" fmla="*/ 53 h 59"/>
                    <a:gd name="T28" fmla="*/ 44 w 57"/>
                    <a:gd name="T29" fmla="*/ 49 h 59"/>
                    <a:gd name="T30" fmla="*/ 47 w 57"/>
                    <a:gd name="T31" fmla="*/ 47 h 59"/>
                    <a:gd name="T32" fmla="*/ 49 w 57"/>
                    <a:gd name="T33" fmla="*/ 44 h 59"/>
                    <a:gd name="T34" fmla="*/ 54 w 57"/>
                    <a:gd name="T35" fmla="*/ 42 h 59"/>
                    <a:gd name="T36" fmla="*/ 55 w 57"/>
                    <a:gd name="T37" fmla="*/ 37 h 59"/>
                    <a:gd name="T38" fmla="*/ 57 w 57"/>
                    <a:gd name="T39" fmla="*/ 32 h 59"/>
                    <a:gd name="T40" fmla="*/ 54 w 57"/>
                    <a:gd name="T41" fmla="*/ 26 h 59"/>
                    <a:gd name="T42" fmla="*/ 49 w 57"/>
                    <a:gd name="T43" fmla="*/ 18 h 59"/>
                    <a:gd name="T44" fmla="*/ 49 w 57"/>
                    <a:gd name="T45" fmla="*/ 14 h 59"/>
                    <a:gd name="T46" fmla="*/ 48 w 57"/>
                    <a:gd name="T47" fmla="*/ 11 h 59"/>
                    <a:gd name="T48" fmla="*/ 44 w 57"/>
                    <a:gd name="T49" fmla="*/ 9 h 59"/>
                    <a:gd name="T50" fmla="*/ 41 w 57"/>
                    <a:gd name="T51" fmla="*/ 7 h 59"/>
                    <a:gd name="T52" fmla="*/ 39 w 57"/>
                    <a:gd name="T53" fmla="*/ 12 h 59"/>
                    <a:gd name="T54" fmla="*/ 35 w 57"/>
                    <a:gd name="T55" fmla="*/ 11 h 59"/>
                    <a:gd name="T56" fmla="*/ 31 w 57"/>
                    <a:gd name="T57" fmla="*/ 13 h 59"/>
                    <a:gd name="T58" fmla="*/ 27 w 57"/>
                    <a:gd name="T59" fmla="*/ 9 h 59"/>
                    <a:gd name="T60" fmla="*/ 26 w 57"/>
                    <a:gd name="T61" fmla="*/ 14 h 59"/>
                    <a:gd name="T62" fmla="*/ 22 w 57"/>
                    <a:gd name="T63" fmla="*/ 10 h 59"/>
                    <a:gd name="T64" fmla="*/ 21 w 57"/>
                    <a:gd name="T65" fmla="*/ 16 h 59"/>
                    <a:gd name="T66" fmla="*/ 18 w 57"/>
                    <a:gd name="T67" fmla="*/ 16 h 59"/>
                    <a:gd name="T68" fmla="*/ 19 w 57"/>
                    <a:gd name="T69" fmla="*/ 13 h 59"/>
                    <a:gd name="T70" fmla="*/ 16 w 57"/>
                    <a:gd name="T71" fmla="*/ 8 h 59"/>
                    <a:gd name="T72" fmla="*/ 10 w 57"/>
                    <a:gd name="T73" fmla="*/ 2 h 59"/>
                    <a:gd name="T74" fmla="*/ 9 w 57"/>
                    <a:gd name="T75" fmla="*/ 8 h 59"/>
                    <a:gd name="T76" fmla="*/ 7 w 57"/>
                    <a:gd name="T77" fmla="*/ 7 h 59"/>
                    <a:gd name="T78" fmla="*/ 4 w 57"/>
                    <a:gd name="T79" fmla="*/ 7 h 59"/>
                    <a:gd name="T80" fmla="*/ 3 w 57"/>
                    <a:gd name="T81" fmla="*/ 13 h 59"/>
                    <a:gd name="T82" fmla="*/ 1 w 57"/>
                    <a:gd name="T83"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9">
                      <a:moveTo>
                        <a:pt x="1" y="16"/>
                      </a:moveTo>
                      <a:cubicBezTo>
                        <a:pt x="3" y="22"/>
                        <a:pt x="6" y="16"/>
                        <a:pt x="8" y="16"/>
                      </a:cubicBezTo>
                      <a:cubicBezTo>
                        <a:pt x="10" y="16"/>
                        <a:pt x="16" y="19"/>
                        <a:pt x="15" y="23"/>
                      </a:cubicBezTo>
                      <a:cubicBezTo>
                        <a:pt x="15" y="25"/>
                        <a:pt x="13" y="26"/>
                        <a:pt x="11" y="26"/>
                      </a:cubicBezTo>
                      <a:cubicBezTo>
                        <a:pt x="8" y="26"/>
                        <a:pt x="7" y="25"/>
                        <a:pt x="5" y="27"/>
                      </a:cubicBezTo>
                      <a:cubicBezTo>
                        <a:pt x="4" y="29"/>
                        <a:pt x="5" y="31"/>
                        <a:pt x="7" y="32"/>
                      </a:cubicBezTo>
                      <a:cubicBezTo>
                        <a:pt x="9" y="32"/>
                        <a:pt x="11" y="32"/>
                        <a:pt x="13" y="33"/>
                      </a:cubicBezTo>
                      <a:cubicBezTo>
                        <a:pt x="15" y="34"/>
                        <a:pt x="17" y="36"/>
                        <a:pt x="17" y="39"/>
                      </a:cubicBezTo>
                      <a:cubicBezTo>
                        <a:pt x="17" y="42"/>
                        <a:pt x="15" y="39"/>
                        <a:pt x="13" y="40"/>
                      </a:cubicBezTo>
                      <a:cubicBezTo>
                        <a:pt x="12" y="40"/>
                        <a:pt x="11" y="42"/>
                        <a:pt x="12" y="44"/>
                      </a:cubicBezTo>
                      <a:cubicBezTo>
                        <a:pt x="12" y="47"/>
                        <a:pt x="16" y="49"/>
                        <a:pt x="17" y="50"/>
                      </a:cubicBezTo>
                      <a:cubicBezTo>
                        <a:pt x="19" y="50"/>
                        <a:pt x="21" y="48"/>
                        <a:pt x="23" y="48"/>
                      </a:cubicBezTo>
                      <a:cubicBezTo>
                        <a:pt x="26" y="49"/>
                        <a:pt x="27" y="52"/>
                        <a:pt x="29" y="54"/>
                      </a:cubicBezTo>
                      <a:cubicBezTo>
                        <a:pt x="33" y="59"/>
                        <a:pt x="38" y="59"/>
                        <a:pt x="38" y="53"/>
                      </a:cubicBezTo>
                      <a:cubicBezTo>
                        <a:pt x="39" y="50"/>
                        <a:pt x="42" y="50"/>
                        <a:pt x="44" y="49"/>
                      </a:cubicBezTo>
                      <a:cubicBezTo>
                        <a:pt x="45" y="48"/>
                        <a:pt x="46" y="47"/>
                        <a:pt x="47" y="47"/>
                      </a:cubicBezTo>
                      <a:cubicBezTo>
                        <a:pt x="48" y="46"/>
                        <a:pt x="48" y="45"/>
                        <a:pt x="49" y="44"/>
                      </a:cubicBezTo>
                      <a:cubicBezTo>
                        <a:pt x="51" y="44"/>
                        <a:pt x="53" y="44"/>
                        <a:pt x="54" y="42"/>
                      </a:cubicBezTo>
                      <a:cubicBezTo>
                        <a:pt x="55" y="41"/>
                        <a:pt x="55" y="38"/>
                        <a:pt x="55" y="37"/>
                      </a:cubicBezTo>
                      <a:cubicBezTo>
                        <a:pt x="56" y="35"/>
                        <a:pt x="57" y="34"/>
                        <a:pt x="57" y="32"/>
                      </a:cubicBezTo>
                      <a:cubicBezTo>
                        <a:pt x="57" y="29"/>
                        <a:pt x="55" y="28"/>
                        <a:pt x="54" y="26"/>
                      </a:cubicBezTo>
                      <a:cubicBezTo>
                        <a:pt x="53" y="23"/>
                        <a:pt x="50" y="21"/>
                        <a:pt x="49" y="18"/>
                      </a:cubicBezTo>
                      <a:cubicBezTo>
                        <a:pt x="48" y="16"/>
                        <a:pt x="48" y="14"/>
                        <a:pt x="49" y="14"/>
                      </a:cubicBezTo>
                      <a:cubicBezTo>
                        <a:pt x="49" y="13"/>
                        <a:pt x="50" y="9"/>
                        <a:pt x="48" y="11"/>
                      </a:cubicBezTo>
                      <a:cubicBezTo>
                        <a:pt x="46" y="12"/>
                        <a:pt x="46" y="13"/>
                        <a:pt x="44" y="9"/>
                      </a:cubicBezTo>
                      <a:cubicBezTo>
                        <a:pt x="43" y="8"/>
                        <a:pt x="42" y="7"/>
                        <a:pt x="41" y="7"/>
                      </a:cubicBezTo>
                      <a:cubicBezTo>
                        <a:pt x="40" y="8"/>
                        <a:pt x="40" y="11"/>
                        <a:pt x="39" y="12"/>
                      </a:cubicBezTo>
                      <a:cubicBezTo>
                        <a:pt x="38" y="12"/>
                        <a:pt x="36" y="11"/>
                        <a:pt x="35" y="11"/>
                      </a:cubicBezTo>
                      <a:cubicBezTo>
                        <a:pt x="34" y="11"/>
                        <a:pt x="33" y="13"/>
                        <a:pt x="31" y="13"/>
                      </a:cubicBezTo>
                      <a:cubicBezTo>
                        <a:pt x="30" y="12"/>
                        <a:pt x="29" y="8"/>
                        <a:pt x="27" y="9"/>
                      </a:cubicBezTo>
                      <a:cubicBezTo>
                        <a:pt x="25" y="9"/>
                        <a:pt x="26" y="12"/>
                        <a:pt x="26" y="14"/>
                      </a:cubicBezTo>
                      <a:cubicBezTo>
                        <a:pt x="26" y="18"/>
                        <a:pt x="23" y="10"/>
                        <a:pt x="22" y="10"/>
                      </a:cubicBezTo>
                      <a:cubicBezTo>
                        <a:pt x="21" y="11"/>
                        <a:pt x="21" y="15"/>
                        <a:pt x="21" y="16"/>
                      </a:cubicBezTo>
                      <a:cubicBezTo>
                        <a:pt x="21" y="17"/>
                        <a:pt x="19" y="19"/>
                        <a:pt x="18" y="16"/>
                      </a:cubicBezTo>
                      <a:cubicBezTo>
                        <a:pt x="18" y="16"/>
                        <a:pt x="19" y="14"/>
                        <a:pt x="19" y="13"/>
                      </a:cubicBezTo>
                      <a:cubicBezTo>
                        <a:pt x="18" y="11"/>
                        <a:pt x="17" y="11"/>
                        <a:pt x="16" y="8"/>
                      </a:cubicBezTo>
                      <a:cubicBezTo>
                        <a:pt x="16" y="6"/>
                        <a:pt x="11" y="3"/>
                        <a:pt x="10" y="2"/>
                      </a:cubicBezTo>
                      <a:cubicBezTo>
                        <a:pt x="7" y="0"/>
                        <a:pt x="9" y="6"/>
                        <a:pt x="9" y="8"/>
                      </a:cubicBezTo>
                      <a:cubicBezTo>
                        <a:pt x="10" y="10"/>
                        <a:pt x="8" y="8"/>
                        <a:pt x="7" y="7"/>
                      </a:cubicBezTo>
                      <a:cubicBezTo>
                        <a:pt x="6" y="4"/>
                        <a:pt x="4" y="5"/>
                        <a:pt x="4" y="7"/>
                      </a:cubicBezTo>
                      <a:cubicBezTo>
                        <a:pt x="4" y="9"/>
                        <a:pt x="4" y="12"/>
                        <a:pt x="3" y="13"/>
                      </a:cubicBezTo>
                      <a:cubicBezTo>
                        <a:pt x="3" y="14"/>
                        <a:pt x="0" y="14"/>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07"/>
                <p:cNvSpPr>
                  <a:spLocks/>
                </p:cNvSpPr>
                <p:nvPr/>
              </p:nvSpPr>
              <p:spPr bwMode="auto">
                <a:xfrm>
                  <a:off x="3416301" y="3917950"/>
                  <a:ext cx="6350" cy="15875"/>
                </a:xfrm>
                <a:custGeom>
                  <a:avLst/>
                  <a:gdLst>
                    <a:gd name="T0" fmla="*/ 0 w 8"/>
                    <a:gd name="T1" fmla="*/ 5 h 21"/>
                    <a:gd name="T2" fmla="*/ 6 w 8"/>
                    <a:gd name="T3" fmla="*/ 17 h 21"/>
                    <a:gd name="T4" fmla="*/ 8 w 8"/>
                    <a:gd name="T5" fmla="*/ 16 h 21"/>
                    <a:gd name="T6" fmla="*/ 6 w 8"/>
                    <a:gd name="T7" fmla="*/ 10 h 21"/>
                    <a:gd name="T8" fmla="*/ 3 w 8"/>
                    <a:gd name="T9" fmla="*/ 3 h 21"/>
                    <a:gd name="T10" fmla="*/ 0 w 8"/>
                    <a:gd name="T11" fmla="*/ 5 h 21"/>
                  </a:gdLst>
                  <a:ahLst/>
                  <a:cxnLst>
                    <a:cxn ang="0">
                      <a:pos x="T0" y="T1"/>
                    </a:cxn>
                    <a:cxn ang="0">
                      <a:pos x="T2" y="T3"/>
                    </a:cxn>
                    <a:cxn ang="0">
                      <a:pos x="T4" y="T5"/>
                    </a:cxn>
                    <a:cxn ang="0">
                      <a:pos x="T6" y="T7"/>
                    </a:cxn>
                    <a:cxn ang="0">
                      <a:pos x="T8" y="T9"/>
                    </a:cxn>
                    <a:cxn ang="0">
                      <a:pos x="T10" y="T11"/>
                    </a:cxn>
                  </a:cxnLst>
                  <a:rect l="0" t="0" r="r" b="b"/>
                  <a:pathLst>
                    <a:path w="8" h="21">
                      <a:moveTo>
                        <a:pt x="0" y="5"/>
                      </a:moveTo>
                      <a:cubicBezTo>
                        <a:pt x="1" y="9"/>
                        <a:pt x="5" y="13"/>
                        <a:pt x="6" y="17"/>
                      </a:cubicBezTo>
                      <a:cubicBezTo>
                        <a:pt x="7" y="21"/>
                        <a:pt x="8" y="17"/>
                        <a:pt x="8" y="16"/>
                      </a:cubicBezTo>
                      <a:cubicBezTo>
                        <a:pt x="8" y="14"/>
                        <a:pt x="7" y="12"/>
                        <a:pt x="6" y="10"/>
                      </a:cubicBezTo>
                      <a:cubicBezTo>
                        <a:pt x="5" y="8"/>
                        <a:pt x="5" y="5"/>
                        <a:pt x="3" y="3"/>
                      </a:cubicBezTo>
                      <a:cubicBezTo>
                        <a:pt x="0" y="0"/>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08"/>
                <p:cNvSpPr>
                  <a:spLocks/>
                </p:cNvSpPr>
                <p:nvPr/>
              </p:nvSpPr>
              <p:spPr bwMode="auto">
                <a:xfrm>
                  <a:off x="3425826" y="4348163"/>
                  <a:ext cx="4763" cy="7938"/>
                </a:xfrm>
                <a:custGeom>
                  <a:avLst/>
                  <a:gdLst>
                    <a:gd name="T0" fmla="*/ 0 w 7"/>
                    <a:gd name="T1" fmla="*/ 6 h 10"/>
                    <a:gd name="T2" fmla="*/ 5 w 7"/>
                    <a:gd name="T3" fmla="*/ 10 h 10"/>
                    <a:gd name="T4" fmla="*/ 6 w 7"/>
                    <a:gd name="T5" fmla="*/ 4 h 10"/>
                    <a:gd name="T6" fmla="*/ 3 w 7"/>
                    <a:gd name="T7" fmla="*/ 0 h 10"/>
                    <a:gd name="T8" fmla="*/ 0 w 7"/>
                    <a:gd name="T9" fmla="*/ 6 h 10"/>
                  </a:gdLst>
                  <a:ahLst/>
                  <a:cxnLst>
                    <a:cxn ang="0">
                      <a:pos x="T0" y="T1"/>
                    </a:cxn>
                    <a:cxn ang="0">
                      <a:pos x="T2" y="T3"/>
                    </a:cxn>
                    <a:cxn ang="0">
                      <a:pos x="T4" y="T5"/>
                    </a:cxn>
                    <a:cxn ang="0">
                      <a:pos x="T6" y="T7"/>
                    </a:cxn>
                    <a:cxn ang="0">
                      <a:pos x="T8" y="T9"/>
                    </a:cxn>
                  </a:cxnLst>
                  <a:rect l="0" t="0" r="r" b="b"/>
                  <a:pathLst>
                    <a:path w="7" h="10">
                      <a:moveTo>
                        <a:pt x="0" y="6"/>
                      </a:moveTo>
                      <a:cubicBezTo>
                        <a:pt x="0" y="9"/>
                        <a:pt x="3" y="10"/>
                        <a:pt x="5" y="10"/>
                      </a:cubicBezTo>
                      <a:cubicBezTo>
                        <a:pt x="7" y="9"/>
                        <a:pt x="7" y="6"/>
                        <a:pt x="6" y="4"/>
                      </a:cubicBezTo>
                      <a:cubicBezTo>
                        <a:pt x="6" y="3"/>
                        <a:pt x="2" y="2"/>
                        <a:pt x="3" y="0"/>
                      </a:cubicBezTo>
                      <a:cubicBezTo>
                        <a:pt x="1" y="0"/>
                        <a:pt x="0" y="4"/>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09"/>
                <p:cNvSpPr>
                  <a:spLocks/>
                </p:cNvSpPr>
                <p:nvPr/>
              </p:nvSpPr>
              <p:spPr bwMode="auto">
                <a:xfrm>
                  <a:off x="3411538" y="3970338"/>
                  <a:ext cx="14288" cy="19050"/>
                </a:xfrm>
                <a:custGeom>
                  <a:avLst/>
                  <a:gdLst>
                    <a:gd name="T0" fmla="*/ 12 w 18"/>
                    <a:gd name="T1" fmla="*/ 7 h 25"/>
                    <a:gd name="T2" fmla="*/ 1 w 18"/>
                    <a:gd name="T3" fmla="*/ 3 h 25"/>
                    <a:gd name="T4" fmla="*/ 5 w 18"/>
                    <a:gd name="T5" fmla="*/ 15 h 25"/>
                    <a:gd name="T6" fmla="*/ 11 w 18"/>
                    <a:gd name="T7" fmla="*/ 20 h 25"/>
                    <a:gd name="T8" fmla="*/ 17 w 18"/>
                    <a:gd name="T9" fmla="*/ 23 h 25"/>
                    <a:gd name="T10" fmla="*/ 17 w 18"/>
                    <a:gd name="T11" fmla="*/ 16 h 25"/>
                    <a:gd name="T12" fmla="*/ 12 w 18"/>
                    <a:gd name="T13" fmla="*/ 7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12" y="7"/>
                      </a:moveTo>
                      <a:cubicBezTo>
                        <a:pt x="9" y="5"/>
                        <a:pt x="3" y="0"/>
                        <a:pt x="1" y="3"/>
                      </a:cubicBezTo>
                      <a:cubicBezTo>
                        <a:pt x="0" y="5"/>
                        <a:pt x="2" y="11"/>
                        <a:pt x="5" y="15"/>
                      </a:cubicBezTo>
                      <a:cubicBezTo>
                        <a:pt x="6" y="18"/>
                        <a:pt x="9" y="19"/>
                        <a:pt x="11" y="20"/>
                      </a:cubicBezTo>
                      <a:cubicBezTo>
                        <a:pt x="13" y="21"/>
                        <a:pt x="16" y="25"/>
                        <a:pt x="17" y="23"/>
                      </a:cubicBezTo>
                      <a:cubicBezTo>
                        <a:pt x="18" y="21"/>
                        <a:pt x="17" y="18"/>
                        <a:pt x="17" y="16"/>
                      </a:cubicBezTo>
                      <a:cubicBezTo>
                        <a:pt x="16" y="12"/>
                        <a:pt x="15" y="10"/>
                        <a:pt x="1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10"/>
                <p:cNvSpPr>
                  <a:spLocks/>
                </p:cNvSpPr>
                <p:nvPr/>
              </p:nvSpPr>
              <p:spPr bwMode="auto">
                <a:xfrm>
                  <a:off x="3500438" y="3914775"/>
                  <a:ext cx="7938" cy="12700"/>
                </a:xfrm>
                <a:custGeom>
                  <a:avLst/>
                  <a:gdLst>
                    <a:gd name="T0" fmla="*/ 6 w 10"/>
                    <a:gd name="T1" fmla="*/ 10 h 16"/>
                    <a:gd name="T2" fmla="*/ 4 w 10"/>
                    <a:gd name="T3" fmla="*/ 6 h 16"/>
                    <a:gd name="T4" fmla="*/ 1 w 10"/>
                    <a:gd name="T5" fmla="*/ 2 h 16"/>
                    <a:gd name="T6" fmla="*/ 0 w 10"/>
                    <a:gd name="T7" fmla="*/ 2 h 16"/>
                    <a:gd name="T8" fmla="*/ 3 w 10"/>
                    <a:gd name="T9" fmla="*/ 6 h 16"/>
                    <a:gd name="T10" fmla="*/ 7 w 10"/>
                    <a:gd name="T11" fmla="*/ 13 h 16"/>
                    <a:gd name="T12" fmla="*/ 6 w 10"/>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6" y="10"/>
                      </a:moveTo>
                      <a:cubicBezTo>
                        <a:pt x="6" y="8"/>
                        <a:pt x="5" y="7"/>
                        <a:pt x="4" y="6"/>
                      </a:cubicBezTo>
                      <a:cubicBezTo>
                        <a:pt x="3" y="4"/>
                        <a:pt x="3" y="3"/>
                        <a:pt x="1" y="2"/>
                      </a:cubicBezTo>
                      <a:cubicBezTo>
                        <a:pt x="0" y="0"/>
                        <a:pt x="0" y="1"/>
                        <a:pt x="0" y="2"/>
                      </a:cubicBezTo>
                      <a:cubicBezTo>
                        <a:pt x="0" y="3"/>
                        <a:pt x="2" y="5"/>
                        <a:pt x="3" y="6"/>
                      </a:cubicBezTo>
                      <a:cubicBezTo>
                        <a:pt x="5" y="8"/>
                        <a:pt x="6" y="11"/>
                        <a:pt x="7" y="13"/>
                      </a:cubicBezTo>
                      <a:cubicBezTo>
                        <a:pt x="10" y="16"/>
                        <a:pt x="7" y="11"/>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11"/>
                <p:cNvSpPr>
                  <a:spLocks/>
                </p:cNvSpPr>
                <p:nvPr/>
              </p:nvSpPr>
              <p:spPr bwMode="auto">
                <a:xfrm>
                  <a:off x="3590926" y="3929063"/>
                  <a:ext cx="0" cy="1588"/>
                </a:xfrm>
                <a:custGeom>
                  <a:avLst/>
                  <a:gdLst>
                    <a:gd name="T0" fmla="*/ 2 w 2"/>
                    <a:gd name="T1" fmla="*/ 2 h 2"/>
                    <a:gd name="T2" fmla="*/ 2 w 2"/>
                    <a:gd name="T3" fmla="*/ 2 h 2"/>
                    <a:gd name="T4" fmla="*/ 2 w 2"/>
                    <a:gd name="T5" fmla="*/ 2 h 2"/>
                  </a:gdLst>
                  <a:ahLst/>
                  <a:cxnLst>
                    <a:cxn ang="0">
                      <a:pos x="T0" y="T1"/>
                    </a:cxn>
                    <a:cxn ang="0">
                      <a:pos x="T2" y="T3"/>
                    </a:cxn>
                    <a:cxn ang="0">
                      <a:pos x="T4" y="T5"/>
                    </a:cxn>
                  </a:cxnLst>
                  <a:rect l="0" t="0" r="r" b="b"/>
                  <a:pathLst>
                    <a:path w="2" h="2">
                      <a:moveTo>
                        <a:pt x="2" y="2"/>
                      </a:moveTo>
                      <a:cubicBezTo>
                        <a:pt x="2" y="2"/>
                        <a:pt x="2" y="2"/>
                        <a:pt x="2" y="2"/>
                      </a:cubicBezTo>
                      <a:cubicBezTo>
                        <a:pt x="0" y="0"/>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12"/>
                <p:cNvSpPr>
                  <a:spLocks/>
                </p:cNvSpPr>
                <p:nvPr/>
              </p:nvSpPr>
              <p:spPr bwMode="auto">
                <a:xfrm>
                  <a:off x="3595688" y="3905250"/>
                  <a:ext cx="4763" cy="6350"/>
                </a:xfrm>
                <a:custGeom>
                  <a:avLst/>
                  <a:gdLst>
                    <a:gd name="T0" fmla="*/ 3 w 5"/>
                    <a:gd name="T1" fmla="*/ 9 h 9"/>
                    <a:gd name="T2" fmla="*/ 1 w 5"/>
                    <a:gd name="T3" fmla="*/ 1 h 9"/>
                    <a:gd name="T4" fmla="*/ 0 w 5"/>
                    <a:gd name="T5" fmla="*/ 4 h 9"/>
                    <a:gd name="T6" fmla="*/ 2 w 5"/>
                    <a:gd name="T7" fmla="*/ 7 h 9"/>
                    <a:gd name="T8" fmla="*/ 3 w 5"/>
                    <a:gd name="T9" fmla="*/ 9 h 9"/>
                  </a:gdLst>
                  <a:ahLst/>
                  <a:cxnLst>
                    <a:cxn ang="0">
                      <a:pos x="T0" y="T1"/>
                    </a:cxn>
                    <a:cxn ang="0">
                      <a:pos x="T2" y="T3"/>
                    </a:cxn>
                    <a:cxn ang="0">
                      <a:pos x="T4" y="T5"/>
                    </a:cxn>
                    <a:cxn ang="0">
                      <a:pos x="T6" y="T7"/>
                    </a:cxn>
                    <a:cxn ang="0">
                      <a:pos x="T8" y="T9"/>
                    </a:cxn>
                  </a:cxnLst>
                  <a:rect l="0" t="0" r="r" b="b"/>
                  <a:pathLst>
                    <a:path w="5" h="9">
                      <a:moveTo>
                        <a:pt x="3" y="9"/>
                      </a:moveTo>
                      <a:cubicBezTo>
                        <a:pt x="4" y="8"/>
                        <a:pt x="5" y="4"/>
                        <a:pt x="1" y="1"/>
                      </a:cubicBezTo>
                      <a:cubicBezTo>
                        <a:pt x="0" y="0"/>
                        <a:pt x="0" y="3"/>
                        <a:pt x="0" y="4"/>
                      </a:cubicBezTo>
                      <a:cubicBezTo>
                        <a:pt x="1" y="5"/>
                        <a:pt x="1" y="6"/>
                        <a:pt x="2" y="7"/>
                      </a:cubicBezTo>
                      <a:cubicBezTo>
                        <a:pt x="2" y="7"/>
                        <a:pt x="3" y="9"/>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113"/>
                <p:cNvSpPr>
                  <a:spLocks/>
                </p:cNvSpPr>
                <p:nvPr/>
              </p:nvSpPr>
              <p:spPr bwMode="auto">
                <a:xfrm>
                  <a:off x="3589338" y="3932238"/>
                  <a:ext cx="4763" cy="6350"/>
                </a:xfrm>
                <a:custGeom>
                  <a:avLst/>
                  <a:gdLst>
                    <a:gd name="T0" fmla="*/ 0 w 7"/>
                    <a:gd name="T1" fmla="*/ 1 h 10"/>
                    <a:gd name="T2" fmla="*/ 0 w 7"/>
                    <a:gd name="T3" fmla="*/ 4 h 10"/>
                    <a:gd name="T4" fmla="*/ 1 w 7"/>
                    <a:gd name="T5" fmla="*/ 5 h 10"/>
                    <a:gd name="T6" fmla="*/ 4 w 7"/>
                    <a:gd name="T7" fmla="*/ 8 h 10"/>
                    <a:gd name="T8" fmla="*/ 7 w 7"/>
                    <a:gd name="T9" fmla="*/ 10 h 10"/>
                    <a:gd name="T10" fmla="*/ 5 w 7"/>
                    <a:gd name="T11" fmla="*/ 6 h 10"/>
                    <a:gd name="T12" fmla="*/ 5 w 7"/>
                    <a:gd name="T13" fmla="*/ 5 h 10"/>
                    <a:gd name="T14" fmla="*/ 4 w 7"/>
                    <a:gd name="T15" fmla="*/ 5 h 10"/>
                    <a:gd name="T16" fmla="*/ 2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0" y="1"/>
                        <a:pt x="0" y="3"/>
                        <a:pt x="0" y="4"/>
                      </a:cubicBezTo>
                      <a:cubicBezTo>
                        <a:pt x="0" y="5"/>
                        <a:pt x="1" y="5"/>
                        <a:pt x="1" y="5"/>
                      </a:cubicBezTo>
                      <a:cubicBezTo>
                        <a:pt x="2" y="5"/>
                        <a:pt x="3" y="7"/>
                        <a:pt x="4" y="8"/>
                      </a:cubicBezTo>
                      <a:cubicBezTo>
                        <a:pt x="5" y="9"/>
                        <a:pt x="6" y="10"/>
                        <a:pt x="7" y="10"/>
                      </a:cubicBezTo>
                      <a:cubicBezTo>
                        <a:pt x="7" y="9"/>
                        <a:pt x="6" y="7"/>
                        <a:pt x="5" y="6"/>
                      </a:cubicBezTo>
                      <a:cubicBezTo>
                        <a:pt x="5" y="6"/>
                        <a:pt x="5" y="5"/>
                        <a:pt x="5" y="5"/>
                      </a:cubicBezTo>
                      <a:cubicBezTo>
                        <a:pt x="4" y="4"/>
                        <a:pt x="4" y="5"/>
                        <a:pt x="4" y="5"/>
                      </a:cubicBezTo>
                      <a:cubicBezTo>
                        <a:pt x="2" y="4"/>
                        <a:pt x="2" y="2"/>
                        <a:pt x="2"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14"/>
                <p:cNvSpPr>
                  <a:spLocks/>
                </p:cNvSpPr>
                <p:nvPr/>
              </p:nvSpPr>
              <p:spPr bwMode="auto">
                <a:xfrm>
                  <a:off x="3592513" y="3913188"/>
                  <a:ext cx="14288" cy="26988"/>
                </a:xfrm>
                <a:custGeom>
                  <a:avLst/>
                  <a:gdLst>
                    <a:gd name="T0" fmla="*/ 4 w 20"/>
                    <a:gd name="T1" fmla="*/ 9 h 36"/>
                    <a:gd name="T2" fmla="*/ 2 w 20"/>
                    <a:gd name="T3" fmla="*/ 9 h 36"/>
                    <a:gd name="T4" fmla="*/ 3 w 20"/>
                    <a:gd name="T5" fmla="*/ 13 h 36"/>
                    <a:gd name="T6" fmla="*/ 6 w 20"/>
                    <a:gd name="T7" fmla="*/ 15 h 36"/>
                    <a:gd name="T8" fmla="*/ 7 w 20"/>
                    <a:gd name="T9" fmla="*/ 18 h 36"/>
                    <a:gd name="T10" fmla="*/ 5 w 20"/>
                    <a:gd name="T11" fmla="*/ 17 h 36"/>
                    <a:gd name="T12" fmla="*/ 2 w 20"/>
                    <a:gd name="T13" fmla="*/ 13 h 36"/>
                    <a:gd name="T14" fmla="*/ 2 w 20"/>
                    <a:gd name="T15" fmla="*/ 16 h 36"/>
                    <a:gd name="T16" fmla="*/ 3 w 20"/>
                    <a:gd name="T17" fmla="*/ 22 h 36"/>
                    <a:gd name="T18" fmla="*/ 8 w 20"/>
                    <a:gd name="T19" fmla="*/ 26 h 36"/>
                    <a:gd name="T20" fmla="*/ 9 w 20"/>
                    <a:gd name="T21" fmla="*/ 29 h 36"/>
                    <a:gd name="T22" fmla="*/ 11 w 20"/>
                    <a:gd name="T23" fmla="*/ 31 h 36"/>
                    <a:gd name="T24" fmla="*/ 13 w 20"/>
                    <a:gd name="T25" fmla="*/ 34 h 36"/>
                    <a:gd name="T26" fmla="*/ 15 w 20"/>
                    <a:gd name="T27" fmla="*/ 34 h 36"/>
                    <a:gd name="T28" fmla="*/ 17 w 20"/>
                    <a:gd name="T29" fmla="*/ 36 h 36"/>
                    <a:gd name="T30" fmla="*/ 18 w 20"/>
                    <a:gd name="T31" fmla="*/ 34 h 36"/>
                    <a:gd name="T32" fmla="*/ 19 w 20"/>
                    <a:gd name="T33" fmla="*/ 30 h 36"/>
                    <a:gd name="T34" fmla="*/ 17 w 20"/>
                    <a:gd name="T35" fmla="*/ 27 h 36"/>
                    <a:gd name="T36" fmla="*/ 15 w 20"/>
                    <a:gd name="T37" fmla="*/ 25 h 36"/>
                    <a:gd name="T38" fmla="*/ 13 w 20"/>
                    <a:gd name="T39" fmla="*/ 23 h 36"/>
                    <a:gd name="T40" fmla="*/ 13 w 20"/>
                    <a:gd name="T41" fmla="*/ 20 h 36"/>
                    <a:gd name="T42" fmla="*/ 15 w 20"/>
                    <a:gd name="T43" fmla="*/ 19 h 36"/>
                    <a:gd name="T44" fmla="*/ 14 w 20"/>
                    <a:gd name="T45" fmla="*/ 16 h 36"/>
                    <a:gd name="T46" fmla="*/ 13 w 20"/>
                    <a:gd name="T47" fmla="*/ 13 h 36"/>
                    <a:gd name="T48" fmla="*/ 9 w 20"/>
                    <a:gd name="T49" fmla="*/ 7 h 36"/>
                    <a:gd name="T50" fmla="*/ 12 w 20"/>
                    <a:gd name="T51" fmla="*/ 7 h 36"/>
                    <a:gd name="T52" fmla="*/ 13 w 20"/>
                    <a:gd name="T53" fmla="*/ 6 h 36"/>
                    <a:gd name="T54" fmla="*/ 11 w 20"/>
                    <a:gd name="T55" fmla="*/ 3 h 36"/>
                    <a:gd name="T56" fmla="*/ 9 w 20"/>
                    <a:gd name="T57" fmla="*/ 4 h 36"/>
                    <a:gd name="T58" fmla="*/ 6 w 20"/>
                    <a:gd name="T59" fmla="*/ 1 h 36"/>
                    <a:gd name="T60" fmla="*/ 5 w 20"/>
                    <a:gd name="T61" fmla="*/ 1 h 36"/>
                    <a:gd name="T62" fmla="*/ 4 w 20"/>
                    <a:gd name="T63" fmla="*/ 3 h 36"/>
                    <a:gd name="T64" fmla="*/ 5 w 20"/>
                    <a:gd name="T65" fmla="*/ 6 h 36"/>
                    <a:gd name="T66" fmla="*/ 7 w 20"/>
                    <a:gd name="T67" fmla="*/ 8 h 36"/>
                    <a:gd name="T68" fmla="*/ 7 w 20"/>
                    <a:gd name="T69" fmla="*/ 11 h 36"/>
                    <a:gd name="T70" fmla="*/ 4 w 20"/>
                    <a:gd name="T71"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6">
                      <a:moveTo>
                        <a:pt x="4" y="9"/>
                      </a:moveTo>
                      <a:cubicBezTo>
                        <a:pt x="2" y="8"/>
                        <a:pt x="0" y="6"/>
                        <a:pt x="2" y="9"/>
                      </a:cubicBezTo>
                      <a:cubicBezTo>
                        <a:pt x="2" y="10"/>
                        <a:pt x="3" y="12"/>
                        <a:pt x="3" y="13"/>
                      </a:cubicBezTo>
                      <a:cubicBezTo>
                        <a:pt x="4" y="14"/>
                        <a:pt x="5" y="14"/>
                        <a:pt x="6" y="15"/>
                      </a:cubicBezTo>
                      <a:cubicBezTo>
                        <a:pt x="6" y="16"/>
                        <a:pt x="7" y="18"/>
                        <a:pt x="7" y="18"/>
                      </a:cubicBezTo>
                      <a:cubicBezTo>
                        <a:pt x="6" y="18"/>
                        <a:pt x="5" y="17"/>
                        <a:pt x="5" y="17"/>
                      </a:cubicBezTo>
                      <a:cubicBezTo>
                        <a:pt x="4" y="16"/>
                        <a:pt x="3" y="13"/>
                        <a:pt x="2" y="13"/>
                      </a:cubicBezTo>
                      <a:cubicBezTo>
                        <a:pt x="1" y="12"/>
                        <a:pt x="2" y="15"/>
                        <a:pt x="2" y="16"/>
                      </a:cubicBezTo>
                      <a:cubicBezTo>
                        <a:pt x="2" y="18"/>
                        <a:pt x="2" y="20"/>
                        <a:pt x="3" y="22"/>
                      </a:cubicBezTo>
                      <a:cubicBezTo>
                        <a:pt x="5" y="23"/>
                        <a:pt x="7" y="24"/>
                        <a:pt x="8" y="26"/>
                      </a:cubicBezTo>
                      <a:cubicBezTo>
                        <a:pt x="8" y="27"/>
                        <a:pt x="8" y="29"/>
                        <a:pt x="9" y="29"/>
                      </a:cubicBezTo>
                      <a:cubicBezTo>
                        <a:pt x="10" y="30"/>
                        <a:pt x="10" y="30"/>
                        <a:pt x="11" y="31"/>
                      </a:cubicBezTo>
                      <a:cubicBezTo>
                        <a:pt x="12" y="32"/>
                        <a:pt x="12" y="34"/>
                        <a:pt x="13" y="34"/>
                      </a:cubicBezTo>
                      <a:cubicBezTo>
                        <a:pt x="14" y="35"/>
                        <a:pt x="14" y="33"/>
                        <a:pt x="15" y="34"/>
                      </a:cubicBezTo>
                      <a:cubicBezTo>
                        <a:pt x="16" y="35"/>
                        <a:pt x="17" y="36"/>
                        <a:pt x="17" y="36"/>
                      </a:cubicBezTo>
                      <a:cubicBezTo>
                        <a:pt x="18" y="36"/>
                        <a:pt x="18" y="35"/>
                        <a:pt x="18" y="34"/>
                      </a:cubicBezTo>
                      <a:cubicBezTo>
                        <a:pt x="17" y="32"/>
                        <a:pt x="20" y="33"/>
                        <a:pt x="19" y="30"/>
                      </a:cubicBezTo>
                      <a:cubicBezTo>
                        <a:pt x="18" y="29"/>
                        <a:pt x="17" y="28"/>
                        <a:pt x="17" y="27"/>
                      </a:cubicBezTo>
                      <a:cubicBezTo>
                        <a:pt x="17" y="26"/>
                        <a:pt x="16" y="25"/>
                        <a:pt x="15" y="25"/>
                      </a:cubicBezTo>
                      <a:cubicBezTo>
                        <a:pt x="15" y="24"/>
                        <a:pt x="14" y="24"/>
                        <a:pt x="13" y="23"/>
                      </a:cubicBezTo>
                      <a:cubicBezTo>
                        <a:pt x="13" y="22"/>
                        <a:pt x="12" y="19"/>
                        <a:pt x="13" y="20"/>
                      </a:cubicBezTo>
                      <a:cubicBezTo>
                        <a:pt x="14" y="20"/>
                        <a:pt x="16" y="21"/>
                        <a:pt x="15" y="19"/>
                      </a:cubicBezTo>
                      <a:cubicBezTo>
                        <a:pt x="15" y="18"/>
                        <a:pt x="15" y="17"/>
                        <a:pt x="14" y="16"/>
                      </a:cubicBezTo>
                      <a:cubicBezTo>
                        <a:pt x="13" y="14"/>
                        <a:pt x="13" y="14"/>
                        <a:pt x="13" y="13"/>
                      </a:cubicBezTo>
                      <a:cubicBezTo>
                        <a:pt x="13" y="11"/>
                        <a:pt x="10" y="9"/>
                        <a:pt x="9" y="7"/>
                      </a:cubicBezTo>
                      <a:cubicBezTo>
                        <a:pt x="9" y="6"/>
                        <a:pt x="11" y="7"/>
                        <a:pt x="12" y="7"/>
                      </a:cubicBezTo>
                      <a:cubicBezTo>
                        <a:pt x="13" y="7"/>
                        <a:pt x="14" y="8"/>
                        <a:pt x="13" y="6"/>
                      </a:cubicBezTo>
                      <a:cubicBezTo>
                        <a:pt x="13" y="5"/>
                        <a:pt x="12" y="3"/>
                        <a:pt x="11" y="3"/>
                      </a:cubicBezTo>
                      <a:cubicBezTo>
                        <a:pt x="10" y="2"/>
                        <a:pt x="10" y="4"/>
                        <a:pt x="9" y="4"/>
                      </a:cubicBezTo>
                      <a:cubicBezTo>
                        <a:pt x="8" y="4"/>
                        <a:pt x="7" y="2"/>
                        <a:pt x="6" y="1"/>
                      </a:cubicBezTo>
                      <a:cubicBezTo>
                        <a:pt x="5" y="0"/>
                        <a:pt x="5" y="1"/>
                        <a:pt x="5" y="1"/>
                      </a:cubicBezTo>
                      <a:cubicBezTo>
                        <a:pt x="5" y="3"/>
                        <a:pt x="5" y="4"/>
                        <a:pt x="4" y="3"/>
                      </a:cubicBezTo>
                      <a:cubicBezTo>
                        <a:pt x="2" y="2"/>
                        <a:pt x="2" y="5"/>
                        <a:pt x="5" y="6"/>
                      </a:cubicBezTo>
                      <a:cubicBezTo>
                        <a:pt x="5" y="6"/>
                        <a:pt x="6" y="7"/>
                        <a:pt x="7" y="8"/>
                      </a:cubicBezTo>
                      <a:cubicBezTo>
                        <a:pt x="7" y="9"/>
                        <a:pt x="7" y="11"/>
                        <a:pt x="7" y="11"/>
                      </a:cubicBezTo>
                      <a:cubicBezTo>
                        <a:pt x="6" y="11"/>
                        <a:pt x="5" y="10"/>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15"/>
                <p:cNvSpPr>
                  <a:spLocks/>
                </p:cNvSpPr>
                <p:nvPr/>
              </p:nvSpPr>
              <p:spPr bwMode="auto">
                <a:xfrm>
                  <a:off x="3609976" y="3917950"/>
                  <a:ext cx="7938" cy="15875"/>
                </a:xfrm>
                <a:custGeom>
                  <a:avLst/>
                  <a:gdLst>
                    <a:gd name="T0" fmla="*/ 8 w 9"/>
                    <a:gd name="T1" fmla="*/ 17 h 20"/>
                    <a:gd name="T2" fmla="*/ 6 w 9"/>
                    <a:gd name="T3" fmla="*/ 12 h 20"/>
                    <a:gd name="T4" fmla="*/ 5 w 9"/>
                    <a:gd name="T5" fmla="*/ 7 h 20"/>
                    <a:gd name="T6" fmla="*/ 0 w 9"/>
                    <a:gd name="T7" fmla="*/ 8 h 20"/>
                    <a:gd name="T8" fmla="*/ 1 w 9"/>
                    <a:gd name="T9" fmla="*/ 13 h 20"/>
                    <a:gd name="T10" fmla="*/ 2 w 9"/>
                    <a:gd name="T11" fmla="*/ 15 h 20"/>
                    <a:gd name="T12" fmla="*/ 4 w 9"/>
                    <a:gd name="T13" fmla="*/ 19 h 20"/>
                    <a:gd name="T14" fmla="*/ 6 w 9"/>
                    <a:gd name="T15" fmla="*/ 20 h 20"/>
                    <a:gd name="T16" fmla="*/ 6 w 9"/>
                    <a:gd name="T17" fmla="*/ 17 h 20"/>
                    <a:gd name="T18" fmla="*/ 8 w 9"/>
                    <a:gd name="T1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8" y="17"/>
                      </a:moveTo>
                      <a:cubicBezTo>
                        <a:pt x="8" y="16"/>
                        <a:pt x="7" y="14"/>
                        <a:pt x="6" y="12"/>
                      </a:cubicBezTo>
                      <a:cubicBezTo>
                        <a:pt x="6" y="11"/>
                        <a:pt x="5" y="9"/>
                        <a:pt x="5" y="7"/>
                      </a:cubicBezTo>
                      <a:cubicBezTo>
                        <a:pt x="2" y="0"/>
                        <a:pt x="1" y="7"/>
                        <a:pt x="0" y="8"/>
                      </a:cubicBezTo>
                      <a:cubicBezTo>
                        <a:pt x="0" y="9"/>
                        <a:pt x="2" y="12"/>
                        <a:pt x="1" y="13"/>
                      </a:cubicBezTo>
                      <a:cubicBezTo>
                        <a:pt x="1" y="13"/>
                        <a:pt x="1" y="15"/>
                        <a:pt x="2" y="15"/>
                      </a:cubicBezTo>
                      <a:cubicBezTo>
                        <a:pt x="3" y="17"/>
                        <a:pt x="3" y="17"/>
                        <a:pt x="4" y="19"/>
                      </a:cubicBezTo>
                      <a:cubicBezTo>
                        <a:pt x="5" y="19"/>
                        <a:pt x="5" y="20"/>
                        <a:pt x="6" y="20"/>
                      </a:cubicBezTo>
                      <a:cubicBezTo>
                        <a:pt x="6" y="19"/>
                        <a:pt x="6" y="18"/>
                        <a:pt x="6" y="17"/>
                      </a:cubicBezTo>
                      <a:cubicBezTo>
                        <a:pt x="5" y="15"/>
                        <a:pt x="9" y="19"/>
                        <a:pt x="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16"/>
                <p:cNvSpPr>
                  <a:spLocks/>
                </p:cNvSpPr>
                <p:nvPr/>
              </p:nvSpPr>
              <p:spPr bwMode="auto">
                <a:xfrm>
                  <a:off x="2987676" y="3987800"/>
                  <a:ext cx="25400" cy="26988"/>
                </a:xfrm>
                <a:custGeom>
                  <a:avLst/>
                  <a:gdLst>
                    <a:gd name="T0" fmla="*/ 20 w 34"/>
                    <a:gd name="T1" fmla="*/ 4 h 35"/>
                    <a:gd name="T2" fmla="*/ 13 w 34"/>
                    <a:gd name="T3" fmla="*/ 3 h 35"/>
                    <a:gd name="T4" fmla="*/ 3 w 34"/>
                    <a:gd name="T5" fmla="*/ 18 h 35"/>
                    <a:gd name="T6" fmla="*/ 0 w 34"/>
                    <a:gd name="T7" fmla="*/ 23 h 35"/>
                    <a:gd name="T8" fmla="*/ 5 w 34"/>
                    <a:gd name="T9" fmla="*/ 25 h 35"/>
                    <a:gd name="T10" fmla="*/ 11 w 34"/>
                    <a:gd name="T11" fmla="*/ 33 h 35"/>
                    <a:gd name="T12" fmla="*/ 23 w 34"/>
                    <a:gd name="T13" fmla="*/ 34 h 35"/>
                    <a:gd name="T14" fmla="*/ 33 w 34"/>
                    <a:gd name="T15" fmla="*/ 25 h 35"/>
                    <a:gd name="T16" fmla="*/ 26 w 34"/>
                    <a:gd name="T17" fmla="*/ 15 h 35"/>
                    <a:gd name="T18" fmla="*/ 21 w 34"/>
                    <a:gd name="T19" fmla="*/ 10 h 35"/>
                    <a:gd name="T20" fmla="*/ 20 w 34"/>
                    <a:gd name="T21"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20" y="4"/>
                      </a:moveTo>
                      <a:cubicBezTo>
                        <a:pt x="19" y="0"/>
                        <a:pt x="16" y="0"/>
                        <a:pt x="13" y="3"/>
                      </a:cubicBezTo>
                      <a:cubicBezTo>
                        <a:pt x="9" y="8"/>
                        <a:pt x="7" y="13"/>
                        <a:pt x="3" y="18"/>
                      </a:cubicBezTo>
                      <a:cubicBezTo>
                        <a:pt x="1" y="19"/>
                        <a:pt x="0" y="21"/>
                        <a:pt x="0" y="23"/>
                      </a:cubicBezTo>
                      <a:cubicBezTo>
                        <a:pt x="0" y="26"/>
                        <a:pt x="4" y="25"/>
                        <a:pt x="5" y="25"/>
                      </a:cubicBezTo>
                      <a:cubicBezTo>
                        <a:pt x="9" y="24"/>
                        <a:pt x="8" y="31"/>
                        <a:pt x="11" y="33"/>
                      </a:cubicBezTo>
                      <a:cubicBezTo>
                        <a:pt x="14" y="35"/>
                        <a:pt x="19" y="35"/>
                        <a:pt x="23" y="34"/>
                      </a:cubicBezTo>
                      <a:cubicBezTo>
                        <a:pt x="27" y="34"/>
                        <a:pt x="34" y="28"/>
                        <a:pt x="33" y="25"/>
                      </a:cubicBezTo>
                      <a:cubicBezTo>
                        <a:pt x="32" y="21"/>
                        <a:pt x="28" y="18"/>
                        <a:pt x="26" y="15"/>
                      </a:cubicBezTo>
                      <a:cubicBezTo>
                        <a:pt x="25" y="13"/>
                        <a:pt x="23" y="12"/>
                        <a:pt x="21" y="10"/>
                      </a:cubicBezTo>
                      <a:cubicBezTo>
                        <a:pt x="19" y="8"/>
                        <a:pt x="20" y="6"/>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17"/>
                <p:cNvSpPr>
                  <a:spLocks/>
                </p:cNvSpPr>
                <p:nvPr/>
              </p:nvSpPr>
              <p:spPr bwMode="auto">
                <a:xfrm>
                  <a:off x="3559176" y="3919538"/>
                  <a:ext cx="3175" cy="3175"/>
                </a:xfrm>
                <a:custGeom>
                  <a:avLst/>
                  <a:gdLst>
                    <a:gd name="T0" fmla="*/ 4 w 4"/>
                    <a:gd name="T1" fmla="*/ 4 h 4"/>
                    <a:gd name="T2" fmla="*/ 4 w 4"/>
                    <a:gd name="T3" fmla="*/ 2 h 4"/>
                    <a:gd name="T4" fmla="*/ 1 w 4"/>
                    <a:gd name="T5" fmla="*/ 1 h 4"/>
                    <a:gd name="T6" fmla="*/ 1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4"/>
                        <a:pt x="4" y="3"/>
                        <a:pt x="4" y="2"/>
                      </a:cubicBezTo>
                      <a:cubicBezTo>
                        <a:pt x="3" y="2"/>
                        <a:pt x="2" y="1"/>
                        <a:pt x="1" y="1"/>
                      </a:cubicBezTo>
                      <a:cubicBezTo>
                        <a:pt x="0" y="0"/>
                        <a:pt x="0" y="1"/>
                        <a:pt x="1" y="2"/>
                      </a:cubicBezTo>
                      <a:cubicBezTo>
                        <a:pt x="2" y="3"/>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18"/>
                <p:cNvSpPr>
                  <a:spLocks/>
                </p:cNvSpPr>
                <p:nvPr/>
              </p:nvSpPr>
              <p:spPr bwMode="auto">
                <a:xfrm>
                  <a:off x="3606801" y="3940175"/>
                  <a:ext cx="4763" cy="6350"/>
                </a:xfrm>
                <a:custGeom>
                  <a:avLst/>
                  <a:gdLst>
                    <a:gd name="T0" fmla="*/ 1 w 6"/>
                    <a:gd name="T1" fmla="*/ 1 h 8"/>
                    <a:gd name="T2" fmla="*/ 0 w 6"/>
                    <a:gd name="T3" fmla="*/ 4 h 8"/>
                    <a:gd name="T4" fmla="*/ 3 w 6"/>
                    <a:gd name="T5" fmla="*/ 6 h 8"/>
                    <a:gd name="T6" fmla="*/ 6 w 6"/>
                    <a:gd name="T7" fmla="*/ 8 h 8"/>
                    <a:gd name="T8" fmla="*/ 3 w 6"/>
                    <a:gd name="T9" fmla="*/ 3 h 8"/>
                    <a:gd name="T10" fmla="*/ 1 w 6"/>
                    <a:gd name="T11" fmla="*/ 1 h 8"/>
                  </a:gdLst>
                  <a:ahLst/>
                  <a:cxnLst>
                    <a:cxn ang="0">
                      <a:pos x="T0" y="T1"/>
                    </a:cxn>
                    <a:cxn ang="0">
                      <a:pos x="T2" y="T3"/>
                    </a:cxn>
                    <a:cxn ang="0">
                      <a:pos x="T4" y="T5"/>
                    </a:cxn>
                    <a:cxn ang="0">
                      <a:pos x="T6" y="T7"/>
                    </a:cxn>
                    <a:cxn ang="0">
                      <a:pos x="T8" y="T9"/>
                    </a:cxn>
                    <a:cxn ang="0">
                      <a:pos x="T10" y="T11"/>
                    </a:cxn>
                  </a:cxnLst>
                  <a:rect l="0" t="0" r="r" b="b"/>
                  <a:pathLst>
                    <a:path w="6" h="8">
                      <a:moveTo>
                        <a:pt x="1" y="1"/>
                      </a:moveTo>
                      <a:cubicBezTo>
                        <a:pt x="0" y="1"/>
                        <a:pt x="0" y="2"/>
                        <a:pt x="0" y="4"/>
                      </a:cubicBezTo>
                      <a:cubicBezTo>
                        <a:pt x="1" y="6"/>
                        <a:pt x="3" y="6"/>
                        <a:pt x="3" y="6"/>
                      </a:cubicBezTo>
                      <a:cubicBezTo>
                        <a:pt x="4" y="6"/>
                        <a:pt x="5" y="7"/>
                        <a:pt x="6" y="8"/>
                      </a:cubicBezTo>
                      <a:cubicBezTo>
                        <a:pt x="6" y="6"/>
                        <a:pt x="5" y="4"/>
                        <a:pt x="3" y="3"/>
                      </a:cubicBezTo>
                      <a:cubicBezTo>
                        <a:pt x="2"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19"/>
                <p:cNvSpPr>
                  <a:spLocks/>
                </p:cNvSpPr>
                <p:nvPr/>
              </p:nvSpPr>
              <p:spPr bwMode="auto">
                <a:xfrm>
                  <a:off x="3548063" y="3913188"/>
                  <a:ext cx="4763" cy="4763"/>
                </a:xfrm>
                <a:custGeom>
                  <a:avLst/>
                  <a:gdLst>
                    <a:gd name="T0" fmla="*/ 5 w 7"/>
                    <a:gd name="T1" fmla="*/ 4 h 5"/>
                    <a:gd name="T2" fmla="*/ 6 w 7"/>
                    <a:gd name="T3" fmla="*/ 2 h 5"/>
                    <a:gd name="T4" fmla="*/ 4 w 7"/>
                    <a:gd name="T5" fmla="*/ 2 h 5"/>
                    <a:gd name="T6" fmla="*/ 0 w 7"/>
                    <a:gd name="T7" fmla="*/ 2 h 5"/>
                    <a:gd name="T8" fmla="*/ 2 w 7"/>
                    <a:gd name="T9" fmla="*/ 4 h 5"/>
                    <a:gd name="T10" fmla="*/ 5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5" y="4"/>
                      </a:moveTo>
                      <a:cubicBezTo>
                        <a:pt x="6" y="4"/>
                        <a:pt x="7" y="3"/>
                        <a:pt x="6" y="2"/>
                      </a:cubicBezTo>
                      <a:cubicBezTo>
                        <a:pt x="4" y="0"/>
                        <a:pt x="4" y="2"/>
                        <a:pt x="4" y="2"/>
                      </a:cubicBezTo>
                      <a:cubicBezTo>
                        <a:pt x="3" y="2"/>
                        <a:pt x="0" y="1"/>
                        <a:pt x="0" y="2"/>
                      </a:cubicBezTo>
                      <a:cubicBezTo>
                        <a:pt x="0" y="2"/>
                        <a:pt x="2" y="4"/>
                        <a:pt x="2" y="4"/>
                      </a:cubicBezTo>
                      <a:cubicBezTo>
                        <a:pt x="4" y="5"/>
                        <a:pt x="4"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20"/>
                <p:cNvSpPr>
                  <a:spLocks/>
                </p:cNvSpPr>
                <p:nvPr/>
              </p:nvSpPr>
              <p:spPr bwMode="auto">
                <a:xfrm>
                  <a:off x="3590926" y="3913188"/>
                  <a:ext cx="1588" cy="3175"/>
                </a:xfrm>
                <a:custGeom>
                  <a:avLst/>
                  <a:gdLst>
                    <a:gd name="T0" fmla="*/ 3 w 4"/>
                    <a:gd name="T1" fmla="*/ 4 h 5"/>
                    <a:gd name="T2" fmla="*/ 1 w 4"/>
                    <a:gd name="T3" fmla="*/ 1 h 5"/>
                    <a:gd name="T4" fmla="*/ 1 w 4"/>
                    <a:gd name="T5" fmla="*/ 2 h 5"/>
                    <a:gd name="T6" fmla="*/ 3 w 4"/>
                    <a:gd name="T7" fmla="*/ 4 h 5"/>
                  </a:gdLst>
                  <a:ahLst/>
                  <a:cxnLst>
                    <a:cxn ang="0">
                      <a:pos x="T0" y="T1"/>
                    </a:cxn>
                    <a:cxn ang="0">
                      <a:pos x="T2" y="T3"/>
                    </a:cxn>
                    <a:cxn ang="0">
                      <a:pos x="T4" y="T5"/>
                    </a:cxn>
                    <a:cxn ang="0">
                      <a:pos x="T6" y="T7"/>
                    </a:cxn>
                  </a:cxnLst>
                  <a:rect l="0" t="0" r="r" b="b"/>
                  <a:pathLst>
                    <a:path w="4" h="5">
                      <a:moveTo>
                        <a:pt x="3" y="4"/>
                      </a:moveTo>
                      <a:cubicBezTo>
                        <a:pt x="3" y="2"/>
                        <a:pt x="2" y="1"/>
                        <a:pt x="1" y="1"/>
                      </a:cubicBezTo>
                      <a:cubicBezTo>
                        <a:pt x="0" y="0"/>
                        <a:pt x="0" y="1"/>
                        <a:pt x="1" y="2"/>
                      </a:cubicBezTo>
                      <a:cubicBezTo>
                        <a:pt x="2" y="3"/>
                        <a:pt x="4"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21"/>
                <p:cNvSpPr>
                  <a:spLocks/>
                </p:cNvSpPr>
                <p:nvPr/>
              </p:nvSpPr>
              <p:spPr bwMode="auto">
                <a:xfrm>
                  <a:off x="3546476" y="3933825"/>
                  <a:ext cx="4763" cy="3175"/>
                </a:xfrm>
                <a:custGeom>
                  <a:avLst/>
                  <a:gdLst>
                    <a:gd name="T0" fmla="*/ 2 w 7"/>
                    <a:gd name="T1" fmla="*/ 3 h 5"/>
                    <a:gd name="T2" fmla="*/ 3 w 7"/>
                    <a:gd name="T3" fmla="*/ 3 h 5"/>
                    <a:gd name="T4" fmla="*/ 4 w 7"/>
                    <a:gd name="T5" fmla="*/ 3 h 5"/>
                    <a:gd name="T6" fmla="*/ 6 w 7"/>
                    <a:gd name="T7" fmla="*/ 2 h 5"/>
                    <a:gd name="T8" fmla="*/ 2 w 7"/>
                    <a:gd name="T9" fmla="*/ 0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2" y="3"/>
                        <a:pt x="2" y="3"/>
                        <a:pt x="3" y="3"/>
                      </a:cubicBezTo>
                      <a:cubicBezTo>
                        <a:pt x="3" y="2"/>
                        <a:pt x="4" y="3"/>
                        <a:pt x="4" y="3"/>
                      </a:cubicBezTo>
                      <a:cubicBezTo>
                        <a:pt x="5" y="3"/>
                        <a:pt x="7" y="5"/>
                        <a:pt x="6" y="2"/>
                      </a:cubicBezTo>
                      <a:cubicBezTo>
                        <a:pt x="5" y="1"/>
                        <a:pt x="3" y="1"/>
                        <a:pt x="2" y="0"/>
                      </a:cubicBezTo>
                      <a:cubicBezTo>
                        <a:pt x="1"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22"/>
                <p:cNvSpPr>
                  <a:spLocks/>
                </p:cNvSpPr>
                <p:nvPr/>
              </p:nvSpPr>
              <p:spPr bwMode="auto">
                <a:xfrm>
                  <a:off x="3575051" y="3914775"/>
                  <a:ext cx="15875" cy="19050"/>
                </a:xfrm>
                <a:custGeom>
                  <a:avLst/>
                  <a:gdLst>
                    <a:gd name="T0" fmla="*/ 12 w 22"/>
                    <a:gd name="T1" fmla="*/ 6 h 25"/>
                    <a:gd name="T2" fmla="*/ 8 w 22"/>
                    <a:gd name="T3" fmla="*/ 3 h 25"/>
                    <a:gd name="T4" fmla="*/ 4 w 22"/>
                    <a:gd name="T5" fmla="*/ 1 h 25"/>
                    <a:gd name="T6" fmla="*/ 1 w 22"/>
                    <a:gd name="T7" fmla="*/ 2 h 25"/>
                    <a:gd name="T8" fmla="*/ 3 w 22"/>
                    <a:gd name="T9" fmla="*/ 9 h 25"/>
                    <a:gd name="T10" fmla="*/ 6 w 22"/>
                    <a:gd name="T11" fmla="*/ 11 h 25"/>
                    <a:gd name="T12" fmla="*/ 6 w 22"/>
                    <a:gd name="T13" fmla="*/ 8 h 25"/>
                    <a:gd name="T14" fmla="*/ 7 w 22"/>
                    <a:gd name="T15" fmla="*/ 8 h 25"/>
                    <a:gd name="T16" fmla="*/ 8 w 22"/>
                    <a:gd name="T17" fmla="*/ 11 h 25"/>
                    <a:gd name="T18" fmla="*/ 10 w 22"/>
                    <a:gd name="T19" fmla="*/ 14 h 25"/>
                    <a:gd name="T20" fmla="*/ 12 w 22"/>
                    <a:gd name="T21" fmla="*/ 19 h 25"/>
                    <a:gd name="T22" fmla="*/ 15 w 22"/>
                    <a:gd name="T23" fmla="*/ 23 h 25"/>
                    <a:gd name="T24" fmla="*/ 17 w 22"/>
                    <a:gd name="T25" fmla="*/ 24 h 25"/>
                    <a:gd name="T26" fmla="*/ 17 w 22"/>
                    <a:gd name="T27" fmla="*/ 23 h 25"/>
                    <a:gd name="T28" fmla="*/ 17 w 22"/>
                    <a:gd name="T29" fmla="*/ 23 h 25"/>
                    <a:gd name="T30" fmla="*/ 16 w 22"/>
                    <a:gd name="T31" fmla="*/ 19 h 25"/>
                    <a:gd name="T32" fmla="*/ 17 w 22"/>
                    <a:gd name="T33" fmla="*/ 18 h 25"/>
                    <a:gd name="T34" fmla="*/ 19 w 22"/>
                    <a:gd name="T35" fmla="*/ 18 h 25"/>
                    <a:gd name="T36" fmla="*/ 19 w 22"/>
                    <a:gd name="T37" fmla="*/ 16 h 25"/>
                    <a:gd name="T38" fmla="*/ 20 w 22"/>
                    <a:gd name="T39" fmla="*/ 13 h 25"/>
                    <a:gd name="T40" fmla="*/ 18 w 22"/>
                    <a:gd name="T41" fmla="*/ 9 h 25"/>
                    <a:gd name="T42" fmla="*/ 17 w 22"/>
                    <a:gd name="T43" fmla="*/ 6 h 25"/>
                    <a:gd name="T44" fmla="*/ 14 w 22"/>
                    <a:gd name="T45" fmla="*/ 4 h 25"/>
                    <a:gd name="T46" fmla="*/ 14 w 22"/>
                    <a:gd name="T47" fmla="*/ 6 h 25"/>
                    <a:gd name="T48" fmla="*/ 12 w 22"/>
                    <a:gd name="T4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25">
                      <a:moveTo>
                        <a:pt x="12" y="6"/>
                      </a:moveTo>
                      <a:cubicBezTo>
                        <a:pt x="10" y="5"/>
                        <a:pt x="9" y="4"/>
                        <a:pt x="8" y="3"/>
                      </a:cubicBezTo>
                      <a:cubicBezTo>
                        <a:pt x="7" y="2"/>
                        <a:pt x="5" y="1"/>
                        <a:pt x="4" y="1"/>
                      </a:cubicBezTo>
                      <a:cubicBezTo>
                        <a:pt x="2" y="0"/>
                        <a:pt x="2" y="1"/>
                        <a:pt x="1" y="2"/>
                      </a:cubicBezTo>
                      <a:cubicBezTo>
                        <a:pt x="0" y="4"/>
                        <a:pt x="0" y="6"/>
                        <a:pt x="3" y="9"/>
                      </a:cubicBezTo>
                      <a:cubicBezTo>
                        <a:pt x="4" y="11"/>
                        <a:pt x="6" y="12"/>
                        <a:pt x="6" y="11"/>
                      </a:cubicBezTo>
                      <a:cubicBezTo>
                        <a:pt x="7" y="10"/>
                        <a:pt x="6" y="9"/>
                        <a:pt x="6" y="8"/>
                      </a:cubicBezTo>
                      <a:cubicBezTo>
                        <a:pt x="6" y="6"/>
                        <a:pt x="7" y="7"/>
                        <a:pt x="7" y="8"/>
                      </a:cubicBezTo>
                      <a:cubicBezTo>
                        <a:pt x="8" y="9"/>
                        <a:pt x="8" y="10"/>
                        <a:pt x="8" y="11"/>
                      </a:cubicBezTo>
                      <a:cubicBezTo>
                        <a:pt x="9" y="12"/>
                        <a:pt x="10" y="13"/>
                        <a:pt x="10" y="14"/>
                      </a:cubicBezTo>
                      <a:cubicBezTo>
                        <a:pt x="10" y="16"/>
                        <a:pt x="10" y="17"/>
                        <a:pt x="12" y="19"/>
                      </a:cubicBezTo>
                      <a:cubicBezTo>
                        <a:pt x="13" y="20"/>
                        <a:pt x="14" y="21"/>
                        <a:pt x="15" y="23"/>
                      </a:cubicBezTo>
                      <a:cubicBezTo>
                        <a:pt x="16" y="24"/>
                        <a:pt x="17" y="25"/>
                        <a:pt x="17" y="24"/>
                      </a:cubicBezTo>
                      <a:cubicBezTo>
                        <a:pt x="17" y="24"/>
                        <a:pt x="17" y="23"/>
                        <a:pt x="17" y="23"/>
                      </a:cubicBezTo>
                      <a:cubicBezTo>
                        <a:pt x="17" y="23"/>
                        <a:pt x="17" y="23"/>
                        <a:pt x="17" y="23"/>
                      </a:cubicBezTo>
                      <a:cubicBezTo>
                        <a:pt x="18" y="22"/>
                        <a:pt x="17" y="20"/>
                        <a:pt x="16" y="19"/>
                      </a:cubicBezTo>
                      <a:cubicBezTo>
                        <a:pt x="15" y="17"/>
                        <a:pt x="16" y="17"/>
                        <a:pt x="17" y="18"/>
                      </a:cubicBezTo>
                      <a:cubicBezTo>
                        <a:pt x="19" y="19"/>
                        <a:pt x="20" y="21"/>
                        <a:pt x="19" y="18"/>
                      </a:cubicBezTo>
                      <a:cubicBezTo>
                        <a:pt x="18" y="16"/>
                        <a:pt x="18" y="15"/>
                        <a:pt x="19" y="16"/>
                      </a:cubicBezTo>
                      <a:cubicBezTo>
                        <a:pt x="20" y="16"/>
                        <a:pt x="22" y="15"/>
                        <a:pt x="20" y="13"/>
                      </a:cubicBezTo>
                      <a:cubicBezTo>
                        <a:pt x="20" y="11"/>
                        <a:pt x="18" y="11"/>
                        <a:pt x="18" y="9"/>
                      </a:cubicBezTo>
                      <a:cubicBezTo>
                        <a:pt x="17" y="8"/>
                        <a:pt x="17" y="7"/>
                        <a:pt x="17" y="6"/>
                      </a:cubicBezTo>
                      <a:cubicBezTo>
                        <a:pt x="16" y="5"/>
                        <a:pt x="14" y="3"/>
                        <a:pt x="14" y="4"/>
                      </a:cubicBezTo>
                      <a:cubicBezTo>
                        <a:pt x="13" y="4"/>
                        <a:pt x="14" y="5"/>
                        <a:pt x="14" y="6"/>
                      </a:cubicBezTo>
                      <a:cubicBezTo>
                        <a:pt x="14" y="7"/>
                        <a:pt x="12"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23"/>
                <p:cNvSpPr>
                  <a:spLocks/>
                </p:cNvSpPr>
                <p:nvPr/>
              </p:nvSpPr>
              <p:spPr bwMode="auto">
                <a:xfrm>
                  <a:off x="3586163" y="3914775"/>
                  <a:ext cx="1588" cy="3175"/>
                </a:xfrm>
                <a:custGeom>
                  <a:avLst/>
                  <a:gdLst>
                    <a:gd name="T0" fmla="*/ 2 w 2"/>
                    <a:gd name="T1" fmla="*/ 4 h 4"/>
                    <a:gd name="T2" fmla="*/ 2 w 2"/>
                    <a:gd name="T3" fmla="*/ 2 h 4"/>
                    <a:gd name="T4" fmla="*/ 0 w 2"/>
                    <a:gd name="T5" fmla="*/ 1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4"/>
                        <a:pt x="2" y="2"/>
                        <a:pt x="2" y="2"/>
                      </a:cubicBezTo>
                      <a:cubicBezTo>
                        <a:pt x="1" y="1"/>
                        <a:pt x="1" y="1"/>
                        <a:pt x="0" y="1"/>
                      </a:cubicBezTo>
                      <a:cubicBezTo>
                        <a:pt x="0" y="0"/>
                        <a:pt x="0" y="2"/>
                        <a:pt x="1" y="3"/>
                      </a:cubicBezTo>
                      <a:cubicBezTo>
                        <a:pt x="1" y="3"/>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24"/>
                <p:cNvSpPr>
                  <a:spLocks/>
                </p:cNvSpPr>
                <p:nvPr/>
              </p:nvSpPr>
              <p:spPr bwMode="auto">
                <a:xfrm>
                  <a:off x="3621088" y="3998913"/>
                  <a:ext cx="20638" cy="76200"/>
                </a:xfrm>
                <a:custGeom>
                  <a:avLst/>
                  <a:gdLst>
                    <a:gd name="T0" fmla="*/ 2 w 27"/>
                    <a:gd name="T1" fmla="*/ 30 h 100"/>
                    <a:gd name="T2" fmla="*/ 3 w 27"/>
                    <a:gd name="T3" fmla="*/ 36 h 100"/>
                    <a:gd name="T4" fmla="*/ 2 w 27"/>
                    <a:gd name="T5" fmla="*/ 44 h 100"/>
                    <a:gd name="T6" fmla="*/ 3 w 27"/>
                    <a:gd name="T7" fmla="*/ 53 h 100"/>
                    <a:gd name="T8" fmla="*/ 2 w 27"/>
                    <a:gd name="T9" fmla="*/ 60 h 100"/>
                    <a:gd name="T10" fmla="*/ 1 w 27"/>
                    <a:gd name="T11" fmla="*/ 63 h 100"/>
                    <a:gd name="T12" fmla="*/ 2 w 27"/>
                    <a:gd name="T13" fmla="*/ 68 h 100"/>
                    <a:gd name="T14" fmla="*/ 1 w 27"/>
                    <a:gd name="T15" fmla="*/ 79 h 100"/>
                    <a:gd name="T16" fmla="*/ 9 w 27"/>
                    <a:gd name="T17" fmla="*/ 90 h 100"/>
                    <a:gd name="T18" fmla="*/ 11 w 27"/>
                    <a:gd name="T19" fmla="*/ 96 h 100"/>
                    <a:gd name="T20" fmla="*/ 14 w 27"/>
                    <a:gd name="T21" fmla="*/ 98 h 100"/>
                    <a:gd name="T22" fmla="*/ 18 w 27"/>
                    <a:gd name="T23" fmla="*/ 99 h 100"/>
                    <a:gd name="T24" fmla="*/ 14 w 27"/>
                    <a:gd name="T25" fmla="*/ 91 h 100"/>
                    <a:gd name="T26" fmla="*/ 9 w 27"/>
                    <a:gd name="T27" fmla="*/ 76 h 100"/>
                    <a:gd name="T28" fmla="*/ 9 w 27"/>
                    <a:gd name="T29" fmla="*/ 59 h 100"/>
                    <a:gd name="T30" fmla="*/ 10 w 27"/>
                    <a:gd name="T31" fmla="*/ 56 h 100"/>
                    <a:gd name="T32" fmla="*/ 9 w 27"/>
                    <a:gd name="T33" fmla="*/ 51 h 100"/>
                    <a:gd name="T34" fmla="*/ 9 w 27"/>
                    <a:gd name="T35" fmla="*/ 49 h 100"/>
                    <a:gd name="T36" fmla="*/ 8 w 27"/>
                    <a:gd name="T37" fmla="*/ 43 h 100"/>
                    <a:gd name="T38" fmla="*/ 11 w 27"/>
                    <a:gd name="T39" fmla="*/ 42 h 100"/>
                    <a:gd name="T40" fmla="*/ 11 w 27"/>
                    <a:gd name="T41" fmla="*/ 38 h 100"/>
                    <a:gd name="T42" fmla="*/ 13 w 27"/>
                    <a:gd name="T43" fmla="*/ 36 h 100"/>
                    <a:gd name="T44" fmla="*/ 15 w 27"/>
                    <a:gd name="T45" fmla="*/ 31 h 100"/>
                    <a:gd name="T46" fmla="*/ 17 w 27"/>
                    <a:gd name="T47" fmla="*/ 25 h 100"/>
                    <a:gd name="T48" fmla="*/ 21 w 27"/>
                    <a:gd name="T49" fmla="*/ 19 h 100"/>
                    <a:gd name="T50" fmla="*/ 25 w 27"/>
                    <a:gd name="T51" fmla="*/ 18 h 100"/>
                    <a:gd name="T52" fmla="*/ 26 w 27"/>
                    <a:gd name="T53" fmla="*/ 6 h 100"/>
                    <a:gd name="T54" fmla="*/ 20 w 27"/>
                    <a:gd name="T55" fmla="*/ 2 h 100"/>
                    <a:gd name="T56" fmla="*/ 18 w 27"/>
                    <a:gd name="T57" fmla="*/ 9 h 100"/>
                    <a:gd name="T58" fmla="*/ 14 w 27"/>
                    <a:gd name="T59" fmla="*/ 10 h 100"/>
                    <a:gd name="T60" fmla="*/ 11 w 27"/>
                    <a:gd name="T61" fmla="*/ 9 h 100"/>
                    <a:gd name="T62" fmla="*/ 8 w 27"/>
                    <a:gd name="T63" fmla="*/ 11 h 100"/>
                    <a:gd name="T64" fmla="*/ 6 w 27"/>
                    <a:gd name="T65" fmla="*/ 14 h 100"/>
                    <a:gd name="T66" fmla="*/ 5 w 27"/>
                    <a:gd name="T67" fmla="*/ 23 h 100"/>
                    <a:gd name="T68" fmla="*/ 2 w 27"/>
                    <a:gd name="T6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100">
                      <a:moveTo>
                        <a:pt x="1" y="24"/>
                      </a:moveTo>
                      <a:cubicBezTo>
                        <a:pt x="0" y="24"/>
                        <a:pt x="1" y="29"/>
                        <a:pt x="2" y="30"/>
                      </a:cubicBezTo>
                      <a:cubicBezTo>
                        <a:pt x="2" y="31"/>
                        <a:pt x="3" y="31"/>
                        <a:pt x="3" y="32"/>
                      </a:cubicBezTo>
                      <a:cubicBezTo>
                        <a:pt x="3" y="33"/>
                        <a:pt x="3" y="35"/>
                        <a:pt x="3" y="36"/>
                      </a:cubicBezTo>
                      <a:cubicBezTo>
                        <a:pt x="3" y="37"/>
                        <a:pt x="3" y="38"/>
                        <a:pt x="2" y="39"/>
                      </a:cubicBezTo>
                      <a:cubicBezTo>
                        <a:pt x="2" y="41"/>
                        <a:pt x="2" y="42"/>
                        <a:pt x="2" y="44"/>
                      </a:cubicBezTo>
                      <a:cubicBezTo>
                        <a:pt x="2" y="45"/>
                        <a:pt x="0" y="48"/>
                        <a:pt x="2" y="49"/>
                      </a:cubicBezTo>
                      <a:cubicBezTo>
                        <a:pt x="3" y="50"/>
                        <a:pt x="3" y="52"/>
                        <a:pt x="3" y="53"/>
                      </a:cubicBezTo>
                      <a:cubicBezTo>
                        <a:pt x="3" y="54"/>
                        <a:pt x="3" y="55"/>
                        <a:pt x="2" y="55"/>
                      </a:cubicBezTo>
                      <a:cubicBezTo>
                        <a:pt x="1" y="55"/>
                        <a:pt x="1" y="57"/>
                        <a:pt x="2" y="60"/>
                      </a:cubicBezTo>
                      <a:cubicBezTo>
                        <a:pt x="2" y="61"/>
                        <a:pt x="1" y="61"/>
                        <a:pt x="1" y="60"/>
                      </a:cubicBezTo>
                      <a:cubicBezTo>
                        <a:pt x="0" y="60"/>
                        <a:pt x="1" y="62"/>
                        <a:pt x="1" y="63"/>
                      </a:cubicBezTo>
                      <a:cubicBezTo>
                        <a:pt x="1" y="65"/>
                        <a:pt x="1" y="64"/>
                        <a:pt x="2" y="65"/>
                      </a:cubicBezTo>
                      <a:cubicBezTo>
                        <a:pt x="2" y="66"/>
                        <a:pt x="2" y="67"/>
                        <a:pt x="2" y="68"/>
                      </a:cubicBezTo>
                      <a:cubicBezTo>
                        <a:pt x="2" y="70"/>
                        <a:pt x="3" y="73"/>
                        <a:pt x="1" y="73"/>
                      </a:cubicBezTo>
                      <a:cubicBezTo>
                        <a:pt x="0" y="72"/>
                        <a:pt x="1" y="77"/>
                        <a:pt x="1" y="79"/>
                      </a:cubicBezTo>
                      <a:cubicBezTo>
                        <a:pt x="3" y="83"/>
                        <a:pt x="4" y="82"/>
                        <a:pt x="6" y="83"/>
                      </a:cubicBezTo>
                      <a:cubicBezTo>
                        <a:pt x="6" y="83"/>
                        <a:pt x="9" y="89"/>
                        <a:pt x="9" y="90"/>
                      </a:cubicBezTo>
                      <a:cubicBezTo>
                        <a:pt x="9" y="91"/>
                        <a:pt x="8" y="92"/>
                        <a:pt x="9" y="94"/>
                      </a:cubicBezTo>
                      <a:cubicBezTo>
                        <a:pt x="9" y="95"/>
                        <a:pt x="10" y="95"/>
                        <a:pt x="11" y="96"/>
                      </a:cubicBezTo>
                      <a:cubicBezTo>
                        <a:pt x="12" y="96"/>
                        <a:pt x="12" y="96"/>
                        <a:pt x="13" y="98"/>
                      </a:cubicBezTo>
                      <a:cubicBezTo>
                        <a:pt x="13" y="99"/>
                        <a:pt x="14" y="98"/>
                        <a:pt x="14" y="98"/>
                      </a:cubicBezTo>
                      <a:cubicBezTo>
                        <a:pt x="14" y="97"/>
                        <a:pt x="15" y="96"/>
                        <a:pt x="16" y="97"/>
                      </a:cubicBezTo>
                      <a:cubicBezTo>
                        <a:pt x="16" y="98"/>
                        <a:pt x="17" y="100"/>
                        <a:pt x="18" y="99"/>
                      </a:cubicBezTo>
                      <a:cubicBezTo>
                        <a:pt x="18" y="98"/>
                        <a:pt x="16" y="95"/>
                        <a:pt x="16" y="94"/>
                      </a:cubicBezTo>
                      <a:cubicBezTo>
                        <a:pt x="15" y="93"/>
                        <a:pt x="15" y="93"/>
                        <a:pt x="14" y="91"/>
                      </a:cubicBezTo>
                      <a:cubicBezTo>
                        <a:pt x="14" y="89"/>
                        <a:pt x="13" y="88"/>
                        <a:pt x="12" y="87"/>
                      </a:cubicBezTo>
                      <a:cubicBezTo>
                        <a:pt x="11" y="84"/>
                        <a:pt x="10" y="79"/>
                        <a:pt x="9" y="76"/>
                      </a:cubicBezTo>
                      <a:cubicBezTo>
                        <a:pt x="9" y="72"/>
                        <a:pt x="8" y="69"/>
                        <a:pt x="9" y="66"/>
                      </a:cubicBezTo>
                      <a:cubicBezTo>
                        <a:pt x="9" y="64"/>
                        <a:pt x="8" y="59"/>
                        <a:pt x="9" y="59"/>
                      </a:cubicBezTo>
                      <a:cubicBezTo>
                        <a:pt x="10" y="59"/>
                        <a:pt x="9" y="58"/>
                        <a:pt x="9" y="56"/>
                      </a:cubicBezTo>
                      <a:cubicBezTo>
                        <a:pt x="9" y="56"/>
                        <a:pt x="10" y="56"/>
                        <a:pt x="10" y="56"/>
                      </a:cubicBezTo>
                      <a:cubicBezTo>
                        <a:pt x="10" y="55"/>
                        <a:pt x="9" y="54"/>
                        <a:pt x="9" y="53"/>
                      </a:cubicBezTo>
                      <a:cubicBezTo>
                        <a:pt x="8" y="53"/>
                        <a:pt x="8" y="51"/>
                        <a:pt x="9" y="51"/>
                      </a:cubicBezTo>
                      <a:cubicBezTo>
                        <a:pt x="9" y="52"/>
                        <a:pt x="10" y="53"/>
                        <a:pt x="10" y="52"/>
                      </a:cubicBezTo>
                      <a:cubicBezTo>
                        <a:pt x="10" y="52"/>
                        <a:pt x="9" y="49"/>
                        <a:pt x="9" y="49"/>
                      </a:cubicBezTo>
                      <a:cubicBezTo>
                        <a:pt x="11" y="49"/>
                        <a:pt x="9" y="46"/>
                        <a:pt x="8" y="45"/>
                      </a:cubicBezTo>
                      <a:cubicBezTo>
                        <a:pt x="7" y="44"/>
                        <a:pt x="7" y="42"/>
                        <a:pt x="8" y="43"/>
                      </a:cubicBezTo>
                      <a:cubicBezTo>
                        <a:pt x="9" y="43"/>
                        <a:pt x="10" y="45"/>
                        <a:pt x="11" y="46"/>
                      </a:cubicBezTo>
                      <a:cubicBezTo>
                        <a:pt x="11" y="46"/>
                        <a:pt x="11" y="43"/>
                        <a:pt x="11" y="42"/>
                      </a:cubicBezTo>
                      <a:cubicBezTo>
                        <a:pt x="10" y="41"/>
                        <a:pt x="11" y="41"/>
                        <a:pt x="11" y="41"/>
                      </a:cubicBezTo>
                      <a:cubicBezTo>
                        <a:pt x="12" y="40"/>
                        <a:pt x="11" y="39"/>
                        <a:pt x="11" y="38"/>
                      </a:cubicBezTo>
                      <a:cubicBezTo>
                        <a:pt x="11" y="37"/>
                        <a:pt x="11" y="37"/>
                        <a:pt x="12" y="37"/>
                      </a:cubicBezTo>
                      <a:cubicBezTo>
                        <a:pt x="13" y="38"/>
                        <a:pt x="13" y="38"/>
                        <a:pt x="13" y="36"/>
                      </a:cubicBezTo>
                      <a:cubicBezTo>
                        <a:pt x="13" y="35"/>
                        <a:pt x="13" y="33"/>
                        <a:pt x="13" y="33"/>
                      </a:cubicBezTo>
                      <a:cubicBezTo>
                        <a:pt x="14" y="32"/>
                        <a:pt x="15" y="32"/>
                        <a:pt x="15" y="31"/>
                      </a:cubicBezTo>
                      <a:cubicBezTo>
                        <a:pt x="15" y="30"/>
                        <a:pt x="15" y="28"/>
                        <a:pt x="15" y="27"/>
                      </a:cubicBezTo>
                      <a:cubicBezTo>
                        <a:pt x="16" y="27"/>
                        <a:pt x="17" y="26"/>
                        <a:pt x="17" y="25"/>
                      </a:cubicBezTo>
                      <a:cubicBezTo>
                        <a:pt x="18" y="24"/>
                        <a:pt x="18" y="21"/>
                        <a:pt x="19" y="22"/>
                      </a:cubicBezTo>
                      <a:cubicBezTo>
                        <a:pt x="20" y="22"/>
                        <a:pt x="21" y="20"/>
                        <a:pt x="21" y="19"/>
                      </a:cubicBezTo>
                      <a:cubicBezTo>
                        <a:pt x="22" y="18"/>
                        <a:pt x="22" y="18"/>
                        <a:pt x="23" y="18"/>
                      </a:cubicBezTo>
                      <a:cubicBezTo>
                        <a:pt x="23" y="18"/>
                        <a:pt x="24" y="19"/>
                        <a:pt x="25" y="18"/>
                      </a:cubicBezTo>
                      <a:cubicBezTo>
                        <a:pt x="26" y="17"/>
                        <a:pt x="26" y="16"/>
                        <a:pt x="27" y="13"/>
                      </a:cubicBezTo>
                      <a:cubicBezTo>
                        <a:pt x="27" y="11"/>
                        <a:pt x="27" y="9"/>
                        <a:pt x="26" y="6"/>
                      </a:cubicBezTo>
                      <a:cubicBezTo>
                        <a:pt x="26" y="4"/>
                        <a:pt x="25" y="2"/>
                        <a:pt x="23" y="1"/>
                      </a:cubicBezTo>
                      <a:cubicBezTo>
                        <a:pt x="22" y="0"/>
                        <a:pt x="21" y="2"/>
                        <a:pt x="20" y="2"/>
                      </a:cubicBezTo>
                      <a:cubicBezTo>
                        <a:pt x="19" y="3"/>
                        <a:pt x="19" y="4"/>
                        <a:pt x="19" y="6"/>
                      </a:cubicBezTo>
                      <a:cubicBezTo>
                        <a:pt x="20" y="8"/>
                        <a:pt x="19" y="8"/>
                        <a:pt x="18" y="9"/>
                      </a:cubicBezTo>
                      <a:cubicBezTo>
                        <a:pt x="18" y="9"/>
                        <a:pt x="17" y="10"/>
                        <a:pt x="17" y="10"/>
                      </a:cubicBezTo>
                      <a:cubicBezTo>
                        <a:pt x="16" y="11"/>
                        <a:pt x="15" y="10"/>
                        <a:pt x="14" y="10"/>
                      </a:cubicBezTo>
                      <a:cubicBezTo>
                        <a:pt x="14" y="10"/>
                        <a:pt x="14" y="11"/>
                        <a:pt x="13" y="11"/>
                      </a:cubicBezTo>
                      <a:cubicBezTo>
                        <a:pt x="12" y="10"/>
                        <a:pt x="12" y="9"/>
                        <a:pt x="11" y="9"/>
                      </a:cubicBezTo>
                      <a:cubicBezTo>
                        <a:pt x="9" y="8"/>
                        <a:pt x="10" y="10"/>
                        <a:pt x="10" y="12"/>
                      </a:cubicBezTo>
                      <a:cubicBezTo>
                        <a:pt x="10" y="15"/>
                        <a:pt x="9" y="11"/>
                        <a:pt x="8" y="11"/>
                      </a:cubicBezTo>
                      <a:cubicBezTo>
                        <a:pt x="8" y="11"/>
                        <a:pt x="8" y="13"/>
                        <a:pt x="8" y="13"/>
                      </a:cubicBezTo>
                      <a:cubicBezTo>
                        <a:pt x="8" y="14"/>
                        <a:pt x="7" y="13"/>
                        <a:pt x="6" y="14"/>
                      </a:cubicBezTo>
                      <a:cubicBezTo>
                        <a:pt x="5" y="15"/>
                        <a:pt x="7" y="19"/>
                        <a:pt x="5" y="18"/>
                      </a:cubicBezTo>
                      <a:cubicBezTo>
                        <a:pt x="3" y="17"/>
                        <a:pt x="6" y="22"/>
                        <a:pt x="5" y="23"/>
                      </a:cubicBezTo>
                      <a:cubicBezTo>
                        <a:pt x="4" y="24"/>
                        <a:pt x="4" y="23"/>
                        <a:pt x="3" y="22"/>
                      </a:cubicBezTo>
                      <a:cubicBezTo>
                        <a:pt x="2" y="22"/>
                        <a:pt x="2" y="24"/>
                        <a:pt x="2" y="24"/>
                      </a:cubicBezTo>
                      <a:cubicBezTo>
                        <a:pt x="2" y="25"/>
                        <a:pt x="1" y="24"/>
                        <a:pt x="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25"/>
                <p:cNvSpPr>
                  <a:spLocks/>
                </p:cNvSpPr>
                <p:nvPr/>
              </p:nvSpPr>
              <p:spPr bwMode="auto">
                <a:xfrm>
                  <a:off x="3667126" y="4056063"/>
                  <a:ext cx="3175" cy="6350"/>
                </a:xfrm>
                <a:custGeom>
                  <a:avLst/>
                  <a:gdLst>
                    <a:gd name="T0" fmla="*/ 3 w 5"/>
                    <a:gd name="T1" fmla="*/ 7 h 8"/>
                    <a:gd name="T2" fmla="*/ 2 w 5"/>
                    <a:gd name="T3" fmla="*/ 1 h 8"/>
                    <a:gd name="T4" fmla="*/ 3 w 5"/>
                    <a:gd name="T5" fmla="*/ 7 h 8"/>
                  </a:gdLst>
                  <a:ahLst/>
                  <a:cxnLst>
                    <a:cxn ang="0">
                      <a:pos x="T0" y="T1"/>
                    </a:cxn>
                    <a:cxn ang="0">
                      <a:pos x="T2" y="T3"/>
                    </a:cxn>
                    <a:cxn ang="0">
                      <a:pos x="T4" y="T5"/>
                    </a:cxn>
                  </a:cxnLst>
                  <a:rect l="0" t="0" r="r" b="b"/>
                  <a:pathLst>
                    <a:path w="5" h="8">
                      <a:moveTo>
                        <a:pt x="3" y="7"/>
                      </a:moveTo>
                      <a:cubicBezTo>
                        <a:pt x="4" y="8"/>
                        <a:pt x="5" y="0"/>
                        <a:pt x="2" y="1"/>
                      </a:cubicBezTo>
                      <a:cubicBezTo>
                        <a:pt x="0" y="1"/>
                        <a:pt x="1"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26"/>
                <p:cNvSpPr>
                  <a:spLocks/>
                </p:cNvSpPr>
                <p:nvPr/>
              </p:nvSpPr>
              <p:spPr bwMode="auto">
                <a:xfrm>
                  <a:off x="3644901" y="3941763"/>
                  <a:ext cx="3175" cy="6350"/>
                </a:xfrm>
                <a:custGeom>
                  <a:avLst/>
                  <a:gdLst>
                    <a:gd name="T0" fmla="*/ 3 w 4"/>
                    <a:gd name="T1" fmla="*/ 5 h 8"/>
                    <a:gd name="T2" fmla="*/ 1 w 4"/>
                    <a:gd name="T3" fmla="*/ 2 h 8"/>
                    <a:gd name="T4" fmla="*/ 0 w 4"/>
                    <a:gd name="T5" fmla="*/ 5 h 8"/>
                    <a:gd name="T6" fmla="*/ 3 w 4"/>
                    <a:gd name="T7" fmla="*/ 7 h 8"/>
                    <a:gd name="T8" fmla="*/ 3 w 4"/>
                    <a:gd name="T9" fmla="*/ 5 h 8"/>
                  </a:gdLst>
                  <a:ahLst/>
                  <a:cxnLst>
                    <a:cxn ang="0">
                      <a:pos x="T0" y="T1"/>
                    </a:cxn>
                    <a:cxn ang="0">
                      <a:pos x="T2" y="T3"/>
                    </a:cxn>
                    <a:cxn ang="0">
                      <a:pos x="T4" y="T5"/>
                    </a:cxn>
                    <a:cxn ang="0">
                      <a:pos x="T6" y="T7"/>
                    </a:cxn>
                    <a:cxn ang="0">
                      <a:pos x="T8" y="T9"/>
                    </a:cxn>
                  </a:cxnLst>
                  <a:rect l="0" t="0" r="r" b="b"/>
                  <a:pathLst>
                    <a:path w="4" h="8">
                      <a:moveTo>
                        <a:pt x="3" y="5"/>
                      </a:moveTo>
                      <a:cubicBezTo>
                        <a:pt x="3" y="4"/>
                        <a:pt x="1" y="0"/>
                        <a:pt x="1" y="2"/>
                      </a:cubicBezTo>
                      <a:cubicBezTo>
                        <a:pt x="0" y="2"/>
                        <a:pt x="0" y="3"/>
                        <a:pt x="0" y="5"/>
                      </a:cubicBezTo>
                      <a:cubicBezTo>
                        <a:pt x="1" y="6"/>
                        <a:pt x="2" y="6"/>
                        <a:pt x="3" y="7"/>
                      </a:cubicBezTo>
                      <a:cubicBezTo>
                        <a:pt x="4" y="8"/>
                        <a:pt x="4"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27"/>
                <p:cNvSpPr>
                  <a:spLocks/>
                </p:cNvSpPr>
                <p:nvPr/>
              </p:nvSpPr>
              <p:spPr bwMode="auto">
                <a:xfrm>
                  <a:off x="3644901" y="3963988"/>
                  <a:ext cx="3175" cy="4763"/>
                </a:xfrm>
                <a:custGeom>
                  <a:avLst/>
                  <a:gdLst>
                    <a:gd name="T0" fmla="*/ 1 w 4"/>
                    <a:gd name="T1" fmla="*/ 2 h 6"/>
                    <a:gd name="T2" fmla="*/ 3 w 4"/>
                    <a:gd name="T3" fmla="*/ 5 h 6"/>
                    <a:gd name="T4" fmla="*/ 3 w 4"/>
                    <a:gd name="T5" fmla="*/ 4 h 6"/>
                    <a:gd name="T6" fmla="*/ 1 w 4"/>
                    <a:gd name="T7" fmla="*/ 1 h 6"/>
                    <a:gd name="T8" fmla="*/ 1 w 4"/>
                    <a:gd name="T9" fmla="*/ 2 h 6"/>
                  </a:gdLst>
                  <a:ahLst/>
                  <a:cxnLst>
                    <a:cxn ang="0">
                      <a:pos x="T0" y="T1"/>
                    </a:cxn>
                    <a:cxn ang="0">
                      <a:pos x="T2" y="T3"/>
                    </a:cxn>
                    <a:cxn ang="0">
                      <a:pos x="T4" y="T5"/>
                    </a:cxn>
                    <a:cxn ang="0">
                      <a:pos x="T6" y="T7"/>
                    </a:cxn>
                    <a:cxn ang="0">
                      <a:pos x="T8" y="T9"/>
                    </a:cxn>
                  </a:cxnLst>
                  <a:rect l="0" t="0" r="r" b="b"/>
                  <a:pathLst>
                    <a:path w="4" h="6">
                      <a:moveTo>
                        <a:pt x="1" y="2"/>
                      </a:moveTo>
                      <a:cubicBezTo>
                        <a:pt x="2" y="3"/>
                        <a:pt x="2" y="4"/>
                        <a:pt x="3" y="5"/>
                      </a:cubicBezTo>
                      <a:cubicBezTo>
                        <a:pt x="4" y="6"/>
                        <a:pt x="4" y="4"/>
                        <a:pt x="3" y="4"/>
                      </a:cubicBezTo>
                      <a:cubicBezTo>
                        <a:pt x="3" y="2"/>
                        <a:pt x="2" y="2"/>
                        <a:pt x="1" y="1"/>
                      </a:cubicBezTo>
                      <a:cubicBezTo>
                        <a:pt x="0"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28"/>
                <p:cNvSpPr>
                  <a:spLocks/>
                </p:cNvSpPr>
                <p:nvPr/>
              </p:nvSpPr>
              <p:spPr bwMode="auto">
                <a:xfrm>
                  <a:off x="3652838" y="4048125"/>
                  <a:ext cx="1588" cy="4763"/>
                </a:xfrm>
                <a:custGeom>
                  <a:avLst/>
                  <a:gdLst>
                    <a:gd name="T0" fmla="*/ 4 w 4"/>
                    <a:gd name="T1" fmla="*/ 7 h 7"/>
                    <a:gd name="T2" fmla="*/ 2 w 4"/>
                    <a:gd name="T3" fmla="*/ 2 h 7"/>
                    <a:gd name="T4" fmla="*/ 1 w 4"/>
                    <a:gd name="T5" fmla="*/ 2 h 7"/>
                    <a:gd name="T6" fmla="*/ 2 w 4"/>
                    <a:gd name="T7" fmla="*/ 6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4" y="6"/>
                        <a:pt x="3" y="3"/>
                        <a:pt x="2" y="2"/>
                      </a:cubicBezTo>
                      <a:cubicBezTo>
                        <a:pt x="2" y="0"/>
                        <a:pt x="1" y="0"/>
                        <a:pt x="1" y="2"/>
                      </a:cubicBezTo>
                      <a:cubicBezTo>
                        <a:pt x="1" y="3"/>
                        <a:pt x="0" y="5"/>
                        <a:pt x="2" y="6"/>
                      </a:cubicBezTo>
                      <a:cubicBezTo>
                        <a:pt x="2" y="7"/>
                        <a:pt x="4" y="7"/>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9"/>
                <p:cNvSpPr>
                  <a:spLocks/>
                </p:cNvSpPr>
                <p:nvPr/>
              </p:nvSpPr>
              <p:spPr bwMode="auto">
                <a:xfrm>
                  <a:off x="3668713" y="4029075"/>
                  <a:ext cx="1588" cy="4763"/>
                </a:xfrm>
                <a:custGeom>
                  <a:avLst/>
                  <a:gdLst>
                    <a:gd name="T0" fmla="*/ 1 w 3"/>
                    <a:gd name="T1" fmla="*/ 0 h 7"/>
                    <a:gd name="T2" fmla="*/ 0 w 3"/>
                    <a:gd name="T3" fmla="*/ 1 h 7"/>
                    <a:gd name="T4" fmla="*/ 1 w 3"/>
                    <a:gd name="T5" fmla="*/ 5 h 7"/>
                    <a:gd name="T6" fmla="*/ 1 w 3"/>
                    <a:gd name="T7" fmla="*/ 0 h 7"/>
                  </a:gdLst>
                  <a:ahLst/>
                  <a:cxnLst>
                    <a:cxn ang="0">
                      <a:pos x="T0" y="T1"/>
                    </a:cxn>
                    <a:cxn ang="0">
                      <a:pos x="T2" y="T3"/>
                    </a:cxn>
                    <a:cxn ang="0">
                      <a:pos x="T4" y="T5"/>
                    </a:cxn>
                    <a:cxn ang="0">
                      <a:pos x="T6" y="T7"/>
                    </a:cxn>
                  </a:cxnLst>
                  <a:rect l="0" t="0" r="r" b="b"/>
                  <a:pathLst>
                    <a:path w="3" h="7">
                      <a:moveTo>
                        <a:pt x="1" y="0"/>
                      </a:moveTo>
                      <a:cubicBezTo>
                        <a:pt x="1" y="0"/>
                        <a:pt x="0" y="0"/>
                        <a:pt x="0" y="1"/>
                      </a:cubicBezTo>
                      <a:cubicBezTo>
                        <a:pt x="0" y="2"/>
                        <a:pt x="0" y="4"/>
                        <a:pt x="1" y="5"/>
                      </a:cubicBezTo>
                      <a:cubicBezTo>
                        <a:pt x="3" y="7"/>
                        <a:pt x="2"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30"/>
                <p:cNvSpPr>
                  <a:spLocks/>
                </p:cNvSpPr>
                <p:nvPr/>
              </p:nvSpPr>
              <p:spPr bwMode="auto">
                <a:xfrm>
                  <a:off x="3678238" y="4008438"/>
                  <a:ext cx="0" cy="3175"/>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0" y="2"/>
                        <a:pt x="0" y="1"/>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31"/>
                <p:cNvSpPr>
                  <a:spLocks/>
                </p:cNvSpPr>
                <p:nvPr/>
              </p:nvSpPr>
              <p:spPr bwMode="auto">
                <a:xfrm>
                  <a:off x="3605213" y="3913188"/>
                  <a:ext cx="1588" cy="3175"/>
                </a:xfrm>
                <a:custGeom>
                  <a:avLst/>
                  <a:gdLst>
                    <a:gd name="T0" fmla="*/ 2 w 3"/>
                    <a:gd name="T1" fmla="*/ 3 h 4"/>
                    <a:gd name="T2" fmla="*/ 3 w 3"/>
                    <a:gd name="T3" fmla="*/ 2 h 4"/>
                    <a:gd name="T4" fmla="*/ 1 w 3"/>
                    <a:gd name="T5" fmla="*/ 1 h 4"/>
                    <a:gd name="T6" fmla="*/ 2 w 3"/>
                    <a:gd name="T7" fmla="*/ 3 h 4"/>
                  </a:gdLst>
                  <a:ahLst/>
                  <a:cxnLst>
                    <a:cxn ang="0">
                      <a:pos x="T0" y="T1"/>
                    </a:cxn>
                    <a:cxn ang="0">
                      <a:pos x="T2" y="T3"/>
                    </a:cxn>
                    <a:cxn ang="0">
                      <a:pos x="T4" y="T5"/>
                    </a:cxn>
                    <a:cxn ang="0">
                      <a:pos x="T6" y="T7"/>
                    </a:cxn>
                  </a:cxnLst>
                  <a:rect l="0" t="0" r="r" b="b"/>
                  <a:pathLst>
                    <a:path w="3" h="4">
                      <a:moveTo>
                        <a:pt x="2" y="3"/>
                      </a:moveTo>
                      <a:cubicBezTo>
                        <a:pt x="3" y="4"/>
                        <a:pt x="3" y="3"/>
                        <a:pt x="3" y="2"/>
                      </a:cubicBezTo>
                      <a:cubicBezTo>
                        <a:pt x="2" y="2"/>
                        <a:pt x="1" y="1"/>
                        <a:pt x="1" y="1"/>
                      </a:cubicBezTo>
                      <a:cubicBezTo>
                        <a:pt x="0" y="0"/>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32"/>
                <p:cNvSpPr>
                  <a:spLocks/>
                </p:cNvSpPr>
                <p:nvPr/>
              </p:nvSpPr>
              <p:spPr bwMode="auto">
                <a:xfrm>
                  <a:off x="3603626" y="3919538"/>
                  <a:ext cx="1588" cy="3175"/>
                </a:xfrm>
                <a:custGeom>
                  <a:avLst/>
                  <a:gdLst>
                    <a:gd name="T0" fmla="*/ 1 w 3"/>
                    <a:gd name="T1" fmla="*/ 0 h 3"/>
                    <a:gd name="T2" fmla="*/ 2 w 3"/>
                    <a:gd name="T3" fmla="*/ 2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1" y="2"/>
                        <a:pt x="2" y="2"/>
                      </a:cubicBezTo>
                      <a:cubicBezTo>
                        <a:pt x="2" y="3"/>
                        <a:pt x="3" y="3"/>
                        <a:pt x="3"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33"/>
                <p:cNvSpPr>
                  <a:spLocks/>
                </p:cNvSpPr>
                <p:nvPr/>
              </p:nvSpPr>
              <p:spPr bwMode="auto">
                <a:xfrm>
                  <a:off x="3621088" y="4079875"/>
                  <a:ext cx="4763" cy="11113"/>
                </a:xfrm>
                <a:custGeom>
                  <a:avLst/>
                  <a:gdLst>
                    <a:gd name="T0" fmla="*/ 0 w 6"/>
                    <a:gd name="T1" fmla="*/ 2 h 15"/>
                    <a:gd name="T2" fmla="*/ 0 w 6"/>
                    <a:gd name="T3" fmla="*/ 10 h 15"/>
                    <a:gd name="T4" fmla="*/ 3 w 6"/>
                    <a:gd name="T5" fmla="*/ 13 h 15"/>
                    <a:gd name="T6" fmla="*/ 5 w 6"/>
                    <a:gd name="T7" fmla="*/ 11 h 15"/>
                    <a:gd name="T8" fmla="*/ 5 w 6"/>
                    <a:gd name="T9" fmla="*/ 7 h 15"/>
                    <a:gd name="T10" fmla="*/ 5 w 6"/>
                    <a:gd name="T11" fmla="*/ 7 h 15"/>
                    <a:gd name="T12" fmla="*/ 0 w 6"/>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2"/>
                      </a:moveTo>
                      <a:cubicBezTo>
                        <a:pt x="0" y="4"/>
                        <a:pt x="0" y="7"/>
                        <a:pt x="0" y="10"/>
                      </a:cubicBezTo>
                      <a:cubicBezTo>
                        <a:pt x="1" y="14"/>
                        <a:pt x="3" y="15"/>
                        <a:pt x="3" y="13"/>
                      </a:cubicBezTo>
                      <a:cubicBezTo>
                        <a:pt x="4" y="12"/>
                        <a:pt x="4" y="12"/>
                        <a:pt x="5" y="11"/>
                      </a:cubicBezTo>
                      <a:cubicBezTo>
                        <a:pt x="6" y="9"/>
                        <a:pt x="5" y="9"/>
                        <a:pt x="5" y="7"/>
                      </a:cubicBezTo>
                      <a:cubicBezTo>
                        <a:pt x="5" y="7"/>
                        <a:pt x="5" y="7"/>
                        <a:pt x="5" y="7"/>
                      </a:cubicBezTo>
                      <a:cubicBezTo>
                        <a:pt x="4" y="6"/>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34"/>
                <p:cNvSpPr>
                  <a:spLocks/>
                </p:cNvSpPr>
                <p:nvPr/>
              </p:nvSpPr>
              <p:spPr bwMode="auto">
                <a:xfrm>
                  <a:off x="3602038" y="3919538"/>
                  <a:ext cx="3175" cy="3175"/>
                </a:xfrm>
                <a:custGeom>
                  <a:avLst/>
                  <a:gdLst>
                    <a:gd name="T0" fmla="*/ 1 w 4"/>
                    <a:gd name="T1" fmla="*/ 1 h 4"/>
                    <a:gd name="T2" fmla="*/ 2 w 4"/>
                    <a:gd name="T3" fmla="*/ 4 h 4"/>
                    <a:gd name="T4" fmla="*/ 1 w 4"/>
                    <a:gd name="T5" fmla="*/ 1 h 4"/>
                  </a:gdLst>
                  <a:ahLst/>
                  <a:cxnLst>
                    <a:cxn ang="0">
                      <a:pos x="T0" y="T1"/>
                    </a:cxn>
                    <a:cxn ang="0">
                      <a:pos x="T2" y="T3"/>
                    </a:cxn>
                    <a:cxn ang="0">
                      <a:pos x="T4" y="T5"/>
                    </a:cxn>
                  </a:cxnLst>
                  <a:rect l="0" t="0" r="r" b="b"/>
                  <a:pathLst>
                    <a:path w="4" h="4">
                      <a:moveTo>
                        <a:pt x="1" y="1"/>
                      </a:moveTo>
                      <a:cubicBezTo>
                        <a:pt x="0" y="2"/>
                        <a:pt x="2" y="4"/>
                        <a:pt x="2" y="4"/>
                      </a:cubicBezTo>
                      <a:cubicBezTo>
                        <a:pt x="4" y="3"/>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5"/>
                <p:cNvSpPr>
                  <a:spLocks/>
                </p:cNvSpPr>
                <p:nvPr/>
              </p:nvSpPr>
              <p:spPr bwMode="auto">
                <a:xfrm>
                  <a:off x="3605213" y="3910013"/>
                  <a:ext cx="4763" cy="6350"/>
                </a:xfrm>
                <a:custGeom>
                  <a:avLst/>
                  <a:gdLst>
                    <a:gd name="T0" fmla="*/ 1 w 6"/>
                    <a:gd name="T1" fmla="*/ 2 h 8"/>
                    <a:gd name="T2" fmla="*/ 5 w 6"/>
                    <a:gd name="T3" fmla="*/ 7 h 8"/>
                    <a:gd name="T4" fmla="*/ 1 w 6"/>
                    <a:gd name="T5" fmla="*/ 2 h 8"/>
                  </a:gdLst>
                  <a:ahLst/>
                  <a:cxnLst>
                    <a:cxn ang="0">
                      <a:pos x="T0" y="T1"/>
                    </a:cxn>
                    <a:cxn ang="0">
                      <a:pos x="T2" y="T3"/>
                    </a:cxn>
                    <a:cxn ang="0">
                      <a:pos x="T4" y="T5"/>
                    </a:cxn>
                  </a:cxnLst>
                  <a:rect l="0" t="0" r="r" b="b"/>
                  <a:pathLst>
                    <a:path w="6" h="8">
                      <a:moveTo>
                        <a:pt x="1" y="2"/>
                      </a:moveTo>
                      <a:cubicBezTo>
                        <a:pt x="1" y="4"/>
                        <a:pt x="6" y="8"/>
                        <a:pt x="5" y="7"/>
                      </a:cubicBezTo>
                      <a:cubicBezTo>
                        <a:pt x="5" y="4"/>
                        <a:pt x="0"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36"/>
                <p:cNvSpPr>
                  <a:spLocks/>
                </p:cNvSpPr>
                <p:nvPr/>
              </p:nvSpPr>
              <p:spPr bwMode="auto">
                <a:xfrm>
                  <a:off x="3592513" y="3930650"/>
                  <a:ext cx="4763" cy="4763"/>
                </a:xfrm>
                <a:custGeom>
                  <a:avLst/>
                  <a:gdLst>
                    <a:gd name="T0" fmla="*/ 2 w 5"/>
                    <a:gd name="T1" fmla="*/ 5 h 7"/>
                    <a:gd name="T2" fmla="*/ 5 w 5"/>
                    <a:gd name="T3" fmla="*/ 5 h 7"/>
                    <a:gd name="T4" fmla="*/ 2 w 5"/>
                    <a:gd name="T5" fmla="*/ 2 h 7"/>
                    <a:gd name="T6" fmla="*/ 0 w 5"/>
                    <a:gd name="T7" fmla="*/ 1 h 7"/>
                    <a:gd name="T8" fmla="*/ 2 w 5"/>
                    <a:gd name="T9" fmla="*/ 5 h 7"/>
                  </a:gdLst>
                  <a:ahLst/>
                  <a:cxnLst>
                    <a:cxn ang="0">
                      <a:pos x="T0" y="T1"/>
                    </a:cxn>
                    <a:cxn ang="0">
                      <a:pos x="T2" y="T3"/>
                    </a:cxn>
                    <a:cxn ang="0">
                      <a:pos x="T4" y="T5"/>
                    </a:cxn>
                    <a:cxn ang="0">
                      <a:pos x="T6" y="T7"/>
                    </a:cxn>
                    <a:cxn ang="0">
                      <a:pos x="T8" y="T9"/>
                    </a:cxn>
                  </a:cxnLst>
                  <a:rect l="0" t="0" r="r" b="b"/>
                  <a:pathLst>
                    <a:path w="5" h="7">
                      <a:moveTo>
                        <a:pt x="2" y="5"/>
                      </a:moveTo>
                      <a:cubicBezTo>
                        <a:pt x="2" y="5"/>
                        <a:pt x="5" y="7"/>
                        <a:pt x="5" y="5"/>
                      </a:cubicBezTo>
                      <a:cubicBezTo>
                        <a:pt x="5" y="4"/>
                        <a:pt x="3" y="3"/>
                        <a:pt x="2" y="2"/>
                      </a:cubicBezTo>
                      <a:cubicBezTo>
                        <a:pt x="1" y="1"/>
                        <a:pt x="0" y="0"/>
                        <a:pt x="0" y="1"/>
                      </a:cubicBezTo>
                      <a:cubicBezTo>
                        <a:pt x="0" y="2"/>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37"/>
                <p:cNvSpPr>
                  <a:spLocks/>
                </p:cNvSpPr>
                <p:nvPr/>
              </p:nvSpPr>
              <p:spPr bwMode="auto">
                <a:xfrm>
                  <a:off x="3571876" y="4179888"/>
                  <a:ext cx="3175" cy="11113"/>
                </a:xfrm>
                <a:custGeom>
                  <a:avLst/>
                  <a:gdLst>
                    <a:gd name="T0" fmla="*/ 3 w 4"/>
                    <a:gd name="T1" fmla="*/ 9 h 15"/>
                    <a:gd name="T2" fmla="*/ 3 w 4"/>
                    <a:gd name="T3" fmla="*/ 3 h 15"/>
                    <a:gd name="T4" fmla="*/ 1 w 4"/>
                    <a:gd name="T5" fmla="*/ 4 h 15"/>
                    <a:gd name="T6" fmla="*/ 1 w 4"/>
                    <a:gd name="T7" fmla="*/ 12 h 15"/>
                    <a:gd name="T8" fmla="*/ 3 w 4"/>
                    <a:gd name="T9" fmla="*/ 9 h 15"/>
                  </a:gdLst>
                  <a:ahLst/>
                  <a:cxnLst>
                    <a:cxn ang="0">
                      <a:pos x="T0" y="T1"/>
                    </a:cxn>
                    <a:cxn ang="0">
                      <a:pos x="T2" y="T3"/>
                    </a:cxn>
                    <a:cxn ang="0">
                      <a:pos x="T4" y="T5"/>
                    </a:cxn>
                    <a:cxn ang="0">
                      <a:pos x="T6" y="T7"/>
                    </a:cxn>
                    <a:cxn ang="0">
                      <a:pos x="T8" y="T9"/>
                    </a:cxn>
                  </a:cxnLst>
                  <a:rect l="0" t="0" r="r" b="b"/>
                  <a:pathLst>
                    <a:path w="4" h="15">
                      <a:moveTo>
                        <a:pt x="3" y="9"/>
                      </a:moveTo>
                      <a:cubicBezTo>
                        <a:pt x="3" y="7"/>
                        <a:pt x="4" y="5"/>
                        <a:pt x="3" y="3"/>
                      </a:cubicBezTo>
                      <a:cubicBezTo>
                        <a:pt x="2" y="0"/>
                        <a:pt x="1" y="2"/>
                        <a:pt x="1" y="4"/>
                      </a:cubicBezTo>
                      <a:cubicBezTo>
                        <a:pt x="0" y="6"/>
                        <a:pt x="0" y="9"/>
                        <a:pt x="1" y="12"/>
                      </a:cubicBezTo>
                      <a:cubicBezTo>
                        <a:pt x="2" y="15"/>
                        <a:pt x="3" y="10"/>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8"/>
                <p:cNvSpPr>
                  <a:spLocks/>
                </p:cNvSpPr>
                <p:nvPr/>
              </p:nvSpPr>
              <p:spPr bwMode="auto">
                <a:xfrm>
                  <a:off x="3605213" y="3924300"/>
                  <a:ext cx="7938" cy="15875"/>
                </a:xfrm>
                <a:custGeom>
                  <a:avLst/>
                  <a:gdLst>
                    <a:gd name="T0" fmla="*/ 4 w 9"/>
                    <a:gd name="T1" fmla="*/ 6 h 23"/>
                    <a:gd name="T2" fmla="*/ 4 w 9"/>
                    <a:gd name="T3" fmla="*/ 4 h 23"/>
                    <a:gd name="T4" fmla="*/ 2 w 9"/>
                    <a:gd name="T5" fmla="*/ 1 h 23"/>
                    <a:gd name="T6" fmla="*/ 0 w 9"/>
                    <a:gd name="T7" fmla="*/ 5 h 23"/>
                    <a:gd name="T8" fmla="*/ 1 w 9"/>
                    <a:gd name="T9" fmla="*/ 7 h 23"/>
                    <a:gd name="T10" fmla="*/ 1 w 9"/>
                    <a:gd name="T11" fmla="*/ 11 h 23"/>
                    <a:gd name="T12" fmla="*/ 2 w 9"/>
                    <a:gd name="T13" fmla="*/ 15 h 23"/>
                    <a:gd name="T14" fmla="*/ 5 w 9"/>
                    <a:gd name="T15" fmla="*/ 20 h 23"/>
                    <a:gd name="T16" fmla="*/ 8 w 9"/>
                    <a:gd name="T17" fmla="*/ 19 h 23"/>
                    <a:gd name="T18" fmla="*/ 7 w 9"/>
                    <a:gd name="T19" fmla="*/ 15 h 23"/>
                    <a:gd name="T20" fmla="*/ 6 w 9"/>
                    <a:gd name="T21" fmla="*/ 12 h 23"/>
                    <a:gd name="T22" fmla="*/ 7 w 9"/>
                    <a:gd name="T23" fmla="*/ 13 h 23"/>
                    <a:gd name="T24" fmla="*/ 6 w 9"/>
                    <a:gd name="T25" fmla="*/ 8 h 23"/>
                    <a:gd name="T26" fmla="*/ 4 w 9"/>
                    <a:gd name="T2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3">
                      <a:moveTo>
                        <a:pt x="4" y="6"/>
                      </a:moveTo>
                      <a:cubicBezTo>
                        <a:pt x="4" y="5"/>
                        <a:pt x="4" y="5"/>
                        <a:pt x="4" y="4"/>
                      </a:cubicBezTo>
                      <a:cubicBezTo>
                        <a:pt x="3" y="3"/>
                        <a:pt x="2" y="0"/>
                        <a:pt x="2" y="1"/>
                      </a:cubicBezTo>
                      <a:cubicBezTo>
                        <a:pt x="1" y="2"/>
                        <a:pt x="0" y="3"/>
                        <a:pt x="0" y="5"/>
                      </a:cubicBezTo>
                      <a:cubicBezTo>
                        <a:pt x="1" y="6"/>
                        <a:pt x="3" y="7"/>
                        <a:pt x="1" y="7"/>
                      </a:cubicBezTo>
                      <a:cubicBezTo>
                        <a:pt x="0" y="8"/>
                        <a:pt x="1" y="9"/>
                        <a:pt x="1" y="11"/>
                      </a:cubicBezTo>
                      <a:cubicBezTo>
                        <a:pt x="1" y="13"/>
                        <a:pt x="1" y="14"/>
                        <a:pt x="2" y="15"/>
                      </a:cubicBezTo>
                      <a:cubicBezTo>
                        <a:pt x="3" y="17"/>
                        <a:pt x="4" y="20"/>
                        <a:pt x="5" y="20"/>
                      </a:cubicBezTo>
                      <a:cubicBezTo>
                        <a:pt x="4" y="16"/>
                        <a:pt x="9" y="23"/>
                        <a:pt x="8" y="19"/>
                      </a:cubicBezTo>
                      <a:cubicBezTo>
                        <a:pt x="8" y="18"/>
                        <a:pt x="7" y="17"/>
                        <a:pt x="7" y="15"/>
                      </a:cubicBezTo>
                      <a:cubicBezTo>
                        <a:pt x="6" y="14"/>
                        <a:pt x="5" y="13"/>
                        <a:pt x="6" y="12"/>
                      </a:cubicBezTo>
                      <a:cubicBezTo>
                        <a:pt x="6" y="12"/>
                        <a:pt x="7" y="13"/>
                        <a:pt x="7" y="13"/>
                      </a:cubicBezTo>
                      <a:cubicBezTo>
                        <a:pt x="9" y="13"/>
                        <a:pt x="6" y="9"/>
                        <a:pt x="6" y="8"/>
                      </a:cubicBezTo>
                      <a:cubicBezTo>
                        <a:pt x="5" y="8"/>
                        <a:pt x="4" y="7"/>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39"/>
                <p:cNvSpPr>
                  <a:spLocks/>
                </p:cNvSpPr>
                <p:nvPr/>
              </p:nvSpPr>
              <p:spPr bwMode="auto">
                <a:xfrm>
                  <a:off x="2917826" y="3887788"/>
                  <a:ext cx="7938" cy="4763"/>
                </a:xfrm>
                <a:custGeom>
                  <a:avLst/>
                  <a:gdLst>
                    <a:gd name="T0" fmla="*/ 2 w 10"/>
                    <a:gd name="T1" fmla="*/ 6 h 6"/>
                    <a:gd name="T2" fmla="*/ 9 w 10"/>
                    <a:gd name="T3" fmla="*/ 5 h 6"/>
                    <a:gd name="T4" fmla="*/ 9 w 10"/>
                    <a:gd name="T5" fmla="*/ 2 h 6"/>
                    <a:gd name="T6" fmla="*/ 3 w 10"/>
                    <a:gd name="T7" fmla="*/ 2 h 6"/>
                    <a:gd name="T8" fmla="*/ 2 w 10"/>
                    <a:gd name="T9" fmla="*/ 6 h 6"/>
                  </a:gdLst>
                  <a:ahLst/>
                  <a:cxnLst>
                    <a:cxn ang="0">
                      <a:pos x="T0" y="T1"/>
                    </a:cxn>
                    <a:cxn ang="0">
                      <a:pos x="T2" y="T3"/>
                    </a:cxn>
                    <a:cxn ang="0">
                      <a:pos x="T4" y="T5"/>
                    </a:cxn>
                    <a:cxn ang="0">
                      <a:pos x="T6" y="T7"/>
                    </a:cxn>
                    <a:cxn ang="0">
                      <a:pos x="T8" y="T9"/>
                    </a:cxn>
                  </a:cxnLst>
                  <a:rect l="0" t="0" r="r" b="b"/>
                  <a:pathLst>
                    <a:path w="10" h="6">
                      <a:moveTo>
                        <a:pt x="2" y="6"/>
                      </a:moveTo>
                      <a:cubicBezTo>
                        <a:pt x="4" y="6"/>
                        <a:pt x="7" y="6"/>
                        <a:pt x="9" y="5"/>
                      </a:cubicBezTo>
                      <a:cubicBezTo>
                        <a:pt x="10" y="5"/>
                        <a:pt x="10" y="2"/>
                        <a:pt x="9" y="2"/>
                      </a:cubicBezTo>
                      <a:cubicBezTo>
                        <a:pt x="9" y="0"/>
                        <a:pt x="5" y="2"/>
                        <a:pt x="3" y="2"/>
                      </a:cubicBezTo>
                      <a:cubicBezTo>
                        <a:pt x="0" y="3"/>
                        <a:pt x="0"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40"/>
                <p:cNvSpPr>
                  <a:spLocks/>
                </p:cNvSpPr>
                <p:nvPr/>
              </p:nvSpPr>
              <p:spPr bwMode="auto">
                <a:xfrm>
                  <a:off x="2921001" y="3868738"/>
                  <a:ext cx="7938" cy="6350"/>
                </a:xfrm>
                <a:custGeom>
                  <a:avLst/>
                  <a:gdLst>
                    <a:gd name="T0" fmla="*/ 5 w 11"/>
                    <a:gd name="T1" fmla="*/ 1 h 9"/>
                    <a:gd name="T2" fmla="*/ 8 w 11"/>
                    <a:gd name="T3" fmla="*/ 7 h 9"/>
                    <a:gd name="T4" fmla="*/ 10 w 11"/>
                    <a:gd name="T5" fmla="*/ 3 h 9"/>
                    <a:gd name="T6" fmla="*/ 5 w 11"/>
                    <a:gd name="T7" fmla="*/ 1 h 9"/>
                  </a:gdLst>
                  <a:ahLst/>
                  <a:cxnLst>
                    <a:cxn ang="0">
                      <a:pos x="T0" y="T1"/>
                    </a:cxn>
                    <a:cxn ang="0">
                      <a:pos x="T2" y="T3"/>
                    </a:cxn>
                    <a:cxn ang="0">
                      <a:pos x="T4" y="T5"/>
                    </a:cxn>
                    <a:cxn ang="0">
                      <a:pos x="T6" y="T7"/>
                    </a:cxn>
                  </a:cxnLst>
                  <a:rect l="0" t="0" r="r" b="b"/>
                  <a:pathLst>
                    <a:path w="11" h="9">
                      <a:moveTo>
                        <a:pt x="5" y="1"/>
                      </a:moveTo>
                      <a:cubicBezTo>
                        <a:pt x="0" y="3"/>
                        <a:pt x="4" y="9"/>
                        <a:pt x="8" y="7"/>
                      </a:cubicBezTo>
                      <a:cubicBezTo>
                        <a:pt x="9" y="5"/>
                        <a:pt x="11" y="4"/>
                        <a:pt x="10" y="3"/>
                      </a:cubicBezTo>
                      <a:cubicBezTo>
                        <a:pt x="9" y="2"/>
                        <a:pt x="8"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41"/>
                <p:cNvSpPr>
                  <a:spLocks/>
                </p:cNvSpPr>
                <p:nvPr/>
              </p:nvSpPr>
              <p:spPr bwMode="auto">
                <a:xfrm>
                  <a:off x="2925763" y="3883025"/>
                  <a:ext cx="3175" cy="1588"/>
                </a:xfrm>
                <a:custGeom>
                  <a:avLst/>
                  <a:gdLst>
                    <a:gd name="T0" fmla="*/ 0 w 4"/>
                    <a:gd name="T1" fmla="*/ 0 h 3"/>
                    <a:gd name="T2" fmla="*/ 2 w 4"/>
                    <a:gd name="T3" fmla="*/ 3 h 3"/>
                    <a:gd name="T4" fmla="*/ 4 w 4"/>
                    <a:gd name="T5" fmla="*/ 1 h 3"/>
                    <a:gd name="T6" fmla="*/ 0 w 4"/>
                    <a:gd name="T7" fmla="*/ 0 h 3"/>
                  </a:gdLst>
                  <a:ahLst/>
                  <a:cxnLst>
                    <a:cxn ang="0">
                      <a:pos x="T0" y="T1"/>
                    </a:cxn>
                    <a:cxn ang="0">
                      <a:pos x="T2" y="T3"/>
                    </a:cxn>
                    <a:cxn ang="0">
                      <a:pos x="T4" y="T5"/>
                    </a:cxn>
                    <a:cxn ang="0">
                      <a:pos x="T6" y="T7"/>
                    </a:cxn>
                  </a:cxnLst>
                  <a:rect l="0" t="0" r="r" b="b"/>
                  <a:pathLst>
                    <a:path w="4" h="3">
                      <a:moveTo>
                        <a:pt x="0" y="0"/>
                      </a:moveTo>
                      <a:cubicBezTo>
                        <a:pt x="0" y="1"/>
                        <a:pt x="0" y="3"/>
                        <a:pt x="2" y="3"/>
                      </a:cubicBezTo>
                      <a:cubicBezTo>
                        <a:pt x="3" y="3"/>
                        <a:pt x="4" y="2"/>
                        <a:pt x="4" y="1"/>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42"/>
                <p:cNvSpPr>
                  <a:spLocks/>
                </p:cNvSpPr>
                <p:nvPr/>
              </p:nvSpPr>
              <p:spPr bwMode="auto">
                <a:xfrm>
                  <a:off x="3052763" y="4291013"/>
                  <a:ext cx="6350" cy="6350"/>
                </a:xfrm>
                <a:custGeom>
                  <a:avLst/>
                  <a:gdLst>
                    <a:gd name="T0" fmla="*/ 0 w 8"/>
                    <a:gd name="T1" fmla="*/ 5 h 8"/>
                    <a:gd name="T2" fmla="*/ 8 w 8"/>
                    <a:gd name="T3" fmla="*/ 8 h 8"/>
                    <a:gd name="T4" fmla="*/ 8 w 8"/>
                    <a:gd name="T5" fmla="*/ 4 h 8"/>
                    <a:gd name="T6" fmla="*/ 0 w 8"/>
                    <a:gd name="T7" fmla="*/ 5 h 8"/>
                  </a:gdLst>
                  <a:ahLst/>
                  <a:cxnLst>
                    <a:cxn ang="0">
                      <a:pos x="T0" y="T1"/>
                    </a:cxn>
                    <a:cxn ang="0">
                      <a:pos x="T2" y="T3"/>
                    </a:cxn>
                    <a:cxn ang="0">
                      <a:pos x="T4" y="T5"/>
                    </a:cxn>
                    <a:cxn ang="0">
                      <a:pos x="T6" y="T7"/>
                    </a:cxn>
                  </a:cxnLst>
                  <a:rect l="0" t="0" r="r" b="b"/>
                  <a:pathLst>
                    <a:path w="8" h="8">
                      <a:moveTo>
                        <a:pt x="0" y="5"/>
                      </a:moveTo>
                      <a:cubicBezTo>
                        <a:pt x="2" y="6"/>
                        <a:pt x="5" y="7"/>
                        <a:pt x="8" y="8"/>
                      </a:cubicBezTo>
                      <a:cubicBezTo>
                        <a:pt x="7" y="8"/>
                        <a:pt x="8" y="7"/>
                        <a:pt x="8" y="4"/>
                      </a:cubicBezTo>
                      <a:cubicBezTo>
                        <a:pt x="8" y="0"/>
                        <a:pt x="3"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43"/>
                <p:cNvSpPr>
                  <a:spLocks/>
                </p:cNvSpPr>
                <p:nvPr/>
              </p:nvSpPr>
              <p:spPr bwMode="auto">
                <a:xfrm>
                  <a:off x="3181351" y="4341813"/>
                  <a:ext cx="3175" cy="1588"/>
                </a:xfrm>
                <a:custGeom>
                  <a:avLst/>
                  <a:gdLst>
                    <a:gd name="T0" fmla="*/ 0 w 5"/>
                    <a:gd name="T1" fmla="*/ 1 h 2"/>
                    <a:gd name="T2" fmla="*/ 5 w 5"/>
                    <a:gd name="T3" fmla="*/ 2 h 2"/>
                    <a:gd name="T4" fmla="*/ 5 w 5"/>
                    <a:gd name="T5" fmla="*/ 2 h 2"/>
                    <a:gd name="T6" fmla="*/ 0 w 5"/>
                    <a:gd name="T7" fmla="*/ 1 h 2"/>
                  </a:gdLst>
                  <a:ahLst/>
                  <a:cxnLst>
                    <a:cxn ang="0">
                      <a:pos x="T0" y="T1"/>
                    </a:cxn>
                    <a:cxn ang="0">
                      <a:pos x="T2" y="T3"/>
                    </a:cxn>
                    <a:cxn ang="0">
                      <a:pos x="T4" y="T5"/>
                    </a:cxn>
                    <a:cxn ang="0">
                      <a:pos x="T6" y="T7"/>
                    </a:cxn>
                  </a:cxnLst>
                  <a:rect l="0" t="0" r="r" b="b"/>
                  <a:pathLst>
                    <a:path w="5" h="2">
                      <a:moveTo>
                        <a:pt x="0" y="1"/>
                      </a:moveTo>
                      <a:cubicBezTo>
                        <a:pt x="2" y="1"/>
                        <a:pt x="4" y="2"/>
                        <a:pt x="5" y="2"/>
                      </a:cubicBezTo>
                      <a:cubicBezTo>
                        <a:pt x="5" y="2"/>
                        <a:pt x="5" y="2"/>
                        <a:pt x="5" y="2"/>
                      </a:cubicBezTo>
                      <a:cubicBezTo>
                        <a:pt x="4" y="0"/>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44"/>
                <p:cNvSpPr>
                  <a:spLocks/>
                </p:cNvSpPr>
                <p:nvPr/>
              </p:nvSpPr>
              <p:spPr bwMode="auto">
                <a:xfrm>
                  <a:off x="2890838" y="3905250"/>
                  <a:ext cx="14288" cy="12700"/>
                </a:xfrm>
                <a:custGeom>
                  <a:avLst/>
                  <a:gdLst>
                    <a:gd name="T0" fmla="*/ 17 w 18"/>
                    <a:gd name="T1" fmla="*/ 1 h 17"/>
                    <a:gd name="T2" fmla="*/ 13 w 18"/>
                    <a:gd name="T3" fmla="*/ 2 h 17"/>
                    <a:gd name="T4" fmla="*/ 12 w 18"/>
                    <a:gd name="T5" fmla="*/ 3 h 17"/>
                    <a:gd name="T6" fmla="*/ 9 w 18"/>
                    <a:gd name="T7" fmla="*/ 5 h 17"/>
                    <a:gd name="T8" fmla="*/ 3 w 18"/>
                    <a:gd name="T9" fmla="*/ 16 h 17"/>
                    <a:gd name="T10" fmla="*/ 11 w 18"/>
                    <a:gd name="T11" fmla="*/ 10 h 17"/>
                    <a:gd name="T12" fmla="*/ 14 w 18"/>
                    <a:gd name="T13" fmla="*/ 5 h 17"/>
                    <a:gd name="T14" fmla="*/ 17 w 18"/>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7" y="1"/>
                      </a:moveTo>
                      <a:cubicBezTo>
                        <a:pt x="16" y="0"/>
                        <a:pt x="14" y="1"/>
                        <a:pt x="13" y="2"/>
                      </a:cubicBezTo>
                      <a:cubicBezTo>
                        <a:pt x="12" y="2"/>
                        <a:pt x="12" y="3"/>
                        <a:pt x="12" y="3"/>
                      </a:cubicBezTo>
                      <a:cubicBezTo>
                        <a:pt x="11" y="4"/>
                        <a:pt x="10" y="4"/>
                        <a:pt x="9" y="5"/>
                      </a:cubicBezTo>
                      <a:cubicBezTo>
                        <a:pt x="5" y="7"/>
                        <a:pt x="0" y="14"/>
                        <a:pt x="3" y="16"/>
                      </a:cubicBezTo>
                      <a:cubicBezTo>
                        <a:pt x="6" y="17"/>
                        <a:pt x="9" y="13"/>
                        <a:pt x="11" y="10"/>
                      </a:cubicBezTo>
                      <a:cubicBezTo>
                        <a:pt x="12" y="8"/>
                        <a:pt x="13" y="6"/>
                        <a:pt x="14" y="5"/>
                      </a:cubicBezTo>
                      <a:cubicBezTo>
                        <a:pt x="15" y="4"/>
                        <a:pt x="18" y="2"/>
                        <a:pt x="1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45"/>
                <p:cNvSpPr>
                  <a:spLocks/>
                </p:cNvSpPr>
                <p:nvPr/>
              </p:nvSpPr>
              <p:spPr bwMode="auto">
                <a:xfrm>
                  <a:off x="2973388" y="3884613"/>
                  <a:ext cx="9525" cy="4763"/>
                </a:xfrm>
                <a:custGeom>
                  <a:avLst/>
                  <a:gdLst>
                    <a:gd name="T0" fmla="*/ 12 w 13"/>
                    <a:gd name="T1" fmla="*/ 4 h 7"/>
                    <a:gd name="T2" fmla="*/ 8 w 13"/>
                    <a:gd name="T3" fmla="*/ 2 h 7"/>
                    <a:gd name="T4" fmla="*/ 4 w 13"/>
                    <a:gd name="T5" fmla="*/ 0 h 7"/>
                    <a:gd name="T6" fmla="*/ 2 w 13"/>
                    <a:gd name="T7" fmla="*/ 0 h 7"/>
                    <a:gd name="T8" fmla="*/ 0 w 13"/>
                    <a:gd name="T9" fmla="*/ 4 h 7"/>
                    <a:gd name="T10" fmla="*/ 7 w 13"/>
                    <a:gd name="T11" fmla="*/ 7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1" y="3"/>
                        <a:pt x="10" y="3"/>
                        <a:pt x="8" y="2"/>
                      </a:cubicBezTo>
                      <a:cubicBezTo>
                        <a:pt x="7" y="2"/>
                        <a:pt x="6" y="1"/>
                        <a:pt x="4" y="0"/>
                      </a:cubicBezTo>
                      <a:cubicBezTo>
                        <a:pt x="3" y="1"/>
                        <a:pt x="3" y="0"/>
                        <a:pt x="2" y="0"/>
                      </a:cubicBezTo>
                      <a:cubicBezTo>
                        <a:pt x="1" y="1"/>
                        <a:pt x="0" y="3"/>
                        <a:pt x="0" y="4"/>
                      </a:cubicBezTo>
                      <a:cubicBezTo>
                        <a:pt x="0" y="6"/>
                        <a:pt x="4" y="7"/>
                        <a:pt x="7" y="7"/>
                      </a:cubicBezTo>
                      <a:cubicBezTo>
                        <a:pt x="9" y="7"/>
                        <a:pt x="13" y="6"/>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46"/>
                <p:cNvSpPr>
                  <a:spLocks/>
                </p:cNvSpPr>
                <p:nvPr/>
              </p:nvSpPr>
              <p:spPr bwMode="auto">
                <a:xfrm>
                  <a:off x="2970213" y="3900488"/>
                  <a:ext cx="6350" cy="7938"/>
                </a:xfrm>
                <a:custGeom>
                  <a:avLst/>
                  <a:gdLst>
                    <a:gd name="T0" fmla="*/ 0 w 10"/>
                    <a:gd name="T1" fmla="*/ 10 h 12"/>
                    <a:gd name="T2" fmla="*/ 7 w 10"/>
                    <a:gd name="T3" fmla="*/ 9 h 12"/>
                    <a:gd name="T4" fmla="*/ 10 w 10"/>
                    <a:gd name="T5" fmla="*/ 2 h 12"/>
                    <a:gd name="T6" fmla="*/ 3 w 10"/>
                    <a:gd name="T7" fmla="*/ 3 h 12"/>
                    <a:gd name="T8" fmla="*/ 0 w 10"/>
                    <a:gd name="T9" fmla="*/ 10 h 12"/>
                  </a:gdLst>
                  <a:ahLst/>
                  <a:cxnLst>
                    <a:cxn ang="0">
                      <a:pos x="T0" y="T1"/>
                    </a:cxn>
                    <a:cxn ang="0">
                      <a:pos x="T2" y="T3"/>
                    </a:cxn>
                    <a:cxn ang="0">
                      <a:pos x="T4" y="T5"/>
                    </a:cxn>
                    <a:cxn ang="0">
                      <a:pos x="T6" y="T7"/>
                    </a:cxn>
                    <a:cxn ang="0">
                      <a:pos x="T8" y="T9"/>
                    </a:cxn>
                  </a:cxnLst>
                  <a:rect l="0" t="0" r="r" b="b"/>
                  <a:pathLst>
                    <a:path w="10" h="12">
                      <a:moveTo>
                        <a:pt x="0" y="10"/>
                      </a:moveTo>
                      <a:cubicBezTo>
                        <a:pt x="1" y="12"/>
                        <a:pt x="5" y="11"/>
                        <a:pt x="7" y="9"/>
                      </a:cubicBezTo>
                      <a:cubicBezTo>
                        <a:pt x="10" y="8"/>
                        <a:pt x="10" y="4"/>
                        <a:pt x="10" y="2"/>
                      </a:cubicBezTo>
                      <a:cubicBezTo>
                        <a:pt x="7" y="2"/>
                        <a:pt x="5" y="0"/>
                        <a:pt x="3" y="3"/>
                      </a:cubicBezTo>
                      <a:cubicBezTo>
                        <a:pt x="1" y="5"/>
                        <a:pt x="0" y="8"/>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47"/>
                <p:cNvSpPr>
                  <a:spLocks/>
                </p:cNvSpPr>
                <p:nvPr/>
              </p:nvSpPr>
              <p:spPr bwMode="auto">
                <a:xfrm>
                  <a:off x="3525838" y="4319588"/>
                  <a:ext cx="1588" cy="1588"/>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1" y="1"/>
                        <a:pt x="2" y="1"/>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48"/>
                <p:cNvSpPr>
                  <a:spLocks/>
                </p:cNvSpPr>
                <p:nvPr/>
              </p:nvSpPr>
              <p:spPr bwMode="auto">
                <a:xfrm>
                  <a:off x="2974976" y="3924300"/>
                  <a:ext cx="36513" cy="46038"/>
                </a:xfrm>
                <a:custGeom>
                  <a:avLst/>
                  <a:gdLst>
                    <a:gd name="T0" fmla="*/ 46 w 47"/>
                    <a:gd name="T1" fmla="*/ 40 h 59"/>
                    <a:gd name="T2" fmla="*/ 46 w 47"/>
                    <a:gd name="T3" fmla="*/ 31 h 59"/>
                    <a:gd name="T4" fmla="*/ 45 w 47"/>
                    <a:gd name="T5" fmla="*/ 26 h 59"/>
                    <a:gd name="T6" fmla="*/ 46 w 47"/>
                    <a:gd name="T7" fmla="*/ 20 h 59"/>
                    <a:gd name="T8" fmla="*/ 37 w 47"/>
                    <a:gd name="T9" fmla="*/ 20 h 59"/>
                    <a:gd name="T10" fmla="*/ 46 w 47"/>
                    <a:gd name="T11" fmla="*/ 6 h 59"/>
                    <a:gd name="T12" fmla="*/ 44 w 47"/>
                    <a:gd name="T13" fmla="*/ 1 h 59"/>
                    <a:gd name="T14" fmla="*/ 34 w 47"/>
                    <a:gd name="T15" fmla="*/ 5 h 59"/>
                    <a:gd name="T16" fmla="*/ 27 w 47"/>
                    <a:gd name="T17" fmla="*/ 7 h 59"/>
                    <a:gd name="T18" fmla="*/ 23 w 47"/>
                    <a:gd name="T19" fmla="*/ 4 h 59"/>
                    <a:gd name="T20" fmla="*/ 15 w 47"/>
                    <a:gd name="T21" fmla="*/ 6 h 59"/>
                    <a:gd name="T22" fmla="*/ 14 w 47"/>
                    <a:gd name="T23" fmla="*/ 12 h 59"/>
                    <a:gd name="T24" fmla="*/ 13 w 47"/>
                    <a:gd name="T25" fmla="*/ 14 h 59"/>
                    <a:gd name="T26" fmla="*/ 16 w 47"/>
                    <a:gd name="T27" fmla="*/ 21 h 59"/>
                    <a:gd name="T28" fmla="*/ 13 w 47"/>
                    <a:gd name="T29" fmla="*/ 29 h 59"/>
                    <a:gd name="T30" fmla="*/ 6 w 47"/>
                    <a:gd name="T31" fmla="*/ 26 h 59"/>
                    <a:gd name="T32" fmla="*/ 2 w 47"/>
                    <a:gd name="T33" fmla="*/ 29 h 59"/>
                    <a:gd name="T34" fmla="*/ 3 w 47"/>
                    <a:gd name="T35" fmla="*/ 37 h 59"/>
                    <a:gd name="T36" fmla="*/ 7 w 47"/>
                    <a:gd name="T37" fmla="*/ 41 h 59"/>
                    <a:gd name="T38" fmla="*/ 10 w 47"/>
                    <a:gd name="T39" fmla="*/ 45 h 59"/>
                    <a:gd name="T40" fmla="*/ 18 w 47"/>
                    <a:gd name="T41" fmla="*/ 50 h 59"/>
                    <a:gd name="T42" fmla="*/ 23 w 47"/>
                    <a:gd name="T43" fmla="*/ 57 h 59"/>
                    <a:gd name="T44" fmla="*/ 31 w 47"/>
                    <a:gd name="T45" fmla="*/ 55 h 59"/>
                    <a:gd name="T46" fmla="*/ 32 w 47"/>
                    <a:gd name="T47" fmla="*/ 52 h 59"/>
                    <a:gd name="T48" fmla="*/ 37 w 47"/>
                    <a:gd name="T49" fmla="*/ 50 h 59"/>
                    <a:gd name="T50" fmla="*/ 46 w 47"/>
                    <a:gd name="T5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9">
                      <a:moveTo>
                        <a:pt x="46" y="40"/>
                      </a:moveTo>
                      <a:cubicBezTo>
                        <a:pt x="47" y="38"/>
                        <a:pt x="47" y="33"/>
                        <a:pt x="46" y="31"/>
                      </a:cubicBezTo>
                      <a:cubicBezTo>
                        <a:pt x="45" y="29"/>
                        <a:pt x="44" y="28"/>
                        <a:pt x="45" y="26"/>
                      </a:cubicBezTo>
                      <a:cubicBezTo>
                        <a:pt x="45" y="24"/>
                        <a:pt x="46" y="22"/>
                        <a:pt x="46" y="20"/>
                      </a:cubicBezTo>
                      <a:cubicBezTo>
                        <a:pt x="45" y="15"/>
                        <a:pt x="40" y="22"/>
                        <a:pt x="37" y="20"/>
                      </a:cubicBezTo>
                      <a:cubicBezTo>
                        <a:pt x="32" y="16"/>
                        <a:pt x="45" y="9"/>
                        <a:pt x="46" y="6"/>
                      </a:cubicBezTo>
                      <a:cubicBezTo>
                        <a:pt x="47" y="4"/>
                        <a:pt x="46" y="2"/>
                        <a:pt x="44" y="1"/>
                      </a:cubicBezTo>
                      <a:cubicBezTo>
                        <a:pt x="39" y="0"/>
                        <a:pt x="38" y="3"/>
                        <a:pt x="34" y="5"/>
                      </a:cubicBezTo>
                      <a:cubicBezTo>
                        <a:pt x="33" y="6"/>
                        <a:pt x="29" y="8"/>
                        <a:pt x="27" y="7"/>
                      </a:cubicBezTo>
                      <a:cubicBezTo>
                        <a:pt x="26" y="6"/>
                        <a:pt x="26" y="4"/>
                        <a:pt x="23" y="4"/>
                      </a:cubicBezTo>
                      <a:cubicBezTo>
                        <a:pt x="20" y="4"/>
                        <a:pt x="18" y="4"/>
                        <a:pt x="15" y="6"/>
                      </a:cubicBezTo>
                      <a:cubicBezTo>
                        <a:pt x="12" y="8"/>
                        <a:pt x="12" y="11"/>
                        <a:pt x="14" y="12"/>
                      </a:cubicBezTo>
                      <a:cubicBezTo>
                        <a:pt x="16" y="13"/>
                        <a:pt x="16" y="13"/>
                        <a:pt x="13" y="14"/>
                      </a:cubicBezTo>
                      <a:cubicBezTo>
                        <a:pt x="10" y="16"/>
                        <a:pt x="16" y="19"/>
                        <a:pt x="16" y="21"/>
                      </a:cubicBezTo>
                      <a:cubicBezTo>
                        <a:pt x="17" y="23"/>
                        <a:pt x="16" y="27"/>
                        <a:pt x="13" y="29"/>
                      </a:cubicBezTo>
                      <a:cubicBezTo>
                        <a:pt x="10" y="31"/>
                        <a:pt x="7" y="28"/>
                        <a:pt x="6" y="26"/>
                      </a:cubicBezTo>
                      <a:cubicBezTo>
                        <a:pt x="5" y="23"/>
                        <a:pt x="2" y="27"/>
                        <a:pt x="2" y="29"/>
                      </a:cubicBezTo>
                      <a:cubicBezTo>
                        <a:pt x="0" y="32"/>
                        <a:pt x="1" y="35"/>
                        <a:pt x="3" y="37"/>
                      </a:cubicBezTo>
                      <a:cubicBezTo>
                        <a:pt x="4" y="39"/>
                        <a:pt x="6" y="39"/>
                        <a:pt x="7" y="41"/>
                      </a:cubicBezTo>
                      <a:cubicBezTo>
                        <a:pt x="7" y="42"/>
                        <a:pt x="8" y="44"/>
                        <a:pt x="10" y="45"/>
                      </a:cubicBezTo>
                      <a:cubicBezTo>
                        <a:pt x="14" y="46"/>
                        <a:pt x="17" y="47"/>
                        <a:pt x="18" y="50"/>
                      </a:cubicBezTo>
                      <a:cubicBezTo>
                        <a:pt x="20" y="53"/>
                        <a:pt x="20" y="55"/>
                        <a:pt x="23" y="57"/>
                      </a:cubicBezTo>
                      <a:cubicBezTo>
                        <a:pt x="26" y="59"/>
                        <a:pt x="29" y="58"/>
                        <a:pt x="31" y="55"/>
                      </a:cubicBezTo>
                      <a:cubicBezTo>
                        <a:pt x="31" y="54"/>
                        <a:pt x="32" y="53"/>
                        <a:pt x="32" y="52"/>
                      </a:cubicBezTo>
                      <a:cubicBezTo>
                        <a:pt x="33" y="50"/>
                        <a:pt x="35" y="50"/>
                        <a:pt x="37" y="50"/>
                      </a:cubicBezTo>
                      <a:cubicBezTo>
                        <a:pt x="41" y="48"/>
                        <a:pt x="45" y="43"/>
                        <a:pt x="4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49"/>
                <p:cNvSpPr>
                  <a:spLocks/>
                </p:cNvSpPr>
                <p:nvPr/>
              </p:nvSpPr>
              <p:spPr bwMode="auto">
                <a:xfrm>
                  <a:off x="2986088" y="3860800"/>
                  <a:ext cx="9525" cy="3175"/>
                </a:xfrm>
                <a:custGeom>
                  <a:avLst/>
                  <a:gdLst>
                    <a:gd name="T0" fmla="*/ 6 w 13"/>
                    <a:gd name="T1" fmla="*/ 5 h 5"/>
                    <a:gd name="T2" fmla="*/ 11 w 13"/>
                    <a:gd name="T3" fmla="*/ 3 h 5"/>
                    <a:gd name="T4" fmla="*/ 8 w 13"/>
                    <a:gd name="T5" fmla="*/ 0 h 5"/>
                    <a:gd name="T6" fmla="*/ 2 w 13"/>
                    <a:gd name="T7" fmla="*/ 2 h 5"/>
                    <a:gd name="T8" fmla="*/ 6 w 13"/>
                    <a:gd name="T9" fmla="*/ 5 h 5"/>
                  </a:gdLst>
                  <a:ahLst/>
                  <a:cxnLst>
                    <a:cxn ang="0">
                      <a:pos x="T0" y="T1"/>
                    </a:cxn>
                    <a:cxn ang="0">
                      <a:pos x="T2" y="T3"/>
                    </a:cxn>
                    <a:cxn ang="0">
                      <a:pos x="T4" y="T5"/>
                    </a:cxn>
                    <a:cxn ang="0">
                      <a:pos x="T6" y="T7"/>
                    </a:cxn>
                    <a:cxn ang="0">
                      <a:pos x="T8" y="T9"/>
                    </a:cxn>
                  </a:cxnLst>
                  <a:rect l="0" t="0" r="r" b="b"/>
                  <a:pathLst>
                    <a:path w="13" h="5">
                      <a:moveTo>
                        <a:pt x="6" y="5"/>
                      </a:moveTo>
                      <a:cubicBezTo>
                        <a:pt x="7" y="5"/>
                        <a:pt x="10" y="4"/>
                        <a:pt x="11" y="3"/>
                      </a:cubicBezTo>
                      <a:cubicBezTo>
                        <a:pt x="13" y="0"/>
                        <a:pt x="10" y="0"/>
                        <a:pt x="8" y="0"/>
                      </a:cubicBezTo>
                      <a:cubicBezTo>
                        <a:pt x="5" y="0"/>
                        <a:pt x="3" y="0"/>
                        <a:pt x="2" y="2"/>
                      </a:cubicBezTo>
                      <a:cubicBezTo>
                        <a:pt x="0" y="4"/>
                        <a:pt x="3" y="5"/>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50"/>
                <p:cNvSpPr>
                  <a:spLocks/>
                </p:cNvSpPr>
                <p:nvPr/>
              </p:nvSpPr>
              <p:spPr bwMode="auto">
                <a:xfrm>
                  <a:off x="2940051" y="3937000"/>
                  <a:ext cx="9525" cy="4763"/>
                </a:xfrm>
                <a:custGeom>
                  <a:avLst/>
                  <a:gdLst>
                    <a:gd name="T0" fmla="*/ 8 w 11"/>
                    <a:gd name="T1" fmla="*/ 2 h 8"/>
                    <a:gd name="T2" fmla="*/ 3 w 11"/>
                    <a:gd name="T3" fmla="*/ 6 h 8"/>
                    <a:gd name="T4" fmla="*/ 8 w 11"/>
                    <a:gd name="T5" fmla="*/ 2 h 8"/>
                  </a:gdLst>
                  <a:ahLst/>
                  <a:cxnLst>
                    <a:cxn ang="0">
                      <a:pos x="T0" y="T1"/>
                    </a:cxn>
                    <a:cxn ang="0">
                      <a:pos x="T2" y="T3"/>
                    </a:cxn>
                    <a:cxn ang="0">
                      <a:pos x="T4" y="T5"/>
                    </a:cxn>
                  </a:cxnLst>
                  <a:rect l="0" t="0" r="r" b="b"/>
                  <a:pathLst>
                    <a:path w="11" h="8">
                      <a:moveTo>
                        <a:pt x="8" y="2"/>
                      </a:moveTo>
                      <a:cubicBezTo>
                        <a:pt x="7" y="0"/>
                        <a:pt x="0" y="3"/>
                        <a:pt x="3" y="6"/>
                      </a:cubicBezTo>
                      <a:cubicBezTo>
                        <a:pt x="5" y="8"/>
                        <a:pt x="11" y="2"/>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51"/>
                <p:cNvSpPr>
                  <a:spLocks/>
                </p:cNvSpPr>
                <p:nvPr/>
              </p:nvSpPr>
              <p:spPr bwMode="auto">
                <a:xfrm>
                  <a:off x="2879726" y="3933825"/>
                  <a:ext cx="100013" cy="90488"/>
                </a:xfrm>
                <a:custGeom>
                  <a:avLst/>
                  <a:gdLst>
                    <a:gd name="T0" fmla="*/ 108 w 132"/>
                    <a:gd name="T1" fmla="*/ 54 h 120"/>
                    <a:gd name="T2" fmla="*/ 106 w 132"/>
                    <a:gd name="T3" fmla="*/ 40 h 120"/>
                    <a:gd name="T4" fmla="*/ 105 w 132"/>
                    <a:gd name="T5" fmla="*/ 31 h 120"/>
                    <a:gd name="T6" fmla="*/ 105 w 132"/>
                    <a:gd name="T7" fmla="*/ 19 h 120"/>
                    <a:gd name="T8" fmla="*/ 108 w 132"/>
                    <a:gd name="T9" fmla="*/ 14 h 120"/>
                    <a:gd name="T10" fmla="*/ 111 w 132"/>
                    <a:gd name="T11" fmla="*/ 1 h 120"/>
                    <a:gd name="T12" fmla="*/ 95 w 132"/>
                    <a:gd name="T13" fmla="*/ 6 h 120"/>
                    <a:gd name="T14" fmla="*/ 103 w 132"/>
                    <a:gd name="T15" fmla="*/ 13 h 120"/>
                    <a:gd name="T16" fmla="*/ 98 w 132"/>
                    <a:gd name="T17" fmla="*/ 15 h 120"/>
                    <a:gd name="T18" fmla="*/ 86 w 132"/>
                    <a:gd name="T19" fmla="*/ 13 h 120"/>
                    <a:gd name="T20" fmla="*/ 84 w 132"/>
                    <a:gd name="T21" fmla="*/ 29 h 120"/>
                    <a:gd name="T22" fmla="*/ 84 w 132"/>
                    <a:gd name="T23" fmla="*/ 44 h 120"/>
                    <a:gd name="T24" fmla="*/ 79 w 132"/>
                    <a:gd name="T25" fmla="*/ 44 h 120"/>
                    <a:gd name="T26" fmla="*/ 78 w 132"/>
                    <a:gd name="T27" fmla="*/ 31 h 120"/>
                    <a:gd name="T28" fmla="*/ 66 w 132"/>
                    <a:gd name="T29" fmla="*/ 20 h 120"/>
                    <a:gd name="T30" fmla="*/ 64 w 132"/>
                    <a:gd name="T31" fmla="*/ 30 h 120"/>
                    <a:gd name="T32" fmla="*/ 58 w 132"/>
                    <a:gd name="T33" fmla="*/ 31 h 120"/>
                    <a:gd name="T34" fmla="*/ 45 w 132"/>
                    <a:gd name="T35" fmla="*/ 26 h 120"/>
                    <a:gd name="T36" fmla="*/ 37 w 132"/>
                    <a:gd name="T37" fmla="*/ 34 h 120"/>
                    <a:gd name="T38" fmla="*/ 43 w 132"/>
                    <a:gd name="T39" fmla="*/ 20 h 120"/>
                    <a:gd name="T40" fmla="*/ 35 w 132"/>
                    <a:gd name="T41" fmla="*/ 21 h 120"/>
                    <a:gd name="T42" fmla="*/ 13 w 132"/>
                    <a:gd name="T43" fmla="*/ 37 h 120"/>
                    <a:gd name="T44" fmla="*/ 8 w 132"/>
                    <a:gd name="T45" fmla="*/ 45 h 120"/>
                    <a:gd name="T46" fmla="*/ 3 w 132"/>
                    <a:gd name="T47" fmla="*/ 61 h 120"/>
                    <a:gd name="T48" fmla="*/ 20 w 132"/>
                    <a:gd name="T49" fmla="*/ 60 h 120"/>
                    <a:gd name="T50" fmla="*/ 4 w 132"/>
                    <a:gd name="T51" fmla="*/ 71 h 120"/>
                    <a:gd name="T52" fmla="*/ 21 w 132"/>
                    <a:gd name="T53" fmla="*/ 77 h 120"/>
                    <a:gd name="T54" fmla="*/ 44 w 132"/>
                    <a:gd name="T55" fmla="*/ 80 h 120"/>
                    <a:gd name="T56" fmla="*/ 25 w 132"/>
                    <a:gd name="T57" fmla="*/ 83 h 120"/>
                    <a:gd name="T58" fmla="*/ 12 w 132"/>
                    <a:gd name="T59" fmla="*/ 101 h 120"/>
                    <a:gd name="T60" fmla="*/ 30 w 132"/>
                    <a:gd name="T61" fmla="*/ 110 h 120"/>
                    <a:gd name="T62" fmla="*/ 59 w 132"/>
                    <a:gd name="T63" fmla="*/ 111 h 120"/>
                    <a:gd name="T64" fmla="*/ 73 w 132"/>
                    <a:gd name="T65" fmla="*/ 104 h 120"/>
                    <a:gd name="T66" fmla="*/ 85 w 132"/>
                    <a:gd name="T67" fmla="*/ 93 h 120"/>
                    <a:gd name="T68" fmla="*/ 95 w 132"/>
                    <a:gd name="T69" fmla="*/ 98 h 120"/>
                    <a:gd name="T70" fmla="*/ 110 w 132"/>
                    <a:gd name="T71" fmla="*/ 101 h 120"/>
                    <a:gd name="T72" fmla="*/ 120 w 132"/>
                    <a:gd name="T73" fmla="*/ 88 h 120"/>
                    <a:gd name="T74" fmla="*/ 117 w 132"/>
                    <a:gd name="T75" fmla="*/ 84 h 120"/>
                    <a:gd name="T76" fmla="*/ 127 w 132"/>
                    <a:gd name="T77" fmla="*/ 82 h 120"/>
                    <a:gd name="T78" fmla="*/ 128 w 132"/>
                    <a:gd name="T79" fmla="*/ 72 h 120"/>
                    <a:gd name="T80" fmla="*/ 111 w 132"/>
                    <a:gd name="T81"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0">
                      <a:moveTo>
                        <a:pt x="111" y="62"/>
                      </a:moveTo>
                      <a:cubicBezTo>
                        <a:pt x="110" y="59"/>
                        <a:pt x="109" y="57"/>
                        <a:pt x="108" y="54"/>
                      </a:cubicBezTo>
                      <a:cubicBezTo>
                        <a:pt x="107" y="52"/>
                        <a:pt x="109" y="49"/>
                        <a:pt x="109" y="46"/>
                      </a:cubicBezTo>
                      <a:cubicBezTo>
                        <a:pt x="108" y="44"/>
                        <a:pt x="106" y="43"/>
                        <a:pt x="106" y="40"/>
                      </a:cubicBezTo>
                      <a:cubicBezTo>
                        <a:pt x="106" y="38"/>
                        <a:pt x="106" y="37"/>
                        <a:pt x="106" y="36"/>
                      </a:cubicBezTo>
                      <a:cubicBezTo>
                        <a:pt x="106" y="34"/>
                        <a:pt x="105" y="33"/>
                        <a:pt x="105" y="31"/>
                      </a:cubicBezTo>
                      <a:cubicBezTo>
                        <a:pt x="105" y="28"/>
                        <a:pt x="106" y="26"/>
                        <a:pt x="106" y="24"/>
                      </a:cubicBezTo>
                      <a:cubicBezTo>
                        <a:pt x="106" y="22"/>
                        <a:pt x="104" y="21"/>
                        <a:pt x="105" y="19"/>
                      </a:cubicBezTo>
                      <a:cubicBezTo>
                        <a:pt x="105" y="18"/>
                        <a:pt x="107" y="17"/>
                        <a:pt x="107" y="16"/>
                      </a:cubicBezTo>
                      <a:cubicBezTo>
                        <a:pt x="108" y="15"/>
                        <a:pt x="108" y="15"/>
                        <a:pt x="108" y="14"/>
                      </a:cubicBezTo>
                      <a:cubicBezTo>
                        <a:pt x="108" y="12"/>
                        <a:pt x="111" y="12"/>
                        <a:pt x="112" y="10"/>
                      </a:cubicBezTo>
                      <a:cubicBezTo>
                        <a:pt x="112" y="7"/>
                        <a:pt x="114" y="2"/>
                        <a:pt x="111" y="1"/>
                      </a:cubicBezTo>
                      <a:cubicBezTo>
                        <a:pt x="108" y="0"/>
                        <a:pt x="103" y="1"/>
                        <a:pt x="100" y="2"/>
                      </a:cubicBezTo>
                      <a:cubicBezTo>
                        <a:pt x="97" y="2"/>
                        <a:pt x="96" y="4"/>
                        <a:pt x="95" y="6"/>
                      </a:cubicBezTo>
                      <a:cubicBezTo>
                        <a:pt x="94" y="8"/>
                        <a:pt x="97" y="8"/>
                        <a:pt x="98" y="9"/>
                      </a:cubicBezTo>
                      <a:cubicBezTo>
                        <a:pt x="100" y="10"/>
                        <a:pt x="102" y="11"/>
                        <a:pt x="103" y="13"/>
                      </a:cubicBezTo>
                      <a:cubicBezTo>
                        <a:pt x="103" y="14"/>
                        <a:pt x="105" y="19"/>
                        <a:pt x="102" y="19"/>
                      </a:cubicBezTo>
                      <a:cubicBezTo>
                        <a:pt x="100" y="19"/>
                        <a:pt x="100" y="16"/>
                        <a:pt x="98" y="15"/>
                      </a:cubicBezTo>
                      <a:cubicBezTo>
                        <a:pt x="96" y="14"/>
                        <a:pt x="93" y="15"/>
                        <a:pt x="91" y="14"/>
                      </a:cubicBezTo>
                      <a:cubicBezTo>
                        <a:pt x="90" y="13"/>
                        <a:pt x="89" y="12"/>
                        <a:pt x="86" y="13"/>
                      </a:cubicBezTo>
                      <a:cubicBezTo>
                        <a:pt x="84" y="14"/>
                        <a:pt x="84" y="17"/>
                        <a:pt x="84" y="18"/>
                      </a:cubicBezTo>
                      <a:cubicBezTo>
                        <a:pt x="84" y="22"/>
                        <a:pt x="84" y="26"/>
                        <a:pt x="84" y="29"/>
                      </a:cubicBezTo>
                      <a:cubicBezTo>
                        <a:pt x="85" y="32"/>
                        <a:pt x="84" y="34"/>
                        <a:pt x="85" y="37"/>
                      </a:cubicBezTo>
                      <a:cubicBezTo>
                        <a:pt x="85" y="39"/>
                        <a:pt x="86" y="41"/>
                        <a:pt x="84" y="44"/>
                      </a:cubicBezTo>
                      <a:cubicBezTo>
                        <a:pt x="83" y="45"/>
                        <a:pt x="81" y="46"/>
                        <a:pt x="80" y="46"/>
                      </a:cubicBezTo>
                      <a:cubicBezTo>
                        <a:pt x="80" y="45"/>
                        <a:pt x="79" y="44"/>
                        <a:pt x="79" y="44"/>
                      </a:cubicBezTo>
                      <a:cubicBezTo>
                        <a:pt x="79" y="42"/>
                        <a:pt x="79" y="41"/>
                        <a:pt x="79" y="40"/>
                      </a:cubicBezTo>
                      <a:cubicBezTo>
                        <a:pt x="79" y="37"/>
                        <a:pt x="78" y="34"/>
                        <a:pt x="78" y="31"/>
                      </a:cubicBezTo>
                      <a:cubicBezTo>
                        <a:pt x="78" y="27"/>
                        <a:pt x="77" y="22"/>
                        <a:pt x="73" y="20"/>
                      </a:cubicBezTo>
                      <a:cubicBezTo>
                        <a:pt x="72" y="20"/>
                        <a:pt x="65" y="18"/>
                        <a:pt x="66" y="20"/>
                      </a:cubicBezTo>
                      <a:cubicBezTo>
                        <a:pt x="66" y="23"/>
                        <a:pt x="69" y="25"/>
                        <a:pt x="68" y="28"/>
                      </a:cubicBezTo>
                      <a:cubicBezTo>
                        <a:pt x="68" y="29"/>
                        <a:pt x="65" y="30"/>
                        <a:pt x="64" y="30"/>
                      </a:cubicBezTo>
                      <a:cubicBezTo>
                        <a:pt x="62" y="30"/>
                        <a:pt x="61" y="31"/>
                        <a:pt x="59" y="33"/>
                      </a:cubicBezTo>
                      <a:cubicBezTo>
                        <a:pt x="55" y="37"/>
                        <a:pt x="57" y="33"/>
                        <a:pt x="58" y="31"/>
                      </a:cubicBezTo>
                      <a:cubicBezTo>
                        <a:pt x="60" y="27"/>
                        <a:pt x="58" y="25"/>
                        <a:pt x="55" y="24"/>
                      </a:cubicBezTo>
                      <a:cubicBezTo>
                        <a:pt x="53" y="23"/>
                        <a:pt x="47" y="22"/>
                        <a:pt x="45" y="26"/>
                      </a:cubicBezTo>
                      <a:cubicBezTo>
                        <a:pt x="44" y="27"/>
                        <a:pt x="44" y="29"/>
                        <a:pt x="43" y="31"/>
                      </a:cubicBezTo>
                      <a:cubicBezTo>
                        <a:pt x="41" y="32"/>
                        <a:pt x="39" y="33"/>
                        <a:pt x="37" y="34"/>
                      </a:cubicBezTo>
                      <a:cubicBezTo>
                        <a:pt x="31" y="35"/>
                        <a:pt x="41" y="27"/>
                        <a:pt x="42" y="25"/>
                      </a:cubicBezTo>
                      <a:cubicBezTo>
                        <a:pt x="42" y="23"/>
                        <a:pt x="44" y="22"/>
                        <a:pt x="43" y="20"/>
                      </a:cubicBezTo>
                      <a:cubicBezTo>
                        <a:pt x="43" y="18"/>
                        <a:pt x="42" y="16"/>
                        <a:pt x="39" y="17"/>
                      </a:cubicBezTo>
                      <a:cubicBezTo>
                        <a:pt x="38" y="18"/>
                        <a:pt x="36" y="20"/>
                        <a:pt x="35" y="21"/>
                      </a:cubicBezTo>
                      <a:cubicBezTo>
                        <a:pt x="32" y="24"/>
                        <a:pt x="29" y="25"/>
                        <a:pt x="26" y="27"/>
                      </a:cubicBezTo>
                      <a:cubicBezTo>
                        <a:pt x="21" y="29"/>
                        <a:pt x="16" y="34"/>
                        <a:pt x="13" y="37"/>
                      </a:cubicBezTo>
                      <a:cubicBezTo>
                        <a:pt x="10" y="39"/>
                        <a:pt x="7" y="41"/>
                        <a:pt x="6" y="43"/>
                      </a:cubicBezTo>
                      <a:cubicBezTo>
                        <a:pt x="4" y="46"/>
                        <a:pt x="7" y="45"/>
                        <a:pt x="8" y="45"/>
                      </a:cubicBezTo>
                      <a:cubicBezTo>
                        <a:pt x="13" y="44"/>
                        <a:pt x="5" y="50"/>
                        <a:pt x="4" y="50"/>
                      </a:cubicBezTo>
                      <a:cubicBezTo>
                        <a:pt x="1" y="53"/>
                        <a:pt x="1" y="59"/>
                        <a:pt x="3" y="61"/>
                      </a:cubicBezTo>
                      <a:cubicBezTo>
                        <a:pt x="5" y="62"/>
                        <a:pt x="10" y="63"/>
                        <a:pt x="13" y="62"/>
                      </a:cubicBezTo>
                      <a:cubicBezTo>
                        <a:pt x="15" y="62"/>
                        <a:pt x="17" y="60"/>
                        <a:pt x="20" y="60"/>
                      </a:cubicBezTo>
                      <a:cubicBezTo>
                        <a:pt x="24" y="59"/>
                        <a:pt x="18" y="63"/>
                        <a:pt x="17" y="63"/>
                      </a:cubicBezTo>
                      <a:cubicBezTo>
                        <a:pt x="14" y="65"/>
                        <a:pt x="5" y="67"/>
                        <a:pt x="4" y="71"/>
                      </a:cubicBezTo>
                      <a:cubicBezTo>
                        <a:pt x="4" y="74"/>
                        <a:pt x="6" y="78"/>
                        <a:pt x="8" y="80"/>
                      </a:cubicBezTo>
                      <a:cubicBezTo>
                        <a:pt x="11" y="83"/>
                        <a:pt x="16" y="79"/>
                        <a:pt x="21" y="77"/>
                      </a:cubicBezTo>
                      <a:cubicBezTo>
                        <a:pt x="27" y="75"/>
                        <a:pt x="32" y="76"/>
                        <a:pt x="39" y="76"/>
                      </a:cubicBezTo>
                      <a:cubicBezTo>
                        <a:pt x="40" y="76"/>
                        <a:pt x="50" y="77"/>
                        <a:pt x="44" y="80"/>
                      </a:cubicBezTo>
                      <a:cubicBezTo>
                        <a:pt x="43" y="81"/>
                        <a:pt x="39" y="81"/>
                        <a:pt x="37" y="81"/>
                      </a:cubicBezTo>
                      <a:cubicBezTo>
                        <a:pt x="33" y="82"/>
                        <a:pt x="29" y="83"/>
                        <a:pt x="25" y="83"/>
                      </a:cubicBezTo>
                      <a:cubicBezTo>
                        <a:pt x="21" y="84"/>
                        <a:pt x="0" y="89"/>
                        <a:pt x="6" y="96"/>
                      </a:cubicBezTo>
                      <a:cubicBezTo>
                        <a:pt x="8" y="98"/>
                        <a:pt x="10" y="99"/>
                        <a:pt x="12" y="101"/>
                      </a:cubicBezTo>
                      <a:cubicBezTo>
                        <a:pt x="14" y="105"/>
                        <a:pt x="19" y="105"/>
                        <a:pt x="24" y="103"/>
                      </a:cubicBezTo>
                      <a:cubicBezTo>
                        <a:pt x="30" y="102"/>
                        <a:pt x="30" y="104"/>
                        <a:pt x="30" y="110"/>
                      </a:cubicBezTo>
                      <a:cubicBezTo>
                        <a:pt x="30" y="115"/>
                        <a:pt x="33" y="120"/>
                        <a:pt x="39" y="117"/>
                      </a:cubicBezTo>
                      <a:cubicBezTo>
                        <a:pt x="46" y="114"/>
                        <a:pt x="53" y="114"/>
                        <a:pt x="59" y="111"/>
                      </a:cubicBezTo>
                      <a:cubicBezTo>
                        <a:pt x="61" y="110"/>
                        <a:pt x="64" y="109"/>
                        <a:pt x="66" y="108"/>
                      </a:cubicBezTo>
                      <a:cubicBezTo>
                        <a:pt x="69" y="106"/>
                        <a:pt x="70" y="104"/>
                        <a:pt x="73" y="104"/>
                      </a:cubicBezTo>
                      <a:cubicBezTo>
                        <a:pt x="79" y="103"/>
                        <a:pt x="80" y="101"/>
                        <a:pt x="81" y="96"/>
                      </a:cubicBezTo>
                      <a:cubicBezTo>
                        <a:pt x="81" y="94"/>
                        <a:pt x="84" y="88"/>
                        <a:pt x="85" y="93"/>
                      </a:cubicBezTo>
                      <a:cubicBezTo>
                        <a:pt x="86" y="95"/>
                        <a:pt x="86" y="98"/>
                        <a:pt x="89" y="98"/>
                      </a:cubicBezTo>
                      <a:cubicBezTo>
                        <a:pt x="91" y="98"/>
                        <a:pt x="93" y="97"/>
                        <a:pt x="95" y="98"/>
                      </a:cubicBezTo>
                      <a:cubicBezTo>
                        <a:pt x="97" y="98"/>
                        <a:pt x="97" y="99"/>
                        <a:pt x="98" y="101"/>
                      </a:cubicBezTo>
                      <a:cubicBezTo>
                        <a:pt x="100" y="103"/>
                        <a:pt x="107" y="101"/>
                        <a:pt x="110" y="101"/>
                      </a:cubicBezTo>
                      <a:cubicBezTo>
                        <a:pt x="116" y="101"/>
                        <a:pt x="118" y="99"/>
                        <a:pt x="122" y="96"/>
                      </a:cubicBezTo>
                      <a:cubicBezTo>
                        <a:pt x="124" y="94"/>
                        <a:pt x="122" y="89"/>
                        <a:pt x="120" y="88"/>
                      </a:cubicBezTo>
                      <a:cubicBezTo>
                        <a:pt x="118" y="88"/>
                        <a:pt x="117" y="89"/>
                        <a:pt x="115" y="88"/>
                      </a:cubicBezTo>
                      <a:cubicBezTo>
                        <a:pt x="114" y="87"/>
                        <a:pt x="114" y="85"/>
                        <a:pt x="117" y="84"/>
                      </a:cubicBezTo>
                      <a:cubicBezTo>
                        <a:pt x="120" y="83"/>
                        <a:pt x="120" y="81"/>
                        <a:pt x="123" y="80"/>
                      </a:cubicBezTo>
                      <a:cubicBezTo>
                        <a:pt x="124" y="79"/>
                        <a:pt x="125" y="83"/>
                        <a:pt x="127" y="82"/>
                      </a:cubicBezTo>
                      <a:cubicBezTo>
                        <a:pt x="129" y="82"/>
                        <a:pt x="130" y="80"/>
                        <a:pt x="130" y="78"/>
                      </a:cubicBezTo>
                      <a:cubicBezTo>
                        <a:pt x="132" y="75"/>
                        <a:pt x="130" y="74"/>
                        <a:pt x="128" y="72"/>
                      </a:cubicBezTo>
                      <a:cubicBezTo>
                        <a:pt x="126" y="68"/>
                        <a:pt x="127" y="64"/>
                        <a:pt x="121" y="64"/>
                      </a:cubicBezTo>
                      <a:cubicBezTo>
                        <a:pt x="117" y="64"/>
                        <a:pt x="112" y="65"/>
                        <a:pt x="11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52"/>
                <p:cNvSpPr>
                  <a:spLocks/>
                </p:cNvSpPr>
                <p:nvPr/>
              </p:nvSpPr>
              <p:spPr bwMode="auto">
                <a:xfrm>
                  <a:off x="3541713" y="4310063"/>
                  <a:ext cx="3175" cy="1588"/>
                </a:xfrm>
                <a:custGeom>
                  <a:avLst/>
                  <a:gdLst>
                    <a:gd name="T0" fmla="*/ 2 w 4"/>
                    <a:gd name="T1" fmla="*/ 2 h 4"/>
                    <a:gd name="T2" fmla="*/ 0 w 4"/>
                    <a:gd name="T3" fmla="*/ 3 h 4"/>
                    <a:gd name="T4" fmla="*/ 0 w 4"/>
                    <a:gd name="T5" fmla="*/ 4 h 4"/>
                    <a:gd name="T6" fmla="*/ 4 w 4"/>
                    <a:gd name="T7" fmla="*/ 1 h 4"/>
                    <a:gd name="T8" fmla="*/ 3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cubicBezTo>
                        <a:pt x="1" y="3"/>
                        <a:pt x="1" y="2"/>
                        <a:pt x="0" y="3"/>
                      </a:cubicBezTo>
                      <a:cubicBezTo>
                        <a:pt x="0" y="3"/>
                        <a:pt x="0" y="4"/>
                        <a:pt x="0" y="4"/>
                      </a:cubicBezTo>
                      <a:cubicBezTo>
                        <a:pt x="1" y="3"/>
                        <a:pt x="3" y="2"/>
                        <a:pt x="4" y="1"/>
                      </a:cubicBezTo>
                      <a:cubicBezTo>
                        <a:pt x="4" y="0"/>
                        <a:pt x="4" y="0"/>
                        <a:pt x="3" y="0"/>
                      </a:cubicBezTo>
                      <a:cubicBezTo>
                        <a:pt x="2" y="0"/>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53"/>
                <p:cNvSpPr>
                  <a:spLocks/>
                </p:cNvSpPr>
                <p:nvPr/>
              </p:nvSpPr>
              <p:spPr bwMode="auto">
                <a:xfrm>
                  <a:off x="3530601" y="4316413"/>
                  <a:ext cx="1588" cy="3175"/>
                </a:xfrm>
                <a:custGeom>
                  <a:avLst/>
                  <a:gdLst>
                    <a:gd name="T0" fmla="*/ 0 w 2"/>
                    <a:gd name="T1" fmla="*/ 3 h 3"/>
                    <a:gd name="T2" fmla="*/ 2 w 2"/>
                    <a:gd name="T3" fmla="*/ 2 h 3"/>
                    <a:gd name="T4" fmla="*/ 0 w 2"/>
                    <a:gd name="T5" fmla="*/ 3 h 3"/>
                  </a:gdLst>
                  <a:ahLst/>
                  <a:cxnLst>
                    <a:cxn ang="0">
                      <a:pos x="T0" y="T1"/>
                    </a:cxn>
                    <a:cxn ang="0">
                      <a:pos x="T2" y="T3"/>
                    </a:cxn>
                    <a:cxn ang="0">
                      <a:pos x="T4" y="T5"/>
                    </a:cxn>
                  </a:cxnLst>
                  <a:rect l="0" t="0" r="r" b="b"/>
                  <a:pathLst>
                    <a:path w="2" h="3">
                      <a:moveTo>
                        <a:pt x="0" y="3"/>
                      </a:moveTo>
                      <a:cubicBezTo>
                        <a:pt x="0" y="2"/>
                        <a:pt x="1" y="2"/>
                        <a:pt x="2" y="2"/>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54"/>
                <p:cNvSpPr>
                  <a:spLocks/>
                </p:cNvSpPr>
                <p:nvPr/>
              </p:nvSpPr>
              <p:spPr bwMode="auto">
                <a:xfrm>
                  <a:off x="3543301" y="3933825"/>
                  <a:ext cx="3175" cy="4763"/>
                </a:xfrm>
                <a:custGeom>
                  <a:avLst/>
                  <a:gdLst>
                    <a:gd name="T0" fmla="*/ 3 w 4"/>
                    <a:gd name="T1" fmla="*/ 3 h 6"/>
                    <a:gd name="T2" fmla="*/ 0 w 4"/>
                    <a:gd name="T3" fmla="*/ 0 h 6"/>
                    <a:gd name="T4" fmla="*/ 3 w 4"/>
                    <a:gd name="T5" fmla="*/ 4 h 6"/>
                    <a:gd name="T6" fmla="*/ 3 w 4"/>
                    <a:gd name="T7" fmla="*/ 3 h 6"/>
                  </a:gdLst>
                  <a:ahLst/>
                  <a:cxnLst>
                    <a:cxn ang="0">
                      <a:pos x="T0" y="T1"/>
                    </a:cxn>
                    <a:cxn ang="0">
                      <a:pos x="T2" y="T3"/>
                    </a:cxn>
                    <a:cxn ang="0">
                      <a:pos x="T4" y="T5"/>
                    </a:cxn>
                    <a:cxn ang="0">
                      <a:pos x="T6" y="T7"/>
                    </a:cxn>
                  </a:cxnLst>
                  <a:rect l="0" t="0" r="r" b="b"/>
                  <a:pathLst>
                    <a:path w="4" h="6">
                      <a:moveTo>
                        <a:pt x="3" y="3"/>
                      </a:moveTo>
                      <a:cubicBezTo>
                        <a:pt x="2" y="2"/>
                        <a:pt x="1" y="1"/>
                        <a:pt x="0" y="0"/>
                      </a:cubicBezTo>
                      <a:cubicBezTo>
                        <a:pt x="0" y="2"/>
                        <a:pt x="1" y="2"/>
                        <a:pt x="3" y="4"/>
                      </a:cubicBezTo>
                      <a:cubicBezTo>
                        <a:pt x="4" y="6"/>
                        <a:pt x="3" y="4"/>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55"/>
                <p:cNvSpPr>
                  <a:spLocks/>
                </p:cNvSpPr>
                <p:nvPr/>
              </p:nvSpPr>
              <p:spPr bwMode="auto">
                <a:xfrm>
                  <a:off x="3530601" y="3930650"/>
                  <a:ext cx="14288" cy="26988"/>
                </a:xfrm>
                <a:custGeom>
                  <a:avLst/>
                  <a:gdLst>
                    <a:gd name="T0" fmla="*/ 12 w 20"/>
                    <a:gd name="T1" fmla="*/ 19 h 36"/>
                    <a:gd name="T2" fmla="*/ 11 w 20"/>
                    <a:gd name="T3" fmla="*/ 13 h 36"/>
                    <a:gd name="T4" fmla="*/ 8 w 20"/>
                    <a:gd name="T5" fmla="*/ 11 h 36"/>
                    <a:gd name="T6" fmla="*/ 7 w 20"/>
                    <a:gd name="T7" fmla="*/ 8 h 36"/>
                    <a:gd name="T8" fmla="*/ 5 w 20"/>
                    <a:gd name="T9" fmla="*/ 3 h 36"/>
                    <a:gd name="T10" fmla="*/ 2 w 20"/>
                    <a:gd name="T11" fmla="*/ 1 h 36"/>
                    <a:gd name="T12" fmla="*/ 0 w 20"/>
                    <a:gd name="T13" fmla="*/ 4 h 36"/>
                    <a:gd name="T14" fmla="*/ 4 w 20"/>
                    <a:gd name="T15" fmla="*/ 8 h 36"/>
                    <a:gd name="T16" fmla="*/ 4 w 20"/>
                    <a:gd name="T17" fmla="*/ 10 h 36"/>
                    <a:gd name="T18" fmla="*/ 5 w 20"/>
                    <a:gd name="T19" fmla="*/ 14 h 36"/>
                    <a:gd name="T20" fmla="*/ 7 w 20"/>
                    <a:gd name="T21" fmla="*/ 21 h 36"/>
                    <a:gd name="T22" fmla="*/ 9 w 20"/>
                    <a:gd name="T23" fmla="*/ 26 h 36"/>
                    <a:gd name="T24" fmla="*/ 12 w 20"/>
                    <a:gd name="T25" fmla="*/ 28 h 36"/>
                    <a:gd name="T26" fmla="*/ 16 w 20"/>
                    <a:gd name="T27" fmla="*/ 34 h 36"/>
                    <a:gd name="T28" fmla="*/ 18 w 20"/>
                    <a:gd name="T29" fmla="*/ 35 h 36"/>
                    <a:gd name="T30" fmla="*/ 18 w 20"/>
                    <a:gd name="T31" fmla="*/ 32 h 36"/>
                    <a:gd name="T32" fmla="*/ 18 w 20"/>
                    <a:gd name="T33" fmla="*/ 29 h 36"/>
                    <a:gd name="T34" fmla="*/ 19 w 20"/>
                    <a:gd name="T35" fmla="*/ 26 h 36"/>
                    <a:gd name="T36" fmla="*/ 12 w 20"/>
                    <a:gd name="T37"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6">
                      <a:moveTo>
                        <a:pt x="12" y="19"/>
                      </a:moveTo>
                      <a:cubicBezTo>
                        <a:pt x="11" y="16"/>
                        <a:pt x="13" y="16"/>
                        <a:pt x="11" y="13"/>
                      </a:cubicBezTo>
                      <a:cubicBezTo>
                        <a:pt x="10" y="11"/>
                        <a:pt x="8" y="11"/>
                        <a:pt x="8" y="11"/>
                      </a:cubicBezTo>
                      <a:cubicBezTo>
                        <a:pt x="6" y="10"/>
                        <a:pt x="6" y="9"/>
                        <a:pt x="7" y="8"/>
                      </a:cubicBezTo>
                      <a:cubicBezTo>
                        <a:pt x="7" y="7"/>
                        <a:pt x="6" y="5"/>
                        <a:pt x="5" y="3"/>
                      </a:cubicBezTo>
                      <a:cubicBezTo>
                        <a:pt x="5" y="1"/>
                        <a:pt x="3" y="0"/>
                        <a:pt x="2" y="1"/>
                      </a:cubicBezTo>
                      <a:cubicBezTo>
                        <a:pt x="2" y="2"/>
                        <a:pt x="0" y="2"/>
                        <a:pt x="0" y="4"/>
                      </a:cubicBezTo>
                      <a:cubicBezTo>
                        <a:pt x="1" y="6"/>
                        <a:pt x="3" y="6"/>
                        <a:pt x="4" y="8"/>
                      </a:cubicBezTo>
                      <a:cubicBezTo>
                        <a:pt x="5" y="9"/>
                        <a:pt x="4" y="10"/>
                        <a:pt x="4" y="10"/>
                      </a:cubicBezTo>
                      <a:cubicBezTo>
                        <a:pt x="4" y="11"/>
                        <a:pt x="4" y="12"/>
                        <a:pt x="5" y="14"/>
                      </a:cubicBezTo>
                      <a:cubicBezTo>
                        <a:pt x="7" y="17"/>
                        <a:pt x="7" y="18"/>
                        <a:pt x="7" y="21"/>
                      </a:cubicBezTo>
                      <a:cubicBezTo>
                        <a:pt x="7" y="22"/>
                        <a:pt x="7" y="25"/>
                        <a:pt x="9" y="26"/>
                      </a:cubicBezTo>
                      <a:cubicBezTo>
                        <a:pt x="10" y="28"/>
                        <a:pt x="11" y="28"/>
                        <a:pt x="12" y="28"/>
                      </a:cubicBezTo>
                      <a:cubicBezTo>
                        <a:pt x="15" y="30"/>
                        <a:pt x="14" y="32"/>
                        <a:pt x="16" y="34"/>
                      </a:cubicBezTo>
                      <a:cubicBezTo>
                        <a:pt x="16" y="36"/>
                        <a:pt x="18" y="36"/>
                        <a:pt x="18" y="35"/>
                      </a:cubicBezTo>
                      <a:cubicBezTo>
                        <a:pt x="18" y="34"/>
                        <a:pt x="18" y="33"/>
                        <a:pt x="18" y="32"/>
                      </a:cubicBezTo>
                      <a:cubicBezTo>
                        <a:pt x="18" y="31"/>
                        <a:pt x="17" y="30"/>
                        <a:pt x="18" y="29"/>
                      </a:cubicBezTo>
                      <a:cubicBezTo>
                        <a:pt x="18" y="28"/>
                        <a:pt x="19" y="28"/>
                        <a:pt x="19" y="26"/>
                      </a:cubicBezTo>
                      <a:cubicBezTo>
                        <a:pt x="20" y="23"/>
                        <a:pt x="13" y="21"/>
                        <a:pt x="1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56"/>
                <p:cNvSpPr>
                  <a:spLocks/>
                </p:cNvSpPr>
                <p:nvPr/>
              </p:nvSpPr>
              <p:spPr bwMode="auto">
                <a:xfrm>
                  <a:off x="3513138" y="3894138"/>
                  <a:ext cx="1588" cy="3175"/>
                </a:xfrm>
                <a:custGeom>
                  <a:avLst/>
                  <a:gdLst>
                    <a:gd name="T0" fmla="*/ 0 w 3"/>
                    <a:gd name="T1" fmla="*/ 1 h 5"/>
                    <a:gd name="T2" fmla="*/ 1 w 3"/>
                    <a:gd name="T3" fmla="*/ 3 h 5"/>
                    <a:gd name="T4" fmla="*/ 3 w 3"/>
                    <a:gd name="T5" fmla="*/ 4 h 5"/>
                    <a:gd name="T6" fmla="*/ 2 w 3"/>
                    <a:gd name="T7" fmla="*/ 2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1"/>
                        <a:pt x="0" y="3"/>
                        <a:pt x="1" y="3"/>
                      </a:cubicBezTo>
                      <a:cubicBezTo>
                        <a:pt x="2" y="4"/>
                        <a:pt x="3" y="5"/>
                        <a:pt x="3" y="4"/>
                      </a:cubicBezTo>
                      <a:cubicBezTo>
                        <a:pt x="3" y="4"/>
                        <a:pt x="2" y="2"/>
                        <a:pt x="2" y="2"/>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57"/>
                <p:cNvSpPr>
                  <a:spLocks/>
                </p:cNvSpPr>
                <p:nvPr/>
              </p:nvSpPr>
              <p:spPr bwMode="auto">
                <a:xfrm>
                  <a:off x="3513138" y="4164013"/>
                  <a:ext cx="3175" cy="6350"/>
                </a:xfrm>
                <a:custGeom>
                  <a:avLst/>
                  <a:gdLst>
                    <a:gd name="T0" fmla="*/ 3 w 4"/>
                    <a:gd name="T1" fmla="*/ 6 h 9"/>
                    <a:gd name="T2" fmla="*/ 3 w 4"/>
                    <a:gd name="T3" fmla="*/ 1 h 9"/>
                    <a:gd name="T4" fmla="*/ 1 w 4"/>
                    <a:gd name="T5" fmla="*/ 1 h 9"/>
                    <a:gd name="T6" fmla="*/ 3 w 4"/>
                    <a:gd name="T7" fmla="*/ 6 h 9"/>
                  </a:gdLst>
                  <a:ahLst/>
                  <a:cxnLst>
                    <a:cxn ang="0">
                      <a:pos x="T0" y="T1"/>
                    </a:cxn>
                    <a:cxn ang="0">
                      <a:pos x="T2" y="T3"/>
                    </a:cxn>
                    <a:cxn ang="0">
                      <a:pos x="T4" y="T5"/>
                    </a:cxn>
                    <a:cxn ang="0">
                      <a:pos x="T6" y="T7"/>
                    </a:cxn>
                  </a:cxnLst>
                  <a:rect l="0" t="0" r="r" b="b"/>
                  <a:pathLst>
                    <a:path w="4" h="9">
                      <a:moveTo>
                        <a:pt x="3" y="6"/>
                      </a:moveTo>
                      <a:cubicBezTo>
                        <a:pt x="4" y="5"/>
                        <a:pt x="4" y="2"/>
                        <a:pt x="3" y="1"/>
                      </a:cubicBezTo>
                      <a:cubicBezTo>
                        <a:pt x="3" y="0"/>
                        <a:pt x="1" y="0"/>
                        <a:pt x="1" y="1"/>
                      </a:cubicBezTo>
                      <a:cubicBezTo>
                        <a:pt x="0" y="4"/>
                        <a:pt x="3" y="9"/>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158"/>
                <p:cNvSpPr>
                  <a:spLocks/>
                </p:cNvSpPr>
                <p:nvPr/>
              </p:nvSpPr>
              <p:spPr bwMode="auto">
                <a:xfrm>
                  <a:off x="3505201" y="4167188"/>
                  <a:ext cx="23813" cy="82550"/>
                </a:xfrm>
                <a:custGeom>
                  <a:avLst/>
                  <a:gdLst>
                    <a:gd name="T0" fmla="*/ 5 w 31"/>
                    <a:gd name="T1" fmla="*/ 106 h 108"/>
                    <a:gd name="T2" fmla="*/ 12 w 31"/>
                    <a:gd name="T3" fmla="*/ 104 h 108"/>
                    <a:gd name="T4" fmla="*/ 16 w 31"/>
                    <a:gd name="T5" fmla="*/ 101 h 108"/>
                    <a:gd name="T6" fmla="*/ 20 w 31"/>
                    <a:gd name="T7" fmla="*/ 100 h 108"/>
                    <a:gd name="T8" fmla="*/ 21 w 31"/>
                    <a:gd name="T9" fmla="*/ 99 h 108"/>
                    <a:gd name="T10" fmla="*/ 23 w 31"/>
                    <a:gd name="T11" fmla="*/ 99 h 108"/>
                    <a:gd name="T12" fmla="*/ 26 w 31"/>
                    <a:gd name="T13" fmla="*/ 100 h 108"/>
                    <a:gd name="T14" fmla="*/ 28 w 31"/>
                    <a:gd name="T15" fmla="*/ 96 h 108"/>
                    <a:gd name="T16" fmla="*/ 30 w 31"/>
                    <a:gd name="T17" fmla="*/ 88 h 108"/>
                    <a:gd name="T18" fmla="*/ 29 w 31"/>
                    <a:gd name="T19" fmla="*/ 77 h 108"/>
                    <a:gd name="T20" fmla="*/ 26 w 31"/>
                    <a:gd name="T21" fmla="*/ 72 h 108"/>
                    <a:gd name="T22" fmla="*/ 24 w 31"/>
                    <a:gd name="T23" fmla="*/ 64 h 108"/>
                    <a:gd name="T24" fmla="*/ 22 w 31"/>
                    <a:gd name="T25" fmla="*/ 58 h 108"/>
                    <a:gd name="T26" fmla="*/ 20 w 31"/>
                    <a:gd name="T27" fmla="*/ 54 h 108"/>
                    <a:gd name="T28" fmla="*/ 19 w 31"/>
                    <a:gd name="T29" fmla="*/ 49 h 108"/>
                    <a:gd name="T30" fmla="*/ 18 w 31"/>
                    <a:gd name="T31" fmla="*/ 45 h 108"/>
                    <a:gd name="T32" fmla="*/ 17 w 31"/>
                    <a:gd name="T33" fmla="*/ 40 h 108"/>
                    <a:gd name="T34" fmla="*/ 14 w 31"/>
                    <a:gd name="T35" fmla="*/ 38 h 108"/>
                    <a:gd name="T36" fmla="*/ 14 w 31"/>
                    <a:gd name="T37" fmla="*/ 34 h 108"/>
                    <a:gd name="T38" fmla="*/ 16 w 31"/>
                    <a:gd name="T39" fmla="*/ 27 h 108"/>
                    <a:gd name="T40" fmla="*/ 18 w 31"/>
                    <a:gd name="T41" fmla="*/ 22 h 108"/>
                    <a:gd name="T42" fmla="*/ 16 w 31"/>
                    <a:gd name="T43" fmla="*/ 19 h 108"/>
                    <a:gd name="T44" fmla="*/ 13 w 31"/>
                    <a:gd name="T45" fmla="*/ 18 h 108"/>
                    <a:gd name="T46" fmla="*/ 10 w 31"/>
                    <a:gd name="T47" fmla="*/ 18 h 108"/>
                    <a:gd name="T48" fmla="*/ 12 w 31"/>
                    <a:gd name="T49" fmla="*/ 5 h 108"/>
                    <a:gd name="T50" fmla="*/ 5 w 31"/>
                    <a:gd name="T51" fmla="*/ 4 h 108"/>
                    <a:gd name="T52" fmla="*/ 3 w 31"/>
                    <a:gd name="T53" fmla="*/ 12 h 108"/>
                    <a:gd name="T54" fmla="*/ 2 w 31"/>
                    <a:gd name="T55" fmla="*/ 19 h 108"/>
                    <a:gd name="T56" fmla="*/ 1 w 31"/>
                    <a:gd name="T57" fmla="*/ 24 h 108"/>
                    <a:gd name="T58" fmla="*/ 2 w 31"/>
                    <a:gd name="T59" fmla="*/ 27 h 108"/>
                    <a:gd name="T60" fmla="*/ 2 w 31"/>
                    <a:gd name="T61" fmla="*/ 33 h 108"/>
                    <a:gd name="T62" fmla="*/ 4 w 31"/>
                    <a:gd name="T63" fmla="*/ 34 h 108"/>
                    <a:gd name="T64" fmla="*/ 3 w 31"/>
                    <a:gd name="T65" fmla="*/ 38 h 108"/>
                    <a:gd name="T66" fmla="*/ 6 w 31"/>
                    <a:gd name="T67" fmla="*/ 43 h 108"/>
                    <a:gd name="T68" fmla="*/ 7 w 31"/>
                    <a:gd name="T69" fmla="*/ 47 h 108"/>
                    <a:gd name="T70" fmla="*/ 5 w 31"/>
                    <a:gd name="T71" fmla="*/ 51 h 108"/>
                    <a:gd name="T72" fmla="*/ 6 w 31"/>
                    <a:gd name="T73" fmla="*/ 54 h 108"/>
                    <a:gd name="T74" fmla="*/ 9 w 31"/>
                    <a:gd name="T75" fmla="*/ 53 h 108"/>
                    <a:gd name="T76" fmla="*/ 11 w 31"/>
                    <a:gd name="T77" fmla="*/ 58 h 108"/>
                    <a:gd name="T78" fmla="*/ 12 w 31"/>
                    <a:gd name="T79" fmla="*/ 62 h 108"/>
                    <a:gd name="T80" fmla="*/ 12 w 31"/>
                    <a:gd name="T81" fmla="*/ 66 h 108"/>
                    <a:gd name="T82" fmla="*/ 12 w 31"/>
                    <a:gd name="T83" fmla="*/ 73 h 108"/>
                    <a:gd name="T84" fmla="*/ 7 w 31"/>
                    <a:gd name="T85" fmla="*/ 69 h 108"/>
                    <a:gd name="T86" fmla="*/ 8 w 31"/>
                    <a:gd name="T87" fmla="*/ 75 h 108"/>
                    <a:gd name="T88" fmla="*/ 9 w 31"/>
                    <a:gd name="T89" fmla="*/ 82 h 108"/>
                    <a:gd name="T90" fmla="*/ 10 w 31"/>
                    <a:gd name="T91" fmla="*/ 85 h 108"/>
                    <a:gd name="T92" fmla="*/ 10 w 31"/>
                    <a:gd name="T93" fmla="*/ 88 h 108"/>
                    <a:gd name="T94" fmla="*/ 12 w 31"/>
                    <a:gd name="T95" fmla="*/ 88 h 108"/>
                    <a:gd name="T96" fmla="*/ 10 w 31"/>
                    <a:gd name="T97" fmla="*/ 97 h 108"/>
                    <a:gd name="T98" fmla="*/ 5 w 31"/>
                    <a:gd name="T99"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108">
                      <a:moveTo>
                        <a:pt x="5" y="106"/>
                      </a:moveTo>
                      <a:cubicBezTo>
                        <a:pt x="7" y="108"/>
                        <a:pt x="10" y="105"/>
                        <a:pt x="12" y="104"/>
                      </a:cubicBezTo>
                      <a:cubicBezTo>
                        <a:pt x="13" y="102"/>
                        <a:pt x="14" y="101"/>
                        <a:pt x="16" y="101"/>
                      </a:cubicBezTo>
                      <a:cubicBezTo>
                        <a:pt x="17" y="101"/>
                        <a:pt x="19" y="101"/>
                        <a:pt x="20" y="100"/>
                      </a:cubicBezTo>
                      <a:cubicBezTo>
                        <a:pt x="21" y="100"/>
                        <a:pt x="21" y="99"/>
                        <a:pt x="21" y="99"/>
                      </a:cubicBezTo>
                      <a:cubicBezTo>
                        <a:pt x="22" y="99"/>
                        <a:pt x="23" y="99"/>
                        <a:pt x="23" y="99"/>
                      </a:cubicBezTo>
                      <a:cubicBezTo>
                        <a:pt x="24" y="100"/>
                        <a:pt x="25" y="102"/>
                        <a:pt x="26" y="100"/>
                      </a:cubicBezTo>
                      <a:cubicBezTo>
                        <a:pt x="27" y="99"/>
                        <a:pt x="28" y="99"/>
                        <a:pt x="28" y="96"/>
                      </a:cubicBezTo>
                      <a:cubicBezTo>
                        <a:pt x="29" y="93"/>
                        <a:pt x="28" y="90"/>
                        <a:pt x="30" y="88"/>
                      </a:cubicBezTo>
                      <a:cubicBezTo>
                        <a:pt x="31" y="83"/>
                        <a:pt x="31" y="80"/>
                        <a:pt x="29" y="77"/>
                      </a:cubicBezTo>
                      <a:cubicBezTo>
                        <a:pt x="28" y="75"/>
                        <a:pt x="27" y="74"/>
                        <a:pt x="26" y="72"/>
                      </a:cubicBezTo>
                      <a:cubicBezTo>
                        <a:pt x="25" y="69"/>
                        <a:pt x="25" y="66"/>
                        <a:pt x="24" y="64"/>
                      </a:cubicBezTo>
                      <a:cubicBezTo>
                        <a:pt x="23" y="62"/>
                        <a:pt x="23" y="60"/>
                        <a:pt x="22" y="58"/>
                      </a:cubicBezTo>
                      <a:cubicBezTo>
                        <a:pt x="22" y="57"/>
                        <a:pt x="20" y="56"/>
                        <a:pt x="20" y="54"/>
                      </a:cubicBezTo>
                      <a:cubicBezTo>
                        <a:pt x="19" y="53"/>
                        <a:pt x="20" y="51"/>
                        <a:pt x="19" y="49"/>
                      </a:cubicBezTo>
                      <a:cubicBezTo>
                        <a:pt x="19" y="47"/>
                        <a:pt x="18" y="47"/>
                        <a:pt x="18" y="45"/>
                      </a:cubicBezTo>
                      <a:cubicBezTo>
                        <a:pt x="18" y="42"/>
                        <a:pt x="17" y="41"/>
                        <a:pt x="17" y="40"/>
                      </a:cubicBezTo>
                      <a:cubicBezTo>
                        <a:pt x="16" y="39"/>
                        <a:pt x="15" y="39"/>
                        <a:pt x="14" y="38"/>
                      </a:cubicBezTo>
                      <a:cubicBezTo>
                        <a:pt x="13" y="37"/>
                        <a:pt x="14" y="36"/>
                        <a:pt x="14" y="34"/>
                      </a:cubicBezTo>
                      <a:cubicBezTo>
                        <a:pt x="15" y="32"/>
                        <a:pt x="16" y="29"/>
                        <a:pt x="16" y="27"/>
                      </a:cubicBezTo>
                      <a:cubicBezTo>
                        <a:pt x="17" y="25"/>
                        <a:pt x="18" y="24"/>
                        <a:pt x="18" y="22"/>
                      </a:cubicBezTo>
                      <a:cubicBezTo>
                        <a:pt x="17" y="20"/>
                        <a:pt x="17" y="19"/>
                        <a:pt x="16" y="19"/>
                      </a:cubicBezTo>
                      <a:cubicBezTo>
                        <a:pt x="15" y="18"/>
                        <a:pt x="14" y="18"/>
                        <a:pt x="13" y="18"/>
                      </a:cubicBezTo>
                      <a:cubicBezTo>
                        <a:pt x="12" y="18"/>
                        <a:pt x="11" y="19"/>
                        <a:pt x="10" y="18"/>
                      </a:cubicBezTo>
                      <a:cubicBezTo>
                        <a:pt x="6" y="15"/>
                        <a:pt x="13" y="8"/>
                        <a:pt x="12" y="5"/>
                      </a:cubicBezTo>
                      <a:cubicBezTo>
                        <a:pt x="10" y="0"/>
                        <a:pt x="8" y="10"/>
                        <a:pt x="5" y="4"/>
                      </a:cubicBezTo>
                      <a:cubicBezTo>
                        <a:pt x="4" y="6"/>
                        <a:pt x="3" y="10"/>
                        <a:pt x="3" y="12"/>
                      </a:cubicBezTo>
                      <a:cubicBezTo>
                        <a:pt x="3" y="15"/>
                        <a:pt x="2" y="17"/>
                        <a:pt x="2" y="19"/>
                      </a:cubicBezTo>
                      <a:cubicBezTo>
                        <a:pt x="2" y="20"/>
                        <a:pt x="1" y="23"/>
                        <a:pt x="1" y="24"/>
                      </a:cubicBezTo>
                      <a:cubicBezTo>
                        <a:pt x="2" y="25"/>
                        <a:pt x="2" y="25"/>
                        <a:pt x="2" y="27"/>
                      </a:cubicBezTo>
                      <a:cubicBezTo>
                        <a:pt x="1" y="28"/>
                        <a:pt x="0" y="32"/>
                        <a:pt x="2" y="33"/>
                      </a:cubicBezTo>
                      <a:cubicBezTo>
                        <a:pt x="2" y="33"/>
                        <a:pt x="3" y="33"/>
                        <a:pt x="4" y="34"/>
                      </a:cubicBezTo>
                      <a:cubicBezTo>
                        <a:pt x="4" y="35"/>
                        <a:pt x="3" y="36"/>
                        <a:pt x="3" y="38"/>
                      </a:cubicBezTo>
                      <a:cubicBezTo>
                        <a:pt x="3" y="43"/>
                        <a:pt x="6" y="39"/>
                        <a:pt x="6" y="43"/>
                      </a:cubicBezTo>
                      <a:cubicBezTo>
                        <a:pt x="6" y="45"/>
                        <a:pt x="7" y="46"/>
                        <a:pt x="7" y="47"/>
                      </a:cubicBezTo>
                      <a:cubicBezTo>
                        <a:pt x="6" y="49"/>
                        <a:pt x="6" y="50"/>
                        <a:pt x="5" y="51"/>
                      </a:cubicBezTo>
                      <a:cubicBezTo>
                        <a:pt x="5" y="52"/>
                        <a:pt x="5" y="53"/>
                        <a:pt x="6" y="54"/>
                      </a:cubicBezTo>
                      <a:cubicBezTo>
                        <a:pt x="7" y="55"/>
                        <a:pt x="9" y="53"/>
                        <a:pt x="9" y="53"/>
                      </a:cubicBezTo>
                      <a:cubicBezTo>
                        <a:pt x="12" y="52"/>
                        <a:pt x="11" y="56"/>
                        <a:pt x="11" y="58"/>
                      </a:cubicBezTo>
                      <a:cubicBezTo>
                        <a:pt x="12" y="60"/>
                        <a:pt x="12" y="61"/>
                        <a:pt x="12" y="62"/>
                      </a:cubicBezTo>
                      <a:cubicBezTo>
                        <a:pt x="13" y="64"/>
                        <a:pt x="13" y="64"/>
                        <a:pt x="12" y="66"/>
                      </a:cubicBezTo>
                      <a:cubicBezTo>
                        <a:pt x="12" y="68"/>
                        <a:pt x="13" y="71"/>
                        <a:pt x="12" y="73"/>
                      </a:cubicBezTo>
                      <a:cubicBezTo>
                        <a:pt x="10" y="75"/>
                        <a:pt x="8" y="68"/>
                        <a:pt x="7" y="69"/>
                      </a:cubicBezTo>
                      <a:cubicBezTo>
                        <a:pt x="7" y="71"/>
                        <a:pt x="7" y="73"/>
                        <a:pt x="8" y="75"/>
                      </a:cubicBezTo>
                      <a:cubicBezTo>
                        <a:pt x="9" y="78"/>
                        <a:pt x="9" y="79"/>
                        <a:pt x="9" y="82"/>
                      </a:cubicBezTo>
                      <a:cubicBezTo>
                        <a:pt x="8" y="83"/>
                        <a:pt x="9" y="84"/>
                        <a:pt x="10" y="85"/>
                      </a:cubicBezTo>
                      <a:cubicBezTo>
                        <a:pt x="10" y="86"/>
                        <a:pt x="10" y="87"/>
                        <a:pt x="10" y="88"/>
                      </a:cubicBezTo>
                      <a:cubicBezTo>
                        <a:pt x="10" y="89"/>
                        <a:pt x="12" y="88"/>
                        <a:pt x="12" y="88"/>
                      </a:cubicBezTo>
                      <a:cubicBezTo>
                        <a:pt x="15" y="91"/>
                        <a:pt x="11" y="95"/>
                        <a:pt x="10" y="97"/>
                      </a:cubicBezTo>
                      <a:cubicBezTo>
                        <a:pt x="9" y="98"/>
                        <a:pt x="2" y="103"/>
                        <a:pt x="5"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59"/>
                <p:cNvSpPr>
                  <a:spLocks/>
                </p:cNvSpPr>
                <p:nvPr/>
              </p:nvSpPr>
              <p:spPr bwMode="auto">
                <a:xfrm>
                  <a:off x="3513138" y="3895725"/>
                  <a:ext cx="26988" cy="28575"/>
                </a:xfrm>
                <a:custGeom>
                  <a:avLst/>
                  <a:gdLst>
                    <a:gd name="T0" fmla="*/ 4 w 36"/>
                    <a:gd name="T1" fmla="*/ 7 h 38"/>
                    <a:gd name="T2" fmla="*/ 1 w 36"/>
                    <a:gd name="T3" fmla="*/ 6 h 38"/>
                    <a:gd name="T4" fmla="*/ 3 w 36"/>
                    <a:gd name="T5" fmla="*/ 9 h 38"/>
                    <a:gd name="T6" fmla="*/ 6 w 36"/>
                    <a:gd name="T7" fmla="*/ 13 h 38"/>
                    <a:gd name="T8" fmla="*/ 5 w 36"/>
                    <a:gd name="T9" fmla="*/ 14 h 38"/>
                    <a:gd name="T10" fmla="*/ 7 w 36"/>
                    <a:gd name="T11" fmla="*/ 17 h 38"/>
                    <a:gd name="T12" fmla="*/ 9 w 36"/>
                    <a:gd name="T13" fmla="*/ 19 h 38"/>
                    <a:gd name="T14" fmla="*/ 12 w 36"/>
                    <a:gd name="T15" fmla="*/ 18 h 38"/>
                    <a:gd name="T16" fmla="*/ 16 w 36"/>
                    <a:gd name="T17" fmla="*/ 21 h 38"/>
                    <a:gd name="T18" fmla="*/ 15 w 36"/>
                    <a:gd name="T19" fmla="*/ 22 h 38"/>
                    <a:gd name="T20" fmla="*/ 15 w 36"/>
                    <a:gd name="T21" fmla="*/ 24 h 38"/>
                    <a:gd name="T22" fmla="*/ 13 w 36"/>
                    <a:gd name="T23" fmla="*/ 23 h 38"/>
                    <a:gd name="T24" fmla="*/ 14 w 36"/>
                    <a:gd name="T25" fmla="*/ 27 h 38"/>
                    <a:gd name="T26" fmla="*/ 23 w 36"/>
                    <a:gd name="T27" fmla="*/ 31 h 38"/>
                    <a:gd name="T28" fmla="*/ 27 w 36"/>
                    <a:gd name="T29" fmla="*/ 34 h 38"/>
                    <a:gd name="T30" fmla="*/ 31 w 36"/>
                    <a:gd name="T31" fmla="*/ 37 h 38"/>
                    <a:gd name="T32" fmla="*/ 34 w 36"/>
                    <a:gd name="T33" fmla="*/ 32 h 38"/>
                    <a:gd name="T34" fmla="*/ 35 w 36"/>
                    <a:gd name="T35" fmla="*/ 29 h 38"/>
                    <a:gd name="T36" fmla="*/ 35 w 36"/>
                    <a:gd name="T37" fmla="*/ 26 h 38"/>
                    <a:gd name="T38" fmla="*/ 34 w 36"/>
                    <a:gd name="T39" fmla="*/ 23 h 38"/>
                    <a:gd name="T40" fmla="*/ 33 w 36"/>
                    <a:gd name="T41" fmla="*/ 20 h 38"/>
                    <a:gd name="T42" fmla="*/ 28 w 36"/>
                    <a:gd name="T43" fmla="*/ 17 h 38"/>
                    <a:gd name="T44" fmla="*/ 25 w 36"/>
                    <a:gd name="T45" fmla="*/ 14 h 38"/>
                    <a:gd name="T46" fmla="*/ 22 w 36"/>
                    <a:gd name="T47" fmla="*/ 11 h 38"/>
                    <a:gd name="T48" fmla="*/ 20 w 36"/>
                    <a:gd name="T49" fmla="*/ 12 h 38"/>
                    <a:gd name="T50" fmla="*/ 20 w 36"/>
                    <a:gd name="T51" fmla="*/ 15 h 38"/>
                    <a:gd name="T52" fmla="*/ 19 w 36"/>
                    <a:gd name="T53" fmla="*/ 12 h 38"/>
                    <a:gd name="T54" fmla="*/ 18 w 36"/>
                    <a:gd name="T55" fmla="*/ 8 h 38"/>
                    <a:gd name="T56" fmla="*/ 15 w 36"/>
                    <a:gd name="T57" fmla="*/ 6 h 38"/>
                    <a:gd name="T58" fmla="*/ 14 w 36"/>
                    <a:gd name="T59" fmla="*/ 8 h 38"/>
                    <a:gd name="T60" fmla="*/ 14 w 36"/>
                    <a:gd name="T61" fmla="*/ 9 h 38"/>
                    <a:gd name="T62" fmla="*/ 13 w 36"/>
                    <a:gd name="T63" fmla="*/ 8 h 38"/>
                    <a:gd name="T64" fmla="*/ 10 w 36"/>
                    <a:gd name="T65" fmla="*/ 8 h 38"/>
                    <a:gd name="T66" fmla="*/ 7 w 36"/>
                    <a:gd name="T67" fmla="*/ 4 h 38"/>
                    <a:gd name="T68" fmla="*/ 5 w 36"/>
                    <a:gd name="T69" fmla="*/ 3 h 38"/>
                    <a:gd name="T70" fmla="*/ 5 w 36"/>
                    <a:gd name="T71" fmla="*/ 5 h 38"/>
                    <a:gd name="T72" fmla="*/ 4 w 36"/>
                    <a:gd name="T7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8">
                      <a:moveTo>
                        <a:pt x="4" y="7"/>
                      </a:moveTo>
                      <a:cubicBezTo>
                        <a:pt x="3" y="6"/>
                        <a:pt x="1" y="5"/>
                        <a:pt x="1" y="6"/>
                      </a:cubicBezTo>
                      <a:cubicBezTo>
                        <a:pt x="0" y="7"/>
                        <a:pt x="2" y="9"/>
                        <a:pt x="3" y="9"/>
                      </a:cubicBezTo>
                      <a:cubicBezTo>
                        <a:pt x="4" y="10"/>
                        <a:pt x="6" y="12"/>
                        <a:pt x="6" y="13"/>
                      </a:cubicBezTo>
                      <a:cubicBezTo>
                        <a:pt x="6" y="13"/>
                        <a:pt x="5" y="13"/>
                        <a:pt x="5" y="14"/>
                      </a:cubicBezTo>
                      <a:cubicBezTo>
                        <a:pt x="5" y="15"/>
                        <a:pt x="6" y="16"/>
                        <a:pt x="7" y="17"/>
                      </a:cubicBezTo>
                      <a:cubicBezTo>
                        <a:pt x="8" y="19"/>
                        <a:pt x="8" y="19"/>
                        <a:pt x="9" y="19"/>
                      </a:cubicBezTo>
                      <a:cubicBezTo>
                        <a:pt x="11" y="20"/>
                        <a:pt x="11" y="19"/>
                        <a:pt x="12" y="18"/>
                      </a:cubicBezTo>
                      <a:cubicBezTo>
                        <a:pt x="13" y="18"/>
                        <a:pt x="16" y="18"/>
                        <a:pt x="16" y="21"/>
                      </a:cubicBezTo>
                      <a:cubicBezTo>
                        <a:pt x="17" y="23"/>
                        <a:pt x="16" y="22"/>
                        <a:pt x="15" y="22"/>
                      </a:cubicBezTo>
                      <a:cubicBezTo>
                        <a:pt x="14" y="22"/>
                        <a:pt x="16" y="24"/>
                        <a:pt x="15" y="24"/>
                      </a:cubicBezTo>
                      <a:cubicBezTo>
                        <a:pt x="15" y="24"/>
                        <a:pt x="13" y="23"/>
                        <a:pt x="13" y="23"/>
                      </a:cubicBezTo>
                      <a:cubicBezTo>
                        <a:pt x="12" y="24"/>
                        <a:pt x="14" y="26"/>
                        <a:pt x="14" y="27"/>
                      </a:cubicBezTo>
                      <a:cubicBezTo>
                        <a:pt x="17" y="31"/>
                        <a:pt x="20" y="30"/>
                        <a:pt x="23" y="31"/>
                      </a:cubicBezTo>
                      <a:cubicBezTo>
                        <a:pt x="24" y="32"/>
                        <a:pt x="26" y="33"/>
                        <a:pt x="27" y="34"/>
                      </a:cubicBezTo>
                      <a:cubicBezTo>
                        <a:pt x="28" y="35"/>
                        <a:pt x="30" y="37"/>
                        <a:pt x="31" y="37"/>
                      </a:cubicBezTo>
                      <a:cubicBezTo>
                        <a:pt x="34" y="38"/>
                        <a:pt x="33" y="35"/>
                        <a:pt x="34" y="32"/>
                      </a:cubicBezTo>
                      <a:cubicBezTo>
                        <a:pt x="34" y="31"/>
                        <a:pt x="34" y="30"/>
                        <a:pt x="35" y="29"/>
                      </a:cubicBezTo>
                      <a:cubicBezTo>
                        <a:pt x="35" y="28"/>
                        <a:pt x="36" y="28"/>
                        <a:pt x="35" y="26"/>
                      </a:cubicBezTo>
                      <a:cubicBezTo>
                        <a:pt x="34" y="24"/>
                        <a:pt x="34" y="24"/>
                        <a:pt x="34" y="23"/>
                      </a:cubicBezTo>
                      <a:cubicBezTo>
                        <a:pt x="35" y="23"/>
                        <a:pt x="35" y="21"/>
                        <a:pt x="33" y="20"/>
                      </a:cubicBezTo>
                      <a:cubicBezTo>
                        <a:pt x="32" y="18"/>
                        <a:pt x="30" y="18"/>
                        <a:pt x="28" y="17"/>
                      </a:cubicBezTo>
                      <a:cubicBezTo>
                        <a:pt x="27" y="16"/>
                        <a:pt x="26" y="16"/>
                        <a:pt x="25" y="14"/>
                      </a:cubicBezTo>
                      <a:cubicBezTo>
                        <a:pt x="24" y="13"/>
                        <a:pt x="23" y="12"/>
                        <a:pt x="22" y="11"/>
                      </a:cubicBezTo>
                      <a:cubicBezTo>
                        <a:pt x="21" y="11"/>
                        <a:pt x="20" y="11"/>
                        <a:pt x="20" y="12"/>
                      </a:cubicBezTo>
                      <a:cubicBezTo>
                        <a:pt x="20" y="13"/>
                        <a:pt x="21" y="15"/>
                        <a:pt x="20" y="15"/>
                      </a:cubicBezTo>
                      <a:cubicBezTo>
                        <a:pt x="19" y="15"/>
                        <a:pt x="19" y="13"/>
                        <a:pt x="19" y="12"/>
                      </a:cubicBezTo>
                      <a:cubicBezTo>
                        <a:pt x="19" y="11"/>
                        <a:pt x="19" y="10"/>
                        <a:pt x="18" y="8"/>
                      </a:cubicBezTo>
                      <a:cubicBezTo>
                        <a:pt x="17" y="7"/>
                        <a:pt x="16" y="6"/>
                        <a:pt x="15" y="6"/>
                      </a:cubicBezTo>
                      <a:cubicBezTo>
                        <a:pt x="14" y="5"/>
                        <a:pt x="14" y="7"/>
                        <a:pt x="14" y="8"/>
                      </a:cubicBezTo>
                      <a:cubicBezTo>
                        <a:pt x="14" y="8"/>
                        <a:pt x="15" y="10"/>
                        <a:pt x="14" y="9"/>
                      </a:cubicBezTo>
                      <a:cubicBezTo>
                        <a:pt x="14" y="9"/>
                        <a:pt x="13" y="8"/>
                        <a:pt x="13" y="8"/>
                      </a:cubicBezTo>
                      <a:cubicBezTo>
                        <a:pt x="11" y="6"/>
                        <a:pt x="13" y="12"/>
                        <a:pt x="10" y="8"/>
                      </a:cubicBezTo>
                      <a:cubicBezTo>
                        <a:pt x="8" y="7"/>
                        <a:pt x="8" y="5"/>
                        <a:pt x="7" y="4"/>
                      </a:cubicBezTo>
                      <a:cubicBezTo>
                        <a:pt x="6" y="2"/>
                        <a:pt x="4" y="0"/>
                        <a:pt x="5" y="3"/>
                      </a:cubicBezTo>
                      <a:cubicBezTo>
                        <a:pt x="5" y="4"/>
                        <a:pt x="4" y="4"/>
                        <a:pt x="5" y="5"/>
                      </a:cubicBezTo>
                      <a:cubicBezTo>
                        <a:pt x="5" y="6"/>
                        <a:pt x="6"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60"/>
                <p:cNvSpPr>
                  <a:spLocks/>
                </p:cNvSpPr>
                <p:nvPr/>
              </p:nvSpPr>
              <p:spPr bwMode="auto">
                <a:xfrm>
                  <a:off x="3543301" y="4295775"/>
                  <a:ext cx="3175" cy="11113"/>
                </a:xfrm>
                <a:custGeom>
                  <a:avLst/>
                  <a:gdLst>
                    <a:gd name="T0" fmla="*/ 2 w 5"/>
                    <a:gd name="T1" fmla="*/ 13 h 14"/>
                    <a:gd name="T2" fmla="*/ 3 w 5"/>
                    <a:gd name="T3" fmla="*/ 9 h 14"/>
                    <a:gd name="T4" fmla="*/ 3 w 5"/>
                    <a:gd name="T5" fmla="*/ 1 h 14"/>
                    <a:gd name="T6" fmla="*/ 0 w 5"/>
                    <a:gd name="T7" fmla="*/ 6 h 14"/>
                    <a:gd name="T8" fmla="*/ 1 w 5"/>
                    <a:gd name="T9" fmla="*/ 9 h 14"/>
                    <a:gd name="T10" fmla="*/ 2 w 5"/>
                    <a:gd name="T11" fmla="*/ 13 h 14"/>
                  </a:gdLst>
                  <a:ahLst/>
                  <a:cxnLst>
                    <a:cxn ang="0">
                      <a:pos x="T0" y="T1"/>
                    </a:cxn>
                    <a:cxn ang="0">
                      <a:pos x="T2" y="T3"/>
                    </a:cxn>
                    <a:cxn ang="0">
                      <a:pos x="T4" y="T5"/>
                    </a:cxn>
                    <a:cxn ang="0">
                      <a:pos x="T6" y="T7"/>
                    </a:cxn>
                    <a:cxn ang="0">
                      <a:pos x="T8" y="T9"/>
                    </a:cxn>
                    <a:cxn ang="0">
                      <a:pos x="T10" y="T11"/>
                    </a:cxn>
                  </a:cxnLst>
                  <a:rect l="0" t="0" r="r" b="b"/>
                  <a:pathLst>
                    <a:path w="5" h="14">
                      <a:moveTo>
                        <a:pt x="2" y="13"/>
                      </a:moveTo>
                      <a:cubicBezTo>
                        <a:pt x="3" y="14"/>
                        <a:pt x="3" y="10"/>
                        <a:pt x="3" y="9"/>
                      </a:cubicBezTo>
                      <a:cubicBezTo>
                        <a:pt x="3" y="7"/>
                        <a:pt x="5" y="0"/>
                        <a:pt x="3" y="1"/>
                      </a:cubicBezTo>
                      <a:cubicBezTo>
                        <a:pt x="3" y="4"/>
                        <a:pt x="1" y="4"/>
                        <a:pt x="0" y="6"/>
                      </a:cubicBezTo>
                      <a:cubicBezTo>
                        <a:pt x="0" y="7"/>
                        <a:pt x="1" y="8"/>
                        <a:pt x="1" y="9"/>
                      </a:cubicBezTo>
                      <a:cubicBezTo>
                        <a:pt x="1" y="11"/>
                        <a:pt x="1" y="12"/>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61"/>
                <p:cNvSpPr>
                  <a:spLocks/>
                </p:cNvSpPr>
                <p:nvPr/>
              </p:nvSpPr>
              <p:spPr bwMode="auto">
                <a:xfrm>
                  <a:off x="3517901" y="4151313"/>
                  <a:ext cx="3175" cy="7938"/>
                </a:xfrm>
                <a:custGeom>
                  <a:avLst/>
                  <a:gdLst>
                    <a:gd name="T0" fmla="*/ 2 w 4"/>
                    <a:gd name="T1" fmla="*/ 9 h 10"/>
                    <a:gd name="T2" fmla="*/ 4 w 4"/>
                    <a:gd name="T3" fmla="*/ 2 h 10"/>
                    <a:gd name="T4" fmla="*/ 1 w 4"/>
                    <a:gd name="T5" fmla="*/ 0 h 10"/>
                    <a:gd name="T6" fmla="*/ 2 w 4"/>
                    <a:gd name="T7" fmla="*/ 9 h 10"/>
                  </a:gdLst>
                  <a:ahLst/>
                  <a:cxnLst>
                    <a:cxn ang="0">
                      <a:pos x="T0" y="T1"/>
                    </a:cxn>
                    <a:cxn ang="0">
                      <a:pos x="T2" y="T3"/>
                    </a:cxn>
                    <a:cxn ang="0">
                      <a:pos x="T4" y="T5"/>
                    </a:cxn>
                    <a:cxn ang="0">
                      <a:pos x="T6" y="T7"/>
                    </a:cxn>
                  </a:cxnLst>
                  <a:rect l="0" t="0" r="r" b="b"/>
                  <a:pathLst>
                    <a:path w="4" h="10">
                      <a:moveTo>
                        <a:pt x="2" y="9"/>
                      </a:moveTo>
                      <a:cubicBezTo>
                        <a:pt x="3" y="8"/>
                        <a:pt x="4" y="4"/>
                        <a:pt x="4" y="2"/>
                      </a:cubicBezTo>
                      <a:cubicBezTo>
                        <a:pt x="4" y="0"/>
                        <a:pt x="2" y="0"/>
                        <a:pt x="1" y="0"/>
                      </a:cubicBezTo>
                      <a:cubicBezTo>
                        <a:pt x="0" y="0"/>
                        <a:pt x="1" y="10"/>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62"/>
                <p:cNvSpPr>
                  <a:spLocks/>
                </p:cNvSpPr>
                <p:nvPr/>
              </p:nvSpPr>
              <p:spPr bwMode="auto">
                <a:xfrm>
                  <a:off x="3492501" y="4202113"/>
                  <a:ext cx="17463" cy="39688"/>
                </a:xfrm>
                <a:custGeom>
                  <a:avLst/>
                  <a:gdLst>
                    <a:gd name="T0" fmla="*/ 3 w 24"/>
                    <a:gd name="T1" fmla="*/ 35 h 53"/>
                    <a:gd name="T2" fmla="*/ 5 w 24"/>
                    <a:gd name="T3" fmla="*/ 47 h 53"/>
                    <a:gd name="T4" fmla="*/ 9 w 24"/>
                    <a:gd name="T5" fmla="*/ 45 h 53"/>
                    <a:gd name="T6" fmla="*/ 11 w 24"/>
                    <a:gd name="T7" fmla="*/ 48 h 53"/>
                    <a:gd name="T8" fmla="*/ 18 w 24"/>
                    <a:gd name="T9" fmla="*/ 37 h 53"/>
                    <a:gd name="T10" fmla="*/ 19 w 24"/>
                    <a:gd name="T11" fmla="*/ 31 h 53"/>
                    <a:gd name="T12" fmla="*/ 19 w 24"/>
                    <a:gd name="T13" fmla="*/ 21 h 53"/>
                    <a:gd name="T14" fmla="*/ 21 w 24"/>
                    <a:gd name="T15" fmla="*/ 10 h 53"/>
                    <a:gd name="T16" fmla="*/ 16 w 24"/>
                    <a:gd name="T17" fmla="*/ 0 h 53"/>
                    <a:gd name="T18" fmla="*/ 15 w 24"/>
                    <a:gd name="T19" fmla="*/ 1 h 53"/>
                    <a:gd name="T20" fmla="*/ 12 w 24"/>
                    <a:gd name="T21" fmla="*/ 2 h 53"/>
                    <a:gd name="T22" fmla="*/ 10 w 24"/>
                    <a:gd name="T23" fmla="*/ 6 h 53"/>
                    <a:gd name="T24" fmla="*/ 12 w 24"/>
                    <a:gd name="T25" fmla="*/ 9 h 53"/>
                    <a:gd name="T26" fmla="*/ 12 w 24"/>
                    <a:gd name="T27" fmla="*/ 13 h 53"/>
                    <a:gd name="T28" fmla="*/ 12 w 24"/>
                    <a:gd name="T29" fmla="*/ 16 h 53"/>
                    <a:gd name="T30" fmla="*/ 9 w 24"/>
                    <a:gd name="T31" fmla="*/ 11 h 53"/>
                    <a:gd name="T32" fmla="*/ 4 w 24"/>
                    <a:gd name="T33" fmla="*/ 12 h 53"/>
                    <a:gd name="T34" fmla="*/ 2 w 24"/>
                    <a:gd name="T35" fmla="*/ 19 h 53"/>
                    <a:gd name="T36" fmla="*/ 6 w 24"/>
                    <a:gd name="T37" fmla="*/ 26 h 53"/>
                    <a:gd name="T38" fmla="*/ 4 w 24"/>
                    <a:gd name="T39" fmla="*/ 30 h 53"/>
                    <a:gd name="T40" fmla="*/ 3 w 24"/>
                    <a:gd name="T41"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3" y="35"/>
                      </a:moveTo>
                      <a:cubicBezTo>
                        <a:pt x="0" y="39"/>
                        <a:pt x="2" y="45"/>
                        <a:pt x="5" y="47"/>
                      </a:cubicBezTo>
                      <a:cubicBezTo>
                        <a:pt x="6" y="48"/>
                        <a:pt x="7" y="47"/>
                        <a:pt x="9" y="45"/>
                      </a:cubicBezTo>
                      <a:cubicBezTo>
                        <a:pt x="10" y="44"/>
                        <a:pt x="10" y="47"/>
                        <a:pt x="11" y="48"/>
                      </a:cubicBezTo>
                      <a:cubicBezTo>
                        <a:pt x="16" y="53"/>
                        <a:pt x="15" y="41"/>
                        <a:pt x="18" y="37"/>
                      </a:cubicBezTo>
                      <a:cubicBezTo>
                        <a:pt x="19" y="36"/>
                        <a:pt x="19" y="33"/>
                        <a:pt x="19" y="31"/>
                      </a:cubicBezTo>
                      <a:cubicBezTo>
                        <a:pt x="19" y="27"/>
                        <a:pt x="19" y="25"/>
                        <a:pt x="19" y="21"/>
                      </a:cubicBezTo>
                      <a:cubicBezTo>
                        <a:pt x="20" y="18"/>
                        <a:pt x="24" y="14"/>
                        <a:pt x="21" y="10"/>
                      </a:cubicBezTo>
                      <a:cubicBezTo>
                        <a:pt x="20" y="7"/>
                        <a:pt x="19" y="2"/>
                        <a:pt x="16" y="0"/>
                      </a:cubicBezTo>
                      <a:cubicBezTo>
                        <a:pt x="16" y="0"/>
                        <a:pt x="15" y="1"/>
                        <a:pt x="15" y="1"/>
                      </a:cubicBezTo>
                      <a:cubicBezTo>
                        <a:pt x="14" y="2"/>
                        <a:pt x="13" y="2"/>
                        <a:pt x="12" y="2"/>
                      </a:cubicBezTo>
                      <a:cubicBezTo>
                        <a:pt x="12" y="2"/>
                        <a:pt x="10" y="4"/>
                        <a:pt x="10" y="6"/>
                      </a:cubicBezTo>
                      <a:cubicBezTo>
                        <a:pt x="11" y="6"/>
                        <a:pt x="13" y="7"/>
                        <a:pt x="12" y="9"/>
                      </a:cubicBezTo>
                      <a:cubicBezTo>
                        <a:pt x="12" y="11"/>
                        <a:pt x="12" y="11"/>
                        <a:pt x="12" y="13"/>
                      </a:cubicBezTo>
                      <a:cubicBezTo>
                        <a:pt x="12" y="13"/>
                        <a:pt x="13" y="17"/>
                        <a:pt x="12" y="16"/>
                      </a:cubicBezTo>
                      <a:cubicBezTo>
                        <a:pt x="11" y="16"/>
                        <a:pt x="10" y="12"/>
                        <a:pt x="9" y="11"/>
                      </a:cubicBezTo>
                      <a:cubicBezTo>
                        <a:pt x="8" y="9"/>
                        <a:pt x="6" y="12"/>
                        <a:pt x="4" y="12"/>
                      </a:cubicBezTo>
                      <a:cubicBezTo>
                        <a:pt x="3" y="13"/>
                        <a:pt x="1" y="17"/>
                        <a:pt x="2" y="19"/>
                      </a:cubicBezTo>
                      <a:cubicBezTo>
                        <a:pt x="3" y="21"/>
                        <a:pt x="6" y="24"/>
                        <a:pt x="6" y="26"/>
                      </a:cubicBezTo>
                      <a:cubicBezTo>
                        <a:pt x="5" y="27"/>
                        <a:pt x="5" y="28"/>
                        <a:pt x="4" y="30"/>
                      </a:cubicBezTo>
                      <a:cubicBezTo>
                        <a:pt x="4" y="32"/>
                        <a:pt x="4" y="34"/>
                        <a:pt x="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63"/>
                <p:cNvSpPr>
                  <a:spLocks noEditPoints="1"/>
                </p:cNvSpPr>
                <p:nvPr/>
              </p:nvSpPr>
              <p:spPr bwMode="auto">
                <a:xfrm>
                  <a:off x="3490913" y="4032250"/>
                  <a:ext cx="223838" cy="306388"/>
                </a:xfrm>
                <a:custGeom>
                  <a:avLst/>
                  <a:gdLst>
                    <a:gd name="T0" fmla="*/ 251 w 296"/>
                    <a:gd name="T1" fmla="*/ 24 h 406"/>
                    <a:gd name="T2" fmla="*/ 249 w 296"/>
                    <a:gd name="T3" fmla="*/ 56 h 406"/>
                    <a:gd name="T4" fmla="*/ 248 w 296"/>
                    <a:gd name="T5" fmla="*/ 73 h 406"/>
                    <a:gd name="T6" fmla="*/ 236 w 296"/>
                    <a:gd name="T7" fmla="*/ 44 h 406"/>
                    <a:gd name="T8" fmla="*/ 235 w 296"/>
                    <a:gd name="T9" fmla="*/ 58 h 406"/>
                    <a:gd name="T10" fmla="*/ 226 w 296"/>
                    <a:gd name="T11" fmla="*/ 32 h 406"/>
                    <a:gd name="T12" fmla="*/ 231 w 296"/>
                    <a:gd name="T13" fmla="*/ 82 h 406"/>
                    <a:gd name="T14" fmla="*/ 241 w 296"/>
                    <a:gd name="T15" fmla="*/ 108 h 406"/>
                    <a:gd name="T16" fmla="*/ 228 w 296"/>
                    <a:gd name="T17" fmla="*/ 119 h 406"/>
                    <a:gd name="T18" fmla="*/ 227 w 296"/>
                    <a:gd name="T19" fmla="*/ 70 h 406"/>
                    <a:gd name="T20" fmla="*/ 214 w 296"/>
                    <a:gd name="T21" fmla="*/ 32 h 406"/>
                    <a:gd name="T22" fmla="*/ 212 w 296"/>
                    <a:gd name="T23" fmla="*/ 59 h 406"/>
                    <a:gd name="T24" fmla="*/ 219 w 296"/>
                    <a:gd name="T25" fmla="*/ 90 h 406"/>
                    <a:gd name="T26" fmla="*/ 199 w 296"/>
                    <a:gd name="T27" fmla="*/ 70 h 406"/>
                    <a:gd name="T28" fmla="*/ 192 w 296"/>
                    <a:gd name="T29" fmla="*/ 82 h 406"/>
                    <a:gd name="T30" fmla="*/ 176 w 296"/>
                    <a:gd name="T31" fmla="*/ 92 h 406"/>
                    <a:gd name="T32" fmla="*/ 163 w 296"/>
                    <a:gd name="T33" fmla="*/ 75 h 406"/>
                    <a:gd name="T34" fmla="*/ 166 w 296"/>
                    <a:gd name="T35" fmla="*/ 106 h 406"/>
                    <a:gd name="T36" fmla="*/ 159 w 296"/>
                    <a:gd name="T37" fmla="*/ 126 h 406"/>
                    <a:gd name="T38" fmla="*/ 150 w 296"/>
                    <a:gd name="T39" fmla="*/ 129 h 406"/>
                    <a:gd name="T40" fmla="*/ 138 w 296"/>
                    <a:gd name="T41" fmla="*/ 90 h 406"/>
                    <a:gd name="T42" fmla="*/ 154 w 296"/>
                    <a:gd name="T43" fmla="*/ 80 h 406"/>
                    <a:gd name="T44" fmla="*/ 134 w 296"/>
                    <a:gd name="T45" fmla="*/ 55 h 406"/>
                    <a:gd name="T46" fmla="*/ 123 w 296"/>
                    <a:gd name="T47" fmla="*/ 35 h 406"/>
                    <a:gd name="T48" fmla="*/ 112 w 296"/>
                    <a:gd name="T49" fmla="*/ 26 h 406"/>
                    <a:gd name="T50" fmla="*/ 103 w 296"/>
                    <a:gd name="T51" fmla="*/ 30 h 406"/>
                    <a:gd name="T52" fmla="*/ 91 w 296"/>
                    <a:gd name="T53" fmla="*/ 36 h 406"/>
                    <a:gd name="T54" fmla="*/ 86 w 296"/>
                    <a:gd name="T55" fmla="*/ 52 h 406"/>
                    <a:gd name="T56" fmla="*/ 84 w 296"/>
                    <a:gd name="T57" fmla="*/ 70 h 406"/>
                    <a:gd name="T58" fmla="*/ 80 w 296"/>
                    <a:gd name="T59" fmla="*/ 96 h 406"/>
                    <a:gd name="T60" fmla="*/ 64 w 296"/>
                    <a:gd name="T61" fmla="*/ 137 h 406"/>
                    <a:gd name="T62" fmla="*/ 63 w 296"/>
                    <a:gd name="T63" fmla="*/ 166 h 406"/>
                    <a:gd name="T64" fmla="*/ 77 w 296"/>
                    <a:gd name="T65" fmla="*/ 193 h 406"/>
                    <a:gd name="T66" fmla="*/ 90 w 296"/>
                    <a:gd name="T67" fmla="*/ 188 h 406"/>
                    <a:gd name="T68" fmla="*/ 86 w 296"/>
                    <a:gd name="T69" fmla="*/ 222 h 406"/>
                    <a:gd name="T70" fmla="*/ 103 w 296"/>
                    <a:gd name="T71" fmla="*/ 214 h 406"/>
                    <a:gd name="T72" fmla="*/ 104 w 296"/>
                    <a:gd name="T73" fmla="*/ 168 h 406"/>
                    <a:gd name="T74" fmla="*/ 110 w 296"/>
                    <a:gd name="T75" fmla="*/ 118 h 406"/>
                    <a:gd name="T76" fmla="*/ 118 w 296"/>
                    <a:gd name="T77" fmla="*/ 122 h 406"/>
                    <a:gd name="T78" fmla="*/ 115 w 296"/>
                    <a:gd name="T79" fmla="*/ 169 h 406"/>
                    <a:gd name="T80" fmla="*/ 124 w 296"/>
                    <a:gd name="T81" fmla="*/ 175 h 406"/>
                    <a:gd name="T82" fmla="*/ 138 w 296"/>
                    <a:gd name="T83" fmla="*/ 180 h 406"/>
                    <a:gd name="T84" fmla="*/ 119 w 296"/>
                    <a:gd name="T85" fmla="*/ 186 h 406"/>
                    <a:gd name="T86" fmla="*/ 117 w 296"/>
                    <a:gd name="T87" fmla="*/ 208 h 406"/>
                    <a:gd name="T88" fmla="*/ 107 w 296"/>
                    <a:gd name="T89" fmla="*/ 233 h 406"/>
                    <a:gd name="T90" fmla="*/ 92 w 296"/>
                    <a:gd name="T91" fmla="*/ 239 h 406"/>
                    <a:gd name="T92" fmla="*/ 83 w 296"/>
                    <a:gd name="T93" fmla="*/ 213 h 406"/>
                    <a:gd name="T94" fmla="*/ 77 w 296"/>
                    <a:gd name="T95" fmla="*/ 229 h 406"/>
                    <a:gd name="T96" fmla="*/ 64 w 296"/>
                    <a:gd name="T97" fmla="*/ 259 h 406"/>
                    <a:gd name="T98" fmla="*/ 52 w 296"/>
                    <a:gd name="T99" fmla="*/ 286 h 406"/>
                    <a:gd name="T100" fmla="*/ 30 w 296"/>
                    <a:gd name="T101" fmla="*/ 304 h 406"/>
                    <a:gd name="T102" fmla="*/ 39 w 296"/>
                    <a:gd name="T103" fmla="*/ 345 h 406"/>
                    <a:gd name="T104" fmla="*/ 6 w 296"/>
                    <a:gd name="T105" fmla="*/ 365 h 406"/>
                    <a:gd name="T106" fmla="*/ 41 w 296"/>
                    <a:gd name="T107" fmla="*/ 380 h 406"/>
                    <a:gd name="T108" fmla="*/ 70 w 296"/>
                    <a:gd name="T109" fmla="*/ 345 h 406"/>
                    <a:gd name="T110" fmla="*/ 85 w 296"/>
                    <a:gd name="T111" fmla="*/ 335 h 406"/>
                    <a:gd name="T112" fmla="*/ 103 w 296"/>
                    <a:gd name="T113" fmla="*/ 350 h 406"/>
                    <a:gd name="T114" fmla="*/ 153 w 296"/>
                    <a:gd name="T115" fmla="*/ 311 h 406"/>
                    <a:gd name="T116" fmla="*/ 257 w 296"/>
                    <a:gd name="T117" fmla="*/ 2 h 406"/>
                    <a:gd name="T118" fmla="*/ 142 w 296"/>
                    <a:gd name="T119" fmla="*/ 158 h 406"/>
                    <a:gd name="T120" fmla="*/ 149 w 296"/>
                    <a:gd name="T121" fmla="*/ 154 h 406"/>
                    <a:gd name="T122" fmla="*/ 159 w 296"/>
                    <a:gd name="T123" fmla="*/ 19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6" h="406">
                      <a:moveTo>
                        <a:pt x="257" y="2"/>
                      </a:moveTo>
                      <a:cubicBezTo>
                        <a:pt x="256" y="2"/>
                        <a:pt x="256" y="2"/>
                        <a:pt x="255" y="1"/>
                      </a:cubicBezTo>
                      <a:cubicBezTo>
                        <a:pt x="254" y="1"/>
                        <a:pt x="254" y="3"/>
                        <a:pt x="253" y="4"/>
                      </a:cubicBezTo>
                      <a:cubicBezTo>
                        <a:pt x="252" y="6"/>
                        <a:pt x="251" y="6"/>
                        <a:pt x="250" y="8"/>
                      </a:cubicBezTo>
                      <a:cubicBezTo>
                        <a:pt x="249" y="9"/>
                        <a:pt x="249" y="10"/>
                        <a:pt x="249" y="11"/>
                      </a:cubicBezTo>
                      <a:cubicBezTo>
                        <a:pt x="249" y="12"/>
                        <a:pt x="248" y="13"/>
                        <a:pt x="248" y="14"/>
                      </a:cubicBezTo>
                      <a:cubicBezTo>
                        <a:pt x="248" y="15"/>
                        <a:pt x="250" y="16"/>
                        <a:pt x="249" y="17"/>
                      </a:cubicBezTo>
                      <a:cubicBezTo>
                        <a:pt x="248" y="19"/>
                        <a:pt x="250" y="21"/>
                        <a:pt x="251" y="24"/>
                      </a:cubicBezTo>
                      <a:cubicBezTo>
                        <a:pt x="253" y="30"/>
                        <a:pt x="245" y="28"/>
                        <a:pt x="243" y="27"/>
                      </a:cubicBezTo>
                      <a:cubicBezTo>
                        <a:pt x="242" y="27"/>
                        <a:pt x="240" y="26"/>
                        <a:pt x="239" y="28"/>
                      </a:cubicBezTo>
                      <a:cubicBezTo>
                        <a:pt x="239" y="29"/>
                        <a:pt x="238" y="30"/>
                        <a:pt x="238" y="32"/>
                      </a:cubicBezTo>
                      <a:cubicBezTo>
                        <a:pt x="239" y="34"/>
                        <a:pt x="240" y="36"/>
                        <a:pt x="240" y="38"/>
                      </a:cubicBezTo>
                      <a:cubicBezTo>
                        <a:pt x="240" y="41"/>
                        <a:pt x="240" y="44"/>
                        <a:pt x="242" y="47"/>
                      </a:cubicBezTo>
                      <a:cubicBezTo>
                        <a:pt x="243" y="48"/>
                        <a:pt x="243" y="48"/>
                        <a:pt x="244" y="48"/>
                      </a:cubicBezTo>
                      <a:cubicBezTo>
                        <a:pt x="245" y="49"/>
                        <a:pt x="245" y="51"/>
                        <a:pt x="245" y="51"/>
                      </a:cubicBezTo>
                      <a:cubicBezTo>
                        <a:pt x="247" y="53"/>
                        <a:pt x="248" y="54"/>
                        <a:pt x="249" y="56"/>
                      </a:cubicBezTo>
                      <a:cubicBezTo>
                        <a:pt x="249" y="58"/>
                        <a:pt x="249" y="59"/>
                        <a:pt x="249" y="60"/>
                      </a:cubicBezTo>
                      <a:cubicBezTo>
                        <a:pt x="249" y="62"/>
                        <a:pt x="249" y="64"/>
                        <a:pt x="249" y="66"/>
                      </a:cubicBezTo>
                      <a:cubicBezTo>
                        <a:pt x="250" y="68"/>
                        <a:pt x="252" y="71"/>
                        <a:pt x="252" y="74"/>
                      </a:cubicBezTo>
                      <a:cubicBezTo>
                        <a:pt x="252" y="76"/>
                        <a:pt x="252" y="76"/>
                        <a:pt x="251" y="77"/>
                      </a:cubicBezTo>
                      <a:cubicBezTo>
                        <a:pt x="251" y="77"/>
                        <a:pt x="251" y="78"/>
                        <a:pt x="250" y="78"/>
                      </a:cubicBezTo>
                      <a:cubicBezTo>
                        <a:pt x="250" y="78"/>
                        <a:pt x="250" y="77"/>
                        <a:pt x="250" y="78"/>
                      </a:cubicBezTo>
                      <a:cubicBezTo>
                        <a:pt x="249" y="79"/>
                        <a:pt x="249" y="80"/>
                        <a:pt x="249" y="78"/>
                      </a:cubicBezTo>
                      <a:cubicBezTo>
                        <a:pt x="248" y="76"/>
                        <a:pt x="248" y="74"/>
                        <a:pt x="248" y="73"/>
                      </a:cubicBezTo>
                      <a:cubicBezTo>
                        <a:pt x="248" y="71"/>
                        <a:pt x="248" y="69"/>
                        <a:pt x="247" y="67"/>
                      </a:cubicBezTo>
                      <a:cubicBezTo>
                        <a:pt x="247" y="65"/>
                        <a:pt x="247" y="64"/>
                        <a:pt x="247" y="63"/>
                      </a:cubicBezTo>
                      <a:cubicBezTo>
                        <a:pt x="248" y="61"/>
                        <a:pt x="248" y="57"/>
                        <a:pt x="246" y="57"/>
                      </a:cubicBezTo>
                      <a:cubicBezTo>
                        <a:pt x="246" y="57"/>
                        <a:pt x="245" y="56"/>
                        <a:pt x="244" y="55"/>
                      </a:cubicBezTo>
                      <a:cubicBezTo>
                        <a:pt x="243" y="54"/>
                        <a:pt x="243" y="52"/>
                        <a:pt x="241" y="51"/>
                      </a:cubicBezTo>
                      <a:cubicBezTo>
                        <a:pt x="240" y="49"/>
                        <a:pt x="240" y="48"/>
                        <a:pt x="239" y="47"/>
                      </a:cubicBezTo>
                      <a:cubicBezTo>
                        <a:pt x="238" y="46"/>
                        <a:pt x="237" y="46"/>
                        <a:pt x="236" y="46"/>
                      </a:cubicBezTo>
                      <a:cubicBezTo>
                        <a:pt x="236" y="46"/>
                        <a:pt x="236" y="45"/>
                        <a:pt x="236" y="44"/>
                      </a:cubicBezTo>
                      <a:cubicBezTo>
                        <a:pt x="235" y="42"/>
                        <a:pt x="234" y="41"/>
                        <a:pt x="234" y="42"/>
                      </a:cubicBezTo>
                      <a:cubicBezTo>
                        <a:pt x="233" y="42"/>
                        <a:pt x="233" y="43"/>
                        <a:pt x="233" y="45"/>
                      </a:cubicBezTo>
                      <a:cubicBezTo>
                        <a:pt x="233" y="45"/>
                        <a:pt x="234" y="46"/>
                        <a:pt x="234" y="47"/>
                      </a:cubicBezTo>
                      <a:cubicBezTo>
                        <a:pt x="234" y="47"/>
                        <a:pt x="235" y="48"/>
                        <a:pt x="235" y="48"/>
                      </a:cubicBezTo>
                      <a:cubicBezTo>
                        <a:pt x="237" y="51"/>
                        <a:pt x="235" y="54"/>
                        <a:pt x="234" y="53"/>
                      </a:cubicBezTo>
                      <a:cubicBezTo>
                        <a:pt x="233" y="52"/>
                        <a:pt x="233" y="50"/>
                        <a:pt x="232" y="49"/>
                      </a:cubicBezTo>
                      <a:cubicBezTo>
                        <a:pt x="231" y="48"/>
                        <a:pt x="231" y="49"/>
                        <a:pt x="232" y="50"/>
                      </a:cubicBezTo>
                      <a:cubicBezTo>
                        <a:pt x="232" y="53"/>
                        <a:pt x="234" y="57"/>
                        <a:pt x="235" y="58"/>
                      </a:cubicBezTo>
                      <a:cubicBezTo>
                        <a:pt x="236" y="60"/>
                        <a:pt x="237" y="59"/>
                        <a:pt x="238" y="62"/>
                      </a:cubicBezTo>
                      <a:cubicBezTo>
                        <a:pt x="240" y="66"/>
                        <a:pt x="236" y="63"/>
                        <a:pt x="235" y="62"/>
                      </a:cubicBezTo>
                      <a:cubicBezTo>
                        <a:pt x="233" y="60"/>
                        <a:pt x="232" y="61"/>
                        <a:pt x="231" y="57"/>
                      </a:cubicBezTo>
                      <a:cubicBezTo>
                        <a:pt x="231" y="55"/>
                        <a:pt x="230" y="53"/>
                        <a:pt x="230" y="51"/>
                      </a:cubicBezTo>
                      <a:cubicBezTo>
                        <a:pt x="230" y="48"/>
                        <a:pt x="230" y="47"/>
                        <a:pt x="230" y="45"/>
                      </a:cubicBezTo>
                      <a:cubicBezTo>
                        <a:pt x="229" y="43"/>
                        <a:pt x="229" y="41"/>
                        <a:pt x="229" y="39"/>
                      </a:cubicBezTo>
                      <a:cubicBezTo>
                        <a:pt x="229" y="38"/>
                        <a:pt x="228" y="36"/>
                        <a:pt x="227" y="34"/>
                      </a:cubicBezTo>
                      <a:cubicBezTo>
                        <a:pt x="227" y="34"/>
                        <a:pt x="226" y="31"/>
                        <a:pt x="226" y="32"/>
                      </a:cubicBezTo>
                      <a:cubicBezTo>
                        <a:pt x="226" y="33"/>
                        <a:pt x="226" y="35"/>
                        <a:pt x="227" y="35"/>
                      </a:cubicBezTo>
                      <a:cubicBezTo>
                        <a:pt x="228" y="38"/>
                        <a:pt x="229" y="39"/>
                        <a:pt x="229" y="42"/>
                      </a:cubicBezTo>
                      <a:cubicBezTo>
                        <a:pt x="229" y="43"/>
                        <a:pt x="229" y="45"/>
                        <a:pt x="228" y="46"/>
                      </a:cubicBezTo>
                      <a:cubicBezTo>
                        <a:pt x="228" y="47"/>
                        <a:pt x="226" y="46"/>
                        <a:pt x="226" y="46"/>
                      </a:cubicBezTo>
                      <a:cubicBezTo>
                        <a:pt x="225" y="48"/>
                        <a:pt x="226" y="52"/>
                        <a:pt x="226" y="55"/>
                      </a:cubicBezTo>
                      <a:cubicBezTo>
                        <a:pt x="227" y="59"/>
                        <a:pt x="229" y="63"/>
                        <a:pt x="230" y="67"/>
                      </a:cubicBezTo>
                      <a:cubicBezTo>
                        <a:pt x="231" y="71"/>
                        <a:pt x="230" y="73"/>
                        <a:pt x="230" y="77"/>
                      </a:cubicBezTo>
                      <a:cubicBezTo>
                        <a:pt x="230" y="78"/>
                        <a:pt x="230" y="80"/>
                        <a:pt x="231" y="82"/>
                      </a:cubicBezTo>
                      <a:cubicBezTo>
                        <a:pt x="231" y="84"/>
                        <a:pt x="231" y="85"/>
                        <a:pt x="231" y="87"/>
                      </a:cubicBezTo>
                      <a:cubicBezTo>
                        <a:pt x="232" y="89"/>
                        <a:pt x="235" y="86"/>
                        <a:pt x="235" y="86"/>
                      </a:cubicBezTo>
                      <a:cubicBezTo>
                        <a:pt x="237" y="85"/>
                        <a:pt x="238" y="88"/>
                        <a:pt x="239" y="90"/>
                      </a:cubicBezTo>
                      <a:cubicBezTo>
                        <a:pt x="241" y="92"/>
                        <a:pt x="242" y="96"/>
                        <a:pt x="243" y="99"/>
                      </a:cubicBezTo>
                      <a:cubicBezTo>
                        <a:pt x="243" y="102"/>
                        <a:pt x="240" y="98"/>
                        <a:pt x="241" y="102"/>
                      </a:cubicBezTo>
                      <a:cubicBezTo>
                        <a:pt x="242" y="105"/>
                        <a:pt x="242" y="107"/>
                        <a:pt x="243" y="107"/>
                      </a:cubicBezTo>
                      <a:cubicBezTo>
                        <a:pt x="244" y="107"/>
                        <a:pt x="244" y="109"/>
                        <a:pt x="243" y="109"/>
                      </a:cubicBezTo>
                      <a:cubicBezTo>
                        <a:pt x="243" y="109"/>
                        <a:pt x="242" y="109"/>
                        <a:pt x="241" y="108"/>
                      </a:cubicBezTo>
                      <a:cubicBezTo>
                        <a:pt x="240" y="106"/>
                        <a:pt x="240" y="103"/>
                        <a:pt x="240" y="101"/>
                      </a:cubicBezTo>
                      <a:cubicBezTo>
                        <a:pt x="240" y="97"/>
                        <a:pt x="239" y="94"/>
                        <a:pt x="238" y="91"/>
                      </a:cubicBezTo>
                      <a:cubicBezTo>
                        <a:pt x="237" y="89"/>
                        <a:pt x="235" y="90"/>
                        <a:pt x="235" y="90"/>
                      </a:cubicBezTo>
                      <a:cubicBezTo>
                        <a:pt x="233" y="91"/>
                        <a:pt x="233" y="95"/>
                        <a:pt x="234" y="98"/>
                      </a:cubicBezTo>
                      <a:cubicBezTo>
                        <a:pt x="235" y="101"/>
                        <a:pt x="236" y="104"/>
                        <a:pt x="235" y="106"/>
                      </a:cubicBezTo>
                      <a:cubicBezTo>
                        <a:pt x="234" y="108"/>
                        <a:pt x="235" y="113"/>
                        <a:pt x="234" y="115"/>
                      </a:cubicBezTo>
                      <a:cubicBezTo>
                        <a:pt x="234" y="117"/>
                        <a:pt x="232" y="117"/>
                        <a:pt x="232" y="119"/>
                      </a:cubicBezTo>
                      <a:cubicBezTo>
                        <a:pt x="232" y="123"/>
                        <a:pt x="229" y="119"/>
                        <a:pt x="228" y="119"/>
                      </a:cubicBezTo>
                      <a:cubicBezTo>
                        <a:pt x="227" y="119"/>
                        <a:pt x="227" y="115"/>
                        <a:pt x="228" y="115"/>
                      </a:cubicBezTo>
                      <a:cubicBezTo>
                        <a:pt x="229" y="115"/>
                        <a:pt x="231" y="112"/>
                        <a:pt x="231" y="110"/>
                      </a:cubicBezTo>
                      <a:cubicBezTo>
                        <a:pt x="231" y="109"/>
                        <a:pt x="232" y="108"/>
                        <a:pt x="232" y="107"/>
                      </a:cubicBezTo>
                      <a:cubicBezTo>
                        <a:pt x="232" y="106"/>
                        <a:pt x="231" y="104"/>
                        <a:pt x="231" y="102"/>
                      </a:cubicBezTo>
                      <a:cubicBezTo>
                        <a:pt x="232" y="101"/>
                        <a:pt x="232" y="99"/>
                        <a:pt x="231" y="97"/>
                      </a:cubicBezTo>
                      <a:cubicBezTo>
                        <a:pt x="231" y="95"/>
                        <a:pt x="230" y="93"/>
                        <a:pt x="230" y="92"/>
                      </a:cubicBezTo>
                      <a:cubicBezTo>
                        <a:pt x="229" y="88"/>
                        <a:pt x="229" y="85"/>
                        <a:pt x="228" y="82"/>
                      </a:cubicBezTo>
                      <a:cubicBezTo>
                        <a:pt x="228" y="78"/>
                        <a:pt x="228" y="74"/>
                        <a:pt x="227" y="70"/>
                      </a:cubicBezTo>
                      <a:cubicBezTo>
                        <a:pt x="226" y="68"/>
                        <a:pt x="227" y="67"/>
                        <a:pt x="227" y="65"/>
                      </a:cubicBezTo>
                      <a:cubicBezTo>
                        <a:pt x="227" y="64"/>
                        <a:pt x="226" y="61"/>
                        <a:pt x="225" y="60"/>
                      </a:cubicBezTo>
                      <a:cubicBezTo>
                        <a:pt x="225" y="57"/>
                        <a:pt x="222" y="55"/>
                        <a:pt x="223" y="52"/>
                      </a:cubicBezTo>
                      <a:cubicBezTo>
                        <a:pt x="223" y="49"/>
                        <a:pt x="223" y="46"/>
                        <a:pt x="223" y="42"/>
                      </a:cubicBezTo>
                      <a:cubicBezTo>
                        <a:pt x="222" y="39"/>
                        <a:pt x="222" y="36"/>
                        <a:pt x="220" y="33"/>
                      </a:cubicBezTo>
                      <a:cubicBezTo>
                        <a:pt x="220" y="33"/>
                        <a:pt x="219" y="32"/>
                        <a:pt x="218" y="31"/>
                      </a:cubicBezTo>
                      <a:cubicBezTo>
                        <a:pt x="217" y="31"/>
                        <a:pt x="217" y="32"/>
                        <a:pt x="216" y="31"/>
                      </a:cubicBezTo>
                      <a:cubicBezTo>
                        <a:pt x="215" y="30"/>
                        <a:pt x="214" y="28"/>
                        <a:pt x="214" y="32"/>
                      </a:cubicBezTo>
                      <a:cubicBezTo>
                        <a:pt x="214" y="32"/>
                        <a:pt x="214" y="33"/>
                        <a:pt x="214" y="34"/>
                      </a:cubicBezTo>
                      <a:cubicBezTo>
                        <a:pt x="214" y="36"/>
                        <a:pt x="214" y="36"/>
                        <a:pt x="214" y="38"/>
                      </a:cubicBezTo>
                      <a:cubicBezTo>
                        <a:pt x="213" y="39"/>
                        <a:pt x="214" y="41"/>
                        <a:pt x="214" y="43"/>
                      </a:cubicBezTo>
                      <a:cubicBezTo>
                        <a:pt x="214" y="44"/>
                        <a:pt x="214" y="46"/>
                        <a:pt x="214" y="47"/>
                      </a:cubicBezTo>
                      <a:cubicBezTo>
                        <a:pt x="214" y="48"/>
                        <a:pt x="214" y="49"/>
                        <a:pt x="213" y="51"/>
                      </a:cubicBezTo>
                      <a:cubicBezTo>
                        <a:pt x="213" y="52"/>
                        <a:pt x="213" y="51"/>
                        <a:pt x="212" y="51"/>
                      </a:cubicBezTo>
                      <a:cubicBezTo>
                        <a:pt x="211" y="51"/>
                        <a:pt x="212" y="53"/>
                        <a:pt x="212" y="54"/>
                      </a:cubicBezTo>
                      <a:cubicBezTo>
                        <a:pt x="212" y="56"/>
                        <a:pt x="212" y="57"/>
                        <a:pt x="212" y="59"/>
                      </a:cubicBezTo>
                      <a:cubicBezTo>
                        <a:pt x="213" y="57"/>
                        <a:pt x="215" y="60"/>
                        <a:pt x="215" y="62"/>
                      </a:cubicBezTo>
                      <a:cubicBezTo>
                        <a:pt x="215" y="64"/>
                        <a:pt x="215" y="66"/>
                        <a:pt x="215" y="67"/>
                      </a:cubicBezTo>
                      <a:cubicBezTo>
                        <a:pt x="216" y="69"/>
                        <a:pt x="215" y="70"/>
                        <a:pt x="214" y="71"/>
                      </a:cubicBezTo>
                      <a:cubicBezTo>
                        <a:pt x="214" y="71"/>
                        <a:pt x="214" y="74"/>
                        <a:pt x="215" y="76"/>
                      </a:cubicBezTo>
                      <a:cubicBezTo>
                        <a:pt x="216" y="77"/>
                        <a:pt x="218" y="76"/>
                        <a:pt x="218" y="80"/>
                      </a:cubicBezTo>
                      <a:cubicBezTo>
                        <a:pt x="219" y="82"/>
                        <a:pt x="219" y="84"/>
                        <a:pt x="220" y="86"/>
                      </a:cubicBezTo>
                      <a:cubicBezTo>
                        <a:pt x="222" y="87"/>
                        <a:pt x="222" y="89"/>
                        <a:pt x="222" y="92"/>
                      </a:cubicBezTo>
                      <a:cubicBezTo>
                        <a:pt x="221" y="95"/>
                        <a:pt x="220" y="91"/>
                        <a:pt x="219" y="90"/>
                      </a:cubicBezTo>
                      <a:cubicBezTo>
                        <a:pt x="217" y="87"/>
                        <a:pt x="215" y="84"/>
                        <a:pt x="213" y="80"/>
                      </a:cubicBezTo>
                      <a:cubicBezTo>
                        <a:pt x="211" y="78"/>
                        <a:pt x="209" y="75"/>
                        <a:pt x="207" y="73"/>
                      </a:cubicBezTo>
                      <a:cubicBezTo>
                        <a:pt x="205" y="71"/>
                        <a:pt x="203" y="71"/>
                        <a:pt x="202" y="71"/>
                      </a:cubicBezTo>
                      <a:cubicBezTo>
                        <a:pt x="201" y="71"/>
                        <a:pt x="201" y="70"/>
                        <a:pt x="201" y="69"/>
                      </a:cubicBezTo>
                      <a:cubicBezTo>
                        <a:pt x="200" y="68"/>
                        <a:pt x="199" y="66"/>
                        <a:pt x="199" y="65"/>
                      </a:cubicBezTo>
                      <a:cubicBezTo>
                        <a:pt x="199" y="65"/>
                        <a:pt x="195" y="58"/>
                        <a:pt x="196" y="61"/>
                      </a:cubicBezTo>
                      <a:cubicBezTo>
                        <a:pt x="196" y="63"/>
                        <a:pt x="197" y="66"/>
                        <a:pt x="197" y="67"/>
                      </a:cubicBezTo>
                      <a:cubicBezTo>
                        <a:pt x="198" y="68"/>
                        <a:pt x="199" y="70"/>
                        <a:pt x="199" y="70"/>
                      </a:cubicBezTo>
                      <a:cubicBezTo>
                        <a:pt x="200" y="71"/>
                        <a:pt x="201" y="71"/>
                        <a:pt x="201" y="73"/>
                      </a:cubicBezTo>
                      <a:cubicBezTo>
                        <a:pt x="201" y="76"/>
                        <a:pt x="203" y="77"/>
                        <a:pt x="203" y="80"/>
                      </a:cubicBezTo>
                      <a:cubicBezTo>
                        <a:pt x="204" y="84"/>
                        <a:pt x="202" y="82"/>
                        <a:pt x="202" y="85"/>
                      </a:cubicBezTo>
                      <a:cubicBezTo>
                        <a:pt x="202" y="88"/>
                        <a:pt x="202" y="90"/>
                        <a:pt x="200" y="87"/>
                      </a:cubicBezTo>
                      <a:cubicBezTo>
                        <a:pt x="199" y="84"/>
                        <a:pt x="200" y="82"/>
                        <a:pt x="199" y="79"/>
                      </a:cubicBezTo>
                      <a:cubicBezTo>
                        <a:pt x="198" y="76"/>
                        <a:pt x="197" y="83"/>
                        <a:pt x="196" y="83"/>
                      </a:cubicBezTo>
                      <a:cubicBezTo>
                        <a:pt x="196" y="84"/>
                        <a:pt x="195" y="84"/>
                        <a:pt x="195" y="84"/>
                      </a:cubicBezTo>
                      <a:cubicBezTo>
                        <a:pt x="194" y="83"/>
                        <a:pt x="193" y="81"/>
                        <a:pt x="192" y="82"/>
                      </a:cubicBezTo>
                      <a:cubicBezTo>
                        <a:pt x="192" y="83"/>
                        <a:pt x="192" y="84"/>
                        <a:pt x="191" y="84"/>
                      </a:cubicBezTo>
                      <a:cubicBezTo>
                        <a:pt x="191" y="84"/>
                        <a:pt x="191" y="86"/>
                        <a:pt x="191" y="87"/>
                      </a:cubicBezTo>
                      <a:cubicBezTo>
                        <a:pt x="190" y="88"/>
                        <a:pt x="189" y="87"/>
                        <a:pt x="189" y="86"/>
                      </a:cubicBezTo>
                      <a:cubicBezTo>
                        <a:pt x="188" y="85"/>
                        <a:pt x="188" y="83"/>
                        <a:pt x="188" y="82"/>
                      </a:cubicBezTo>
                      <a:cubicBezTo>
                        <a:pt x="188" y="81"/>
                        <a:pt x="188" y="77"/>
                        <a:pt x="187" y="77"/>
                      </a:cubicBezTo>
                      <a:cubicBezTo>
                        <a:pt x="185" y="79"/>
                        <a:pt x="185" y="83"/>
                        <a:pt x="183" y="83"/>
                      </a:cubicBezTo>
                      <a:cubicBezTo>
                        <a:pt x="182" y="84"/>
                        <a:pt x="180" y="85"/>
                        <a:pt x="179" y="88"/>
                      </a:cubicBezTo>
                      <a:cubicBezTo>
                        <a:pt x="178" y="89"/>
                        <a:pt x="176" y="90"/>
                        <a:pt x="176" y="92"/>
                      </a:cubicBezTo>
                      <a:cubicBezTo>
                        <a:pt x="175" y="95"/>
                        <a:pt x="177" y="98"/>
                        <a:pt x="176" y="100"/>
                      </a:cubicBezTo>
                      <a:cubicBezTo>
                        <a:pt x="175" y="102"/>
                        <a:pt x="173" y="104"/>
                        <a:pt x="172" y="100"/>
                      </a:cubicBezTo>
                      <a:cubicBezTo>
                        <a:pt x="171" y="98"/>
                        <a:pt x="169" y="94"/>
                        <a:pt x="169" y="91"/>
                      </a:cubicBezTo>
                      <a:cubicBezTo>
                        <a:pt x="169" y="88"/>
                        <a:pt x="172" y="91"/>
                        <a:pt x="171" y="86"/>
                      </a:cubicBezTo>
                      <a:cubicBezTo>
                        <a:pt x="171" y="84"/>
                        <a:pt x="170" y="82"/>
                        <a:pt x="169" y="80"/>
                      </a:cubicBezTo>
                      <a:cubicBezTo>
                        <a:pt x="169" y="79"/>
                        <a:pt x="168" y="79"/>
                        <a:pt x="167" y="78"/>
                      </a:cubicBezTo>
                      <a:cubicBezTo>
                        <a:pt x="166" y="78"/>
                        <a:pt x="165" y="77"/>
                        <a:pt x="164" y="76"/>
                      </a:cubicBezTo>
                      <a:cubicBezTo>
                        <a:pt x="164" y="76"/>
                        <a:pt x="163" y="75"/>
                        <a:pt x="163" y="75"/>
                      </a:cubicBezTo>
                      <a:cubicBezTo>
                        <a:pt x="163" y="75"/>
                        <a:pt x="164" y="77"/>
                        <a:pt x="164" y="77"/>
                      </a:cubicBezTo>
                      <a:cubicBezTo>
                        <a:pt x="165" y="79"/>
                        <a:pt x="165" y="80"/>
                        <a:pt x="165" y="82"/>
                      </a:cubicBezTo>
                      <a:cubicBezTo>
                        <a:pt x="166" y="84"/>
                        <a:pt x="166" y="86"/>
                        <a:pt x="166" y="89"/>
                      </a:cubicBezTo>
                      <a:cubicBezTo>
                        <a:pt x="166" y="91"/>
                        <a:pt x="166" y="93"/>
                        <a:pt x="167" y="95"/>
                      </a:cubicBezTo>
                      <a:cubicBezTo>
                        <a:pt x="167" y="97"/>
                        <a:pt x="169" y="100"/>
                        <a:pt x="169" y="103"/>
                      </a:cubicBezTo>
                      <a:cubicBezTo>
                        <a:pt x="169" y="104"/>
                        <a:pt x="169" y="106"/>
                        <a:pt x="169" y="108"/>
                      </a:cubicBezTo>
                      <a:cubicBezTo>
                        <a:pt x="169" y="109"/>
                        <a:pt x="168" y="109"/>
                        <a:pt x="168" y="108"/>
                      </a:cubicBezTo>
                      <a:cubicBezTo>
                        <a:pt x="167" y="107"/>
                        <a:pt x="166" y="107"/>
                        <a:pt x="166" y="106"/>
                      </a:cubicBezTo>
                      <a:cubicBezTo>
                        <a:pt x="165" y="105"/>
                        <a:pt x="164" y="103"/>
                        <a:pt x="164" y="102"/>
                      </a:cubicBezTo>
                      <a:cubicBezTo>
                        <a:pt x="163" y="101"/>
                        <a:pt x="163" y="102"/>
                        <a:pt x="163" y="103"/>
                      </a:cubicBezTo>
                      <a:cubicBezTo>
                        <a:pt x="163" y="105"/>
                        <a:pt x="163" y="106"/>
                        <a:pt x="162" y="107"/>
                      </a:cubicBezTo>
                      <a:cubicBezTo>
                        <a:pt x="162" y="108"/>
                        <a:pt x="161" y="110"/>
                        <a:pt x="161" y="111"/>
                      </a:cubicBezTo>
                      <a:cubicBezTo>
                        <a:pt x="160" y="112"/>
                        <a:pt x="159" y="112"/>
                        <a:pt x="159" y="113"/>
                      </a:cubicBezTo>
                      <a:cubicBezTo>
                        <a:pt x="158" y="115"/>
                        <a:pt x="160" y="118"/>
                        <a:pt x="161" y="121"/>
                      </a:cubicBezTo>
                      <a:cubicBezTo>
                        <a:pt x="161" y="123"/>
                        <a:pt x="162" y="125"/>
                        <a:pt x="163" y="128"/>
                      </a:cubicBezTo>
                      <a:cubicBezTo>
                        <a:pt x="164" y="130"/>
                        <a:pt x="160" y="126"/>
                        <a:pt x="159" y="126"/>
                      </a:cubicBezTo>
                      <a:cubicBezTo>
                        <a:pt x="157" y="125"/>
                        <a:pt x="156" y="125"/>
                        <a:pt x="155" y="120"/>
                      </a:cubicBezTo>
                      <a:cubicBezTo>
                        <a:pt x="154" y="117"/>
                        <a:pt x="151" y="117"/>
                        <a:pt x="151" y="120"/>
                      </a:cubicBezTo>
                      <a:cubicBezTo>
                        <a:pt x="151" y="122"/>
                        <a:pt x="152" y="123"/>
                        <a:pt x="152" y="124"/>
                      </a:cubicBezTo>
                      <a:cubicBezTo>
                        <a:pt x="153" y="126"/>
                        <a:pt x="153" y="128"/>
                        <a:pt x="154" y="128"/>
                      </a:cubicBezTo>
                      <a:cubicBezTo>
                        <a:pt x="155" y="129"/>
                        <a:pt x="156" y="128"/>
                        <a:pt x="156" y="130"/>
                      </a:cubicBezTo>
                      <a:cubicBezTo>
                        <a:pt x="157" y="132"/>
                        <a:pt x="157" y="134"/>
                        <a:pt x="157" y="135"/>
                      </a:cubicBezTo>
                      <a:cubicBezTo>
                        <a:pt x="156" y="138"/>
                        <a:pt x="154" y="135"/>
                        <a:pt x="152" y="132"/>
                      </a:cubicBezTo>
                      <a:cubicBezTo>
                        <a:pt x="152" y="131"/>
                        <a:pt x="151" y="130"/>
                        <a:pt x="150" y="129"/>
                      </a:cubicBezTo>
                      <a:cubicBezTo>
                        <a:pt x="150" y="129"/>
                        <a:pt x="148" y="128"/>
                        <a:pt x="148" y="127"/>
                      </a:cubicBezTo>
                      <a:cubicBezTo>
                        <a:pt x="148" y="122"/>
                        <a:pt x="147" y="118"/>
                        <a:pt x="146" y="113"/>
                      </a:cubicBezTo>
                      <a:cubicBezTo>
                        <a:pt x="146" y="111"/>
                        <a:pt x="146" y="109"/>
                        <a:pt x="145" y="107"/>
                      </a:cubicBezTo>
                      <a:cubicBezTo>
                        <a:pt x="144" y="105"/>
                        <a:pt x="144" y="103"/>
                        <a:pt x="143" y="101"/>
                      </a:cubicBezTo>
                      <a:cubicBezTo>
                        <a:pt x="142" y="101"/>
                        <a:pt x="141" y="100"/>
                        <a:pt x="141" y="99"/>
                      </a:cubicBezTo>
                      <a:cubicBezTo>
                        <a:pt x="140" y="98"/>
                        <a:pt x="140" y="96"/>
                        <a:pt x="139" y="95"/>
                      </a:cubicBezTo>
                      <a:cubicBezTo>
                        <a:pt x="139" y="94"/>
                        <a:pt x="138" y="93"/>
                        <a:pt x="137" y="92"/>
                      </a:cubicBezTo>
                      <a:cubicBezTo>
                        <a:pt x="137" y="91"/>
                        <a:pt x="136" y="89"/>
                        <a:pt x="138" y="90"/>
                      </a:cubicBezTo>
                      <a:cubicBezTo>
                        <a:pt x="140" y="92"/>
                        <a:pt x="142" y="94"/>
                        <a:pt x="144" y="97"/>
                      </a:cubicBezTo>
                      <a:cubicBezTo>
                        <a:pt x="145" y="99"/>
                        <a:pt x="146" y="101"/>
                        <a:pt x="147" y="101"/>
                      </a:cubicBezTo>
                      <a:cubicBezTo>
                        <a:pt x="148" y="102"/>
                        <a:pt x="149" y="103"/>
                        <a:pt x="151" y="104"/>
                      </a:cubicBezTo>
                      <a:cubicBezTo>
                        <a:pt x="152" y="105"/>
                        <a:pt x="153" y="106"/>
                        <a:pt x="154" y="106"/>
                      </a:cubicBezTo>
                      <a:cubicBezTo>
                        <a:pt x="155" y="107"/>
                        <a:pt x="155" y="105"/>
                        <a:pt x="156" y="105"/>
                      </a:cubicBezTo>
                      <a:cubicBezTo>
                        <a:pt x="157" y="105"/>
                        <a:pt x="158" y="106"/>
                        <a:pt x="159" y="105"/>
                      </a:cubicBezTo>
                      <a:cubicBezTo>
                        <a:pt x="159" y="104"/>
                        <a:pt x="160" y="102"/>
                        <a:pt x="160" y="101"/>
                      </a:cubicBezTo>
                      <a:cubicBezTo>
                        <a:pt x="162" y="94"/>
                        <a:pt x="157" y="84"/>
                        <a:pt x="154" y="80"/>
                      </a:cubicBezTo>
                      <a:cubicBezTo>
                        <a:pt x="153" y="79"/>
                        <a:pt x="152" y="78"/>
                        <a:pt x="151" y="76"/>
                      </a:cubicBezTo>
                      <a:cubicBezTo>
                        <a:pt x="150" y="74"/>
                        <a:pt x="150" y="73"/>
                        <a:pt x="149" y="71"/>
                      </a:cubicBezTo>
                      <a:cubicBezTo>
                        <a:pt x="147" y="69"/>
                        <a:pt x="146" y="66"/>
                        <a:pt x="144" y="63"/>
                      </a:cubicBezTo>
                      <a:cubicBezTo>
                        <a:pt x="144" y="62"/>
                        <a:pt x="143" y="60"/>
                        <a:pt x="143" y="60"/>
                      </a:cubicBezTo>
                      <a:cubicBezTo>
                        <a:pt x="142" y="59"/>
                        <a:pt x="141" y="60"/>
                        <a:pt x="140" y="60"/>
                      </a:cubicBezTo>
                      <a:cubicBezTo>
                        <a:pt x="139" y="59"/>
                        <a:pt x="138" y="58"/>
                        <a:pt x="137" y="58"/>
                      </a:cubicBezTo>
                      <a:cubicBezTo>
                        <a:pt x="137" y="58"/>
                        <a:pt x="136" y="58"/>
                        <a:pt x="136" y="57"/>
                      </a:cubicBezTo>
                      <a:cubicBezTo>
                        <a:pt x="135" y="56"/>
                        <a:pt x="135" y="56"/>
                        <a:pt x="134" y="55"/>
                      </a:cubicBezTo>
                      <a:cubicBezTo>
                        <a:pt x="133" y="55"/>
                        <a:pt x="134" y="58"/>
                        <a:pt x="134" y="57"/>
                      </a:cubicBezTo>
                      <a:cubicBezTo>
                        <a:pt x="133" y="57"/>
                        <a:pt x="132" y="55"/>
                        <a:pt x="131" y="54"/>
                      </a:cubicBezTo>
                      <a:cubicBezTo>
                        <a:pt x="130" y="53"/>
                        <a:pt x="129" y="53"/>
                        <a:pt x="128" y="52"/>
                      </a:cubicBezTo>
                      <a:cubicBezTo>
                        <a:pt x="128" y="51"/>
                        <a:pt x="126" y="51"/>
                        <a:pt x="126" y="49"/>
                      </a:cubicBezTo>
                      <a:cubicBezTo>
                        <a:pt x="125" y="48"/>
                        <a:pt x="124" y="43"/>
                        <a:pt x="124" y="42"/>
                      </a:cubicBezTo>
                      <a:cubicBezTo>
                        <a:pt x="125" y="41"/>
                        <a:pt x="126" y="42"/>
                        <a:pt x="126" y="41"/>
                      </a:cubicBezTo>
                      <a:cubicBezTo>
                        <a:pt x="127" y="41"/>
                        <a:pt x="126" y="39"/>
                        <a:pt x="125" y="38"/>
                      </a:cubicBezTo>
                      <a:cubicBezTo>
                        <a:pt x="125" y="37"/>
                        <a:pt x="124" y="36"/>
                        <a:pt x="123" y="35"/>
                      </a:cubicBezTo>
                      <a:cubicBezTo>
                        <a:pt x="122" y="35"/>
                        <a:pt x="122" y="34"/>
                        <a:pt x="121" y="32"/>
                      </a:cubicBezTo>
                      <a:cubicBezTo>
                        <a:pt x="121" y="31"/>
                        <a:pt x="120" y="32"/>
                        <a:pt x="119" y="31"/>
                      </a:cubicBezTo>
                      <a:cubicBezTo>
                        <a:pt x="119" y="30"/>
                        <a:pt x="119" y="29"/>
                        <a:pt x="118" y="29"/>
                      </a:cubicBezTo>
                      <a:cubicBezTo>
                        <a:pt x="118" y="28"/>
                        <a:pt x="117" y="28"/>
                        <a:pt x="116" y="27"/>
                      </a:cubicBezTo>
                      <a:cubicBezTo>
                        <a:pt x="116" y="26"/>
                        <a:pt x="115" y="24"/>
                        <a:pt x="114" y="24"/>
                      </a:cubicBezTo>
                      <a:cubicBezTo>
                        <a:pt x="114" y="24"/>
                        <a:pt x="115" y="26"/>
                        <a:pt x="114" y="26"/>
                      </a:cubicBezTo>
                      <a:cubicBezTo>
                        <a:pt x="114" y="26"/>
                        <a:pt x="113" y="26"/>
                        <a:pt x="113" y="26"/>
                      </a:cubicBezTo>
                      <a:cubicBezTo>
                        <a:pt x="113" y="26"/>
                        <a:pt x="113" y="26"/>
                        <a:pt x="112" y="26"/>
                      </a:cubicBezTo>
                      <a:cubicBezTo>
                        <a:pt x="112" y="26"/>
                        <a:pt x="111" y="24"/>
                        <a:pt x="111" y="26"/>
                      </a:cubicBezTo>
                      <a:cubicBezTo>
                        <a:pt x="111" y="27"/>
                        <a:pt x="109" y="25"/>
                        <a:pt x="109" y="25"/>
                      </a:cubicBezTo>
                      <a:cubicBezTo>
                        <a:pt x="108" y="24"/>
                        <a:pt x="108" y="27"/>
                        <a:pt x="108" y="27"/>
                      </a:cubicBezTo>
                      <a:cubicBezTo>
                        <a:pt x="108" y="28"/>
                        <a:pt x="107" y="26"/>
                        <a:pt x="107" y="25"/>
                      </a:cubicBezTo>
                      <a:cubicBezTo>
                        <a:pt x="106" y="23"/>
                        <a:pt x="106" y="24"/>
                        <a:pt x="105" y="25"/>
                      </a:cubicBezTo>
                      <a:cubicBezTo>
                        <a:pt x="105" y="26"/>
                        <a:pt x="105" y="27"/>
                        <a:pt x="105" y="29"/>
                      </a:cubicBezTo>
                      <a:cubicBezTo>
                        <a:pt x="105" y="31"/>
                        <a:pt x="104" y="31"/>
                        <a:pt x="103" y="29"/>
                      </a:cubicBezTo>
                      <a:cubicBezTo>
                        <a:pt x="103" y="28"/>
                        <a:pt x="102" y="29"/>
                        <a:pt x="103" y="30"/>
                      </a:cubicBezTo>
                      <a:cubicBezTo>
                        <a:pt x="103" y="32"/>
                        <a:pt x="103" y="33"/>
                        <a:pt x="102" y="33"/>
                      </a:cubicBezTo>
                      <a:cubicBezTo>
                        <a:pt x="101" y="33"/>
                        <a:pt x="102" y="34"/>
                        <a:pt x="101" y="35"/>
                      </a:cubicBezTo>
                      <a:cubicBezTo>
                        <a:pt x="101" y="36"/>
                        <a:pt x="100" y="34"/>
                        <a:pt x="99" y="33"/>
                      </a:cubicBezTo>
                      <a:cubicBezTo>
                        <a:pt x="98" y="32"/>
                        <a:pt x="98" y="33"/>
                        <a:pt x="98" y="34"/>
                      </a:cubicBezTo>
                      <a:cubicBezTo>
                        <a:pt x="98" y="36"/>
                        <a:pt x="96" y="33"/>
                        <a:pt x="96" y="32"/>
                      </a:cubicBezTo>
                      <a:cubicBezTo>
                        <a:pt x="94" y="32"/>
                        <a:pt x="96" y="38"/>
                        <a:pt x="94" y="35"/>
                      </a:cubicBezTo>
                      <a:cubicBezTo>
                        <a:pt x="94" y="35"/>
                        <a:pt x="93" y="33"/>
                        <a:pt x="92" y="34"/>
                      </a:cubicBezTo>
                      <a:cubicBezTo>
                        <a:pt x="92" y="35"/>
                        <a:pt x="93" y="39"/>
                        <a:pt x="91" y="36"/>
                      </a:cubicBezTo>
                      <a:cubicBezTo>
                        <a:pt x="91" y="35"/>
                        <a:pt x="89" y="32"/>
                        <a:pt x="89" y="33"/>
                      </a:cubicBezTo>
                      <a:cubicBezTo>
                        <a:pt x="89" y="34"/>
                        <a:pt x="90" y="36"/>
                        <a:pt x="90" y="37"/>
                      </a:cubicBezTo>
                      <a:cubicBezTo>
                        <a:pt x="90" y="39"/>
                        <a:pt x="90" y="41"/>
                        <a:pt x="90" y="42"/>
                      </a:cubicBezTo>
                      <a:cubicBezTo>
                        <a:pt x="90" y="44"/>
                        <a:pt x="90" y="42"/>
                        <a:pt x="89" y="42"/>
                      </a:cubicBezTo>
                      <a:cubicBezTo>
                        <a:pt x="88" y="41"/>
                        <a:pt x="89" y="45"/>
                        <a:pt x="89" y="46"/>
                      </a:cubicBezTo>
                      <a:cubicBezTo>
                        <a:pt x="89" y="49"/>
                        <a:pt x="88" y="46"/>
                        <a:pt x="87" y="46"/>
                      </a:cubicBezTo>
                      <a:cubicBezTo>
                        <a:pt x="87" y="46"/>
                        <a:pt x="88" y="51"/>
                        <a:pt x="88" y="52"/>
                      </a:cubicBezTo>
                      <a:cubicBezTo>
                        <a:pt x="88" y="53"/>
                        <a:pt x="86" y="50"/>
                        <a:pt x="86" y="52"/>
                      </a:cubicBezTo>
                      <a:cubicBezTo>
                        <a:pt x="86" y="53"/>
                        <a:pt x="86" y="54"/>
                        <a:pt x="86" y="55"/>
                      </a:cubicBezTo>
                      <a:cubicBezTo>
                        <a:pt x="86" y="56"/>
                        <a:pt x="85" y="55"/>
                        <a:pt x="85" y="54"/>
                      </a:cubicBezTo>
                      <a:cubicBezTo>
                        <a:pt x="85" y="53"/>
                        <a:pt x="84" y="50"/>
                        <a:pt x="84" y="51"/>
                      </a:cubicBezTo>
                      <a:cubicBezTo>
                        <a:pt x="84" y="54"/>
                        <a:pt x="84" y="53"/>
                        <a:pt x="83" y="52"/>
                      </a:cubicBezTo>
                      <a:cubicBezTo>
                        <a:pt x="83" y="55"/>
                        <a:pt x="84" y="58"/>
                        <a:pt x="83" y="60"/>
                      </a:cubicBezTo>
                      <a:cubicBezTo>
                        <a:pt x="83" y="61"/>
                        <a:pt x="82" y="62"/>
                        <a:pt x="83" y="63"/>
                      </a:cubicBezTo>
                      <a:cubicBezTo>
                        <a:pt x="83" y="64"/>
                        <a:pt x="83" y="64"/>
                        <a:pt x="84" y="66"/>
                      </a:cubicBezTo>
                      <a:cubicBezTo>
                        <a:pt x="84" y="67"/>
                        <a:pt x="84" y="69"/>
                        <a:pt x="84" y="70"/>
                      </a:cubicBezTo>
                      <a:cubicBezTo>
                        <a:pt x="84" y="72"/>
                        <a:pt x="84" y="73"/>
                        <a:pt x="84" y="74"/>
                      </a:cubicBezTo>
                      <a:cubicBezTo>
                        <a:pt x="83" y="75"/>
                        <a:pt x="83" y="75"/>
                        <a:pt x="82" y="76"/>
                      </a:cubicBezTo>
                      <a:cubicBezTo>
                        <a:pt x="82" y="77"/>
                        <a:pt x="82" y="79"/>
                        <a:pt x="82" y="80"/>
                      </a:cubicBezTo>
                      <a:cubicBezTo>
                        <a:pt x="82" y="81"/>
                        <a:pt x="81" y="80"/>
                        <a:pt x="81" y="81"/>
                      </a:cubicBezTo>
                      <a:cubicBezTo>
                        <a:pt x="81" y="82"/>
                        <a:pt x="81" y="83"/>
                        <a:pt x="81" y="84"/>
                      </a:cubicBezTo>
                      <a:cubicBezTo>
                        <a:pt x="81" y="85"/>
                        <a:pt x="80" y="86"/>
                        <a:pt x="81" y="88"/>
                      </a:cubicBezTo>
                      <a:cubicBezTo>
                        <a:pt x="81" y="89"/>
                        <a:pt x="82" y="91"/>
                        <a:pt x="81" y="92"/>
                      </a:cubicBezTo>
                      <a:cubicBezTo>
                        <a:pt x="81" y="93"/>
                        <a:pt x="80" y="94"/>
                        <a:pt x="80" y="96"/>
                      </a:cubicBezTo>
                      <a:cubicBezTo>
                        <a:pt x="80" y="97"/>
                        <a:pt x="80" y="99"/>
                        <a:pt x="80" y="101"/>
                      </a:cubicBezTo>
                      <a:cubicBezTo>
                        <a:pt x="79" y="104"/>
                        <a:pt x="79" y="108"/>
                        <a:pt x="78" y="110"/>
                      </a:cubicBezTo>
                      <a:cubicBezTo>
                        <a:pt x="77" y="111"/>
                        <a:pt x="76" y="111"/>
                        <a:pt x="76" y="113"/>
                      </a:cubicBezTo>
                      <a:cubicBezTo>
                        <a:pt x="75" y="114"/>
                        <a:pt x="75" y="116"/>
                        <a:pt x="75" y="117"/>
                      </a:cubicBezTo>
                      <a:cubicBezTo>
                        <a:pt x="74" y="120"/>
                        <a:pt x="72" y="122"/>
                        <a:pt x="72" y="124"/>
                      </a:cubicBezTo>
                      <a:cubicBezTo>
                        <a:pt x="71" y="126"/>
                        <a:pt x="71" y="128"/>
                        <a:pt x="71" y="128"/>
                      </a:cubicBezTo>
                      <a:cubicBezTo>
                        <a:pt x="70" y="129"/>
                        <a:pt x="69" y="129"/>
                        <a:pt x="68" y="129"/>
                      </a:cubicBezTo>
                      <a:cubicBezTo>
                        <a:pt x="66" y="131"/>
                        <a:pt x="65" y="134"/>
                        <a:pt x="64" y="137"/>
                      </a:cubicBezTo>
                      <a:cubicBezTo>
                        <a:pt x="63" y="138"/>
                        <a:pt x="63" y="140"/>
                        <a:pt x="62" y="140"/>
                      </a:cubicBezTo>
                      <a:cubicBezTo>
                        <a:pt x="61" y="140"/>
                        <a:pt x="61" y="139"/>
                        <a:pt x="61" y="141"/>
                      </a:cubicBezTo>
                      <a:cubicBezTo>
                        <a:pt x="61" y="143"/>
                        <a:pt x="61" y="145"/>
                        <a:pt x="61" y="147"/>
                      </a:cubicBezTo>
                      <a:cubicBezTo>
                        <a:pt x="61" y="150"/>
                        <a:pt x="61" y="152"/>
                        <a:pt x="61" y="154"/>
                      </a:cubicBezTo>
                      <a:cubicBezTo>
                        <a:pt x="61" y="156"/>
                        <a:pt x="63" y="161"/>
                        <a:pt x="62" y="162"/>
                      </a:cubicBezTo>
                      <a:cubicBezTo>
                        <a:pt x="60" y="164"/>
                        <a:pt x="58" y="161"/>
                        <a:pt x="56" y="161"/>
                      </a:cubicBezTo>
                      <a:cubicBezTo>
                        <a:pt x="56" y="164"/>
                        <a:pt x="59" y="165"/>
                        <a:pt x="60" y="166"/>
                      </a:cubicBezTo>
                      <a:cubicBezTo>
                        <a:pt x="61" y="166"/>
                        <a:pt x="62" y="165"/>
                        <a:pt x="63" y="166"/>
                      </a:cubicBezTo>
                      <a:cubicBezTo>
                        <a:pt x="64" y="167"/>
                        <a:pt x="64" y="171"/>
                        <a:pt x="64" y="173"/>
                      </a:cubicBezTo>
                      <a:cubicBezTo>
                        <a:pt x="63" y="177"/>
                        <a:pt x="66" y="178"/>
                        <a:pt x="66" y="181"/>
                      </a:cubicBezTo>
                      <a:cubicBezTo>
                        <a:pt x="66" y="184"/>
                        <a:pt x="65" y="187"/>
                        <a:pt x="65" y="191"/>
                      </a:cubicBezTo>
                      <a:cubicBezTo>
                        <a:pt x="66" y="192"/>
                        <a:pt x="67" y="193"/>
                        <a:pt x="67" y="193"/>
                      </a:cubicBezTo>
                      <a:cubicBezTo>
                        <a:pt x="68" y="193"/>
                        <a:pt x="69" y="194"/>
                        <a:pt x="70" y="195"/>
                      </a:cubicBezTo>
                      <a:cubicBezTo>
                        <a:pt x="72" y="196"/>
                        <a:pt x="73" y="196"/>
                        <a:pt x="74" y="195"/>
                      </a:cubicBezTo>
                      <a:cubicBezTo>
                        <a:pt x="74" y="195"/>
                        <a:pt x="75" y="194"/>
                        <a:pt x="75" y="194"/>
                      </a:cubicBezTo>
                      <a:cubicBezTo>
                        <a:pt x="76" y="193"/>
                        <a:pt x="76" y="193"/>
                        <a:pt x="77" y="193"/>
                      </a:cubicBezTo>
                      <a:cubicBezTo>
                        <a:pt x="78" y="192"/>
                        <a:pt x="79" y="190"/>
                        <a:pt x="79" y="188"/>
                      </a:cubicBezTo>
                      <a:cubicBezTo>
                        <a:pt x="80" y="186"/>
                        <a:pt x="80" y="185"/>
                        <a:pt x="81" y="184"/>
                      </a:cubicBezTo>
                      <a:cubicBezTo>
                        <a:pt x="82" y="183"/>
                        <a:pt x="82" y="183"/>
                        <a:pt x="82" y="181"/>
                      </a:cubicBezTo>
                      <a:cubicBezTo>
                        <a:pt x="82" y="179"/>
                        <a:pt x="81" y="176"/>
                        <a:pt x="82" y="177"/>
                      </a:cubicBezTo>
                      <a:cubicBezTo>
                        <a:pt x="85" y="178"/>
                        <a:pt x="84" y="185"/>
                        <a:pt x="84" y="188"/>
                      </a:cubicBezTo>
                      <a:cubicBezTo>
                        <a:pt x="84" y="190"/>
                        <a:pt x="85" y="192"/>
                        <a:pt x="85" y="193"/>
                      </a:cubicBezTo>
                      <a:cubicBezTo>
                        <a:pt x="85" y="195"/>
                        <a:pt x="86" y="195"/>
                        <a:pt x="87" y="194"/>
                      </a:cubicBezTo>
                      <a:cubicBezTo>
                        <a:pt x="88" y="192"/>
                        <a:pt x="89" y="191"/>
                        <a:pt x="90" y="188"/>
                      </a:cubicBezTo>
                      <a:cubicBezTo>
                        <a:pt x="90" y="187"/>
                        <a:pt x="90" y="186"/>
                        <a:pt x="91" y="186"/>
                      </a:cubicBezTo>
                      <a:cubicBezTo>
                        <a:pt x="92" y="187"/>
                        <a:pt x="92" y="188"/>
                        <a:pt x="92" y="189"/>
                      </a:cubicBezTo>
                      <a:cubicBezTo>
                        <a:pt x="91" y="192"/>
                        <a:pt x="89" y="193"/>
                        <a:pt x="88" y="196"/>
                      </a:cubicBezTo>
                      <a:cubicBezTo>
                        <a:pt x="87" y="197"/>
                        <a:pt x="86" y="199"/>
                        <a:pt x="86" y="201"/>
                      </a:cubicBezTo>
                      <a:cubicBezTo>
                        <a:pt x="87" y="203"/>
                        <a:pt x="88" y="205"/>
                        <a:pt x="88" y="206"/>
                      </a:cubicBezTo>
                      <a:cubicBezTo>
                        <a:pt x="89" y="208"/>
                        <a:pt x="91" y="215"/>
                        <a:pt x="90" y="217"/>
                      </a:cubicBezTo>
                      <a:cubicBezTo>
                        <a:pt x="90" y="218"/>
                        <a:pt x="89" y="220"/>
                        <a:pt x="88" y="220"/>
                      </a:cubicBezTo>
                      <a:cubicBezTo>
                        <a:pt x="87" y="221"/>
                        <a:pt x="86" y="219"/>
                        <a:pt x="86" y="222"/>
                      </a:cubicBezTo>
                      <a:cubicBezTo>
                        <a:pt x="86" y="223"/>
                        <a:pt x="86" y="225"/>
                        <a:pt x="86" y="227"/>
                      </a:cubicBezTo>
                      <a:cubicBezTo>
                        <a:pt x="86" y="229"/>
                        <a:pt x="85" y="230"/>
                        <a:pt x="85" y="231"/>
                      </a:cubicBezTo>
                      <a:cubicBezTo>
                        <a:pt x="83" y="235"/>
                        <a:pt x="88" y="235"/>
                        <a:pt x="89" y="235"/>
                      </a:cubicBezTo>
                      <a:cubicBezTo>
                        <a:pt x="91" y="233"/>
                        <a:pt x="91" y="229"/>
                        <a:pt x="92" y="227"/>
                      </a:cubicBezTo>
                      <a:cubicBezTo>
                        <a:pt x="93" y="226"/>
                        <a:pt x="94" y="227"/>
                        <a:pt x="95" y="226"/>
                      </a:cubicBezTo>
                      <a:cubicBezTo>
                        <a:pt x="96" y="225"/>
                        <a:pt x="96" y="223"/>
                        <a:pt x="97" y="221"/>
                      </a:cubicBezTo>
                      <a:cubicBezTo>
                        <a:pt x="98" y="219"/>
                        <a:pt x="100" y="224"/>
                        <a:pt x="101" y="220"/>
                      </a:cubicBezTo>
                      <a:cubicBezTo>
                        <a:pt x="102" y="218"/>
                        <a:pt x="102" y="216"/>
                        <a:pt x="103" y="214"/>
                      </a:cubicBezTo>
                      <a:cubicBezTo>
                        <a:pt x="103" y="212"/>
                        <a:pt x="104" y="210"/>
                        <a:pt x="103" y="208"/>
                      </a:cubicBezTo>
                      <a:cubicBezTo>
                        <a:pt x="103" y="207"/>
                        <a:pt x="102" y="206"/>
                        <a:pt x="102" y="204"/>
                      </a:cubicBezTo>
                      <a:cubicBezTo>
                        <a:pt x="102" y="202"/>
                        <a:pt x="103" y="199"/>
                        <a:pt x="102" y="197"/>
                      </a:cubicBezTo>
                      <a:cubicBezTo>
                        <a:pt x="101" y="193"/>
                        <a:pt x="104" y="189"/>
                        <a:pt x="105" y="188"/>
                      </a:cubicBezTo>
                      <a:cubicBezTo>
                        <a:pt x="107" y="187"/>
                        <a:pt x="107" y="181"/>
                        <a:pt x="107" y="178"/>
                      </a:cubicBezTo>
                      <a:cubicBezTo>
                        <a:pt x="107" y="176"/>
                        <a:pt x="107" y="173"/>
                        <a:pt x="106" y="172"/>
                      </a:cubicBezTo>
                      <a:cubicBezTo>
                        <a:pt x="105" y="171"/>
                        <a:pt x="105" y="171"/>
                        <a:pt x="105" y="171"/>
                      </a:cubicBezTo>
                      <a:cubicBezTo>
                        <a:pt x="104" y="170"/>
                        <a:pt x="104" y="169"/>
                        <a:pt x="104" y="168"/>
                      </a:cubicBezTo>
                      <a:cubicBezTo>
                        <a:pt x="103" y="166"/>
                        <a:pt x="102" y="166"/>
                        <a:pt x="102" y="164"/>
                      </a:cubicBezTo>
                      <a:cubicBezTo>
                        <a:pt x="101" y="162"/>
                        <a:pt x="101" y="160"/>
                        <a:pt x="101" y="158"/>
                      </a:cubicBezTo>
                      <a:cubicBezTo>
                        <a:pt x="100" y="156"/>
                        <a:pt x="101" y="154"/>
                        <a:pt x="101" y="153"/>
                      </a:cubicBezTo>
                      <a:cubicBezTo>
                        <a:pt x="102" y="150"/>
                        <a:pt x="101" y="148"/>
                        <a:pt x="101" y="145"/>
                      </a:cubicBezTo>
                      <a:cubicBezTo>
                        <a:pt x="100" y="141"/>
                        <a:pt x="102" y="137"/>
                        <a:pt x="103" y="135"/>
                      </a:cubicBezTo>
                      <a:cubicBezTo>
                        <a:pt x="104" y="134"/>
                        <a:pt x="105" y="132"/>
                        <a:pt x="106" y="131"/>
                      </a:cubicBezTo>
                      <a:cubicBezTo>
                        <a:pt x="107" y="130"/>
                        <a:pt x="108" y="128"/>
                        <a:pt x="108" y="126"/>
                      </a:cubicBezTo>
                      <a:cubicBezTo>
                        <a:pt x="109" y="124"/>
                        <a:pt x="111" y="122"/>
                        <a:pt x="110" y="118"/>
                      </a:cubicBezTo>
                      <a:cubicBezTo>
                        <a:pt x="110" y="113"/>
                        <a:pt x="108" y="109"/>
                        <a:pt x="109" y="105"/>
                      </a:cubicBezTo>
                      <a:cubicBezTo>
                        <a:pt x="109" y="103"/>
                        <a:pt x="111" y="104"/>
                        <a:pt x="111" y="103"/>
                      </a:cubicBezTo>
                      <a:cubicBezTo>
                        <a:pt x="111" y="101"/>
                        <a:pt x="110" y="99"/>
                        <a:pt x="112" y="100"/>
                      </a:cubicBezTo>
                      <a:cubicBezTo>
                        <a:pt x="113" y="100"/>
                        <a:pt x="114" y="99"/>
                        <a:pt x="115" y="100"/>
                      </a:cubicBezTo>
                      <a:cubicBezTo>
                        <a:pt x="116" y="100"/>
                        <a:pt x="117" y="101"/>
                        <a:pt x="118" y="102"/>
                      </a:cubicBezTo>
                      <a:cubicBezTo>
                        <a:pt x="120" y="105"/>
                        <a:pt x="122" y="109"/>
                        <a:pt x="121" y="113"/>
                      </a:cubicBezTo>
                      <a:cubicBezTo>
                        <a:pt x="121" y="114"/>
                        <a:pt x="120" y="115"/>
                        <a:pt x="119" y="116"/>
                      </a:cubicBezTo>
                      <a:cubicBezTo>
                        <a:pt x="119" y="117"/>
                        <a:pt x="119" y="120"/>
                        <a:pt x="118" y="122"/>
                      </a:cubicBezTo>
                      <a:cubicBezTo>
                        <a:pt x="118" y="124"/>
                        <a:pt x="117" y="126"/>
                        <a:pt x="117" y="128"/>
                      </a:cubicBezTo>
                      <a:cubicBezTo>
                        <a:pt x="116" y="130"/>
                        <a:pt x="116" y="133"/>
                        <a:pt x="115" y="134"/>
                      </a:cubicBezTo>
                      <a:cubicBezTo>
                        <a:pt x="114" y="135"/>
                        <a:pt x="113" y="136"/>
                        <a:pt x="112" y="137"/>
                      </a:cubicBezTo>
                      <a:cubicBezTo>
                        <a:pt x="112" y="139"/>
                        <a:pt x="112" y="143"/>
                        <a:pt x="112" y="146"/>
                      </a:cubicBezTo>
                      <a:cubicBezTo>
                        <a:pt x="112" y="149"/>
                        <a:pt x="113" y="152"/>
                        <a:pt x="113" y="155"/>
                      </a:cubicBezTo>
                      <a:cubicBezTo>
                        <a:pt x="113" y="158"/>
                        <a:pt x="112" y="159"/>
                        <a:pt x="112" y="161"/>
                      </a:cubicBezTo>
                      <a:cubicBezTo>
                        <a:pt x="112" y="163"/>
                        <a:pt x="113" y="165"/>
                        <a:pt x="113" y="166"/>
                      </a:cubicBezTo>
                      <a:cubicBezTo>
                        <a:pt x="114" y="166"/>
                        <a:pt x="115" y="169"/>
                        <a:pt x="115" y="169"/>
                      </a:cubicBezTo>
                      <a:cubicBezTo>
                        <a:pt x="115" y="169"/>
                        <a:pt x="115" y="169"/>
                        <a:pt x="115" y="169"/>
                      </a:cubicBezTo>
                      <a:cubicBezTo>
                        <a:pt x="116" y="171"/>
                        <a:pt x="118" y="172"/>
                        <a:pt x="118" y="175"/>
                      </a:cubicBezTo>
                      <a:cubicBezTo>
                        <a:pt x="119" y="177"/>
                        <a:pt x="119" y="178"/>
                        <a:pt x="118" y="178"/>
                      </a:cubicBezTo>
                      <a:cubicBezTo>
                        <a:pt x="118" y="179"/>
                        <a:pt x="117" y="179"/>
                        <a:pt x="117" y="179"/>
                      </a:cubicBezTo>
                      <a:cubicBezTo>
                        <a:pt x="117" y="179"/>
                        <a:pt x="117" y="181"/>
                        <a:pt x="117" y="181"/>
                      </a:cubicBezTo>
                      <a:cubicBezTo>
                        <a:pt x="118" y="181"/>
                        <a:pt x="119" y="180"/>
                        <a:pt x="119" y="179"/>
                      </a:cubicBezTo>
                      <a:cubicBezTo>
                        <a:pt x="120" y="179"/>
                        <a:pt x="121" y="179"/>
                        <a:pt x="122" y="178"/>
                      </a:cubicBezTo>
                      <a:cubicBezTo>
                        <a:pt x="123" y="177"/>
                        <a:pt x="123" y="175"/>
                        <a:pt x="124" y="175"/>
                      </a:cubicBezTo>
                      <a:cubicBezTo>
                        <a:pt x="125" y="174"/>
                        <a:pt x="125" y="176"/>
                        <a:pt x="126" y="177"/>
                      </a:cubicBezTo>
                      <a:cubicBezTo>
                        <a:pt x="127" y="177"/>
                        <a:pt x="128" y="176"/>
                        <a:pt x="129" y="176"/>
                      </a:cubicBezTo>
                      <a:cubicBezTo>
                        <a:pt x="130" y="177"/>
                        <a:pt x="132" y="177"/>
                        <a:pt x="133" y="177"/>
                      </a:cubicBezTo>
                      <a:cubicBezTo>
                        <a:pt x="133" y="177"/>
                        <a:pt x="134" y="177"/>
                        <a:pt x="135" y="176"/>
                      </a:cubicBezTo>
                      <a:cubicBezTo>
                        <a:pt x="135" y="174"/>
                        <a:pt x="135" y="173"/>
                        <a:pt x="136" y="175"/>
                      </a:cubicBezTo>
                      <a:cubicBezTo>
                        <a:pt x="137" y="175"/>
                        <a:pt x="137" y="177"/>
                        <a:pt x="138" y="177"/>
                      </a:cubicBezTo>
                      <a:cubicBezTo>
                        <a:pt x="138" y="177"/>
                        <a:pt x="139" y="177"/>
                        <a:pt x="139" y="178"/>
                      </a:cubicBezTo>
                      <a:cubicBezTo>
                        <a:pt x="139" y="180"/>
                        <a:pt x="138" y="180"/>
                        <a:pt x="138" y="180"/>
                      </a:cubicBezTo>
                      <a:cubicBezTo>
                        <a:pt x="137" y="180"/>
                        <a:pt x="136" y="178"/>
                        <a:pt x="135" y="180"/>
                      </a:cubicBezTo>
                      <a:cubicBezTo>
                        <a:pt x="134" y="181"/>
                        <a:pt x="134" y="181"/>
                        <a:pt x="133" y="182"/>
                      </a:cubicBezTo>
                      <a:cubicBezTo>
                        <a:pt x="133" y="183"/>
                        <a:pt x="132" y="184"/>
                        <a:pt x="131" y="183"/>
                      </a:cubicBezTo>
                      <a:cubicBezTo>
                        <a:pt x="131" y="183"/>
                        <a:pt x="130" y="182"/>
                        <a:pt x="129" y="181"/>
                      </a:cubicBezTo>
                      <a:cubicBezTo>
                        <a:pt x="128" y="181"/>
                        <a:pt x="127" y="182"/>
                        <a:pt x="126" y="182"/>
                      </a:cubicBezTo>
                      <a:cubicBezTo>
                        <a:pt x="124" y="182"/>
                        <a:pt x="124" y="182"/>
                        <a:pt x="123" y="184"/>
                      </a:cubicBezTo>
                      <a:cubicBezTo>
                        <a:pt x="123" y="185"/>
                        <a:pt x="122" y="186"/>
                        <a:pt x="121" y="186"/>
                      </a:cubicBezTo>
                      <a:cubicBezTo>
                        <a:pt x="120" y="185"/>
                        <a:pt x="119" y="184"/>
                        <a:pt x="119" y="186"/>
                      </a:cubicBezTo>
                      <a:cubicBezTo>
                        <a:pt x="118" y="188"/>
                        <a:pt x="119" y="190"/>
                        <a:pt x="119" y="191"/>
                      </a:cubicBezTo>
                      <a:cubicBezTo>
                        <a:pt x="118" y="194"/>
                        <a:pt x="117" y="196"/>
                        <a:pt x="119" y="198"/>
                      </a:cubicBezTo>
                      <a:cubicBezTo>
                        <a:pt x="120" y="199"/>
                        <a:pt x="122" y="199"/>
                        <a:pt x="123" y="198"/>
                      </a:cubicBezTo>
                      <a:cubicBezTo>
                        <a:pt x="124" y="198"/>
                        <a:pt x="124" y="196"/>
                        <a:pt x="125" y="198"/>
                      </a:cubicBezTo>
                      <a:cubicBezTo>
                        <a:pt x="126" y="202"/>
                        <a:pt x="125" y="205"/>
                        <a:pt x="125" y="208"/>
                      </a:cubicBezTo>
                      <a:cubicBezTo>
                        <a:pt x="125" y="213"/>
                        <a:pt x="123" y="211"/>
                        <a:pt x="122" y="208"/>
                      </a:cubicBezTo>
                      <a:cubicBezTo>
                        <a:pt x="120" y="205"/>
                        <a:pt x="120" y="202"/>
                        <a:pt x="118" y="204"/>
                      </a:cubicBezTo>
                      <a:cubicBezTo>
                        <a:pt x="117" y="205"/>
                        <a:pt x="117" y="205"/>
                        <a:pt x="117" y="208"/>
                      </a:cubicBezTo>
                      <a:cubicBezTo>
                        <a:pt x="117" y="210"/>
                        <a:pt x="116" y="212"/>
                        <a:pt x="116" y="214"/>
                      </a:cubicBezTo>
                      <a:cubicBezTo>
                        <a:pt x="116" y="216"/>
                        <a:pt x="116" y="218"/>
                        <a:pt x="116" y="220"/>
                      </a:cubicBezTo>
                      <a:cubicBezTo>
                        <a:pt x="116" y="222"/>
                        <a:pt x="115" y="224"/>
                        <a:pt x="116" y="226"/>
                      </a:cubicBezTo>
                      <a:cubicBezTo>
                        <a:pt x="117" y="229"/>
                        <a:pt x="116" y="233"/>
                        <a:pt x="114" y="234"/>
                      </a:cubicBezTo>
                      <a:cubicBezTo>
                        <a:pt x="112" y="234"/>
                        <a:pt x="113" y="239"/>
                        <a:pt x="111" y="239"/>
                      </a:cubicBezTo>
                      <a:cubicBezTo>
                        <a:pt x="110" y="239"/>
                        <a:pt x="110" y="237"/>
                        <a:pt x="109" y="236"/>
                      </a:cubicBezTo>
                      <a:cubicBezTo>
                        <a:pt x="109" y="235"/>
                        <a:pt x="108" y="234"/>
                        <a:pt x="108" y="234"/>
                      </a:cubicBezTo>
                      <a:cubicBezTo>
                        <a:pt x="108" y="233"/>
                        <a:pt x="107" y="233"/>
                        <a:pt x="107" y="233"/>
                      </a:cubicBezTo>
                      <a:cubicBezTo>
                        <a:pt x="106" y="233"/>
                        <a:pt x="105" y="235"/>
                        <a:pt x="104" y="236"/>
                      </a:cubicBezTo>
                      <a:cubicBezTo>
                        <a:pt x="103" y="238"/>
                        <a:pt x="103" y="238"/>
                        <a:pt x="102" y="240"/>
                      </a:cubicBezTo>
                      <a:cubicBezTo>
                        <a:pt x="101" y="241"/>
                        <a:pt x="101" y="241"/>
                        <a:pt x="100" y="243"/>
                      </a:cubicBezTo>
                      <a:cubicBezTo>
                        <a:pt x="99" y="245"/>
                        <a:pt x="98" y="243"/>
                        <a:pt x="97" y="243"/>
                      </a:cubicBezTo>
                      <a:cubicBezTo>
                        <a:pt x="96" y="244"/>
                        <a:pt x="97" y="250"/>
                        <a:pt x="95" y="246"/>
                      </a:cubicBezTo>
                      <a:cubicBezTo>
                        <a:pt x="94" y="244"/>
                        <a:pt x="94" y="243"/>
                        <a:pt x="94" y="241"/>
                      </a:cubicBezTo>
                      <a:cubicBezTo>
                        <a:pt x="93" y="240"/>
                        <a:pt x="93" y="239"/>
                        <a:pt x="93" y="238"/>
                      </a:cubicBezTo>
                      <a:cubicBezTo>
                        <a:pt x="93" y="236"/>
                        <a:pt x="92" y="238"/>
                        <a:pt x="92" y="239"/>
                      </a:cubicBezTo>
                      <a:cubicBezTo>
                        <a:pt x="91" y="240"/>
                        <a:pt x="90" y="239"/>
                        <a:pt x="90" y="241"/>
                      </a:cubicBezTo>
                      <a:cubicBezTo>
                        <a:pt x="90" y="243"/>
                        <a:pt x="88" y="243"/>
                        <a:pt x="87" y="244"/>
                      </a:cubicBezTo>
                      <a:cubicBezTo>
                        <a:pt x="85" y="246"/>
                        <a:pt x="84" y="243"/>
                        <a:pt x="83" y="239"/>
                      </a:cubicBezTo>
                      <a:cubicBezTo>
                        <a:pt x="83" y="237"/>
                        <a:pt x="82" y="235"/>
                        <a:pt x="82" y="233"/>
                      </a:cubicBezTo>
                      <a:cubicBezTo>
                        <a:pt x="81" y="231"/>
                        <a:pt x="82" y="229"/>
                        <a:pt x="82" y="227"/>
                      </a:cubicBezTo>
                      <a:cubicBezTo>
                        <a:pt x="82" y="224"/>
                        <a:pt x="82" y="222"/>
                        <a:pt x="82" y="220"/>
                      </a:cubicBezTo>
                      <a:cubicBezTo>
                        <a:pt x="82" y="219"/>
                        <a:pt x="83" y="218"/>
                        <a:pt x="83" y="218"/>
                      </a:cubicBezTo>
                      <a:cubicBezTo>
                        <a:pt x="83" y="216"/>
                        <a:pt x="83" y="215"/>
                        <a:pt x="83" y="213"/>
                      </a:cubicBezTo>
                      <a:cubicBezTo>
                        <a:pt x="83" y="211"/>
                        <a:pt x="83" y="208"/>
                        <a:pt x="83" y="206"/>
                      </a:cubicBezTo>
                      <a:cubicBezTo>
                        <a:pt x="83" y="205"/>
                        <a:pt x="83" y="201"/>
                        <a:pt x="82" y="202"/>
                      </a:cubicBezTo>
                      <a:cubicBezTo>
                        <a:pt x="81" y="203"/>
                        <a:pt x="81" y="204"/>
                        <a:pt x="80" y="205"/>
                      </a:cubicBezTo>
                      <a:cubicBezTo>
                        <a:pt x="79" y="205"/>
                        <a:pt x="78" y="204"/>
                        <a:pt x="77" y="206"/>
                      </a:cubicBezTo>
                      <a:cubicBezTo>
                        <a:pt x="76" y="209"/>
                        <a:pt x="74" y="213"/>
                        <a:pt x="75" y="216"/>
                      </a:cubicBezTo>
                      <a:cubicBezTo>
                        <a:pt x="75" y="218"/>
                        <a:pt x="75" y="220"/>
                        <a:pt x="76" y="221"/>
                      </a:cubicBezTo>
                      <a:cubicBezTo>
                        <a:pt x="76" y="222"/>
                        <a:pt x="76" y="223"/>
                        <a:pt x="76" y="224"/>
                      </a:cubicBezTo>
                      <a:cubicBezTo>
                        <a:pt x="76" y="226"/>
                        <a:pt x="76" y="228"/>
                        <a:pt x="77" y="229"/>
                      </a:cubicBezTo>
                      <a:cubicBezTo>
                        <a:pt x="77" y="230"/>
                        <a:pt x="78" y="233"/>
                        <a:pt x="78" y="234"/>
                      </a:cubicBezTo>
                      <a:cubicBezTo>
                        <a:pt x="78" y="236"/>
                        <a:pt x="78" y="237"/>
                        <a:pt x="78" y="240"/>
                      </a:cubicBezTo>
                      <a:cubicBezTo>
                        <a:pt x="78" y="242"/>
                        <a:pt x="78" y="244"/>
                        <a:pt x="77" y="246"/>
                      </a:cubicBezTo>
                      <a:cubicBezTo>
                        <a:pt x="77" y="248"/>
                        <a:pt x="76" y="247"/>
                        <a:pt x="75" y="247"/>
                      </a:cubicBezTo>
                      <a:cubicBezTo>
                        <a:pt x="73" y="247"/>
                        <a:pt x="73" y="247"/>
                        <a:pt x="72" y="249"/>
                      </a:cubicBezTo>
                      <a:cubicBezTo>
                        <a:pt x="71" y="251"/>
                        <a:pt x="70" y="250"/>
                        <a:pt x="69" y="251"/>
                      </a:cubicBezTo>
                      <a:cubicBezTo>
                        <a:pt x="68" y="252"/>
                        <a:pt x="66" y="252"/>
                        <a:pt x="65" y="253"/>
                      </a:cubicBezTo>
                      <a:cubicBezTo>
                        <a:pt x="65" y="255"/>
                        <a:pt x="64" y="257"/>
                        <a:pt x="64" y="259"/>
                      </a:cubicBezTo>
                      <a:cubicBezTo>
                        <a:pt x="63" y="261"/>
                        <a:pt x="63" y="264"/>
                        <a:pt x="62" y="265"/>
                      </a:cubicBezTo>
                      <a:cubicBezTo>
                        <a:pt x="62" y="267"/>
                        <a:pt x="63" y="269"/>
                        <a:pt x="61" y="270"/>
                      </a:cubicBezTo>
                      <a:cubicBezTo>
                        <a:pt x="60" y="271"/>
                        <a:pt x="60" y="272"/>
                        <a:pt x="60" y="274"/>
                      </a:cubicBezTo>
                      <a:cubicBezTo>
                        <a:pt x="59" y="274"/>
                        <a:pt x="58" y="275"/>
                        <a:pt x="58" y="275"/>
                      </a:cubicBezTo>
                      <a:cubicBezTo>
                        <a:pt x="57" y="275"/>
                        <a:pt x="56" y="277"/>
                        <a:pt x="56" y="277"/>
                      </a:cubicBezTo>
                      <a:cubicBezTo>
                        <a:pt x="55" y="277"/>
                        <a:pt x="55" y="274"/>
                        <a:pt x="54" y="276"/>
                      </a:cubicBezTo>
                      <a:cubicBezTo>
                        <a:pt x="54" y="278"/>
                        <a:pt x="54" y="279"/>
                        <a:pt x="53" y="281"/>
                      </a:cubicBezTo>
                      <a:cubicBezTo>
                        <a:pt x="52" y="282"/>
                        <a:pt x="53" y="284"/>
                        <a:pt x="52" y="286"/>
                      </a:cubicBezTo>
                      <a:cubicBezTo>
                        <a:pt x="52" y="287"/>
                        <a:pt x="51" y="290"/>
                        <a:pt x="50" y="291"/>
                      </a:cubicBezTo>
                      <a:cubicBezTo>
                        <a:pt x="49" y="292"/>
                        <a:pt x="48" y="291"/>
                        <a:pt x="48" y="294"/>
                      </a:cubicBezTo>
                      <a:cubicBezTo>
                        <a:pt x="47" y="296"/>
                        <a:pt x="45" y="295"/>
                        <a:pt x="45" y="293"/>
                      </a:cubicBezTo>
                      <a:cubicBezTo>
                        <a:pt x="45" y="292"/>
                        <a:pt x="44" y="292"/>
                        <a:pt x="43" y="292"/>
                      </a:cubicBezTo>
                      <a:cubicBezTo>
                        <a:pt x="42" y="292"/>
                        <a:pt x="41" y="290"/>
                        <a:pt x="40" y="291"/>
                      </a:cubicBezTo>
                      <a:cubicBezTo>
                        <a:pt x="37" y="295"/>
                        <a:pt x="41" y="296"/>
                        <a:pt x="41" y="300"/>
                      </a:cubicBezTo>
                      <a:cubicBezTo>
                        <a:pt x="40" y="307"/>
                        <a:pt x="35" y="303"/>
                        <a:pt x="34" y="302"/>
                      </a:cubicBezTo>
                      <a:cubicBezTo>
                        <a:pt x="32" y="301"/>
                        <a:pt x="31" y="303"/>
                        <a:pt x="30" y="304"/>
                      </a:cubicBezTo>
                      <a:cubicBezTo>
                        <a:pt x="29" y="305"/>
                        <a:pt x="28" y="306"/>
                        <a:pt x="29" y="308"/>
                      </a:cubicBezTo>
                      <a:cubicBezTo>
                        <a:pt x="29" y="313"/>
                        <a:pt x="32" y="313"/>
                        <a:pt x="34" y="314"/>
                      </a:cubicBezTo>
                      <a:cubicBezTo>
                        <a:pt x="35" y="315"/>
                        <a:pt x="37" y="316"/>
                        <a:pt x="38" y="317"/>
                      </a:cubicBezTo>
                      <a:cubicBezTo>
                        <a:pt x="39" y="319"/>
                        <a:pt x="38" y="320"/>
                        <a:pt x="38" y="322"/>
                      </a:cubicBezTo>
                      <a:cubicBezTo>
                        <a:pt x="38" y="323"/>
                        <a:pt x="39" y="325"/>
                        <a:pt x="39" y="325"/>
                      </a:cubicBezTo>
                      <a:cubicBezTo>
                        <a:pt x="41" y="326"/>
                        <a:pt x="41" y="329"/>
                        <a:pt x="41" y="331"/>
                      </a:cubicBezTo>
                      <a:cubicBezTo>
                        <a:pt x="42" y="336"/>
                        <a:pt x="40" y="337"/>
                        <a:pt x="40" y="341"/>
                      </a:cubicBezTo>
                      <a:cubicBezTo>
                        <a:pt x="40" y="343"/>
                        <a:pt x="39" y="344"/>
                        <a:pt x="39" y="345"/>
                      </a:cubicBezTo>
                      <a:cubicBezTo>
                        <a:pt x="39" y="346"/>
                        <a:pt x="38" y="347"/>
                        <a:pt x="38" y="348"/>
                      </a:cubicBezTo>
                      <a:cubicBezTo>
                        <a:pt x="38" y="350"/>
                        <a:pt x="38" y="353"/>
                        <a:pt x="37" y="354"/>
                      </a:cubicBezTo>
                      <a:cubicBezTo>
                        <a:pt x="34" y="357"/>
                        <a:pt x="31" y="355"/>
                        <a:pt x="29" y="355"/>
                      </a:cubicBezTo>
                      <a:cubicBezTo>
                        <a:pt x="27" y="355"/>
                        <a:pt x="25" y="355"/>
                        <a:pt x="24" y="354"/>
                      </a:cubicBezTo>
                      <a:cubicBezTo>
                        <a:pt x="22" y="354"/>
                        <a:pt x="20" y="355"/>
                        <a:pt x="18" y="356"/>
                      </a:cubicBezTo>
                      <a:cubicBezTo>
                        <a:pt x="16" y="357"/>
                        <a:pt x="14" y="358"/>
                        <a:pt x="13" y="357"/>
                      </a:cubicBezTo>
                      <a:cubicBezTo>
                        <a:pt x="12" y="357"/>
                        <a:pt x="10" y="355"/>
                        <a:pt x="9" y="355"/>
                      </a:cubicBezTo>
                      <a:cubicBezTo>
                        <a:pt x="8" y="355"/>
                        <a:pt x="6" y="364"/>
                        <a:pt x="6" y="365"/>
                      </a:cubicBezTo>
                      <a:cubicBezTo>
                        <a:pt x="6" y="368"/>
                        <a:pt x="7" y="370"/>
                        <a:pt x="7" y="372"/>
                      </a:cubicBezTo>
                      <a:cubicBezTo>
                        <a:pt x="7" y="375"/>
                        <a:pt x="6" y="379"/>
                        <a:pt x="6" y="382"/>
                      </a:cubicBezTo>
                      <a:cubicBezTo>
                        <a:pt x="5" y="387"/>
                        <a:pt x="3" y="393"/>
                        <a:pt x="1" y="399"/>
                      </a:cubicBezTo>
                      <a:cubicBezTo>
                        <a:pt x="0" y="401"/>
                        <a:pt x="0" y="403"/>
                        <a:pt x="0" y="405"/>
                      </a:cubicBezTo>
                      <a:cubicBezTo>
                        <a:pt x="1" y="405"/>
                        <a:pt x="1" y="405"/>
                        <a:pt x="1" y="406"/>
                      </a:cubicBezTo>
                      <a:cubicBezTo>
                        <a:pt x="14" y="400"/>
                        <a:pt x="26" y="394"/>
                        <a:pt x="39" y="388"/>
                      </a:cubicBezTo>
                      <a:cubicBezTo>
                        <a:pt x="39" y="388"/>
                        <a:pt x="39" y="388"/>
                        <a:pt x="39" y="388"/>
                      </a:cubicBezTo>
                      <a:cubicBezTo>
                        <a:pt x="39" y="385"/>
                        <a:pt x="40" y="383"/>
                        <a:pt x="41" y="380"/>
                      </a:cubicBezTo>
                      <a:cubicBezTo>
                        <a:pt x="42" y="376"/>
                        <a:pt x="46" y="373"/>
                        <a:pt x="48" y="372"/>
                      </a:cubicBezTo>
                      <a:cubicBezTo>
                        <a:pt x="49" y="371"/>
                        <a:pt x="50" y="372"/>
                        <a:pt x="51" y="370"/>
                      </a:cubicBezTo>
                      <a:cubicBezTo>
                        <a:pt x="52" y="368"/>
                        <a:pt x="53" y="367"/>
                        <a:pt x="53" y="364"/>
                      </a:cubicBezTo>
                      <a:cubicBezTo>
                        <a:pt x="53" y="361"/>
                        <a:pt x="52" y="358"/>
                        <a:pt x="54" y="355"/>
                      </a:cubicBezTo>
                      <a:cubicBezTo>
                        <a:pt x="56" y="352"/>
                        <a:pt x="59" y="350"/>
                        <a:pt x="61" y="352"/>
                      </a:cubicBezTo>
                      <a:cubicBezTo>
                        <a:pt x="62" y="353"/>
                        <a:pt x="62" y="355"/>
                        <a:pt x="63" y="354"/>
                      </a:cubicBezTo>
                      <a:cubicBezTo>
                        <a:pt x="65" y="353"/>
                        <a:pt x="66" y="352"/>
                        <a:pt x="67" y="350"/>
                      </a:cubicBezTo>
                      <a:cubicBezTo>
                        <a:pt x="68" y="348"/>
                        <a:pt x="69" y="346"/>
                        <a:pt x="70" y="345"/>
                      </a:cubicBezTo>
                      <a:cubicBezTo>
                        <a:pt x="71" y="343"/>
                        <a:pt x="72" y="342"/>
                        <a:pt x="73" y="340"/>
                      </a:cubicBezTo>
                      <a:cubicBezTo>
                        <a:pt x="74" y="338"/>
                        <a:pt x="78" y="339"/>
                        <a:pt x="79" y="341"/>
                      </a:cubicBezTo>
                      <a:cubicBezTo>
                        <a:pt x="80" y="345"/>
                        <a:pt x="79" y="352"/>
                        <a:pt x="80" y="356"/>
                      </a:cubicBezTo>
                      <a:cubicBezTo>
                        <a:pt x="81" y="358"/>
                        <a:pt x="82" y="361"/>
                        <a:pt x="84" y="362"/>
                      </a:cubicBezTo>
                      <a:cubicBezTo>
                        <a:pt x="87" y="360"/>
                        <a:pt x="90" y="358"/>
                        <a:pt x="93" y="357"/>
                      </a:cubicBezTo>
                      <a:cubicBezTo>
                        <a:pt x="91" y="355"/>
                        <a:pt x="90" y="354"/>
                        <a:pt x="90" y="350"/>
                      </a:cubicBezTo>
                      <a:cubicBezTo>
                        <a:pt x="90" y="346"/>
                        <a:pt x="88" y="342"/>
                        <a:pt x="87" y="338"/>
                      </a:cubicBezTo>
                      <a:cubicBezTo>
                        <a:pt x="86" y="337"/>
                        <a:pt x="86" y="336"/>
                        <a:pt x="85" y="335"/>
                      </a:cubicBezTo>
                      <a:cubicBezTo>
                        <a:pt x="85" y="334"/>
                        <a:pt x="85" y="331"/>
                        <a:pt x="86" y="331"/>
                      </a:cubicBezTo>
                      <a:cubicBezTo>
                        <a:pt x="87" y="331"/>
                        <a:pt x="87" y="332"/>
                        <a:pt x="88" y="333"/>
                      </a:cubicBezTo>
                      <a:cubicBezTo>
                        <a:pt x="89" y="335"/>
                        <a:pt x="90" y="335"/>
                        <a:pt x="91" y="334"/>
                      </a:cubicBezTo>
                      <a:cubicBezTo>
                        <a:pt x="93" y="334"/>
                        <a:pt x="95" y="331"/>
                        <a:pt x="96" y="335"/>
                      </a:cubicBezTo>
                      <a:cubicBezTo>
                        <a:pt x="96" y="337"/>
                        <a:pt x="96" y="339"/>
                        <a:pt x="97" y="340"/>
                      </a:cubicBezTo>
                      <a:cubicBezTo>
                        <a:pt x="97" y="343"/>
                        <a:pt x="99" y="343"/>
                        <a:pt x="100" y="343"/>
                      </a:cubicBezTo>
                      <a:cubicBezTo>
                        <a:pt x="101" y="344"/>
                        <a:pt x="101" y="346"/>
                        <a:pt x="101" y="347"/>
                      </a:cubicBezTo>
                      <a:cubicBezTo>
                        <a:pt x="102" y="348"/>
                        <a:pt x="102" y="349"/>
                        <a:pt x="103" y="350"/>
                      </a:cubicBezTo>
                      <a:cubicBezTo>
                        <a:pt x="114" y="342"/>
                        <a:pt x="125" y="334"/>
                        <a:pt x="136" y="326"/>
                      </a:cubicBezTo>
                      <a:cubicBezTo>
                        <a:pt x="137" y="324"/>
                        <a:pt x="137" y="321"/>
                        <a:pt x="138" y="319"/>
                      </a:cubicBezTo>
                      <a:cubicBezTo>
                        <a:pt x="139" y="316"/>
                        <a:pt x="140" y="313"/>
                        <a:pt x="142" y="311"/>
                      </a:cubicBezTo>
                      <a:cubicBezTo>
                        <a:pt x="144" y="310"/>
                        <a:pt x="144" y="313"/>
                        <a:pt x="145" y="315"/>
                      </a:cubicBezTo>
                      <a:cubicBezTo>
                        <a:pt x="145" y="316"/>
                        <a:pt x="146" y="317"/>
                        <a:pt x="145" y="318"/>
                      </a:cubicBezTo>
                      <a:cubicBezTo>
                        <a:pt x="145" y="319"/>
                        <a:pt x="145" y="319"/>
                        <a:pt x="145" y="319"/>
                      </a:cubicBezTo>
                      <a:cubicBezTo>
                        <a:pt x="147" y="317"/>
                        <a:pt x="150" y="315"/>
                        <a:pt x="152" y="314"/>
                      </a:cubicBezTo>
                      <a:cubicBezTo>
                        <a:pt x="152" y="313"/>
                        <a:pt x="153" y="311"/>
                        <a:pt x="153" y="311"/>
                      </a:cubicBezTo>
                      <a:cubicBezTo>
                        <a:pt x="155" y="309"/>
                        <a:pt x="157" y="307"/>
                        <a:pt x="159" y="304"/>
                      </a:cubicBezTo>
                      <a:cubicBezTo>
                        <a:pt x="159" y="304"/>
                        <a:pt x="161" y="302"/>
                        <a:pt x="161" y="304"/>
                      </a:cubicBezTo>
                      <a:cubicBezTo>
                        <a:pt x="161" y="305"/>
                        <a:pt x="160" y="306"/>
                        <a:pt x="160" y="306"/>
                      </a:cubicBezTo>
                      <a:cubicBezTo>
                        <a:pt x="160" y="307"/>
                        <a:pt x="159" y="307"/>
                        <a:pt x="159" y="308"/>
                      </a:cubicBezTo>
                      <a:cubicBezTo>
                        <a:pt x="205" y="271"/>
                        <a:pt x="245" y="234"/>
                        <a:pt x="284" y="209"/>
                      </a:cubicBezTo>
                      <a:cubicBezTo>
                        <a:pt x="288" y="207"/>
                        <a:pt x="292" y="204"/>
                        <a:pt x="296" y="202"/>
                      </a:cubicBezTo>
                      <a:cubicBezTo>
                        <a:pt x="293" y="131"/>
                        <a:pt x="280" y="64"/>
                        <a:pt x="259" y="0"/>
                      </a:cubicBezTo>
                      <a:cubicBezTo>
                        <a:pt x="258" y="0"/>
                        <a:pt x="258" y="1"/>
                        <a:pt x="257" y="2"/>
                      </a:cubicBezTo>
                      <a:close/>
                      <a:moveTo>
                        <a:pt x="146" y="170"/>
                      </a:moveTo>
                      <a:cubicBezTo>
                        <a:pt x="146" y="171"/>
                        <a:pt x="146" y="172"/>
                        <a:pt x="146" y="173"/>
                      </a:cubicBezTo>
                      <a:cubicBezTo>
                        <a:pt x="145" y="174"/>
                        <a:pt x="145" y="176"/>
                        <a:pt x="145" y="177"/>
                      </a:cubicBezTo>
                      <a:cubicBezTo>
                        <a:pt x="145" y="178"/>
                        <a:pt x="143" y="180"/>
                        <a:pt x="142" y="178"/>
                      </a:cubicBezTo>
                      <a:cubicBezTo>
                        <a:pt x="141" y="176"/>
                        <a:pt x="142" y="174"/>
                        <a:pt x="141" y="172"/>
                      </a:cubicBezTo>
                      <a:cubicBezTo>
                        <a:pt x="141" y="170"/>
                        <a:pt x="140" y="168"/>
                        <a:pt x="139" y="166"/>
                      </a:cubicBezTo>
                      <a:cubicBezTo>
                        <a:pt x="139" y="163"/>
                        <a:pt x="136" y="156"/>
                        <a:pt x="139" y="157"/>
                      </a:cubicBezTo>
                      <a:cubicBezTo>
                        <a:pt x="140" y="157"/>
                        <a:pt x="141" y="158"/>
                        <a:pt x="142" y="158"/>
                      </a:cubicBezTo>
                      <a:cubicBezTo>
                        <a:pt x="143" y="159"/>
                        <a:pt x="143" y="161"/>
                        <a:pt x="143" y="162"/>
                      </a:cubicBezTo>
                      <a:cubicBezTo>
                        <a:pt x="144" y="164"/>
                        <a:pt x="145" y="164"/>
                        <a:pt x="146" y="165"/>
                      </a:cubicBezTo>
                      <a:cubicBezTo>
                        <a:pt x="146" y="166"/>
                        <a:pt x="147" y="169"/>
                        <a:pt x="146" y="170"/>
                      </a:cubicBezTo>
                      <a:close/>
                      <a:moveTo>
                        <a:pt x="155" y="167"/>
                      </a:moveTo>
                      <a:cubicBezTo>
                        <a:pt x="154" y="167"/>
                        <a:pt x="154" y="168"/>
                        <a:pt x="154" y="168"/>
                      </a:cubicBezTo>
                      <a:cubicBezTo>
                        <a:pt x="153" y="166"/>
                        <a:pt x="153" y="165"/>
                        <a:pt x="152" y="163"/>
                      </a:cubicBezTo>
                      <a:cubicBezTo>
                        <a:pt x="151" y="161"/>
                        <a:pt x="150" y="160"/>
                        <a:pt x="150" y="158"/>
                      </a:cubicBezTo>
                      <a:cubicBezTo>
                        <a:pt x="149" y="157"/>
                        <a:pt x="149" y="155"/>
                        <a:pt x="149" y="154"/>
                      </a:cubicBezTo>
                      <a:cubicBezTo>
                        <a:pt x="149" y="152"/>
                        <a:pt x="149" y="150"/>
                        <a:pt x="149" y="148"/>
                      </a:cubicBezTo>
                      <a:cubicBezTo>
                        <a:pt x="150" y="144"/>
                        <a:pt x="152" y="153"/>
                        <a:pt x="153" y="155"/>
                      </a:cubicBezTo>
                      <a:cubicBezTo>
                        <a:pt x="153" y="157"/>
                        <a:pt x="153" y="159"/>
                        <a:pt x="154" y="161"/>
                      </a:cubicBezTo>
                      <a:cubicBezTo>
                        <a:pt x="154" y="163"/>
                        <a:pt x="155" y="165"/>
                        <a:pt x="155" y="167"/>
                      </a:cubicBezTo>
                      <a:close/>
                      <a:moveTo>
                        <a:pt x="163" y="199"/>
                      </a:moveTo>
                      <a:cubicBezTo>
                        <a:pt x="163" y="201"/>
                        <a:pt x="161" y="201"/>
                        <a:pt x="161" y="199"/>
                      </a:cubicBezTo>
                      <a:cubicBezTo>
                        <a:pt x="161" y="198"/>
                        <a:pt x="161" y="197"/>
                        <a:pt x="160" y="196"/>
                      </a:cubicBezTo>
                      <a:cubicBezTo>
                        <a:pt x="160" y="195"/>
                        <a:pt x="159" y="195"/>
                        <a:pt x="159" y="193"/>
                      </a:cubicBezTo>
                      <a:cubicBezTo>
                        <a:pt x="158" y="190"/>
                        <a:pt x="160" y="193"/>
                        <a:pt x="161" y="193"/>
                      </a:cubicBezTo>
                      <a:cubicBezTo>
                        <a:pt x="162" y="194"/>
                        <a:pt x="162" y="194"/>
                        <a:pt x="162" y="195"/>
                      </a:cubicBezTo>
                      <a:cubicBezTo>
                        <a:pt x="163" y="197"/>
                        <a:pt x="164" y="197"/>
                        <a:pt x="163"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64"/>
                <p:cNvSpPr>
                  <a:spLocks/>
                </p:cNvSpPr>
                <p:nvPr/>
              </p:nvSpPr>
              <p:spPr bwMode="auto">
                <a:xfrm>
                  <a:off x="3497263" y="3898900"/>
                  <a:ext cx="34925" cy="63500"/>
                </a:xfrm>
                <a:custGeom>
                  <a:avLst/>
                  <a:gdLst>
                    <a:gd name="T0" fmla="*/ 7 w 46"/>
                    <a:gd name="T1" fmla="*/ 3 h 83"/>
                    <a:gd name="T2" fmla="*/ 4 w 46"/>
                    <a:gd name="T3" fmla="*/ 3 h 83"/>
                    <a:gd name="T4" fmla="*/ 2 w 46"/>
                    <a:gd name="T5" fmla="*/ 1 h 83"/>
                    <a:gd name="T6" fmla="*/ 0 w 46"/>
                    <a:gd name="T7" fmla="*/ 3 h 83"/>
                    <a:gd name="T8" fmla="*/ 3 w 46"/>
                    <a:gd name="T9" fmla="*/ 11 h 83"/>
                    <a:gd name="T10" fmla="*/ 6 w 46"/>
                    <a:gd name="T11" fmla="*/ 16 h 83"/>
                    <a:gd name="T12" fmla="*/ 9 w 46"/>
                    <a:gd name="T13" fmla="*/ 19 h 83"/>
                    <a:gd name="T14" fmla="*/ 10 w 46"/>
                    <a:gd name="T15" fmla="*/ 26 h 83"/>
                    <a:gd name="T16" fmla="*/ 16 w 46"/>
                    <a:gd name="T17" fmla="*/ 35 h 83"/>
                    <a:gd name="T18" fmla="*/ 19 w 46"/>
                    <a:gd name="T19" fmla="*/ 40 h 83"/>
                    <a:gd name="T20" fmla="*/ 22 w 46"/>
                    <a:gd name="T21" fmla="*/ 41 h 83"/>
                    <a:gd name="T22" fmla="*/ 24 w 46"/>
                    <a:gd name="T23" fmla="*/ 40 h 83"/>
                    <a:gd name="T24" fmla="*/ 23 w 46"/>
                    <a:gd name="T25" fmla="*/ 35 h 83"/>
                    <a:gd name="T26" fmla="*/ 25 w 46"/>
                    <a:gd name="T27" fmla="*/ 35 h 83"/>
                    <a:gd name="T28" fmla="*/ 27 w 46"/>
                    <a:gd name="T29" fmla="*/ 39 h 83"/>
                    <a:gd name="T30" fmla="*/ 28 w 46"/>
                    <a:gd name="T31" fmla="*/ 36 h 83"/>
                    <a:gd name="T32" fmla="*/ 30 w 46"/>
                    <a:gd name="T33" fmla="*/ 36 h 83"/>
                    <a:gd name="T34" fmla="*/ 29 w 46"/>
                    <a:gd name="T35" fmla="*/ 42 h 83"/>
                    <a:gd name="T36" fmla="*/ 26 w 46"/>
                    <a:gd name="T37" fmla="*/ 42 h 83"/>
                    <a:gd name="T38" fmla="*/ 25 w 46"/>
                    <a:gd name="T39" fmla="*/ 45 h 83"/>
                    <a:gd name="T40" fmla="*/ 23 w 46"/>
                    <a:gd name="T41" fmla="*/ 48 h 83"/>
                    <a:gd name="T42" fmla="*/ 26 w 46"/>
                    <a:gd name="T43" fmla="*/ 52 h 83"/>
                    <a:gd name="T44" fmla="*/ 29 w 46"/>
                    <a:gd name="T45" fmla="*/ 54 h 83"/>
                    <a:gd name="T46" fmla="*/ 32 w 46"/>
                    <a:gd name="T47" fmla="*/ 58 h 83"/>
                    <a:gd name="T48" fmla="*/ 30 w 46"/>
                    <a:gd name="T49" fmla="*/ 59 h 83"/>
                    <a:gd name="T50" fmla="*/ 28 w 46"/>
                    <a:gd name="T51" fmla="*/ 60 h 83"/>
                    <a:gd name="T52" fmla="*/ 31 w 46"/>
                    <a:gd name="T53" fmla="*/ 64 h 83"/>
                    <a:gd name="T54" fmla="*/ 35 w 46"/>
                    <a:gd name="T55" fmla="*/ 68 h 83"/>
                    <a:gd name="T56" fmla="*/ 37 w 46"/>
                    <a:gd name="T57" fmla="*/ 71 h 83"/>
                    <a:gd name="T58" fmla="*/ 40 w 46"/>
                    <a:gd name="T59" fmla="*/ 72 h 83"/>
                    <a:gd name="T60" fmla="*/ 39 w 46"/>
                    <a:gd name="T61" fmla="*/ 75 h 83"/>
                    <a:gd name="T62" fmla="*/ 44 w 46"/>
                    <a:gd name="T63" fmla="*/ 83 h 83"/>
                    <a:gd name="T64" fmla="*/ 42 w 46"/>
                    <a:gd name="T65" fmla="*/ 68 h 83"/>
                    <a:gd name="T66" fmla="*/ 42 w 46"/>
                    <a:gd name="T67" fmla="*/ 63 h 83"/>
                    <a:gd name="T68" fmla="*/ 41 w 46"/>
                    <a:gd name="T69" fmla="*/ 57 h 83"/>
                    <a:gd name="T70" fmla="*/ 42 w 46"/>
                    <a:gd name="T71" fmla="*/ 53 h 83"/>
                    <a:gd name="T72" fmla="*/ 41 w 46"/>
                    <a:gd name="T73" fmla="*/ 48 h 83"/>
                    <a:gd name="T74" fmla="*/ 41 w 46"/>
                    <a:gd name="T75" fmla="*/ 43 h 83"/>
                    <a:gd name="T76" fmla="*/ 43 w 46"/>
                    <a:gd name="T77" fmla="*/ 41 h 83"/>
                    <a:gd name="T78" fmla="*/ 46 w 46"/>
                    <a:gd name="T79" fmla="*/ 40 h 83"/>
                    <a:gd name="T80" fmla="*/ 44 w 46"/>
                    <a:gd name="T81" fmla="*/ 36 h 83"/>
                    <a:gd name="T82" fmla="*/ 41 w 46"/>
                    <a:gd name="T83" fmla="*/ 33 h 83"/>
                    <a:gd name="T84" fmla="*/ 39 w 46"/>
                    <a:gd name="T85" fmla="*/ 31 h 83"/>
                    <a:gd name="T86" fmla="*/ 37 w 46"/>
                    <a:gd name="T87" fmla="*/ 29 h 83"/>
                    <a:gd name="T88" fmla="*/ 34 w 46"/>
                    <a:gd name="T89" fmla="*/ 26 h 83"/>
                    <a:gd name="T90" fmla="*/ 31 w 46"/>
                    <a:gd name="T91" fmla="*/ 23 h 83"/>
                    <a:gd name="T92" fmla="*/ 28 w 46"/>
                    <a:gd name="T93" fmla="*/ 16 h 83"/>
                    <a:gd name="T94" fmla="*/ 28 w 46"/>
                    <a:gd name="T95" fmla="*/ 17 h 83"/>
                    <a:gd name="T96" fmla="*/ 26 w 46"/>
                    <a:gd name="T97" fmla="*/ 14 h 83"/>
                    <a:gd name="T98" fmla="*/ 25 w 46"/>
                    <a:gd name="T99" fmla="*/ 11 h 83"/>
                    <a:gd name="T100" fmla="*/ 22 w 46"/>
                    <a:gd name="T101" fmla="*/ 8 h 83"/>
                    <a:gd name="T102" fmla="*/ 18 w 46"/>
                    <a:gd name="T103" fmla="*/ 3 h 83"/>
                    <a:gd name="T104" fmla="*/ 18 w 46"/>
                    <a:gd name="T105" fmla="*/ 6 h 83"/>
                    <a:gd name="T106" fmla="*/ 20 w 46"/>
                    <a:gd name="T107" fmla="*/ 15 h 83"/>
                    <a:gd name="T108" fmla="*/ 13 w 46"/>
                    <a:gd name="T109" fmla="*/ 8 h 83"/>
                    <a:gd name="T110" fmla="*/ 13 w 46"/>
                    <a:gd name="T111" fmla="*/ 13 h 83"/>
                    <a:gd name="T112" fmla="*/ 10 w 46"/>
                    <a:gd name="T113" fmla="*/ 9 h 83"/>
                    <a:gd name="T114" fmla="*/ 10 w 46"/>
                    <a:gd name="T115" fmla="*/ 6 h 83"/>
                    <a:gd name="T116" fmla="*/ 7 w 46"/>
                    <a:gd name="T11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83">
                      <a:moveTo>
                        <a:pt x="7" y="3"/>
                      </a:moveTo>
                      <a:cubicBezTo>
                        <a:pt x="7" y="4"/>
                        <a:pt x="6" y="5"/>
                        <a:pt x="4" y="3"/>
                      </a:cubicBezTo>
                      <a:cubicBezTo>
                        <a:pt x="3" y="1"/>
                        <a:pt x="3" y="0"/>
                        <a:pt x="2" y="1"/>
                      </a:cubicBezTo>
                      <a:cubicBezTo>
                        <a:pt x="1" y="1"/>
                        <a:pt x="0" y="2"/>
                        <a:pt x="0" y="3"/>
                      </a:cubicBezTo>
                      <a:cubicBezTo>
                        <a:pt x="0" y="5"/>
                        <a:pt x="3" y="9"/>
                        <a:pt x="3" y="11"/>
                      </a:cubicBezTo>
                      <a:cubicBezTo>
                        <a:pt x="4" y="13"/>
                        <a:pt x="4" y="14"/>
                        <a:pt x="6" y="16"/>
                      </a:cubicBezTo>
                      <a:cubicBezTo>
                        <a:pt x="7" y="17"/>
                        <a:pt x="8" y="18"/>
                        <a:pt x="9" y="19"/>
                      </a:cubicBezTo>
                      <a:cubicBezTo>
                        <a:pt x="11" y="22"/>
                        <a:pt x="8" y="24"/>
                        <a:pt x="10" y="26"/>
                      </a:cubicBezTo>
                      <a:cubicBezTo>
                        <a:pt x="12" y="30"/>
                        <a:pt x="14" y="32"/>
                        <a:pt x="16" y="35"/>
                      </a:cubicBezTo>
                      <a:cubicBezTo>
                        <a:pt x="18" y="37"/>
                        <a:pt x="18" y="39"/>
                        <a:pt x="19" y="40"/>
                      </a:cubicBezTo>
                      <a:cubicBezTo>
                        <a:pt x="20" y="42"/>
                        <a:pt x="21" y="42"/>
                        <a:pt x="22" y="41"/>
                      </a:cubicBezTo>
                      <a:cubicBezTo>
                        <a:pt x="23" y="41"/>
                        <a:pt x="24" y="41"/>
                        <a:pt x="24" y="40"/>
                      </a:cubicBezTo>
                      <a:cubicBezTo>
                        <a:pt x="24" y="38"/>
                        <a:pt x="23" y="37"/>
                        <a:pt x="23" y="35"/>
                      </a:cubicBezTo>
                      <a:cubicBezTo>
                        <a:pt x="23" y="35"/>
                        <a:pt x="24" y="34"/>
                        <a:pt x="25" y="35"/>
                      </a:cubicBezTo>
                      <a:cubicBezTo>
                        <a:pt x="26" y="36"/>
                        <a:pt x="26" y="37"/>
                        <a:pt x="27" y="39"/>
                      </a:cubicBezTo>
                      <a:cubicBezTo>
                        <a:pt x="28" y="40"/>
                        <a:pt x="28" y="36"/>
                        <a:pt x="28" y="36"/>
                      </a:cubicBezTo>
                      <a:cubicBezTo>
                        <a:pt x="28" y="35"/>
                        <a:pt x="29" y="34"/>
                        <a:pt x="30" y="36"/>
                      </a:cubicBezTo>
                      <a:cubicBezTo>
                        <a:pt x="31" y="40"/>
                        <a:pt x="32" y="43"/>
                        <a:pt x="29" y="42"/>
                      </a:cubicBezTo>
                      <a:cubicBezTo>
                        <a:pt x="28" y="42"/>
                        <a:pt x="27" y="41"/>
                        <a:pt x="26" y="42"/>
                      </a:cubicBezTo>
                      <a:cubicBezTo>
                        <a:pt x="26" y="43"/>
                        <a:pt x="26" y="45"/>
                        <a:pt x="25" y="45"/>
                      </a:cubicBezTo>
                      <a:cubicBezTo>
                        <a:pt x="23" y="45"/>
                        <a:pt x="21" y="44"/>
                        <a:pt x="23" y="48"/>
                      </a:cubicBezTo>
                      <a:cubicBezTo>
                        <a:pt x="24" y="49"/>
                        <a:pt x="25" y="51"/>
                        <a:pt x="26" y="52"/>
                      </a:cubicBezTo>
                      <a:cubicBezTo>
                        <a:pt x="27" y="54"/>
                        <a:pt x="28" y="54"/>
                        <a:pt x="29" y="54"/>
                      </a:cubicBezTo>
                      <a:cubicBezTo>
                        <a:pt x="30" y="55"/>
                        <a:pt x="31" y="57"/>
                        <a:pt x="32" y="58"/>
                      </a:cubicBezTo>
                      <a:cubicBezTo>
                        <a:pt x="32" y="60"/>
                        <a:pt x="31" y="59"/>
                        <a:pt x="30" y="59"/>
                      </a:cubicBezTo>
                      <a:cubicBezTo>
                        <a:pt x="30" y="59"/>
                        <a:pt x="28" y="58"/>
                        <a:pt x="28" y="60"/>
                      </a:cubicBezTo>
                      <a:cubicBezTo>
                        <a:pt x="29" y="61"/>
                        <a:pt x="30" y="63"/>
                        <a:pt x="31" y="64"/>
                      </a:cubicBezTo>
                      <a:cubicBezTo>
                        <a:pt x="32" y="65"/>
                        <a:pt x="33" y="66"/>
                        <a:pt x="35" y="68"/>
                      </a:cubicBezTo>
                      <a:cubicBezTo>
                        <a:pt x="35" y="69"/>
                        <a:pt x="36" y="70"/>
                        <a:pt x="37" y="71"/>
                      </a:cubicBezTo>
                      <a:cubicBezTo>
                        <a:pt x="38" y="73"/>
                        <a:pt x="39" y="72"/>
                        <a:pt x="40" y="72"/>
                      </a:cubicBezTo>
                      <a:cubicBezTo>
                        <a:pt x="40" y="73"/>
                        <a:pt x="39" y="74"/>
                        <a:pt x="39" y="75"/>
                      </a:cubicBezTo>
                      <a:cubicBezTo>
                        <a:pt x="39" y="77"/>
                        <a:pt x="42" y="81"/>
                        <a:pt x="44" y="83"/>
                      </a:cubicBezTo>
                      <a:cubicBezTo>
                        <a:pt x="44" y="78"/>
                        <a:pt x="43" y="73"/>
                        <a:pt x="42" y="68"/>
                      </a:cubicBezTo>
                      <a:cubicBezTo>
                        <a:pt x="42" y="65"/>
                        <a:pt x="43" y="65"/>
                        <a:pt x="42" y="63"/>
                      </a:cubicBezTo>
                      <a:cubicBezTo>
                        <a:pt x="42" y="61"/>
                        <a:pt x="42" y="59"/>
                        <a:pt x="41" y="57"/>
                      </a:cubicBezTo>
                      <a:cubicBezTo>
                        <a:pt x="41" y="55"/>
                        <a:pt x="41" y="53"/>
                        <a:pt x="42" y="53"/>
                      </a:cubicBezTo>
                      <a:cubicBezTo>
                        <a:pt x="42" y="52"/>
                        <a:pt x="41" y="50"/>
                        <a:pt x="41" y="48"/>
                      </a:cubicBezTo>
                      <a:cubicBezTo>
                        <a:pt x="40" y="46"/>
                        <a:pt x="40" y="45"/>
                        <a:pt x="41" y="43"/>
                      </a:cubicBezTo>
                      <a:cubicBezTo>
                        <a:pt x="41" y="42"/>
                        <a:pt x="41" y="40"/>
                        <a:pt x="43" y="41"/>
                      </a:cubicBezTo>
                      <a:cubicBezTo>
                        <a:pt x="44" y="41"/>
                        <a:pt x="46" y="41"/>
                        <a:pt x="46" y="40"/>
                      </a:cubicBezTo>
                      <a:cubicBezTo>
                        <a:pt x="46" y="39"/>
                        <a:pt x="44" y="38"/>
                        <a:pt x="44" y="36"/>
                      </a:cubicBezTo>
                      <a:cubicBezTo>
                        <a:pt x="43" y="34"/>
                        <a:pt x="42" y="35"/>
                        <a:pt x="41" y="33"/>
                      </a:cubicBezTo>
                      <a:cubicBezTo>
                        <a:pt x="40" y="32"/>
                        <a:pt x="40" y="32"/>
                        <a:pt x="39" y="31"/>
                      </a:cubicBezTo>
                      <a:cubicBezTo>
                        <a:pt x="39" y="30"/>
                        <a:pt x="38" y="29"/>
                        <a:pt x="37" y="29"/>
                      </a:cubicBezTo>
                      <a:cubicBezTo>
                        <a:pt x="36" y="28"/>
                        <a:pt x="35" y="28"/>
                        <a:pt x="34" y="26"/>
                      </a:cubicBezTo>
                      <a:cubicBezTo>
                        <a:pt x="33" y="25"/>
                        <a:pt x="32" y="24"/>
                        <a:pt x="31" y="23"/>
                      </a:cubicBezTo>
                      <a:cubicBezTo>
                        <a:pt x="31" y="21"/>
                        <a:pt x="30" y="17"/>
                        <a:pt x="28" y="16"/>
                      </a:cubicBezTo>
                      <a:cubicBezTo>
                        <a:pt x="28" y="17"/>
                        <a:pt x="28" y="17"/>
                        <a:pt x="28" y="17"/>
                      </a:cubicBezTo>
                      <a:cubicBezTo>
                        <a:pt x="27" y="16"/>
                        <a:pt x="26" y="15"/>
                        <a:pt x="26" y="14"/>
                      </a:cubicBezTo>
                      <a:cubicBezTo>
                        <a:pt x="26" y="13"/>
                        <a:pt x="26" y="12"/>
                        <a:pt x="25" y="11"/>
                      </a:cubicBezTo>
                      <a:cubicBezTo>
                        <a:pt x="24" y="10"/>
                        <a:pt x="23" y="9"/>
                        <a:pt x="22" y="8"/>
                      </a:cubicBezTo>
                      <a:cubicBezTo>
                        <a:pt x="21" y="6"/>
                        <a:pt x="20" y="3"/>
                        <a:pt x="18" y="3"/>
                      </a:cubicBezTo>
                      <a:cubicBezTo>
                        <a:pt x="17" y="3"/>
                        <a:pt x="17" y="5"/>
                        <a:pt x="18" y="6"/>
                      </a:cubicBezTo>
                      <a:cubicBezTo>
                        <a:pt x="19" y="9"/>
                        <a:pt x="21" y="13"/>
                        <a:pt x="20" y="15"/>
                      </a:cubicBezTo>
                      <a:cubicBezTo>
                        <a:pt x="19" y="17"/>
                        <a:pt x="15" y="9"/>
                        <a:pt x="13" y="8"/>
                      </a:cubicBezTo>
                      <a:cubicBezTo>
                        <a:pt x="12" y="8"/>
                        <a:pt x="14" y="13"/>
                        <a:pt x="13" y="13"/>
                      </a:cubicBezTo>
                      <a:cubicBezTo>
                        <a:pt x="12" y="12"/>
                        <a:pt x="10" y="10"/>
                        <a:pt x="10" y="9"/>
                      </a:cubicBezTo>
                      <a:cubicBezTo>
                        <a:pt x="9" y="7"/>
                        <a:pt x="11" y="7"/>
                        <a:pt x="10" y="6"/>
                      </a:cubicBezTo>
                      <a:cubicBezTo>
                        <a:pt x="9" y="4"/>
                        <a:pt x="8" y="2"/>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65"/>
                <p:cNvSpPr>
                  <a:spLocks/>
                </p:cNvSpPr>
                <p:nvPr/>
              </p:nvSpPr>
              <p:spPr bwMode="auto">
                <a:xfrm>
                  <a:off x="3046413" y="4576763"/>
                  <a:ext cx="17463" cy="7938"/>
                </a:xfrm>
                <a:custGeom>
                  <a:avLst/>
                  <a:gdLst>
                    <a:gd name="T0" fmla="*/ 3 w 22"/>
                    <a:gd name="T1" fmla="*/ 6 h 9"/>
                    <a:gd name="T2" fmla="*/ 9 w 22"/>
                    <a:gd name="T3" fmla="*/ 7 h 9"/>
                    <a:gd name="T4" fmla="*/ 17 w 22"/>
                    <a:gd name="T5" fmla="*/ 9 h 9"/>
                    <a:gd name="T6" fmla="*/ 21 w 22"/>
                    <a:gd name="T7" fmla="*/ 7 h 9"/>
                    <a:gd name="T8" fmla="*/ 13 w 22"/>
                    <a:gd name="T9" fmla="*/ 5 h 9"/>
                    <a:gd name="T10" fmla="*/ 4 w 22"/>
                    <a:gd name="T11" fmla="*/ 0 h 9"/>
                    <a:gd name="T12" fmla="*/ 3 w 22"/>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3" y="6"/>
                      </a:moveTo>
                      <a:cubicBezTo>
                        <a:pt x="4" y="7"/>
                        <a:pt x="7" y="7"/>
                        <a:pt x="9" y="7"/>
                      </a:cubicBezTo>
                      <a:cubicBezTo>
                        <a:pt x="12" y="8"/>
                        <a:pt x="14" y="9"/>
                        <a:pt x="17" y="9"/>
                      </a:cubicBezTo>
                      <a:cubicBezTo>
                        <a:pt x="18" y="9"/>
                        <a:pt x="22" y="9"/>
                        <a:pt x="21" y="7"/>
                      </a:cubicBezTo>
                      <a:cubicBezTo>
                        <a:pt x="20" y="5"/>
                        <a:pt x="16" y="6"/>
                        <a:pt x="13" y="5"/>
                      </a:cubicBezTo>
                      <a:cubicBezTo>
                        <a:pt x="9" y="5"/>
                        <a:pt x="9" y="1"/>
                        <a:pt x="4" y="0"/>
                      </a:cubicBezTo>
                      <a:cubicBezTo>
                        <a:pt x="0" y="0"/>
                        <a:pt x="0" y="4"/>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66"/>
                <p:cNvSpPr>
                  <a:spLocks/>
                </p:cNvSpPr>
                <p:nvPr/>
              </p:nvSpPr>
              <p:spPr bwMode="auto">
                <a:xfrm>
                  <a:off x="3059113" y="4560888"/>
                  <a:ext cx="4763" cy="6350"/>
                </a:xfrm>
                <a:custGeom>
                  <a:avLst/>
                  <a:gdLst>
                    <a:gd name="T0" fmla="*/ 8 w 8"/>
                    <a:gd name="T1" fmla="*/ 5 h 7"/>
                    <a:gd name="T2" fmla="*/ 8 w 8"/>
                    <a:gd name="T3" fmla="*/ 2 h 7"/>
                    <a:gd name="T4" fmla="*/ 3 w 8"/>
                    <a:gd name="T5" fmla="*/ 4 h 7"/>
                    <a:gd name="T6" fmla="*/ 8 w 8"/>
                    <a:gd name="T7" fmla="*/ 5 h 7"/>
                  </a:gdLst>
                  <a:ahLst/>
                  <a:cxnLst>
                    <a:cxn ang="0">
                      <a:pos x="T0" y="T1"/>
                    </a:cxn>
                    <a:cxn ang="0">
                      <a:pos x="T2" y="T3"/>
                    </a:cxn>
                    <a:cxn ang="0">
                      <a:pos x="T4" y="T5"/>
                    </a:cxn>
                    <a:cxn ang="0">
                      <a:pos x="T6" y="T7"/>
                    </a:cxn>
                  </a:cxnLst>
                  <a:rect l="0" t="0" r="r" b="b"/>
                  <a:pathLst>
                    <a:path w="8" h="7">
                      <a:moveTo>
                        <a:pt x="8" y="5"/>
                      </a:moveTo>
                      <a:cubicBezTo>
                        <a:pt x="8" y="5"/>
                        <a:pt x="8" y="2"/>
                        <a:pt x="8" y="2"/>
                      </a:cubicBezTo>
                      <a:cubicBezTo>
                        <a:pt x="4" y="0"/>
                        <a:pt x="0" y="0"/>
                        <a:pt x="3" y="4"/>
                      </a:cubicBezTo>
                      <a:cubicBezTo>
                        <a:pt x="4" y="5"/>
                        <a:pt x="7" y="7"/>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67"/>
                <p:cNvSpPr>
                  <a:spLocks/>
                </p:cNvSpPr>
                <p:nvPr/>
              </p:nvSpPr>
              <p:spPr bwMode="auto">
                <a:xfrm>
                  <a:off x="3051176" y="4573588"/>
                  <a:ext cx="9525" cy="6350"/>
                </a:xfrm>
                <a:custGeom>
                  <a:avLst/>
                  <a:gdLst>
                    <a:gd name="T0" fmla="*/ 1 w 12"/>
                    <a:gd name="T1" fmla="*/ 3 h 9"/>
                    <a:gd name="T2" fmla="*/ 11 w 12"/>
                    <a:gd name="T3" fmla="*/ 6 h 9"/>
                    <a:gd name="T4" fmla="*/ 1 w 12"/>
                    <a:gd name="T5" fmla="*/ 3 h 9"/>
                  </a:gdLst>
                  <a:ahLst/>
                  <a:cxnLst>
                    <a:cxn ang="0">
                      <a:pos x="T0" y="T1"/>
                    </a:cxn>
                    <a:cxn ang="0">
                      <a:pos x="T2" y="T3"/>
                    </a:cxn>
                    <a:cxn ang="0">
                      <a:pos x="T4" y="T5"/>
                    </a:cxn>
                  </a:cxnLst>
                  <a:rect l="0" t="0" r="r" b="b"/>
                  <a:pathLst>
                    <a:path w="12" h="9">
                      <a:moveTo>
                        <a:pt x="1" y="3"/>
                      </a:moveTo>
                      <a:cubicBezTo>
                        <a:pt x="1" y="6"/>
                        <a:pt x="9" y="9"/>
                        <a:pt x="11" y="6"/>
                      </a:cubicBezTo>
                      <a:cubicBezTo>
                        <a:pt x="12" y="1"/>
                        <a:pt x="0" y="0"/>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68"/>
                <p:cNvSpPr>
                  <a:spLocks/>
                </p:cNvSpPr>
                <p:nvPr/>
              </p:nvSpPr>
              <p:spPr bwMode="auto">
                <a:xfrm>
                  <a:off x="3167063" y="4713288"/>
                  <a:ext cx="3175" cy="3175"/>
                </a:xfrm>
                <a:custGeom>
                  <a:avLst/>
                  <a:gdLst>
                    <a:gd name="T0" fmla="*/ 1 w 5"/>
                    <a:gd name="T1" fmla="*/ 1 h 5"/>
                    <a:gd name="T2" fmla="*/ 1 w 5"/>
                    <a:gd name="T3" fmla="*/ 4 h 5"/>
                    <a:gd name="T4" fmla="*/ 4 w 5"/>
                    <a:gd name="T5" fmla="*/ 4 h 5"/>
                    <a:gd name="T6" fmla="*/ 3 w 5"/>
                    <a:gd name="T7" fmla="*/ 2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2"/>
                        <a:pt x="1" y="3"/>
                        <a:pt x="1" y="4"/>
                      </a:cubicBezTo>
                      <a:cubicBezTo>
                        <a:pt x="1" y="4"/>
                        <a:pt x="4" y="5"/>
                        <a:pt x="4" y="4"/>
                      </a:cubicBezTo>
                      <a:cubicBezTo>
                        <a:pt x="5" y="3"/>
                        <a:pt x="4" y="2"/>
                        <a:pt x="3" y="2"/>
                      </a:cubicBezTo>
                      <a:cubicBezTo>
                        <a:pt x="3"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69"/>
                <p:cNvSpPr>
                  <a:spLocks/>
                </p:cNvSpPr>
                <p:nvPr/>
              </p:nvSpPr>
              <p:spPr bwMode="auto">
                <a:xfrm>
                  <a:off x="3048001" y="4562475"/>
                  <a:ext cx="6350" cy="4763"/>
                </a:xfrm>
                <a:custGeom>
                  <a:avLst/>
                  <a:gdLst>
                    <a:gd name="T0" fmla="*/ 5 w 9"/>
                    <a:gd name="T1" fmla="*/ 1 h 6"/>
                    <a:gd name="T2" fmla="*/ 6 w 9"/>
                    <a:gd name="T3" fmla="*/ 5 h 6"/>
                    <a:gd name="T4" fmla="*/ 8 w 9"/>
                    <a:gd name="T5" fmla="*/ 2 h 6"/>
                    <a:gd name="T6" fmla="*/ 5 w 9"/>
                    <a:gd name="T7" fmla="*/ 1 h 6"/>
                  </a:gdLst>
                  <a:ahLst/>
                  <a:cxnLst>
                    <a:cxn ang="0">
                      <a:pos x="T0" y="T1"/>
                    </a:cxn>
                    <a:cxn ang="0">
                      <a:pos x="T2" y="T3"/>
                    </a:cxn>
                    <a:cxn ang="0">
                      <a:pos x="T4" y="T5"/>
                    </a:cxn>
                    <a:cxn ang="0">
                      <a:pos x="T6" y="T7"/>
                    </a:cxn>
                  </a:cxnLst>
                  <a:rect l="0" t="0" r="r" b="b"/>
                  <a:pathLst>
                    <a:path w="9" h="6">
                      <a:moveTo>
                        <a:pt x="5" y="1"/>
                      </a:moveTo>
                      <a:cubicBezTo>
                        <a:pt x="0" y="0"/>
                        <a:pt x="2" y="6"/>
                        <a:pt x="6" y="5"/>
                      </a:cubicBezTo>
                      <a:cubicBezTo>
                        <a:pt x="9" y="5"/>
                        <a:pt x="8" y="3"/>
                        <a:pt x="8" y="2"/>
                      </a:cubicBezTo>
                      <a:cubicBezTo>
                        <a:pt x="8"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70"/>
                <p:cNvSpPr>
                  <a:spLocks/>
                </p:cNvSpPr>
                <p:nvPr/>
              </p:nvSpPr>
              <p:spPr bwMode="auto">
                <a:xfrm>
                  <a:off x="3095626" y="4567238"/>
                  <a:ext cx="4763" cy="4763"/>
                </a:xfrm>
                <a:custGeom>
                  <a:avLst/>
                  <a:gdLst>
                    <a:gd name="T0" fmla="*/ 6 w 7"/>
                    <a:gd name="T1" fmla="*/ 5 h 6"/>
                    <a:gd name="T2" fmla="*/ 4 w 7"/>
                    <a:gd name="T3" fmla="*/ 1 h 6"/>
                    <a:gd name="T4" fmla="*/ 4 w 7"/>
                    <a:gd name="T5" fmla="*/ 1 h 6"/>
                    <a:gd name="T6" fmla="*/ 2 w 7"/>
                    <a:gd name="T7" fmla="*/ 5 h 6"/>
                    <a:gd name="T8" fmla="*/ 6 w 7"/>
                    <a:gd name="T9" fmla="*/ 5 h 6"/>
                  </a:gdLst>
                  <a:ahLst/>
                  <a:cxnLst>
                    <a:cxn ang="0">
                      <a:pos x="T0" y="T1"/>
                    </a:cxn>
                    <a:cxn ang="0">
                      <a:pos x="T2" y="T3"/>
                    </a:cxn>
                    <a:cxn ang="0">
                      <a:pos x="T4" y="T5"/>
                    </a:cxn>
                    <a:cxn ang="0">
                      <a:pos x="T6" y="T7"/>
                    </a:cxn>
                    <a:cxn ang="0">
                      <a:pos x="T8" y="T9"/>
                    </a:cxn>
                  </a:cxnLst>
                  <a:rect l="0" t="0" r="r" b="b"/>
                  <a:pathLst>
                    <a:path w="7" h="6">
                      <a:moveTo>
                        <a:pt x="6" y="5"/>
                      </a:moveTo>
                      <a:cubicBezTo>
                        <a:pt x="7" y="3"/>
                        <a:pt x="6" y="2"/>
                        <a:pt x="4" y="1"/>
                      </a:cubicBezTo>
                      <a:cubicBezTo>
                        <a:pt x="4" y="1"/>
                        <a:pt x="4" y="1"/>
                        <a:pt x="4" y="1"/>
                      </a:cubicBezTo>
                      <a:cubicBezTo>
                        <a:pt x="0" y="0"/>
                        <a:pt x="0" y="4"/>
                        <a:pt x="2" y="5"/>
                      </a:cubicBezTo>
                      <a:cubicBezTo>
                        <a:pt x="4" y="6"/>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71"/>
                <p:cNvSpPr>
                  <a:spLocks/>
                </p:cNvSpPr>
                <p:nvPr/>
              </p:nvSpPr>
              <p:spPr bwMode="auto">
                <a:xfrm>
                  <a:off x="3043238" y="4572000"/>
                  <a:ext cx="6350" cy="3175"/>
                </a:xfrm>
                <a:custGeom>
                  <a:avLst/>
                  <a:gdLst>
                    <a:gd name="T0" fmla="*/ 2 w 8"/>
                    <a:gd name="T1" fmla="*/ 0 h 5"/>
                    <a:gd name="T2" fmla="*/ 1 w 8"/>
                    <a:gd name="T3" fmla="*/ 3 h 5"/>
                    <a:gd name="T4" fmla="*/ 6 w 8"/>
                    <a:gd name="T5" fmla="*/ 5 h 5"/>
                    <a:gd name="T6" fmla="*/ 7 w 8"/>
                    <a:gd name="T7" fmla="*/ 2 h 5"/>
                    <a:gd name="T8" fmla="*/ 2 w 8"/>
                    <a:gd name="T9" fmla="*/ 0 h 5"/>
                  </a:gdLst>
                  <a:ahLst/>
                  <a:cxnLst>
                    <a:cxn ang="0">
                      <a:pos x="T0" y="T1"/>
                    </a:cxn>
                    <a:cxn ang="0">
                      <a:pos x="T2" y="T3"/>
                    </a:cxn>
                    <a:cxn ang="0">
                      <a:pos x="T4" y="T5"/>
                    </a:cxn>
                    <a:cxn ang="0">
                      <a:pos x="T6" y="T7"/>
                    </a:cxn>
                    <a:cxn ang="0">
                      <a:pos x="T8" y="T9"/>
                    </a:cxn>
                  </a:cxnLst>
                  <a:rect l="0" t="0" r="r" b="b"/>
                  <a:pathLst>
                    <a:path w="8" h="5">
                      <a:moveTo>
                        <a:pt x="2" y="0"/>
                      </a:moveTo>
                      <a:cubicBezTo>
                        <a:pt x="0" y="0"/>
                        <a:pt x="0" y="2"/>
                        <a:pt x="1" y="3"/>
                      </a:cubicBezTo>
                      <a:cubicBezTo>
                        <a:pt x="2" y="4"/>
                        <a:pt x="4" y="5"/>
                        <a:pt x="6" y="5"/>
                      </a:cubicBezTo>
                      <a:cubicBezTo>
                        <a:pt x="8" y="5"/>
                        <a:pt x="7" y="3"/>
                        <a:pt x="7" y="2"/>
                      </a:cubicBezTo>
                      <a:cubicBezTo>
                        <a:pt x="5" y="2"/>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172"/>
                <p:cNvSpPr>
                  <a:spLocks/>
                </p:cNvSpPr>
                <p:nvPr/>
              </p:nvSpPr>
              <p:spPr bwMode="auto">
                <a:xfrm>
                  <a:off x="3162301" y="4708525"/>
                  <a:ext cx="6350" cy="4763"/>
                </a:xfrm>
                <a:custGeom>
                  <a:avLst/>
                  <a:gdLst>
                    <a:gd name="T0" fmla="*/ 5 w 7"/>
                    <a:gd name="T1" fmla="*/ 1 h 5"/>
                    <a:gd name="T2" fmla="*/ 3 w 7"/>
                    <a:gd name="T3" fmla="*/ 2 h 5"/>
                    <a:gd name="T4" fmla="*/ 2 w 7"/>
                    <a:gd name="T5" fmla="*/ 4 h 5"/>
                    <a:gd name="T6" fmla="*/ 6 w 7"/>
                    <a:gd name="T7" fmla="*/ 5 h 5"/>
                    <a:gd name="T8" fmla="*/ 6 w 7"/>
                    <a:gd name="T9" fmla="*/ 3 h 5"/>
                    <a:gd name="T10" fmla="*/ 5 w 7"/>
                    <a:gd name="T11" fmla="*/ 2 h 5"/>
                    <a:gd name="T12" fmla="*/ 5 w 7"/>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5" y="1"/>
                      </a:moveTo>
                      <a:cubicBezTo>
                        <a:pt x="3" y="0"/>
                        <a:pt x="0" y="2"/>
                        <a:pt x="3" y="2"/>
                      </a:cubicBezTo>
                      <a:cubicBezTo>
                        <a:pt x="4" y="3"/>
                        <a:pt x="2" y="4"/>
                        <a:pt x="2" y="4"/>
                      </a:cubicBezTo>
                      <a:cubicBezTo>
                        <a:pt x="2" y="5"/>
                        <a:pt x="6" y="5"/>
                        <a:pt x="6" y="5"/>
                      </a:cubicBezTo>
                      <a:cubicBezTo>
                        <a:pt x="7" y="4"/>
                        <a:pt x="6" y="3"/>
                        <a:pt x="6" y="3"/>
                      </a:cubicBezTo>
                      <a:cubicBezTo>
                        <a:pt x="5" y="2"/>
                        <a:pt x="5" y="2"/>
                        <a:pt x="5" y="2"/>
                      </a:cubicBezTo>
                      <a:cubicBezTo>
                        <a:pt x="5"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173"/>
                <p:cNvSpPr>
                  <a:spLocks/>
                </p:cNvSpPr>
                <p:nvPr/>
              </p:nvSpPr>
              <p:spPr bwMode="auto">
                <a:xfrm>
                  <a:off x="3132138" y="4456113"/>
                  <a:ext cx="11113" cy="7938"/>
                </a:xfrm>
                <a:custGeom>
                  <a:avLst/>
                  <a:gdLst>
                    <a:gd name="T0" fmla="*/ 11 w 15"/>
                    <a:gd name="T1" fmla="*/ 3 h 9"/>
                    <a:gd name="T2" fmla="*/ 3 w 15"/>
                    <a:gd name="T3" fmla="*/ 2 h 9"/>
                    <a:gd name="T4" fmla="*/ 2 w 15"/>
                    <a:gd name="T5" fmla="*/ 4 h 9"/>
                    <a:gd name="T6" fmla="*/ 8 w 15"/>
                    <a:gd name="T7" fmla="*/ 4 h 9"/>
                    <a:gd name="T8" fmla="*/ 13 w 15"/>
                    <a:gd name="T9" fmla="*/ 8 h 9"/>
                    <a:gd name="T10" fmla="*/ 14 w 15"/>
                    <a:gd name="T11" fmla="*/ 4 h 9"/>
                    <a:gd name="T12" fmla="*/ 11 w 1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1" y="3"/>
                      </a:moveTo>
                      <a:cubicBezTo>
                        <a:pt x="11" y="0"/>
                        <a:pt x="5" y="1"/>
                        <a:pt x="3" y="2"/>
                      </a:cubicBezTo>
                      <a:cubicBezTo>
                        <a:pt x="1" y="2"/>
                        <a:pt x="0" y="3"/>
                        <a:pt x="2" y="4"/>
                      </a:cubicBezTo>
                      <a:cubicBezTo>
                        <a:pt x="4" y="4"/>
                        <a:pt x="6" y="4"/>
                        <a:pt x="8" y="4"/>
                      </a:cubicBezTo>
                      <a:cubicBezTo>
                        <a:pt x="10" y="4"/>
                        <a:pt x="10" y="9"/>
                        <a:pt x="13" y="8"/>
                      </a:cubicBezTo>
                      <a:cubicBezTo>
                        <a:pt x="14" y="7"/>
                        <a:pt x="15" y="5"/>
                        <a:pt x="14" y="4"/>
                      </a:cubicBezTo>
                      <a:cubicBezTo>
                        <a:pt x="13" y="3"/>
                        <a:pt x="10"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174"/>
                <p:cNvSpPr>
                  <a:spLocks/>
                </p:cNvSpPr>
                <p:nvPr/>
              </p:nvSpPr>
              <p:spPr bwMode="auto">
                <a:xfrm>
                  <a:off x="3127376" y="4495800"/>
                  <a:ext cx="14288" cy="3175"/>
                </a:xfrm>
                <a:custGeom>
                  <a:avLst/>
                  <a:gdLst>
                    <a:gd name="T0" fmla="*/ 10 w 18"/>
                    <a:gd name="T1" fmla="*/ 2 h 6"/>
                    <a:gd name="T2" fmla="*/ 3 w 18"/>
                    <a:gd name="T3" fmla="*/ 0 h 6"/>
                    <a:gd name="T4" fmla="*/ 3 w 18"/>
                    <a:gd name="T5" fmla="*/ 4 h 6"/>
                    <a:gd name="T6" fmla="*/ 7 w 18"/>
                    <a:gd name="T7" fmla="*/ 5 h 6"/>
                    <a:gd name="T8" fmla="*/ 12 w 18"/>
                    <a:gd name="T9" fmla="*/ 5 h 6"/>
                    <a:gd name="T10" fmla="*/ 18 w 18"/>
                    <a:gd name="T11" fmla="*/ 3 h 6"/>
                    <a:gd name="T12" fmla="*/ 10 w 1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0" y="2"/>
                      </a:moveTo>
                      <a:cubicBezTo>
                        <a:pt x="7" y="2"/>
                        <a:pt x="6" y="1"/>
                        <a:pt x="3" y="0"/>
                      </a:cubicBezTo>
                      <a:cubicBezTo>
                        <a:pt x="1" y="0"/>
                        <a:pt x="0" y="4"/>
                        <a:pt x="3" y="4"/>
                      </a:cubicBezTo>
                      <a:cubicBezTo>
                        <a:pt x="5" y="4"/>
                        <a:pt x="5" y="5"/>
                        <a:pt x="7" y="5"/>
                      </a:cubicBezTo>
                      <a:cubicBezTo>
                        <a:pt x="8" y="5"/>
                        <a:pt x="10" y="5"/>
                        <a:pt x="12" y="5"/>
                      </a:cubicBezTo>
                      <a:cubicBezTo>
                        <a:pt x="14" y="5"/>
                        <a:pt x="18" y="6"/>
                        <a:pt x="18" y="3"/>
                      </a:cubicBezTo>
                      <a:cubicBezTo>
                        <a:pt x="16" y="1"/>
                        <a:pt x="13"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175"/>
                <p:cNvSpPr>
                  <a:spLocks/>
                </p:cNvSpPr>
                <p:nvPr/>
              </p:nvSpPr>
              <p:spPr bwMode="auto">
                <a:xfrm>
                  <a:off x="3186113" y="4527550"/>
                  <a:ext cx="9525" cy="4763"/>
                </a:xfrm>
                <a:custGeom>
                  <a:avLst/>
                  <a:gdLst>
                    <a:gd name="T0" fmla="*/ 2 w 13"/>
                    <a:gd name="T1" fmla="*/ 3 h 6"/>
                    <a:gd name="T2" fmla="*/ 8 w 13"/>
                    <a:gd name="T3" fmla="*/ 6 h 6"/>
                    <a:gd name="T4" fmla="*/ 11 w 13"/>
                    <a:gd name="T5" fmla="*/ 5 h 6"/>
                    <a:gd name="T6" fmla="*/ 11 w 13"/>
                    <a:gd name="T7" fmla="*/ 3 h 6"/>
                    <a:gd name="T8" fmla="*/ 5 w 13"/>
                    <a:gd name="T9" fmla="*/ 1 h 6"/>
                    <a:gd name="T10" fmla="*/ 2 w 13"/>
                    <a:gd name="T11" fmla="*/ 3 h 6"/>
                  </a:gdLst>
                  <a:ahLst/>
                  <a:cxnLst>
                    <a:cxn ang="0">
                      <a:pos x="T0" y="T1"/>
                    </a:cxn>
                    <a:cxn ang="0">
                      <a:pos x="T2" y="T3"/>
                    </a:cxn>
                    <a:cxn ang="0">
                      <a:pos x="T4" y="T5"/>
                    </a:cxn>
                    <a:cxn ang="0">
                      <a:pos x="T6" y="T7"/>
                    </a:cxn>
                    <a:cxn ang="0">
                      <a:pos x="T8" y="T9"/>
                    </a:cxn>
                    <a:cxn ang="0">
                      <a:pos x="T10" y="T11"/>
                    </a:cxn>
                  </a:cxnLst>
                  <a:rect l="0" t="0" r="r" b="b"/>
                  <a:pathLst>
                    <a:path w="13" h="6">
                      <a:moveTo>
                        <a:pt x="2" y="3"/>
                      </a:moveTo>
                      <a:cubicBezTo>
                        <a:pt x="4" y="4"/>
                        <a:pt x="5" y="6"/>
                        <a:pt x="8" y="6"/>
                      </a:cubicBezTo>
                      <a:cubicBezTo>
                        <a:pt x="9" y="6"/>
                        <a:pt x="10" y="5"/>
                        <a:pt x="11" y="5"/>
                      </a:cubicBezTo>
                      <a:cubicBezTo>
                        <a:pt x="13" y="5"/>
                        <a:pt x="13" y="3"/>
                        <a:pt x="11" y="3"/>
                      </a:cubicBezTo>
                      <a:cubicBezTo>
                        <a:pt x="8" y="4"/>
                        <a:pt x="7" y="2"/>
                        <a:pt x="5" y="1"/>
                      </a:cubicBezTo>
                      <a:cubicBezTo>
                        <a:pt x="2"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176"/>
                <p:cNvSpPr>
                  <a:spLocks/>
                </p:cNvSpPr>
                <p:nvPr/>
              </p:nvSpPr>
              <p:spPr bwMode="auto">
                <a:xfrm>
                  <a:off x="3095626" y="4468813"/>
                  <a:ext cx="3175" cy="3175"/>
                </a:xfrm>
                <a:custGeom>
                  <a:avLst/>
                  <a:gdLst>
                    <a:gd name="T0" fmla="*/ 5 w 5"/>
                    <a:gd name="T1" fmla="*/ 2 h 3"/>
                    <a:gd name="T2" fmla="*/ 2 w 5"/>
                    <a:gd name="T3" fmla="*/ 2 h 3"/>
                    <a:gd name="T4" fmla="*/ 5 w 5"/>
                    <a:gd name="T5" fmla="*/ 2 h 3"/>
                  </a:gdLst>
                  <a:ahLst/>
                  <a:cxnLst>
                    <a:cxn ang="0">
                      <a:pos x="T0" y="T1"/>
                    </a:cxn>
                    <a:cxn ang="0">
                      <a:pos x="T2" y="T3"/>
                    </a:cxn>
                    <a:cxn ang="0">
                      <a:pos x="T4" y="T5"/>
                    </a:cxn>
                  </a:cxnLst>
                  <a:rect l="0" t="0" r="r" b="b"/>
                  <a:pathLst>
                    <a:path w="5" h="3">
                      <a:moveTo>
                        <a:pt x="5" y="2"/>
                      </a:moveTo>
                      <a:cubicBezTo>
                        <a:pt x="5" y="0"/>
                        <a:pt x="0" y="2"/>
                        <a:pt x="2" y="2"/>
                      </a:cubicBezTo>
                      <a:cubicBezTo>
                        <a:pt x="3" y="2"/>
                        <a:pt x="5" y="3"/>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177"/>
                <p:cNvSpPr>
                  <a:spLocks/>
                </p:cNvSpPr>
                <p:nvPr/>
              </p:nvSpPr>
              <p:spPr bwMode="auto">
                <a:xfrm>
                  <a:off x="3151188" y="4476750"/>
                  <a:ext cx="41275" cy="19050"/>
                </a:xfrm>
                <a:custGeom>
                  <a:avLst/>
                  <a:gdLst>
                    <a:gd name="T0" fmla="*/ 52 w 56"/>
                    <a:gd name="T1" fmla="*/ 6 h 25"/>
                    <a:gd name="T2" fmla="*/ 48 w 56"/>
                    <a:gd name="T3" fmla="*/ 6 h 25"/>
                    <a:gd name="T4" fmla="*/ 45 w 56"/>
                    <a:gd name="T5" fmla="*/ 3 h 25"/>
                    <a:gd name="T6" fmla="*/ 41 w 56"/>
                    <a:gd name="T7" fmla="*/ 1 h 25"/>
                    <a:gd name="T8" fmla="*/ 27 w 56"/>
                    <a:gd name="T9" fmla="*/ 4 h 25"/>
                    <a:gd name="T10" fmla="*/ 21 w 56"/>
                    <a:gd name="T11" fmla="*/ 4 h 25"/>
                    <a:gd name="T12" fmla="*/ 15 w 56"/>
                    <a:gd name="T13" fmla="*/ 5 h 25"/>
                    <a:gd name="T14" fmla="*/ 15 w 56"/>
                    <a:gd name="T15" fmla="*/ 11 h 25"/>
                    <a:gd name="T16" fmla="*/ 18 w 56"/>
                    <a:gd name="T17" fmla="*/ 16 h 25"/>
                    <a:gd name="T18" fmla="*/ 13 w 56"/>
                    <a:gd name="T19" fmla="*/ 18 h 25"/>
                    <a:gd name="T20" fmla="*/ 6 w 56"/>
                    <a:gd name="T21" fmla="*/ 21 h 25"/>
                    <a:gd name="T22" fmla="*/ 3 w 56"/>
                    <a:gd name="T23" fmla="*/ 24 h 25"/>
                    <a:gd name="T24" fmla="*/ 19 w 56"/>
                    <a:gd name="T25" fmla="*/ 21 h 25"/>
                    <a:gd name="T26" fmla="*/ 28 w 56"/>
                    <a:gd name="T27" fmla="*/ 20 h 25"/>
                    <a:gd name="T28" fmla="*/ 33 w 56"/>
                    <a:gd name="T29" fmla="*/ 15 h 25"/>
                    <a:gd name="T30" fmla="*/ 35 w 56"/>
                    <a:gd name="T31" fmla="*/ 13 h 25"/>
                    <a:gd name="T32" fmla="*/ 39 w 56"/>
                    <a:gd name="T33" fmla="*/ 12 h 25"/>
                    <a:gd name="T34" fmla="*/ 48 w 56"/>
                    <a:gd name="T35" fmla="*/ 10 h 25"/>
                    <a:gd name="T36" fmla="*/ 52 w 56"/>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25">
                      <a:moveTo>
                        <a:pt x="52" y="6"/>
                      </a:moveTo>
                      <a:cubicBezTo>
                        <a:pt x="51" y="6"/>
                        <a:pt x="49" y="6"/>
                        <a:pt x="48" y="6"/>
                      </a:cubicBezTo>
                      <a:cubicBezTo>
                        <a:pt x="46" y="6"/>
                        <a:pt x="46" y="4"/>
                        <a:pt x="45" y="3"/>
                      </a:cubicBezTo>
                      <a:cubicBezTo>
                        <a:pt x="43" y="3"/>
                        <a:pt x="43" y="0"/>
                        <a:pt x="41" y="1"/>
                      </a:cubicBezTo>
                      <a:cubicBezTo>
                        <a:pt x="36" y="2"/>
                        <a:pt x="32" y="4"/>
                        <a:pt x="27" y="4"/>
                      </a:cubicBezTo>
                      <a:cubicBezTo>
                        <a:pt x="25" y="5"/>
                        <a:pt x="23" y="4"/>
                        <a:pt x="21" y="4"/>
                      </a:cubicBezTo>
                      <a:cubicBezTo>
                        <a:pt x="19" y="4"/>
                        <a:pt x="18" y="5"/>
                        <a:pt x="15" y="5"/>
                      </a:cubicBezTo>
                      <a:cubicBezTo>
                        <a:pt x="15" y="6"/>
                        <a:pt x="14" y="10"/>
                        <a:pt x="15" y="11"/>
                      </a:cubicBezTo>
                      <a:cubicBezTo>
                        <a:pt x="16" y="13"/>
                        <a:pt x="17" y="14"/>
                        <a:pt x="18" y="16"/>
                      </a:cubicBezTo>
                      <a:cubicBezTo>
                        <a:pt x="18" y="18"/>
                        <a:pt x="15" y="17"/>
                        <a:pt x="13" y="18"/>
                      </a:cubicBezTo>
                      <a:cubicBezTo>
                        <a:pt x="9" y="20"/>
                        <a:pt x="10" y="22"/>
                        <a:pt x="6" y="21"/>
                      </a:cubicBezTo>
                      <a:cubicBezTo>
                        <a:pt x="3" y="21"/>
                        <a:pt x="0" y="24"/>
                        <a:pt x="3" y="24"/>
                      </a:cubicBezTo>
                      <a:cubicBezTo>
                        <a:pt x="9" y="24"/>
                        <a:pt x="14" y="25"/>
                        <a:pt x="19" y="21"/>
                      </a:cubicBezTo>
                      <a:cubicBezTo>
                        <a:pt x="22" y="19"/>
                        <a:pt x="25" y="21"/>
                        <a:pt x="28" y="20"/>
                      </a:cubicBezTo>
                      <a:cubicBezTo>
                        <a:pt x="31" y="20"/>
                        <a:pt x="30" y="17"/>
                        <a:pt x="33" y="15"/>
                      </a:cubicBezTo>
                      <a:cubicBezTo>
                        <a:pt x="35" y="15"/>
                        <a:pt x="34" y="14"/>
                        <a:pt x="35" y="13"/>
                      </a:cubicBezTo>
                      <a:cubicBezTo>
                        <a:pt x="36" y="12"/>
                        <a:pt x="38" y="12"/>
                        <a:pt x="39" y="12"/>
                      </a:cubicBezTo>
                      <a:cubicBezTo>
                        <a:pt x="42" y="13"/>
                        <a:pt x="45" y="10"/>
                        <a:pt x="48" y="10"/>
                      </a:cubicBezTo>
                      <a:cubicBezTo>
                        <a:pt x="49" y="9"/>
                        <a:pt x="56" y="7"/>
                        <a:pt x="5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178"/>
                <p:cNvSpPr>
                  <a:spLocks/>
                </p:cNvSpPr>
                <p:nvPr/>
              </p:nvSpPr>
              <p:spPr bwMode="auto">
                <a:xfrm>
                  <a:off x="3162301" y="4714875"/>
                  <a:ext cx="3175" cy="1588"/>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1" y="2"/>
                        <a:pt x="4" y="2"/>
                        <a:pt x="4" y="1"/>
                      </a:cubicBezTo>
                      <a:cubicBezTo>
                        <a:pt x="4"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179"/>
                <p:cNvSpPr>
                  <a:spLocks/>
                </p:cNvSpPr>
                <p:nvPr/>
              </p:nvSpPr>
              <p:spPr bwMode="auto">
                <a:xfrm>
                  <a:off x="3100388" y="4465638"/>
                  <a:ext cx="12700" cy="6350"/>
                </a:xfrm>
                <a:custGeom>
                  <a:avLst/>
                  <a:gdLst>
                    <a:gd name="T0" fmla="*/ 14 w 18"/>
                    <a:gd name="T1" fmla="*/ 5 h 10"/>
                    <a:gd name="T2" fmla="*/ 16 w 18"/>
                    <a:gd name="T3" fmla="*/ 0 h 10"/>
                    <a:gd name="T4" fmla="*/ 13 w 18"/>
                    <a:gd name="T5" fmla="*/ 4 h 10"/>
                    <a:gd name="T6" fmla="*/ 7 w 18"/>
                    <a:gd name="T7" fmla="*/ 6 h 10"/>
                    <a:gd name="T8" fmla="*/ 1 w 18"/>
                    <a:gd name="T9" fmla="*/ 8 h 10"/>
                    <a:gd name="T10" fmla="*/ 14 w 18"/>
                    <a:gd name="T11" fmla="*/ 5 h 10"/>
                  </a:gdLst>
                  <a:ahLst/>
                  <a:cxnLst>
                    <a:cxn ang="0">
                      <a:pos x="T0" y="T1"/>
                    </a:cxn>
                    <a:cxn ang="0">
                      <a:pos x="T2" y="T3"/>
                    </a:cxn>
                    <a:cxn ang="0">
                      <a:pos x="T4" y="T5"/>
                    </a:cxn>
                    <a:cxn ang="0">
                      <a:pos x="T6" y="T7"/>
                    </a:cxn>
                    <a:cxn ang="0">
                      <a:pos x="T8" y="T9"/>
                    </a:cxn>
                    <a:cxn ang="0">
                      <a:pos x="T10" y="T11"/>
                    </a:cxn>
                  </a:cxnLst>
                  <a:rect l="0" t="0" r="r" b="b"/>
                  <a:pathLst>
                    <a:path w="18" h="10">
                      <a:moveTo>
                        <a:pt x="14" y="5"/>
                      </a:moveTo>
                      <a:cubicBezTo>
                        <a:pt x="15" y="4"/>
                        <a:pt x="18" y="1"/>
                        <a:pt x="16" y="0"/>
                      </a:cubicBezTo>
                      <a:cubicBezTo>
                        <a:pt x="15" y="0"/>
                        <a:pt x="14" y="3"/>
                        <a:pt x="13" y="4"/>
                      </a:cubicBezTo>
                      <a:cubicBezTo>
                        <a:pt x="12" y="5"/>
                        <a:pt x="9" y="6"/>
                        <a:pt x="7" y="6"/>
                      </a:cubicBezTo>
                      <a:cubicBezTo>
                        <a:pt x="7" y="6"/>
                        <a:pt x="0" y="6"/>
                        <a:pt x="1" y="8"/>
                      </a:cubicBezTo>
                      <a:cubicBezTo>
                        <a:pt x="3" y="10"/>
                        <a:pt x="13" y="6"/>
                        <a:pt x="1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180"/>
                <p:cNvSpPr>
                  <a:spLocks/>
                </p:cNvSpPr>
                <p:nvPr/>
              </p:nvSpPr>
              <p:spPr bwMode="auto">
                <a:xfrm>
                  <a:off x="2681288" y="4108450"/>
                  <a:ext cx="15875" cy="7938"/>
                </a:xfrm>
                <a:custGeom>
                  <a:avLst/>
                  <a:gdLst>
                    <a:gd name="T0" fmla="*/ 5 w 21"/>
                    <a:gd name="T1" fmla="*/ 8 h 11"/>
                    <a:gd name="T2" fmla="*/ 13 w 21"/>
                    <a:gd name="T3" fmla="*/ 8 h 11"/>
                    <a:gd name="T4" fmla="*/ 17 w 21"/>
                    <a:gd name="T5" fmla="*/ 5 h 11"/>
                    <a:gd name="T6" fmla="*/ 21 w 21"/>
                    <a:gd name="T7" fmla="*/ 0 h 11"/>
                    <a:gd name="T8" fmla="*/ 1 w 21"/>
                    <a:gd name="T9" fmla="*/ 2 h 11"/>
                    <a:gd name="T10" fmla="*/ 0 w 21"/>
                    <a:gd name="T11" fmla="*/ 3 h 11"/>
                    <a:gd name="T12" fmla="*/ 5 w 21"/>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21" h="11">
                      <a:moveTo>
                        <a:pt x="5" y="8"/>
                      </a:moveTo>
                      <a:cubicBezTo>
                        <a:pt x="7" y="8"/>
                        <a:pt x="10" y="11"/>
                        <a:pt x="13" y="8"/>
                      </a:cubicBezTo>
                      <a:cubicBezTo>
                        <a:pt x="14" y="6"/>
                        <a:pt x="16" y="5"/>
                        <a:pt x="17" y="5"/>
                      </a:cubicBezTo>
                      <a:cubicBezTo>
                        <a:pt x="19" y="4"/>
                        <a:pt x="20" y="2"/>
                        <a:pt x="21" y="0"/>
                      </a:cubicBezTo>
                      <a:cubicBezTo>
                        <a:pt x="14" y="0"/>
                        <a:pt x="7" y="1"/>
                        <a:pt x="1" y="2"/>
                      </a:cubicBezTo>
                      <a:cubicBezTo>
                        <a:pt x="1" y="2"/>
                        <a:pt x="0" y="3"/>
                        <a:pt x="0" y="3"/>
                      </a:cubicBezTo>
                      <a:cubicBezTo>
                        <a:pt x="1" y="7"/>
                        <a:pt x="3" y="9"/>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181"/>
                <p:cNvSpPr>
                  <a:spLocks/>
                </p:cNvSpPr>
                <p:nvPr/>
              </p:nvSpPr>
              <p:spPr bwMode="auto">
                <a:xfrm>
                  <a:off x="3167063" y="4721225"/>
                  <a:ext cx="4763" cy="3175"/>
                </a:xfrm>
                <a:custGeom>
                  <a:avLst/>
                  <a:gdLst>
                    <a:gd name="T0" fmla="*/ 5 w 6"/>
                    <a:gd name="T1" fmla="*/ 2 h 3"/>
                    <a:gd name="T2" fmla="*/ 5 w 6"/>
                    <a:gd name="T3" fmla="*/ 1 h 3"/>
                    <a:gd name="T4" fmla="*/ 2 w 6"/>
                    <a:gd name="T5" fmla="*/ 0 h 3"/>
                    <a:gd name="T6" fmla="*/ 1 w 6"/>
                    <a:gd name="T7" fmla="*/ 0 h 3"/>
                    <a:gd name="T8" fmla="*/ 1 w 6"/>
                    <a:gd name="T9" fmla="*/ 2 h 3"/>
                    <a:gd name="T10" fmla="*/ 5 w 6"/>
                    <a:gd name="T11" fmla="*/ 2 h 3"/>
                  </a:gdLst>
                  <a:ahLst/>
                  <a:cxnLst>
                    <a:cxn ang="0">
                      <a:pos x="T0" y="T1"/>
                    </a:cxn>
                    <a:cxn ang="0">
                      <a:pos x="T2" y="T3"/>
                    </a:cxn>
                    <a:cxn ang="0">
                      <a:pos x="T4" y="T5"/>
                    </a:cxn>
                    <a:cxn ang="0">
                      <a:pos x="T6" y="T7"/>
                    </a:cxn>
                    <a:cxn ang="0">
                      <a:pos x="T8" y="T9"/>
                    </a:cxn>
                    <a:cxn ang="0">
                      <a:pos x="T10" y="T11"/>
                    </a:cxn>
                  </a:cxnLst>
                  <a:rect l="0" t="0" r="r" b="b"/>
                  <a:pathLst>
                    <a:path w="6" h="3">
                      <a:moveTo>
                        <a:pt x="5" y="2"/>
                      </a:moveTo>
                      <a:cubicBezTo>
                        <a:pt x="6" y="2"/>
                        <a:pt x="5" y="1"/>
                        <a:pt x="5" y="1"/>
                      </a:cubicBezTo>
                      <a:cubicBezTo>
                        <a:pt x="4" y="0"/>
                        <a:pt x="3" y="1"/>
                        <a:pt x="2" y="0"/>
                      </a:cubicBezTo>
                      <a:cubicBezTo>
                        <a:pt x="2" y="0"/>
                        <a:pt x="1" y="0"/>
                        <a:pt x="1" y="0"/>
                      </a:cubicBezTo>
                      <a:cubicBezTo>
                        <a:pt x="0" y="1"/>
                        <a:pt x="0" y="1"/>
                        <a:pt x="1" y="2"/>
                      </a:cubicBezTo>
                      <a:cubicBezTo>
                        <a:pt x="1" y="3"/>
                        <a:pt x="4"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182"/>
                <p:cNvSpPr>
                  <a:spLocks/>
                </p:cNvSpPr>
                <p:nvPr/>
              </p:nvSpPr>
              <p:spPr bwMode="auto">
                <a:xfrm>
                  <a:off x="3160713" y="4713288"/>
                  <a:ext cx="3175" cy="1588"/>
                </a:xfrm>
                <a:custGeom>
                  <a:avLst/>
                  <a:gdLst>
                    <a:gd name="T0" fmla="*/ 2 w 4"/>
                    <a:gd name="T1" fmla="*/ 1 h 2"/>
                    <a:gd name="T2" fmla="*/ 4 w 4"/>
                    <a:gd name="T3" fmla="*/ 1 h 2"/>
                    <a:gd name="T4" fmla="*/ 2 w 4"/>
                    <a:gd name="T5" fmla="*/ 1 h 2"/>
                  </a:gdLst>
                  <a:ahLst/>
                  <a:cxnLst>
                    <a:cxn ang="0">
                      <a:pos x="T0" y="T1"/>
                    </a:cxn>
                    <a:cxn ang="0">
                      <a:pos x="T2" y="T3"/>
                    </a:cxn>
                    <a:cxn ang="0">
                      <a:pos x="T4" y="T5"/>
                    </a:cxn>
                  </a:cxnLst>
                  <a:rect l="0" t="0" r="r" b="b"/>
                  <a:pathLst>
                    <a:path w="4" h="2">
                      <a:moveTo>
                        <a:pt x="2" y="1"/>
                      </a:moveTo>
                      <a:cubicBezTo>
                        <a:pt x="0" y="2"/>
                        <a:pt x="4" y="2"/>
                        <a:pt x="4" y="1"/>
                      </a:cubicBezTo>
                      <a:cubicBezTo>
                        <a:pt x="4" y="1"/>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83"/>
                <p:cNvSpPr>
                  <a:spLocks/>
                </p:cNvSpPr>
                <p:nvPr/>
              </p:nvSpPr>
              <p:spPr bwMode="auto">
                <a:xfrm>
                  <a:off x="3171826" y="4725988"/>
                  <a:ext cx="3175" cy="3175"/>
                </a:xfrm>
                <a:custGeom>
                  <a:avLst/>
                  <a:gdLst>
                    <a:gd name="T0" fmla="*/ 5 w 6"/>
                    <a:gd name="T1" fmla="*/ 3 h 3"/>
                    <a:gd name="T2" fmla="*/ 2 w 6"/>
                    <a:gd name="T3" fmla="*/ 1 h 3"/>
                    <a:gd name="T4" fmla="*/ 1 w 6"/>
                    <a:gd name="T5" fmla="*/ 2 h 3"/>
                    <a:gd name="T6" fmla="*/ 5 w 6"/>
                    <a:gd name="T7" fmla="*/ 3 h 3"/>
                  </a:gdLst>
                  <a:ahLst/>
                  <a:cxnLst>
                    <a:cxn ang="0">
                      <a:pos x="T0" y="T1"/>
                    </a:cxn>
                    <a:cxn ang="0">
                      <a:pos x="T2" y="T3"/>
                    </a:cxn>
                    <a:cxn ang="0">
                      <a:pos x="T4" y="T5"/>
                    </a:cxn>
                    <a:cxn ang="0">
                      <a:pos x="T6" y="T7"/>
                    </a:cxn>
                  </a:cxnLst>
                  <a:rect l="0" t="0" r="r" b="b"/>
                  <a:pathLst>
                    <a:path w="6" h="3">
                      <a:moveTo>
                        <a:pt x="5" y="3"/>
                      </a:moveTo>
                      <a:cubicBezTo>
                        <a:pt x="6" y="2"/>
                        <a:pt x="4" y="0"/>
                        <a:pt x="2" y="1"/>
                      </a:cubicBezTo>
                      <a:cubicBezTo>
                        <a:pt x="0" y="2"/>
                        <a:pt x="0" y="2"/>
                        <a:pt x="1" y="2"/>
                      </a:cubicBezTo>
                      <a:cubicBezTo>
                        <a:pt x="2" y="2"/>
                        <a:pt x="4"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84"/>
                <p:cNvSpPr>
                  <a:spLocks/>
                </p:cNvSpPr>
                <p:nvPr/>
              </p:nvSpPr>
              <p:spPr bwMode="auto">
                <a:xfrm>
                  <a:off x="3173413" y="4729163"/>
                  <a:ext cx="4763" cy="0"/>
                </a:xfrm>
                <a:custGeom>
                  <a:avLst/>
                  <a:gdLst>
                    <a:gd name="T0" fmla="*/ 4 w 7"/>
                    <a:gd name="T1" fmla="*/ 1 w 7"/>
                    <a:gd name="T2" fmla="*/ 7 w 7"/>
                    <a:gd name="T3" fmla="*/ 4 w 7"/>
                  </a:gdLst>
                  <a:ahLst/>
                  <a:cxnLst>
                    <a:cxn ang="0">
                      <a:pos x="T0" y="0"/>
                    </a:cxn>
                    <a:cxn ang="0">
                      <a:pos x="T1" y="0"/>
                    </a:cxn>
                    <a:cxn ang="0">
                      <a:pos x="T2" y="0"/>
                    </a:cxn>
                    <a:cxn ang="0">
                      <a:pos x="T3" y="0"/>
                    </a:cxn>
                  </a:cxnLst>
                  <a:rect l="0" t="0" r="r" b="b"/>
                  <a:pathLst>
                    <a:path w="7">
                      <a:moveTo>
                        <a:pt x="4" y="0"/>
                      </a:moveTo>
                      <a:cubicBezTo>
                        <a:pt x="3" y="0"/>
                        <a:pt x="0" y="0"/>
                        <a:pt x="1" y="0"/>
                      </a:cubicBezTo>
                      <a:cubicBezTo>
                        <a:pt x="3" y="0"/>
                        <a:pt x="5" y="0"/>
                        <a:pt x="7" y="0"/>
                      </a:cubicBezTo>
                      <a:cubicBezTo>
                        <a:pt x="7"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85"/>
                <p:cNvSpPr>
                  <a:spLocks/>
                </p:cNvSpPr>
                <p:nvPr/>
              </p:nvSpPr>
              <p:spPr bwMode="auto">
                <a:xfrm>
                  <a:off x="2679701" y="4108450"/>
                  <a:ext cx="661988" cy="620713"/>
                </a:xfrm>
                <a:custGeom>
                  <a:avLst/>
                  <a:gdLst>
                    <a:gd name="T0" fmla="*/ 685 w 875"/>
                    <a:gd name="T1" fmla="*/ 812 h 823"/>
                    <a:gd name="T2" fmla="*/ 688 w 875"/>
                    <a:gd name="T3" fmla="*/ 801 h 823"/>
                    <a:gd name="T4" fmla="*/ 700 w 875"/>
                    <a:gd name="T5" fmla="*/ 785 h 823"/>
                    <a:gd name="T6" fmla="*/ 719 w 875"/>
                    <a:gd name="T7" fmla="*/ 766 h 823"/>
                    <a:gd name="T8" fmla="*/ 757 w 875"/>
                    <a:gd name="T9" fmla="*/ 747 h 823"/>
                    <a:gd name="T10" fmla="*/ 788 w 875"/>
                    <a:gd name="T11" fmla="*/ 718 h 823"/>
                    <a:gd name="T12" fmla="*/ 810 w 875"/>
                    <a:gd name="T13" fmla="*/ 710 h 823"/>
                    <a:gd name="T14" fmla="*/ 845 w 875"/>
                    <a:gd name="T15" fmla="*/ 662 h 823"/>
                    <a:gd name="T16" fmla="*/ 842 w 875"/>
                    <a:gd name="T17" fmla="*/ 617 h 823"/>
                    <a:gd name="T18" fmla="*/ 813 w 875"/>
                    <a:gd name="T19" fmla="*/ 613 h 823"/>
                    <a:gd name="T20" fmla="*/ 790 w 875"/>
                    <a:gd name="T21" fmla="*/ 620 h 823"/>
                    <a:gd name="T22" fmla="*/ 786 w 875"/>
                    <a:gd name="T23" fmla="*/ 593 h 823"/>
                    <a:gd name="T24" fmla="*/ 736 w 875"/>
                    <a:gd name="T25" fmla="*/ 575 h 823"/>
                    <a:gd name="T26" fmla="*/ 697 w 875"/>
                    <a:gd name="T27" fmla="*/ 564 h 823"/>
                    <a:gd name="T28" fmla="*/ 657 w 875"/>
                    <a:gd name="T29" fmla="*/ 560 h 823"/>
                    <a:gd name="T30" fmla="*/ 648 w 875"/>
                    <a:gd name="T31" fmla="*/ 556 h 823"/>
                    <a:gd name="T32" fmla="*/ 576 w 875"/>
                    <a:gd name="T33" fmla="*/ 576 h 823"/>
                    <a:gd name="T34" fmla="*/ 543 w 875"/>
                    <a:gd name="T35" fmla="*/ 540 h 823"/>
                    <a:gd name="T36" fmla="*/ 515 w 875"/>
                    <a:gd name="T37" fmla="*/ 507 h 823"/>
                    <a:gd name="T38" fmla="*/ 466 w 875"/>
                    <a:gd name="T39" fmla="*/ 517 h 823"/>
                    <a:gd name="T40" fmla="*/ 430 w 875"/>
                    <a:gd name="T41" fmla="*/ 463 h 823"/>
                    <a:gd name="T42" fmla="*/ 491 w 875"/>
                    <a:gd name="T43" fmla="*/ 435 h 823"/>
                    <a:gd name="T44" fmla="*/ 561 w 875"/>
                    <a:gd name="T45" fmla="*/ 464 h 823"/>
                    <a:gd name="T46" fmla="*/ 571 w 875"/>
                    <a:gd name="T47" fmla="*/ 410 h 823"/>
                    <a:gd name="T48" fmla="*/ 617 w 875"/>
                    <a:gd name="T49" fmla="*/ 360 h 823"/>
                    <a:gd name="T50" fmla="*/ 655 w 875"/>
                    <a:gd name="T51" fmla="*/ 320 h 823"/>
                    <a:gd name="T52" fmla="*/ 553 w 875"/>
                    <a:gd name="T53" fmla="*/ 318 h 823"/>
                    <a:gd name="T54" fmla="*/ 576 w 875"/>
                    <a:gd name="T55" fmla="*/ 281 h 823"/>
                    <a:gd name="T56" fmla="*/ 542 w 875"/>
                    <a:gd name="T57" fmla="*/ 274 h 823"/>
                    <a:gd name="T58" fmla="*/ 502 w 875"/>
                    <a:gd name="T59" fmla="*/ 307 h 823"/>
                    <a:gd name="T60" fmla="*/ 504 w 875"/>
                    <a:gd name="T61" fmla="*/ 252 h 823"/>
                    <a:gd name="T62" fmla="*/ 476 w 875"/>
                    <a:gd name="T63" fmla="*/ 243 h 823"/>
                    <a:gd name="T64" fmla="*/ 16 w 875"/>
                    <a:gd name="T65" fmla="*/ 22 h 823"/>
                    <a:gd name="T66" fmla="*/ 6 w 875"/>
                    <a:gd name="T67" fmla="*/ 60 h 823"/>
                    <a:gd name="T68" fmla="*/ 14 w 875"/>
                    <a:gd name="T69" fmla="*/ 85 h 823"/>
                    <a:gd name="T70" fmla="*/ 34 w 875"/>
                    <a:gd name="T71" fmla="*/ 82 h 823"/>
                    <a:gd name="T72" fmla="*/ 23 w 875"/>
                    <a:gd name="T73" fmla="*/ 123 h 823"/>
                    <a:gd name="T74" fmla="*/ 50 w 875"/>
                    <a:gd name="T75" fmla="*/ 75 h 823"/>
                    <a:gd name="T76" fmla="*/ 58 w 875"/>
                    <a:gd name="T77" fmla="*/ 61 h 823"/>
                    <a:gd name="T78" fmla="*/ 84 w 875"/>
                    <a:gd name="T79" fmla="*/ 54 h 823"/>
                    <a:gd name="T80" fmla="*/ 128 w 875"/>
                    <a:gd name="T81" fmla="*/ 73 h 823"/>
                    <a:gd name="T82" fmla="*/ 144 w 875"/>
                    <a:gd name="T83" fmla="*/ 101 h 823"/>
                    <a:gd name="T84" fmla="*/ 159 w 875"/>
                    <a:gd name="T85" fmla="*/ 136 h 823"/>
                    <a:gd name="T86" fmla="*/ 179 w 875"/>
                    <a:gd name="T87" fmla="*/ 174 h 823"/>
                    <a:gd name="T88" fmla="*/ 206 w 875"/>
                    <a:gd name="T89" fmla="*/ 235 h 823"/>
                    <a:gd name="T90" fmla="*/ 221 w 875"/>
                    <a:gd name="T91" fmla="*/ 330 h 823"/>
                    <a:gd name="T92" fmla="*/ 307 w 875"/>
                    <a:gd name="T93" fmla="*/ 445 h 823"/>
                    <a:gd name="T94" fmla="*/ 323 w 875"/>
                    <a:gd name="T95" fmla="*/ 456 h 823"/>
                    <a:gd name="T96" fmla="*/ 304 w 875"/>
                    <a:gd name="T97" fmla="*/ 419 h 823"/>
                    <a:gd name="T98" fmla="*/ 367 w 875"/>
                    <a:gd name="T99" fmla="*/ 497 h 823"/>
                    <a:gd name="T100" fmla="*/ 472 w 875"/>
                    <a:gd name="T101" fmla="*/ 539 h 823"/>
                    <a:gd name="T102" fmla="*/ 527 w 875"/>
                    <a:gd name="T103" fmla="*/ 579 h 823"/>
                    <a:gd name="T104" fmla="*/ 593 w 875"/>
                    <a:gd name="T105" fmla="*/ 595 h 823"/>
                    <a:gd name="T106" fmla="*/ 570 w 875"/>
                    <a:gd name="T107" fmla="*/ 626 h 823"/>
                    <a:gd name="T108" fmla="*/ 571 w 875"/>
                    <a:gd name="T109" fmla="*/ 644 h 823"/>
                    <a:gd name="T110" fmla="*/ 588 w 875"/>
                    <a:gd name="T111" fmla="*/ 685 h 823"/>
                    <a:gd name="T112" fmla="*/ 625 w 875"/>
                    <a:gd name="T113" fmla="*/ 708 h 823"/>
                    <a:gd name="T114" fmla="*/ 643 w 875"/>
                    <a:gd name="T115" fmla="*/ 731 h 823"/>
                    <a:gd name="T116" fmla="*/ 639 w 875"/>
                    <a:gd name="T117" fmla="*/ 754 h 823"/>
                    <a:gd name="T118" fmla="*/ 638 w 875"/>
                    <a:gd name="T119" fmla="*/ 786 h 823"/>
                    <a:gd name="T120" fmla="*/ 650 w 875"/>
                    <a:gd name="T121" fmla="*/ 807 h 823"/>
                    <a:gd name="T122" fmla="*/ 651 w 875"/>
                    <a:gd name="T123" fmla="*/ 812 h 823"/>
                    <a:gd name="T124" fmla="*/ 658 w 875"/>
                    <a:gd name="T125" fmla="*/ 821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5" h="823">
                      <a:moveTo>
                        <a:pt x="687" y="822"/>
                      </a:moveTo>
                      <a:cubicBezTo>
                        <a:pt x="685" y="822"/>
                        <a:pt x="683" y="822"/>
                        <a:pt x="683" y="822"/>
                      </a:cubicBezTo>
                      <a:cubicBezTo>
                        <a:pt x="683" y="821"/>
                        <a:pt x="686" y="821"/>
                        <a:pt x="686" y="821"/>
                      </a:cubicBezTo>
                      <a:cubicBezTo>
                        <a:pt x="686" y="821"/>
                        <a:pt x="684" y="820"/>
                        <a:pt x="683" y="820"/>
                      </a:cubicBezTo>
                      <a:cubicBezTo>
                        <a:pt x="683" y="820"/>
                        <a:pt x="682" y="819"/>
                        <a:pt x="682" y="819"/>
                      </a:cubicBezTo>
                      <a:cubicBezTo>
                        <a:pt x="681" y="818"/>
                        <a:pt x="679" y="817"/>
                        <a:pt x="682" y="816"/>
                      </a:cubicBezTo>
                      <a:cubicBezTo>
                        <a:pt x="683" y="816"/>
                        <a:pt x="684" y="816"/>
                        <a:pt x="685" y="815"/>
                      </a:cubicBezTo>
                      <a:cubicBezTo>
                        <a:pt x="685" y="815"/>
                        <a:pt x="685" y="814"/>
                        <a:pt x="685" y="814"/>
                      </a:cubicBezTo>
                      <a:cubicBezTo>
                        <a:pt x="685" y="813"/>
                        <a:pt x="685" y="813"/>
                        <a:pt x="685" y="812"/>
                      </a:cubicBezTo>
                      <a:cubicBezTo>
                        <a:pt x="685" y="812"/>
                        <a:pt x="685" y="812"/>
                        <a:pt x="686" y="812"/>
                      </a:cubicBezTo>
                      <a:cubicBezTo>
                        <a:pt x="687" y="811"/>
                        <a:pt x="687" y="811"/>
                        <a:pt x="688" y="811"/>
                      </a:cubicBezTo>
                      <a:cubicBezTo>
                        <a:pt x="689" y="810"/>
                        <a:pt x="690" y="810"/>
                        <a:pt x="691" y="809"/>
                      </a:cubicBezTo>
                      <a:cubicBezTo>
                        <a:pt x="692" y="809"/>
                        <a:pt x="692" y="808"/>
                        <a:pt x="691" y="807"/>
                      </a:cubicBezTo>
                      <a:cubicBezTo>
                        <a:pt x="691" y="807"/>
                        <a:pt x="689" y="807"/>
                        <a:pt x="687" y="807"/>
                      </a:cubicBezTo>
                      <a:cubicBezTo>
                        <a:pt x="686" y="807"/>
                        <a:pt x="683" y="807"/>
                        <a:pt x="682" y="806"/>
                      </a:cubicBezTo>
                      <a:cubicBezTo>
                        <a:pt x="681" y="806"/>
                        <a:pt x="680" y="804"/>
                        <a:pt x="681" y="803"/>
                      </a:cubicBezTo>
                      <a:cubicBezTo>
                        <a:pt x="682" y="803"/>
                        <a:pt x="682" y="802"/>
                        <a:pt x="683" y="802"/>
                      </a:cubicBezTo>
                      <a:cubicBezTo>
                        <a:pt x="685" y="801"/>
                        <a:pt x="686" y="801"/>
                        <a:pt x="688" y="801"/>
                      </a:cubicBezTo>
                      <a:cubicBezTo>
                        <a:pt x="690" y="800"/>
                        <a:pt x="689" y="798"/>
                        <a:pt x="689" y="797"/>
                      </a:cubicBezTo>
                      <a:cubicBezTo>
                        <a:pt x="689" y="796"/>
                        <a:pt x="691" y="796"/>
                        <a:pt x="691" y="795"/>
                      </a:cubicBezTo>
                      <a:cubicBezTo>
                        <a:pt x="692" y="794"/>
                        <a:pt x="689" y="795"/>
                        <a:pt x="690" y="794"/>
                      </a:cubicBezTo>
                      <a:cubicBezTo>
                        <a:pt x="690" y="793"/>
                        <a:pt x="691" y="793"/>
                        <a:pt x="689" y="792"/>
                      </a:cubicBezTo>
                      <a:cubicBezTo>
                        <a:pt x="688" y="792"/>
                        <a:pt x="688" y="791"/>
                        <a:pt x="687" y="790"/>
                      </a:cubicBezTo>
                      <a:cubicBezTo>
                        <a:pt x="687" y="790"/>
                        <a:pt x="686" y="788"/>
                        <a:pt x="689" y="788"/>
                      </a:cubicBezTo>
                      <a:cubicBezTo>
                        <a:pt x="690" y="789"/>
                        <a:pt x="692" y="789"/>
                        <a:pt x="693" y="789"/>
                      </a:cubicBezTo>
                      <a:cubicBezTo>
                        <a:pt x="696" y="789"/>
                        <a:pt x="702" y="788"/>
                        <a:pt x="699" y="786"/>
                      </a:cubicBezTo>
                      <a:cubicBezTo>
                        <a:pt x="699" y="786"/>
                        <a:pt x="699" y="786"/>
                        <a:pt x="700" y="785"/>
                      </a:cubicBezTo>
                      <a:cubicBezTo>
                        <a:pt x="701" y="785"/>
                        <a:pt x="701" y="784"/>
                        <a:pt x="701" y="784"/>
                      </a:cubicBezTo>
                      <a:cubicBezTo>
                        <a:pt x="701" y="783"/>
                        <a:pt x="700" y="782"/>
                        <a:pt x="702" y="781"/>
                      </a:cubicBezTo>
                      <a:cubicBezTo>
                        <a:pt x="703" y="781"/>
                        <a:pt x="705" y="781"/>
                        <a:pt x="707" y="781"/>
                      </a:cubicBezTo>
                      <a:cubicBezTo>
                        <a:pt x="709" y="781"/>
                        <a:pt x="711" y="780"/>
                        <a:pt x="713" y="780"/>
                      </a:cubicBezTo>
                      <a:cubicBezTo>
                        <a:pt x="717" y="779"/>
                        <a:pt x="721" y="778"/>
                        <a:pt x="723" y="776"/>
                      </a:cubicBezTo>
                      <a:cubicBezTo>
                        <a:pt x="725" y="775"/>
                        <a:pt x="728" y="773"/>
                        <a:pt x="728" y="771"/>
                      </a:cubicBezTo>
                      <a:cubicBezTo>
                        <a:pt x="728" y="770"/>
                        <a:pt x="726" y="770"/>
                        <a:pt x="725" y="770"/>
                      </a:cubicBezTo>
                      <a:cubicBezTo>
                        <a:pt x="724" y="769"/>
                        <a:pt x="725" y="768"/>
                        <a:pt x="725" y="768"/>
                      </a:cubicBezTo>
                      <a:cubicBezTo>
                        <a:pt x="724" y="766"/>
                        <a:pt x="721" y="767"/>
                        <a:pt x="719" y="766"/>
                      </a:cubicBezTo>
                      <a:cubicBezTo>
                        <a:pt x="717" y="766"/>
                        <a:pt x="717" y="763"/>
                        <a:pt x="719" y="764"/>
                      </a:cubicBezTo>
                      <a:cubicBezTo>
                        <a:pt x="720" y="764"/>
                        <a:pt x="721" y="764"/>
                        <a:pt x="724" y="764"/>
                      </a:cubicBezTo>
                      <a:cubicBezTo>
                        <a:pt x="726" y="764"/>
                        <a:pt x="726" y="765"/>
                        <a:pt x="728" y="765"/>
                      </a:cubicBezTo>
                      <a:cubicBezTo>
                        <a:pt x="733" y="765"/>
                        <a:pt x="738" y="764"/>
                        <a:pt x="742" y="762"/>
                      </a:cubicBezTo>
                      <a:cubicBezTo>
                        <a:pt x="743" y="761"/>
                        <a:pt x="743" y="760"/>
                        <a:pt x="745" y="759"/>
                      </a:cubicBezTo>
                      <a:cubicBezTo>
                        <a:pt x="747" y="759"/>
                        <a:pt x="748" y="758"/>
                        <a:pt x="749" y="757"/>
                      </a:cubicBezTo>
                      <a:cubicBezTo>
                        <a:pt x="750" y="756"/>
                        <a:pt x="750" y="754"/>
                        <a:pt x="751" y="753"/>
                      </a:cubicBezTo>
                      <a:cubicBezTo>
                        <a:pt x="753" y="752"/>
                        <a:pt x="752" y="751"/>
                        <a:pt x="753" y="750"/>
                      </a:cubicBezTo>
                      <a:cubicBezTo>
                        <a:pt x="754" y="749"/>
                        <a:pt x="756" y="748"/>
                        <a:pt x="757" y="747"/>
                      </a:cubicBezTo>
                      <a:cubicBezTo>
                        <a:pt x="758" y="746"/>
                        <a:pt x="759" y="745"/>
                        <a:pt x="761" y="745"/>
                      </a:cubicBezTo>
                      <a:cubicBezTo>
                        <a:pt x="761" y="746"/>
                        <a:pt x="760" y="747"/>
                        <a:pt x="761" y="746"/>
                      </a:cubicBezTo>
                      <a:cubicBezTo>
                        <a:pt x="763" y="746"/>
                        <a:pt x="762" y="745"/>
                        <a:pt x="763" y="744"/>
                      </a:cubicBezTo>
                      <a:cubicBezTo>
                        <a:pt x="763" y="743"/>
                        <a:pt x="765" y="742"/>
                        <a:pt x="766" y="741"/>
                      </a:cubicBezTo>
                      <a:cubicBezTo>
                        <a:pt x="767" y="740"/>
                        <a:pt x="768" y="739"/>
                        <a:pt x="769" y="739"/>
                      </a:cubicBezTo>
                      <a:cubicBezTo>
                        <a:pt x="774" y="736"/>
                        <a:pt x="773" y="734"/>
                        <a:pt x="773" y="731"/>
                      </a:cubicBezTo>
                      <a:cubicBezTo>
                        <a:pt x="774" y="730"/>
                        <a:pt x="774" y="729"/>
                        <a:pt x="775" y="727"/>
                      </a:cubicBezTo>
                      <a:cubicBezTo>
                        <a:pt x="775" y="726"/>
                        <a:pt x="776" y="725"/>
                        <a:pt x="778" y="724"/>
                      </a:cubicBezTo>
                      <a:cubicBezTo>
                        <a:pt x="780" y="722"/>
                        <a:pt x="784" y="720"/>
                        <a:pt x="788" y="718"/>
                      </a:cubicBezTo>
                      <a:cubicBezTo>
                        <a:pt x="790" y="717"/>
                        <a:pt x="791" y="717"/>
                        <a:pt x="793" y="717"/>
                      </a:cubicBezTo>
                      <a:cubicBezTo>
                        <a:pt x="794" y="717"/>
                        <a:pt x="794" y="715"/>
                        <a:pt x="795" y="715"/>
                      </a:cubicBezTo>
                      <a:cubicBezTo>
                        <a:pt x="796" y="714"/>
                        <a:pt x="797" y="713"/>
                        <a:pt x="799" y="712"/>
                      </a:cubicBezTo>
                      <a:cubicBezTo>
                        <a:pt x="799" y="712"/>
                        <a:pt x="800" y="711"/>
                        <a:pt x="801" y="711"/>
                      </a:cubicBezTo>
                      <a:cubicBezTo>
                        <a:pt x="802" y="711"/>
                        <a:pt x="801" y="712"/>
                        <a:pt x="801" y="712"/>
                      </a:cubicBezTo>
                      <a:cubicBezTo>
                        <a:pt x="802" y="712"/>
                        <a:pt x="803" y="711"/>
                        <a:pt x="805" y="711"/>
                      </a:cubicBezTo>
                      <a:cubicBezTo>
                        <a:pt x="806" y="711"/>
                        <a:pt x="806" y="711"/>
                        <a:pt x="807" y="710"/>
                      </a:cubicBezTo>
                      <a:cubicBezTo>
                        <a:pt x="808" y="709"/>
                        <a:pt x="807" y="710"/>
                        <a:pt x="807" y="711"/>
                      </a:cubicBezTo>
                      <a:cubicBezTo>
                        <a:pt x="807" y="711"/>
                        <a:pt x="809" y="710"/>
                        <a:pt x="810" y="710"/>
                      </a:cubicBezTo>
                      <a:cubicBezTo>
                        <a:pt x="813" y="709"/>
                        <a:pt x="813" y="708"/>
                        <a:pt x="815" y="706"/>
                      </a:cubicBezTo>
                      <a:cubicBezTo>
                        <a:pt x="817" y="705"/>
                        <a:pt x="819" y="705"/>
                        <a:pt x="820" y="704"/>
                      </a:cubicBezTo>
                      <a:cubicBezTo>
                        <a:pt x="821" y="702"/>
                        <a:pt x="820" y="701"/>
                        <a:pt x="822" y="700"/>
                      </a:cubicBezTo>
                      <a:cubicBezTo>
                        <a:pt x="823" y="699"/>
                        <a:pt x="824" y="698"/>
                        <a:pt x="825" y="697"/>
                      </a:cubicBezTo>
                      <a:cubicBezTo>
                        <a:pt x="828" y="694"/>
                        <a:pt x="831" y="692"/>
                        <a:pt x="830" y="690"/>
                      </a:cubicBezTo>
                      <a:cubicBezTo>
                        <a:pt x="830" y="688"/>
                        <a:pt x="832" y="687"/>
                        <a:pt x="834" y="685"/>
                      </a:cubicBezTo>
                      <a:cubicBezTo>
                        <a:pt x="836" y="682"/>
                        <a:pt x="837" y="679"/>
                        <a:pt x="838" y="677"/>
                      </a:cubicBezTo>
                      <a:cubicBezTo>
                        <a:pt x="839" y="674"/>
                        <a:pt x="838" y="672"/>
                        <a:pt x="838" y="670"/>
                      </a:cubicBezTo>
                      <a:cubicBezTo>
                        <a:pt x="838" y="668"/>
                        <a:pt x="841" y="661"/>
                        <a:pt x="845" y="662"/>
                      </a:cubicBezTo>
                      <a:cubicBezTo>
                        <a:pt x="848" y="662"/>
                        <a:pt x="853" y="654"/>
                        <a:pt x="854" y="653"/>
                      </a:cubicBezTo>
                      <a:cubicBezTo>
                        <a:pt x="855" y="650"/>
                        <a:pt x="859" y="648"/>
                        <a:pt x="861" y="646"/>
                      </a:cubicBezTo>
                      <a:cubicBezTo>
                        <a:pt x="864" y="643"/>
                        <a:pt x="867" y="640"/>
                        <a:pt x="870" y="637"/>
                      </a:cubicBezTo>
                      <a:cubicBezTo>
                        <a:pt x="875" y="632"/>
                        <a:pt x="874" y="627"/>
                        <a:pt x="874" y="622"/>
                      </a:cubicBezTo>
                      <a:cubicBezTo>
                        <a:pt x="874" y="618"/>
                        <a:pt x="866" y="623"/>
                        <a:pt x="863" y="621"/>
                      </a:cubicBezTo>
                      <a:cubicBezTo>
                        <a:pt x="862" y="619"/>
                        <a:pt x="859" y="619"/>
                        <a:pt x="856" y="618"/>
                      </a:cubicBezTo>
                      <a:cubicBezTo>
                        <a:pt x="855" y="617"/>
                        <a:pt x="853" y="615"/>
                        <a:pt x="850" y="615"/>
                      </a:cubicBezTo>
                      <a:cubicBezTo>
                        <a:pt x="849" y="615"/>
                        <a:pt x="848" y="615"/>
                        <a:pt x="847" y="615"/>
                      </a:cubicBezTo>
                      <a:cubicBezTo>
                        <a:pt x="845" y="616"/>
                        <a:pt x="843" y="617"/>
                        <a:pt x="842" y="617"/>
                      </a:cubicBezTo>
                      <a:cubicBezTo>
                        <a:pt x="840" y="618"/>
                        <a:pt x="839" y="618"/>
                        <a:pt x="838" y="617"/>
                      </a:cubicBezTo>
                      <a:cubicBezTo>
                        <a:pt x="837" y="617"/>
                        <a:pt x="836" y="618"/>
                        <a:pt x="835" y="618"/>
                      </a:cubicBezTo>
                      <a:cubicBezTo>
                        <a:pt x="833" y="618"/>
                        <a:pt x="832" y="617"/>
                        <a:pt x="829" y="617"/>
                      </a:cubicBezTo>
                      <a:cubicBezTo>
                        <a:pt x="826" y="617"/>
                        <a:pt x="824" y="621"/>
                        <a:pt x="821" y="621"/>
                      </a:cubicBezTo>
                      <a:cubicBezTo>
                        <a:pt x="821" y="621"/>
                        <a:pt x="820" y="620"/>
                        <a:pt x="821" y="620"/>
                      </a:cubicBezTo>
                      <a:cubicBezTo>
                        <a:pt x="822" y="619"/>
                        <a:pt x="823" y="618"/>
                        <a:pt x="823" y="617"/>
                      </a:cubicBezTo>
                      <a:cubicBezTo>
                        <a:pt x="822" y="616"/>
                        <a:pt x="820" y="614"/>
                        <a:pt x="818" y="614"/>
                      </a:cubicBezTo>
                      <a:cubicBezTo>
                        <a:pt x="817" y="613"/>
                        <a:pt x="816" y="614"/>
                        <a:pt x="815" y="613"/>
                      </a:cubicBezTo>
                      <a:cubicBezTo>
                        <a:pt x="815" y="613"/>
                        <a:pt x="814" y="612"/>
                        <a:pt x="813" y="613"/>
                      </a:cubicBezTo>
                      <a:cubicBezTo>
                        <a:pt x="811" y="613"/>
                        <a:pt x="810" y="613"/>
                        <a:pt x="809" y="613"/>
                      </a:cubicBezTo>
                      <a:cubicBezTo>
                        <a:pt x="808" y="613"/>
                        <a:pt x="807" y="612"/>
                        <a:pt x="806" y="612"/>
                      </a:cubicBezTo>
                      <a:cubicBezTo>
                        <a:pt x="800" y="613"/>
                        <a:pt x="799" y="617"/>
                        <a:pt x="795" y="619"/>
                      </a:cubicBezTo>
                      <a:cubicBezTo>
                        <a:pt x="794" y="620"/>
                        <a:pt x="796" y="616"/>
                        <a:pt x="796" y="616"/>
                      </a:cubicBezTo>
                      <a:cubicBezTo>
                        <a:pt x="797" y="615"/>
                        <a:pt x="800" y="613"/>
                        <a:pt x="799" y="612"/>
                      </a:cubicBezTo>
                      <a:cubicBezTo>
                        <a:pt x="799" y="611"/>
                        <a:pt x="794" y="613"/>
                        <a:pt x="792" y="613"/>
                      </a:cubicBezTo>
                      <a:cubicBezTo>
                        <a:pt x="790" y="612"/>
                        <a:pt x="786" y="612"/>
                        <a:pt x="784" y="615"/>
                      </a:cubicBezTo>
                      <a:cubicBezTo>
                        <a:pt x="783" y="617"/>
                        <a:pt x="782" y="620"/>
                        <a:pt x="783" y="621"/>
                      </a:cubicBezTo>
                      <a:cubicBezTo>
                        <a:pt x="784" y="623"/>
                        <a:pt x="787" y="621"/>
                        <a:pt x="790" y="620"/>
                      </a:cubicBezTo>
                      <a:cubicBezTo>
                        <a:pt x="792" y="620"/>
                        <a:pt x="793" y="621"/>
                        <a:pt x="791" y="621"/>
                      </a:cubicBezTo>
                      <a:cubicBezTo>
                        <a:pt x="789" y="622"/>
                        <a:pt x="783" y="623"/>
                        <a:pt x="782" y="623"/>
                      </a:cubicBezTo>
                      <a:cubicBezTo>
                        <a:pt x="781" y="623"/>
                        <a:pt x="782" y="618"/>
                        <a:pt x="780" y="619"/>
                      </a:cubicBezTo>
                      <a:cubicBezTo>
                        <a:pt x="778" y="620"/>
                        <a:pt x="775" y="623"/>
                        <a:pt x="772" y="623"/>
                      </a:cubicBezTo>
                      <a:cubicBezTo>
                        <a:pt x="773" y="623"/>
                        <a:pt x="779" y="616"/>
                        <a:pt x="779" y="615"/>
                      </a:cubicBezTo>
                      <a:cubicBezTo>
                        <a:pt x="781" y="614"/>
                        <a:pt x="783" y="613"/>
                        <a:pt x="785" y="612"/>
                      </a:cubicBezTo>
                      <a:cubicBezTo>
                        <a:pt x="787" y="610"/>
                        <a:pt x="788" y="609"/>
                        <a:pt x="790" y="607"/>
                      </a:cubicBezTo>
                      <a:cubicBezTo>
                        <a:pt x="793" y="602"/>
                        <a:pt x="789" y="601"/>
                        <a:pt x="787" y="599"/>
                      </a:cubicBezTo>
                      <a:cubicBezTo>
                        <a:pt x="786" y="597"/>
                        <a:pt x="786" y="595"/>
                        <a:pt x="786" y="593"/>
                      </a:cubicBezTo>
                      <a:cubicBezTo>
                        <a:pt x="786" y="590"/>
                        <a:pt x="785" y="590"/>
                        <a:pt x="784" y="588"/>
                      </a:cubicBezTo>
                      <a:cubicBezTo>
                        <a:pt x="782" y="587"/>
                        <a:pt x="780" y="586"/>
                        <a:pt x="777" y="585"/>
                      </a:cubicBezTo>
                      <a:cubicBezTo>
                        <a:pt x="775" y="584"/>
                        <a:pt x="773" y="583"/>
                        <a:pt x="771" y="583"/>
                      </a:cubicBezTo>
                      <a:cubicBezTo>
                        <a:pt x="766" y="582"/>
                        <a:pt x="761" y="583"/>
                        <a:pt x="755" y="585"/>
                      </a:cubicBezTo>
                      <a:cubicBezTo>
                        <a:pt x="754" y="585"/>
                        <a:pt x="749" y="586"/>
                        <a:pt x="748" y="585"/>
                      </a:cubicBezTo>
                      <a:cubicBezTo>
                        <a:pt x="747" y="584"/>
                        <a:pt x="747" y="583"/>
                        <a:pt x="746" y="583"/>
                      </a:cubicBezTo>
                      <a:cubicBezTo>
                        <a:pt x="745" y="582"/>
                        <a:pt x="739" y="579"/>
                        <a:pt x="738" y="582"/>
                      </a:cubicBezTo>
                      <a:cubicBezTo>
                        <a:pt x="738" y="582"/>
                        <a:pt x="739" y="579"/>
                        <a:pt x="739" y="579"/>
                      </a:cubicBezTo>
                      <a:cubicBezTo>
                        <a:pt x="739" y="578"/>
                        <a:pt x="737" y="576"/>
                        <a:pt x="736" y="575"/>
                      </a:cubicBezTo>
                      <a:cubicBezTo>
                        <a:pt x="734" y="572"/>
                        <a:pt x="729" y="570"/>
                        <a:pt x="724" y="572"/>
                      </a:cubicBezTo>
                      <a:cubicBezTo>
                        <a:pt x="723" y="572"/>
                        <a:pt x="718" y="574"/>
                        <a:pt x="720" y="572"/>
                      </a:cubicBezTo>
                      <a:cubicBezTo>
                        <a:pt x="721" y="571"/>
                        <a:pt x="726" y="570"/>
                        <a:pt x="724" y="568"/>
                      </a:cubicBezTo>
                      <a:cubicBezTo>
                        <a:pt x="724" y="567"/>
                        <a:pt x="722" y="567"/>
                        <a:pt x="721" y="566"/>
                      </a:cubicBezTo>
                      <a:cubicBezTo>
                        <a:pt x="719" y="565"/>
                        <a:pt x="718" y="565"/>
                        <a:pt x="718" y="567"/>
                      </a:cubicBezTo>
                      <a:cubicBezTo>
                        <a:pt x="716" y="566"/>
                        <a:pt x="715" y="565"/>
                        <a:pt x="713" y="565"/>
                      </a:cubicBezTo>
                      <a:cubicBezTo>
                        <a:pt x="710" y="564"/>
                        <a:pt x="713" y="563"/>
                        <a:pt x="711" y="562"/>
                      </a:cubicBezTo>
                      <a:cubicBezTo>
                        <a:pt x="709" y="562"/>
                        <a:pt x="710" y="557"/>
                        <a:pt x="705" y="560"/>
                      </a:cubicBezTo>
                      <a:cubicBezTo>
                        <a:pt x="702" y="563"/>
                        <a:pt x="699" y="561"/>
                        <a:pt x="697" y="564"/>
                      </a:cubicBezTo>
                      <a:cubicBezTo>
                        <a:pt x="695" y="565"/>
                        <a:pt x="692" y="566"/>
                        <a:pt x="689" y="566"/>
                      </a:cubicBezTo>
                      <a:cubicBezTo>
                        <a:pt x="687" y="566"/>
                        <a:pt x="687" y="564"/>
                        <a:pt x="685" y="564"/>
                      </a:cubicBezTo>
                      <a:cubicBezTo>
                        <a:pt x="682" y="562"/>
                        <a:pt x="675" y="564"/>
                        <a:pt x="671" y="565"/>
                      </a:cubicBezTo>
                      <a:cubicBezTo>
                        <a:pt x="668" y="565"/>
                        <a:pt x="668" y="563"/>
                        <a:pt x="668" y="561"/>
                      </a:cubicBezTo>
                      <a:cubicBezTo>
                        <a:pt x="668" y="560"/>
                        <a:pt x="667" y="559"/>
                        <a:pt x="664" y="559"/>
                      </a:cubicBezTo>
                      <a:cubicBezTo>
                        <a:pt x="663" y="559"/>
                        <a:pt x="661" y="559"/>
                        <a:pt x="659" y="559"/>
                      </a:cubicBezTo>
                      <a:cubicBezTo>
                        <a:pt x="657" y="559"/>
                        <a:pt x="659" y="558"/>
                        <a:pt x="659" y="557"/>
                      </a:cubicBezTo>
                      <a:cubicBezTo>
                        <a:pt x="658" y="556"/>
                        <a:pt x="655" y="554"/>
                        <a:pt x="654" y="556"/>
                      </a:cubicBezTo>
                      <a:cubicBezTo>
                        <a:pt x="654" y="558"/>
                        <a:pt x="656" y="558"/>
                        <a:pt x="657" y="560"/>
                      </a:cubicBezTo>
                      <a:cubicBezTo>
                        <a:pt x="653" y="561"/>
                        <a:pt x="648" y="561"/>
                        <a:pt x="645" y="563"/>
                      </a:cubicBezTo>
                      <a:cubicBezTo>
                        <a:pt x="642" y="565"/>
                        <a:pt x="644" y="568"/>
                        <a:pt x="645" y="570"/>
                      </a:cubicBezTo>
                      <a:cubicBezTo>
                        <a:pt x="646" y="571"/>
                        <a:pt x="646" y="572"/>
                        <a:pt x="645" y="573"/>
                      </a:cubicBezTo>
                      <a:cubicBezTo>
                        <a:pt x="644" y="574"/>
                        <a:pt x="642" y="577"/>
                        <a:pt x="641" y="576"/>
                      </a:cubicBezTo>
                      <a:cubicBezTo>
                        <a:pt x="640" y="575"/>
                        <a:pt x="640" y="574"/>
                        <a:pt x="639" y="574"/>
                      </a:cubicBezTo>
                      <a:cubicBezTo>
                        <a:pt x="638" y="573"/>
                        <a:pt x="636" y="573"/>
                        <a:pt x="636" y="572"/>
                      </a:cubicBezTo>
                      <a:cubicBezTo>
                        <a:pt x="636" y="570"/>
                        <a:pt x="641" y="569"/>
                        <a:pt x="642" y="567"/>
                      </a:cubicBezTo>
                      <a:cubicBezTo>
                        <a:pt x="643" y="565"/>
                        <a:pt x="639" y="562"/>
                        <a:pt x="641" y="560"/>
                      </a:cubicBezTo>
                      <a:cubicBezTo>
                        <a:pt x="642" y="558"/>
                        <a:pt x="647" y="559"/>
                        <a:pt x="648" y="556"/>
                      </a:cubicBezTo>
                      <a:cubicBezTo>
                        <a:pt x="649" y="553"/>
                        <a:pt x="643" y="554"/>
                        <a:pt x="641" y="556"/>
                      </a:cubicBezTo>
                      <a:cubicBezTo>
                        <a:pt x="636" y="559"/>
                        <a:pt x="630" y="561"/>
                        <a:pt x="623" y="562"/>
                      </a:cubicBezTo>
                      <a:cubicBezTo>
                        <a:pt x="621" y="563"/>
                        <a:pt x="621" y="566"/>
                        <a:pt x="619" y="565"/>
                      </a:cubicBezTo>
                      <a:cubicBezTo>
                        <a:pt x="618" y="565"/>
                        <a:pt x="618" y="564"/>
                        <a:pt x="616" y="564"/>
                      </a:cubicBezTo>
                      <a:cubicBezTo>
                        <a:pt x="615" y="564"/>
                        <a:pt x="614" y="566"/>
                        <a:pt x="613" y="566"/>
                      </a:cubicBezTo>
                      <a:cubicBezTo>
                        <a:pt x="608" y="569"/>
                        <a:pt x="611" y="574"/>
                        <a:pt x="605" y="576"/>
                      </a:cubicBezTo>
                      <a:cubicBezTo>
                        <a:pt x="602" y="578"/>
                        <a:pt x="601" y="580"/>
                        <a:pt x="598" y="581"/>
                      </a:cubicBezTo>
                      <a:cubicBezTo>
                        <a:pt x="597" y="582"/>
                        <a:pt x="591" y="578"/>
                        <a:pt x="591" y="578"/>
                      </a:cubicBezTo>
                      <a:cubicBezTo>
                        <a:pt x="587" y="577"/>
                        <a:pt x="581" y="574"/>
                        <a:pt x="576" y="576"/>
                      </a:cubicBezTo>
                      <a:cubicBezTo>
                        <a:pt x="572" y="577"/>
                        <a:pt x="569" y="579"/>
                        <a:pt x="563" y="579"/>
                      </a:cubicBezTo>
                      <a:cubicBezTo>
                        <a:pt x="561" y="579"/>
                        <a:pt x="559" y="579"/>
                        <a:pt x="557" y="578"/>
                      </a:cubicBezTo>
                      <a:cubicBezTo>
                        <a:pt x="554" y="577"/>
                        <a:pt x="554" y="576"/>
                        <a:pt x="553" y="575"/>
                      </a:cubicBezTo>
                      <a:cubicBezTo>
                        <a:pt x="551" y="574"/>
                        <a:pt x="548" y="573"/>
                        <a:pt x="547" y="571"/>
                      </a:cubicBezTo>
                      <a:cubicBezTo>
                        <a:pt x="547" y="569"/>
                        <a:pt x="547" y="566"/>
                        <a:pt x="547" y="564"/>
                      </a:cubicBezTo>
                      <a:cubicBezTo>
                        <a:pt x="547" y="562"/>
                        <a:pt x="549" y="560"/>
                        <a:pt x="549" y="557"/>
                      </a:cubicBezTo>
                      <a:cubicBezTo>
                        <a:pt x="550" y="555"/>
                        <a:pt x="550" y="552"/>
                        <a:pt x="551" y="550"/>
                      </a:cubicBezTo>
                      <a:cubicBezTo>
                        <a:pt x="551" y="548"/>
                        <a:pt x="553" y="540"/>
                        <a:pt x="548" y="540"/>
                      </a:cubicBezTo>
                      <a:cubicBezTo>
                        <a:pt x="546" y="540"/>
                        <a:pt x="544" y="541"/>
                        <a:pt x="543" y="540"/>
                      </a:cubicBezTo>
                      <a:cubicBezTo>
                        <a:pt x="542" y="539"/>
                        <a:pt x="542" y="538"/>
                        <a:pt x="541" y="537"/>
                      </a:cubicBezTo>
                      <a:cubicBezTo>
                        <a:pt x="540" y="536"/>
                        <a:pt x="536" y="536"/>
                        <a:pt x="534" y="536"/>
                      </a:cubicBezTo>
                      <a:cubicBezTo>
                        <a:pt x="530" y="536"/>
                        <a:pt x="527" y="538"/>
                        <a:pt x="523" y="537"/>
                      </a:cubicBezTo>
                      <a:cubicBezTo>
                        <a:pt x="520" y="535"/>
                        <a:pt x="516" y="538"/>
                        <a:pt x="512" y="537"/>
                      </a:cubicBezTo>
                      <a:cubicBezTo>
                        <a:pt x="507" y="537"/>
                        <a:pt x="507" y="530"/>
                        <a:pt x="505" y="528"/>
                      </a:cubicBezTo>
                      <a:cubicBezTo>
                        <a:pt x="503" y="527"/>
                        <a:pt x="502" y="527"/>
                        <a:pt x="501" y="525"/>
                      </a:cubicBezTo>
                      <a:cubicBezTo>
                        <a:pt x="501" y="524"/>
                        <a:pt x="504" y="523"/>
                        <a:pt x="506" y="523"/>
                      </a:cubicBezTo>
                      <a:cubicBezTo>
                        <a:pt x="511" y="522"/>
                        <a:pt x="513" y="518"/>
                        <a:pt x="513" y="513"/>
                      </a:cubicBezTo>
                      <a:cubicBezTo>
                        <a:pt x="513" y="511"/>
                        <a:pt x="513" y="509"/>
                        <a:pt x="515" y="507"/>
                      </a:cubicBezTo>
                      <a:cubicBezTo>
                        <a:pt x="516" y="506"/>
                        <a:pt x="517" y="505"/>
                        <a:pt x="518" y="503"/>
                      </a:cubicBezTo>
                      <a:cubicBezTo>
                        <a:pt x="519" y="498"/>
                        <a:pt x="506" y="499"/>
                        <a:pt x="502" y="500"/>
                      </a:cubicBezTo>
                      <a:cubicBezTo>
                        <a:pt x="498" y="501"/>
                        <a:pt x="489" y="499"/>
                        <a:pt x="488" y="503"/>
                      </a:cubicBezTo>
                      <a:cubicBezTo>
                        <a:pt x="488" y="506"/>
                        <a:pt x="488" y="509"/>
                        <a:pt x="486" y="511"/>
                      </a:cubicBezTo>
                      <a:cubicBezTo>
                        <a:pt x="484" y="513"/>
                        <a:pt x="483" y="513"/>
                        <a:pt x="483" y="515"/>
                      </a:cubicBezTo>
                      <a:cubicBezTo>
                        <a:pt x="484" y="516"/>
                        <a:pt x="484" y="518"/>
                        <a:pt x="481" y="518"/>
                      </a:cubicBezTo>
                      <a:cubicBezTo>
                        <a:pt x="478" y="519"/>
                        <a:pt x="478" y="517"/>
                        <a:pt x="475" y="516"/>
                      </a:cubicBezTo>
                      <a:cubicBezTo>
                        <a:pt x="474" y="516"/>
                        <a:pt x="473" y="517"/>
                        <a:pt x="472" y="517"/>
                      </a:cubicBezTo>
                      <a:cubicBezTo>
                        <a:pt x="470" y="517"/>
                        <a:pt x="468" y="517"/>
                        <a:pt x="466" y="517"/>
                      </a:cubicBezTo>
                      <a:cubicBezTo>
                        <a:pt x="463" y="516"/>
                        <a:pt x="462" y="517"/>
                        <a:pt x="460" y="518"/>
                      </a:cubicBezTo>
                      <a:cubicBezTo>
                        <a:pt x="459" y="519"/>
                        <a:pt x="455" y="517"/>
                        <a:pt x="454" y="516"/>
                      </a:cubicBezTo>
                      <a:cubicBezTo>
                        <a:pt x="451" y="515"/>
                        <a:pt x="449" y="516"/>
                        <a:pt x="446" y="514"/>
                      </a:cubicBezTo>
                      <a:cubicBezTo>
                        <a:pt x="444" y="512"/>
                        <a:pt x="444" y="509"/>
                        <a:pt x="442" y="507"/>
                      </a:cubicBezTo>
                      <a:cubicBezTo>
                        <a:pt x="440" y="505"/>
                        <a:pt x="438" y="503"/>
                        <a:pt x="436" y="500"/>
                      </a:cubicBezTo>
                      <a:cubicBezTo>
                        <a:pt x="435" y="498"/>
                        <a:pt x="435" y="496"/>
                        <a:pt x="433" y="494"/>
                      </a:cubicBezTo>
                      <a:cubicBezTo>
                        <a:pt x="432" y="492"/>
                        <a:pt x="430" y="492"/>
                        <a:pt x="429" y="490"/>
                      </a:cubicBezTo>
                      <a:cubicBezTo>
                        <a:pt x="429" y="486"/>
                        <a:pt x="427" y="483"/>
                        <a:pt x="427" y="480"/>
                      </a:cubicBezTo>
                      <a:cubicBezTo>
                        <a:pt x="427" y="474"/>
                        <a:pt x="431" y="469"/>
                        <a:pt x="430" y="463"/>
                      </a:cubicBezTo>
                      <a:cubicBezTo>
                        <a:pt x="429" y="460"/>
                        <a:pt x="427" y="459"/>
                        <a:pt x="426" y="456"/>
                      </a:cubicBezTo>
                      <a:cubicBezTo>
                        <a:pt x="425" y="454"/>
                        <a:pt x="426" y="451"/>
                        <a:pt x="426" y="449"/>
                      </a:cubicBezTo>
                      <a:cubicBezTo>
                        <a:pt x="427" y="443"/>
                        <a:pt x="430" y="442"/>
                        <a:pt x="436" y="440"/>
                      </a:cubicBezTo>
                      <a:cubicBezTo>
                        <a:pt x="439" y="439"/>
                        <a:pt x="442" y="437"/>
                        <a:pt x="445" y="437"/>
                      </a:cubicBezTo>
                      <a:cubicBezTo>
                        <a:pt x="446" y="436"/>
                        <a:pt x="447" y="436"/>
                        <a:pt x="448" y="436"/>
                      </a:cubicBezTo>
                      <a:cubicBezTo>
                        <a:pt x="449" y="435"/>
                        <a:pt x="449" y="434"/>
                        <a:pt x="450" y="433"/>
                      </a:cubicBezTo>
                      <a:cubicBezTo>
                        <a:pt x="455" y="431"/>
                        <a:pt x="464" y="436"/>
                        <a:pt x="469" y="434"/>
                      </a:cubicBezTo>
                      <a:cubicBezTo>
                        <a:pt x="476" y="431"/>
                        <a:pt x="477" y="437"/>
                        <a:pt x="483" y="439"/>
                      </a:cubicBezTo>
                      <a:cubicBezTo>
                        <a:pt x="488" y="441"/>
                        <a:pt x="486" y="435"/>
                        <a:pt x="491" y="435"/>
                      </a:cubicBezTo>
                      <a:cubicBezTo>
                        <a:pt x="498" y="436"/>
                        <a:pt x="489" y="430"/>
                        <a:pt x="489" y="428"/>
                      </a:cubicBezTo>
                      <a:cubicBezTo>
                        <a:pt x="490" y="427"/>
                        <a:pt x="502" y="429"/>
                        <a:pt x="503" y="430"/>
                      </a:cubicBezTo>
                      <a:cubicBezTo>
                        <a:pt x="510" y="430"/>
                        <a:pt x="517" y="428"/>
                        <a:pt x="523" y="433"/>
                      </a:cubicBezTo>
                      <a:cubicBezTo>
                        <a:pt x="527" y="435"/>
                        <a:pt x="534" y="438"/>
                        <a:pt x="538" y="434"/>
                      </a:cubicBezTo>
                      <a:cubicBezTo>
                        <a:pt x="542" y="429"/>
                        <a:pt x="545" y="435"/>
                        <a:pt x="548" y="439"/>
                      </a:cubicBezTo>
                      <a:cubicBezTo>
                        <a:pt x="550" y="441"/>
                        <a:pt x="548" y="444"/>
                        <a:pt x="549" y="446"/>
                      </a:cubicBezTo>
                      <a:cubicBezTo>
                        <a:pt x="550" y="449"/>
                        <a:pt x="551" y="450"/>
                        <a:pt x="552" y="453"/>
                      </a:cubicBezTo>
                      <a:cubicBezTo>
                        <a:pt x="552" y="456"/>
                        <a:pt x="553" y="458"/>
                        <a:pt x="556" y="459"/>
                      </a:cubicBezTo>
                      <a:cubicBezTo>
                        <a:pt x="558" y="460"/>
                        <a:pt x="560" y="462"/>
                        <a:pt x="561" y="464"/>
                      </a:cubicBezTo>
                      <a:cubicBezTo>
                        <a:pt x="562" y="467"/>
                        <a:pt x="563" y="471"/>
                        <a:pt x="566" y="473"/>
                      </a:cubicBezTo>
                      <a:cubicBezTo>
                        <a:pt x="568" y="474"/>
                        <a:pt x="570" y="472"/>
                        <a:pt x="571" y="470"/>
                      </a:cubicBezTo>
                      <a:cubicBezTo>
                        <a:pt x="574" y="468"/>
                        <a:pt x="573" y="466"/>
                        <a:pt x="573" y="464"/>
                      </a:cubicBezTo>
                      <a:cubicBezTo>
                        <a:pt x="573" y="458"/>
                        <a:pt x="573" y="453"/>
                        <a:pt x="570" y="448"/>
                      </a:cubicBezTo>
                      <a:cubicBezTo>
                        <a:pt x="568" y="447"/>
                        <a:pt x="569" y="444"/>
                        <a:pt x="568" y="442"/>
                      </a:cubicBezTo>
                      <a:cubicBezTo>
                        <a:pt x="567" y="438"/>
                        <a:pt x="564" y="436"/>
                        <a:pt x="563" y="432"/>
                      </a:cubicBezTo>
                      <a:cubicBezTo>
                        <a:pt x="562" y="429"/>
                        <a:pt x="561" y="426"/>
                        <a:pt x="562" y="424"/>
                      </a:cubicBezTo>
                      <a:cubicBezTo>
                        <a:pt x="564" y="421"/>
                        <a:pt x="564" y="419"/>
                        <a:pt x="564" y="416"/>
                      </a:cubicBezTo>
                      <a:cubicBezTo>
                        <a:pt x="565" y="413"/>
                        <a:pt x="568" y="412"/>
                        <a:pt x="571" y="410"/>
                      </a:cubicBezTo>
                      <a:cubicBezTo>
                        <a:pt x="573" y="409"/>
                        <a:pt x="578" y="408"/>
                        <a:pt x="580" y="406"/>
                      </a:cubicBezTo>
                      <a:cubicBezTo>
                        <a:pt x="584" y="401"/>
                        <a:pt x="591" y="400"/>
                        <a:pt x="596" y="396"/>
                      </a:cubicBezTo>
                      <a:cubicBezTo>
                        <a:pt x="598" y="395"/>
                        <a:pt x="601" y="393"/>
                        <a:pt x="604" y="392"/>
                      </a:cubicBezTo>
                      <a:cubicBezTo>
                        <a:pt x="605" y="391"/>
                        <a:pt x="609" y="391"/>
                        <a:pt x="608" y="388"/>
                      </a:cubicBezTo>
                      <a:cubicBezTo>
                        <a:pt x="606" y="382"/>
                        <a:pt x="613" y="384"/>
                        <a:pt x="615" y="379"/>
                      </a:cubicBezTo>
                      <a:cubicBezTo>
                        <a:pt x="618" y="373"/>
                        <a:pt x="611" y="371"/>
                        <a:pt x="611" y="366"/>
                      </a:cubicBezTo>
                      <a:cubicBezTo>
                        <a:pt x="611" y="363"/>
                        <a:pt x="612" y="360"/>
                        <a:pt x="611" y="358"/>
                      </a:cubicBezTo>
                      <a:cubicBezTo>
                        <a:pt x="611" y="357"/>
                        <a:pt x="608" y="350"/>
                        <a:pt x="611" y="350"/>
                      </a:cubicBezTo>
                      <a:cubicBezTo>
                        <a:pt x="614" y="350"/>
                        <a:pt x="612" y="360"/>
                        <a:pt x="617" y="360"/>
                      </a:cubicBezTo>
                      <a:cubicBezTo>
                        <a:pt x="619" y="360"/>
                        <a:pt x="621" y="351"/>
                        <a:pt x="622" y="350"/>
                      </a:cubicBezTo>
                      <a:cubicBezTo>
                        <a:pt x="624" y="343"/>
                        <a:pt x="629" y="338"/>
                        <a:pt x="631" y="331"/>
                      </a:cubicBezTo>
                      <a:cubicBezTo>
                        <a:pt x="632" y="328"/>
                        <a:pt x="640" y="328"/>
                        <a:pt x="644" y="326"/>
                      </a:cubicBezTo>
                      <a:cubicBezTo>
                        <a:pt x="644" y="325"/>
                        <a:pt x="650" y="324"/>
                        <a:pt x="649" y="323"/>
                      </a:cubicBezTo>
                      <a:cubicBezTo>
                        <a:pt x="648" y="322"/>
                        <a:pt x="645" y="323"/>
                        <a:pt x="644" y="323"/>
                      </a:cubicBezTo>
                      <a:cubicBezTo>
                        <a:pt x="643" y="324"/>
                        <a:pt x="637" y="326"/>
                        <a:pt x="636" y="325"/>
                      </a:cubicBezTo>
                      <a:cubicBezTo>
                        <a:pt x="633" y="323"/>
                        <a:pt x="635" y="321"/>
                        <a:pt x="637" y="320"/>
                      </a:cubicBezTo>
                      <a:cubicBezTo>
                        <a:pt x="641" y="320"/>
                        <a:pt x="645" y="321"/>
                        <a:pt x="649" y="320"/>
                      </a:cubicBezTo>
                      <a:cubicBezTo>
                        <a:pt x="651" y="320"/>
                        <a:pt x="653" y="320"/>
                        <a:pt x="655" y="320"/>
                      </a:cubicBezTo>
                      <a:cubicBezTo>
                        <a:pt x="656" y="319"/>
                        <a:pt x="657" y="317"/>
                        <a:pt x="659" y="317"/>
                      </a:cubicBezTo>
                      <a:cubicBezTo>
                        <a:pt x="662" y="315"/>
                        <a:pt x="672" y="317"/>
                        <a:pt x="668" y="311"/>
                      </a:cubicBezTo>
                      <a:cubicBezTo>
                        <a:pt x="667" y="311"/>
                        <a:pt x="665" y="310"/>
                        <a:pt x="663" y="310"/>
                      </a:cubicBezTo>
                      <a:cubicBezTo>
                        <a:pt x="662" y="310"/>
                        <a:pt x="662" y="310"/>
                        <a:pt x="661" y="309"/>
                      </a:cubicBezTo>
                      <a:cubicBezTo>
                        <a:pt x="660" y="309"/>
                        <a:pt x="659" y="309"/>
                        <a:pt x="659" y="308"/>
                      </a:cubicBezTo>
                      <a:cubicBezTo>
                        <a:pt x="644" y="304"/>
                        <a:pt x="628" y="299"/>
                        <a:pt x="613" y="294"/>
                      </a:cubicBezTo>
                      <a:cubicBezTo>
                        <a:pt x="610" y="303"/>
                        <a:pt x="584" y="292"/>
                        <a:pt x="584" y="303"/>
                      </a:cubicBezTo>
                      <a:cubicBezTo>
                        <a:pt x="585" y="310"/>
                        <a:pt x="577" y="313"/>
                        <a:pt x="572" y="314"/>
                      </a:cubicBezTo>
                      <a:cubicBezTo>
                        <a:pt x="566" y="316"/>
                        <a:pt x="559" y="318"/>
                        <a:pt x="553" y="318"/>
                      </a:cubicBezTo>
                      <a:cubicBezTo>
                        <a:pt x="549" y="318"/>
                        <a:pt x="551" y="314"/>
                        <a:pt x="553" y="313"/>
                      </a:cubicBezTo>
                      <a:cubicBezTo>
                        <a:pt x="557" y="311"/>
                        <a:pt x="559" y="311"/>
                        <a:pt x="562" y="308"/>
                      </a:cubicBezTo>
                      <a:cubicBezTo>
                        <a:pt x="563" y="307"/>
                        <a:pt x="564" y="306"/>
                        <a:pt x="566" y="305"/>
                      </a:cubicBezTo>
                      <a:cubicBezTo>
                        <a:pt x="567" y="305"/>
                        <a:pt x="570" y="306"/>
                        <a:pt x="570" y="306"/>
                      </a:cubicBezTo>
                      <a:cubicBezTo>
                        <a:pt x="573" y="304"/>
                        <a:pt x="577" y="304"/>
                        <a:pt x="579" y="302"/>
                      </a:cubicBezTo>
                      <a:cubicBezTo>
                        <a:pt x="582" y="298"/>
                        <a:pt x="581" y="294"/>
                        <a:pt x="587" y="293"/>
                      </a:cubicBezTo>
                      <a:cubicBezTo>
                        <a:pt x="591" y="292"/>
                        <a:pt x="593" y="291"/>
                        <a:pt x="597" y="289"/>
                      </a:cubicBezTo>
                      <a:cubicBezTo>
                        <a:pt x="597" y="289"/>
                        <a:pt x="597" y="289"/>
                        <a:pt x="598" y="289"/>
                      </a:cubicBezTo>
                      <a:cubicBezTo>
                        <a:pt x="590" y="286"/>
                        <a:pt x="583" y="284"/>
                        <a:pt x="576" y="281"/>
                      </a:cubicBezTo>
                      <a:cubicBezTo>
                        <a:pt x="576" y="281"/>
                        <a:pt x="576" y="282"/>
                        <a:pt x="575" y="283"/>
                      </a:cubicBezTo>
                      <a:cubicBezTo>
                        <a:pt x="573" y="286"/>
                        <a:pt x="567" y="281"/>
                        <a:pt x="565" y="280"/>
                      </a:cubicBezTo>
                      <a:cubicBezTo>
                        <a:pt x="564" y="279"/>
                        <a:pt x="563" y="277"/>
                        <a:pt x="562" y="276"/>
                      </a:cubicBezTo>
                      <a:cubicBezTo>
                        <a:pt x="560" y="274"/>
                        <a:pt x="560" y="282"/>
                        <a:pt x="559" y="283"/>
                      </a:cubicBezTo>
                      <a:cubicBezTo>
                        <a:pt x="559" y="285"/>
                        <a:pt x="561" y="302"/>
                        <a:pt x="558" y="300"/>
                      </a:cubicBezTo>
                      <a:cubicBezTo>
                        <a:pt x="555" y="300"/>
                        <a:pt x="555" y="296"/>
                        <a:pt x="553" y="294"/>
                      </a:cubicBezTo>
                      <a:cubicBezTo>
                        <a:pt x="552" y="291"/>
                        <a:pt x="549" y="293"/>
                        <a:pt x="547" y="291"/>
                      </a:cubicBezTo>
                      <a:cubicBezTo>
                        <a:pt x="544" y="288"/>
                        <a:pt x="547" y="283"/>
                        <a:pt x="547" y="279"/>
                      </a:cubicBezTo>
                      <a:cubicBezTo>
                        <a:pt x="547" y="276"/>
                        <a:pt x="544" y="276"/>
                        <a:pt x="542" y="274"/>
                      </a:cubicBezTo>
                      <a:cubicBezTo>
                        <a:pt x="539" y="272"/>
                        <a:pt x="538" y="267"/>
                        <a:pt x="535" y="266"/>
                      </a:cubicBezTo>
                      <a:cubicBezTo>
                        <a:pt x="529" y="264"/>
                        <a:pt x="527" y="274"/>
                        <a:pt x="525" y="277"/>
                      </a:cubicBezTo>
                      <a:cubicBezTo>
                        <a:pt x="523" y="278"/>
                        <a:pt x="520" y="277"/>
                        <a:pt x="518" y="278"/>
                      </a:cubicBezTo>
                      <a:cubicBezTo>
                        <a:pt x="515" y="280"/>
                        <a:pt x="515" y="286"/>
                        <a:pt x="514" y="289"/>
                      </a:cubicBezTo>
                      <a:cubicBezTo>
                        <a:pt x="514" y="292"/>
                        <a:pt x="513" y="296"/>
                        <a:pt x="514" y="300"/>
                      </a:cubicBezTo>
                      <a:cubicBezTo>
                        <a:pt x="515" y="303"/>
                        <a:pt x="516" y="306"/>
                        <a:pt x="515" y="309"/>
                      </a:cubicBezTo>
                      <a:cubicBezTo>
                        <a:pt x="515" y="311"/>
                        <a:pt x="512" y="312"/>
                        <a:pt x="511" y="313"/>
                      </a:cubicBezTo>
                      <a:cubicBezTo>
                        <a:pt x="510" y="315"/>
                        <a:pt x="509" y="318"/>
                        <a:pt x="508" y="319"/>
                      </a:cubicBezTo>
                      <a:cubicBezTo>
                        <a:pt x="504" y="322"/>
                        <a:pt x="503" y="308"/>
                        <a:pt x="502" y="307"/>
                      </a:cubicBezTo>
                      <a:cubicBezTo>
                        <a:pt x="500" y="301"/>
                        <a:pt x="501" y="293"/>
                        <a:pt x="505" y="287"/>
                      </a:cubicBezTo>
                      <a:cubicBezTo>
                        <a:pt x="506" y="285"/>
                        <a:pt x="508" y="284"/>
                        <a:pt x="508" y="281"/>
                      </a:cubicBezTo>
                      <a:cubicBezTo>
                        <a:pt x="509" y="278"/>
                        <a:pt x="508" y="275"/>
                        <a:pt x="509" y="273"/>
                      </a:cubicBezTo>
                      <a:cubicBezTo>
                        <a:pt x="510" y="271"/>
                        <a:pt x="520" y="263"/>
                        <a:pt x="521" y="265"/>
                      </a:cubicBezTo>
                      <a:cubicBezTo>
                        <a:pt x="522" y="263"/>
                        <a:pt x="526" y="264"/>
                        <a:pt x="527" y="264"/>
                      </a:cubicBezTo>
                      <a:cubicBezTo>
                        <a:pt x="529" y="264"/>
                        <a:pt x="531" y="264"/>
                        <a:pt x="532" y="264"/>
                      </a:cubicBezTo>
                      <a:cubicBezTo>
                        <a:pt x="526" y="261"/>
                        <a:pt x="519" y="258"/>
                        <a:pt x="512" y="255"/>
                      </a:cubicBezTo>
                      <a:cubicBezTo>
                        <a:pt x="511" y="255"/>
                        <a:pt x="510" y="255"/>
                        <a:pt x="509" y="255"/>
                      </a:cubicBezTo>
                      <a:cubicBezTo>
                        <a:pt x="507" y="255"/>
                        <a:pt x="506" y="253"/>
                        <a:pt x="504" y="252"/>
                      </a:cubicBezTo>
                      <a:cubicBezTo>
                        <a:pt x="503" y="251"/>
                        <a:pt x="502" y="251"/>
                        <a:pt x="502" y="250"/>
                      </a:cubicBezTo>
                      <a:cubicBezTo>
                        <a:pt x="499" y="249"/>
                        <a:pt x="496" y="248"/>
                        <a:pt x="494" y="247"/>
                      </a:cubicBezTo>
                      <a:cubicBezTo>
                        <a:pt x="492" y="248"/>
                        <a:pt x="491" y="249"/>
                        <a:pt x="490" y="249"/>
                      </a:cubicBezTo>
                      <a:cubicBezTo>
                        <a:pt x="487" y="251"/>
                        <a:pt x="482" y="254"/>
                        <a:pt x="478" y="254"/>
                      </a:cubicBezTo>
                      <a:cubicBezTo>
                        <a:pt x="477" y="254"/>
                        <a:pt x="477" y="252"/>
                        <a:pt x="475" y="252"/>
                      </a:cubicBezTo>
                      <a:cubicBezTo>
                        <a:pt x="473" y="252"/>
                        <a:pt x="472" y="253"/>
                        <a:pt x="470" y="253"/>
                      </a:cubicBezTo>
                      <a:cubicBezTo>
                        <a:pt x="470" y="253"/>
                        <a:pt x="462" y="254"/>
                        <a:pt x="463" y="252"/>
                      </a:cubicBezTo>
                      <a:cubicBezTo>
                        <a:pt x="464" y="249"/>
                        <a:pt x="469" y="249"/>
                        <a:pt x="471" y="247"/>
                      </a:cubicBezTo>
                      <a:cubicBezTo>
                        <a:pt x="473" y="246"/>
                        <a:pt x="474" y="244"/>
                        <a:pt x="476" y="243"/>
                      </a:cubicBezTo>
                      <a:cubicBezTo>
                        <a:pt x="478" y="242"/>
                        <a:pt x="480" y="242"/>
                        <a:pt x="481" y="241"/>
                      </a:cubicBezTo>
                      <a:cubicBezTo>
                        <a:pt x="458" y="230"/>
                        <a:pt x="435" y="219"/>
                        <a:pt x="413" y="207"/>
                      </a:cubicBezTo>
                      <a:cubicBezTo>
                        <a:pt x="326" y="160"/>
                        <a:pt x="251" y="106"/>
                        <a:pt x="189" y="67"/>
                      </a:cubicBezTo>
                      <a:cubicBezTo>
                        <a:pt x="128" y="28"/>
                        <a:pt x="79" y="3"/>
                        <a:pt x="32" y="0"/>
                      </a:cubicBezTo>
                      <a:cubicBezTo>
                        <a:pt x="29" y="0"/>
                        <a:pt x="27" y="0"/>
                        <a:pt x="25" y="0"/>
                      </a:cubicBezTo>
                      <a:cubicBezTo>
                        <a:pt x="25" y="3"/>
                        <a:pt x="23" y="7"/>
                        <a:pt x="23" y="8"/>
                      </a:cubicBezTo>
                      <a:cubicBezTo>
                        <a:pt x="23" y="10"/>
                        <a:pt x="23" y="12"/>
                        <a:pt x="23" y="14"/>
                      </a:cubicBezTo>
                      <a:cubicBezTo>
                        <a:pt x="23" y="16"/>
                        <a:pt x="21" y="21"/>
                        <a:pt x="20" y="22"/>
                      </a:cubicBezTo>
                      <a:cubicBezTo>
                        <a:pt x="19" y="23"/>
                        <a:pt x="17" y="22"/>
                        <a:pt x="16" y="22"/>
                      </a:cubicBezTo>
                      <a:cubicBezTo>
                        <a:pt x="15" y="22"/>
                        <a:pt x="14" y="26"/>
                        <a:pt x="12" y="27"/>
                      </a:cubicBezTo>
                      <a:cubicBezTo>
                        <a:pt x="10" y="30"/>
                        <a:pt x="11" y="21"/>
                        <a:pt x="8" y="26"/>
                      </a:cubicBezTo>
                      <a:cubicBezTo>
                        <a:pt x="7" y="28"/>
                        <a:pt x="7" y="30"/>
                        <a:pt x="7" y="32"/>
                      </a:cubicBezTo>
                      <a:cubicBezTo>
                        <a:pt x="7" y="34"/>
                        <a:pt x="7" y="36"/>
                        <a:pt x="5" y="37"/>
                      </a:cubicBezTo>
                      <a:cubicBezTo>
                        <a:pt x="4" y="37"/>
                        <a:pt x="4" y="39"/>
                        <a:pt x="4" y="40"/>
                      </a:cubicBezTo>
                      <a:cubicBezTo>
                        <a:pt x="3" y="43"/>
                        <a:pt x="1" y="46"/>
                        <a:pt x="0" y="48"/>
                      </a:cubicBezTo>
                      <a:cubicBezTo>
                        <a:pt x="1" y="47"/>
                        <a:pt x="1" y="54"/>
                        <a:pt x="1" y="55"/>
                      </a:cubicBezTo>
                      <a:cubicBezTo>
                        <a:pt x="2" y="57"/>
                        <a:pt x="2" y="56"/>
                        <a:pt x="3" y="57"/>
                      </a:cubicBezTo>
                      <a:cubicBezTo>
                        <a:pt x="4" y="58"/>
                        <a:pt x="5" y="60"/>
                        <a:pt x="6" y="60"/>
                      </a:cubicBezTo>
                      <a:cubicBezTo>
                        <a:pt x="6" y="60"/>
                        <a:pt x="12" y="59"/>
                        <a:pt x="9" y="62"/>
                      </a:cubicBezTo>
                      <a:cubicBezTo>
                        <a:pt x="7" y="63"/>
                        <a:pt x="5" y="63"/>
                        <a:pt x="3" y="62"/>
                      </a:cubicBezTo>
                      <a:cubicBezTo>
                        <a:pt x="0" y="61"/>
                        <a:pt x="3" y="65"/>
                        <a:pt x="4" y="66"/>
                      </a:cubicBezTo>
                      <a:cubicBezTo>
                        <a:pt x="5" y="67"/>
                        <a:pt x="6" y="69"/>
                        <a:pt x="7" y="70"/>
                      </a:cubicBezTo>
                      <a:cubicBezTo>
                        <a:pt x="8" y="72"/>
                        <a:pt x="9" y="73"/>
                        <a:pt x="10" y="73"/>
                      </a:cubicBezTo>
                      <a:cubicBezTo>
                        <a:pt x="11" y="73"/>
                        <a:pt x="11" y="70"/>
                        <a:pt x="12" y="69"/>
                      </a:cubicBezTo>
                      <a:cubicBezTo>
                        <a:pt x="13" y="67"/>
                        <a:pt x="14" y="70"/>
                        <a:pt x="14" y="72"/>
                      </a:cubicBezTo>
                      <a:cubicBezTo>
                        <a:pt x="15" y="74"/>
                        <a:pt x="15" y="75"/>
                        <a:pt x="14" y="78"/>
                      </a:cubicBezTo>
                      <a:cubicBezTo>
                        <a:pt x="13" y="81"/>
                        <a:pt x="15" y="82"/>
                        <a:pt x="14" y="85"/>
                      </a:cubicBezTo>
                      <a:cubicBezTo>
                        <a:pt x="14" y="86"/>
                        <a:pt x="13" y="89"/>
                        <a:pt x="15" y="88"/>
                      </a:cubicBezTo>
                      <a:cubicBezTo>
                        <a:pt x="15" y="88"/>
                        <a:pt x="16" y="87"/>
                        <a:pt x="17" y="85"/>
                      </a:cubicBezTo>
                      <a:cubicBezTo>
                        <a:pt x="19" y="80"/>
                        <a:pt x="22" y="84"/>
                        <a:pt x="23" y="87"/>
                      </a:cubicBezTo>
                      <a:cubicBezTo>
                        <a:pt x="23" y="88"/>
                        <a:pt x="25" y="91"/>
                        <a:pt x="25" y="89"/>
                      </a:cubicBezTo>
                      <a:cubicBezTo>
                        <a:pt x="26" y="88"/>
                        <a:pt x="25" y="86"/>
                        <a:pt x="26" y="85"/>
                      </a:cubicBezTo>
                      <a:cubicBezTo>
                        <a:pt x="26" y="83"/>
                        <a:pt x="28" y="82"/>
                        <a:pt x="28" y="81"/>
                      </a:cubicBezTo>
                      <a:cubicBezTo>
                        <a:pt x="29" y="80"/>
                        <a:pt x="29" y="84"/>
                        <a:pt x="29" y="84"/>
                      </a:cubicBezTo>
                      <a:cubicBezTo>
                        <a:pt x="30" y="87"/>
                        <a:pt x="31" y="84"/>
                        <a:pt x="32" y="82"/>
                      </a:cubicBezTo>
                      <a:cubicBezTo>
                        <a:pt x="32" y="82"/>
                        <a:pt x="33" y="81"/>
                        <a:pt x="34" y="82"/>
                      </a:cubicBezTo>
                      <a:cubicBezTo>
                        <a:pt x="34" y="83"/>
                        <a:pt x="33" y="86"/>
                        <a:pt x="33" y="87"/>
                      </a:cubicBezTo>
                      <a:cubicBezTo>
                        <a:pt x="32" y="90"/>
                        <a:pt x="31" y="92"/>
                        <a:pt x="31" y="96"/>
                      </a:cubicBezTo>
                      <a:cubicBezTo>
                        <a:pt x="31" y="97"/>
                        <a:pt x="30" y="99"/>
                        <a:pt x="30" y="101"/>
                      </a:cubicBezTo>
                      <a:cubicBezTo>
                        <a:pt x="29" y="102"/>
                        <a:pt x="27" y="102"/>
                        <a:pt x="27" y="104"/>
                      </a:cubicBezTo>
                      <a:cubicBezTo>
                        <a:pt x="26" y="106"/>
                        <a:pt x="27" y="108"/>
                        <a:pt x="25" y="109"/>
                      </a:cubicBezTo>
                      <a:cubicBezTo>
                        <a:pt x="24" y="111"/>
                        <a:pt x="24" y="111"/>
                        <a:pt x="23" y="113"/>
                      </a:cubicBezTo>
                      <a:cubicBezTo>
                        <a:pt x="22" y="115"/>
                        <a:pt x="21" y="114"/>
                        <a:pt x="20" y="115"/>
                      </a:cubicBezTo>
                      <a:cubicBezTo>
                        <a:pt x="19" y="116"/>
                        <a:pt x="19" y="118"/>
                        <a:pt x="19" y="120"/>
                      </a:cubicBezTo>
                      <a:cubicBezTo>
                        <a:pt x="19" y="124"/>
                        <a:pt x="21" y="125"/>
                        <a:pt x="23" y="123"/>
                      </a:cubicBezTo>
                      <a:cubicBezTo>
                        <a:pt x="25" y="122"/>
                        <a:pt x="27" y="119"/>
                        <a:pt x="28" y="115"/>
                      </a:cubicBezTo>
                      <a:cubicBezTo>
                        <a:pt x="29" y="113"/>
                        <a:pt x="30" y="113"/>
                        <a:pt x="32" y="112"/>
                      </a:cubicBezTo>
                      <a:cubicBezTo>
                        <a:pt x="32" y="111"/>
                        <a:pt x="32" y="110"/>
                        <a:pt x="33" y="108"/>
                      </a:cubicBezTo>
                      <a:cubicBezTo>
                        <a:pt x="35" y="104"/>
                        <a:pt x="37" y="99"/>
                        <a:pt x="40" y="97"/>
                      </a:cubicBezTo>
                      <a:cubicBezTo>
                        <a:pt x="42" y="95"/>
                        <a:pt x="46" y="94"/>
                        <a:pt x="47" y="89"/>
                      </a:cubicBezTo>
                      <a:cubicBezTo>
                        <a:pt x="50" y="84"/>
                        <a:pt x="48" y="83"/>
                        <a:pt x="46" y="81"/>
                      </a:cubicBezTo>
                      <a:cubicBezTo>
                        <a:pt x="45" y="81"/>
                        <a:pt x="44" y="78"/>
                        <a:pt x="45" y="77"/>
                      </a:cubicBezTo>
                      <a:cubicBezTo>
                        <a:pt x="46" y="77"/>
                        <a:pt x="47" y="78"/>
                        <a:pt x="48" y="78"/>
                      </a:cubicBezTo>
                      <a:cubicBezTo>
                        <a:pt x="49" y="78"/>
                        <a:pt x="50" y="77"/>
                        <a:pt x="50" y="75"/>
                      </a:cubicBezTo>
                      <a:cubicBezTo>
                        <a:pt x="50" y="73"/>
                        <a:pt x="48" y="73"/>
                        <a:pt x="50" y="69"/>
                      </a:cubicBezTo>
                      <a:cubicBezTo>
                        <a:pt x="51" y="67"/>
                        <a:pt x="53" y="68"/>
                        <a:pt x="54" y="66"/>
                      </a:cubicBezTo>
                      <a:cubicBezTo>
                        <a:pt x="55" y="64"/>
                        <a:pt x="55" y="62"/>
                        <a:pt x="55" y="59"/>
                      </a:cubicBezTo>
                      <a:cubicBezTo>
                        <a:pt x="55" y="57"/>
                        <a:pt x="55" y="56"/>
                        <a:pt x="57" y="55"/>
                      </a:cubicBezTo>
                      <a:cubicBezTo>
                        <a:pt x="58" y="53"/>
                        <a:pt x="59" y="51"/>
                        <a:pt x="60" y="49"/>
                      </a:cubicBezTo>
                      <a:cubicBezTo>
                        <a:pt x="61" y="46"/>
                        <a:pt x="67" y="41"/>
                        <a:pt x="66" y="47"/>
                      </a:cubicBezTo>
                      <a:cubicBezTo>
                        <a:pt x="66" y="49"/>
                        <a:pt x="65" y="50"/>
                        <a:pt x="64" y="51"/>
                      </a:cubicBezTo>
                      <a:cubicBezTo>
                        <a:pt x="62" y="51"/>
                        <a:pt x="61" y="51"/>
                        <a:pt x="61" y="54"/>
                      </a:cubicBezTo>
                      <a:cubicBezTo>
                        <a:pt x="60" y="57"/>
                        <a:pt x="59" y="59"/>
                        <a:pt x="58" y="61"/>
                      </a:cubicBezTo>
                      <a:cubicBezTo>
                        <a:pt x="57" y="64"/>
                        <a:pt x="59" y="64"/>
                        <a:pt x="59" y="66"/>
                      </a:cubicBezTo>
                      <a:cubicBezTo>
                        <a:pt x="59" y="67"/>
                        <a:pt x="58" y="75"/>
                        <a:pt x="59" y="74"/>
                      </a:cubicBezTo>
                      <a:cubicBezTo>
                        <a:pt x="61" y="74"/>
                        <a:pt x="62" y="72"/>
                        <a:pt x="64" y="71"/>
                      </a:cubicBezTo>
                      <a:cubicBezTo>
                        <a:pt x="65" y="70"/>
                        <a:pt x="67" y="69"/>
                        <a:pt x="68" y="67"/>
                      </a:cubicBezTo>
                      <a:cubicBezTo>
                        <a:pt x="69" y="66"/>
                        <a:pt x="70" y="64"/>
                        <a:pt x="72" y="63"/>
                      </a:cubicBezTo>
                      <a:cubicBezTo>
                        <a:pt x="73" y="63"/>
                        <a:pt x="75" y="62"/>
                        <a:pt x="75" y="60"/>
                      </a:cubicBezTo>
                      <a:cubicBezTo>
                        <a:pt x="77" y="57"/>
                        <a:pt x="72" y="56"/>
                        <a:pt x="74" y="52"/>
                      </a:cubicBezTo>
                      <a:cubicBezTo>
                        <a:pt x="75" y="49"/>
                        <a:pt x="80" y="49"/>
                        <a:pt x="82" y="50"/>
                      </a:cubicBezTo>
                      <a:cubicBezTo>
                        <a:pt x="83" y="51"/>
                        <a:pt x="83" y="54"/>
                        <a:pt x="84" y="54"/>
                      </a:cubicBezTo>
                      <a:cubicBezTo>
                        <a:pt x="85" y="55"/>
                        <a:pt x="86" y="54"/>
                        <a:pt x="87" y="54"/>
                      </a:cubicBezTo>
                      <a:cubicBezTo>
                        <a:pt x="90" y="55"/>
                        <a:pt x="90" y="64"/>
                        <a:pt x="93" y="61"/>
                      </a:cubicBezTo>
                      <a:cubicBezTo>
                        <a:pt x="96" y="58"/>
                        <a:pt x="101" y="59"/>
                        <a:pt x="104" y="61"/>
                      </a:cubicBezTo>
                      <a:cubicBezTo>
                        <a:pt x="106" y="62"/>
                        <a:pt x="110" y="69"/>
                        <a:pt x="112" y="62"/>
                      </a:cubicBezTo>
                      <a:cubicBezTo>
                        <a:pt x="113" y="59"/>
                        <a:pt x="114" y="52"/>
                        <a:pt x="117" y="52"/>
                      </a:cubicBezTo>
                      <a:cubicBezTo>
                        <a:pt x="118" y="51"/>
                        <a:pt x="118" y="54"/>
                        <a:pt x="118" y="55"/>
                      </a:cubicBezTo>
                      <a:cubicBezTo>
                        <a:pt x="119" y="57"/>
                        <a:pt x="118" y="59"/>
                        <a:pt x="119" y="59"/>
                      </a:cubicBezTo>
                      <a:cubicBezTo>
                        <a:pt x="122" y="61"/>
                        <a:pt x="122" y="67"/>
                        <a:pt x="125" y="70"/>
                      </a:cubicBezTo>
                      <a:cubicBezTo>
                        <a:pt x="126" y="71"/>
                        <a:pt x="128" y="71"/>
                        <a:pt x="128" y="73"/>
                      </a:cubicBezTo>
                      <a:cubicBezTo>
                        <a:pt x="128" y="76"/>
                        <a:pt x="128" y="78"/>
                        <a:pt x="130" y="80"/>
                      </a:cubicBezTo>
                      <a:cubicBezTo>
                        <a:pt x="131" y="82"/>
                        <a:pt x="132" y="81"/>
                        <a:pt x="134" y="79"/>
                      </a:cubicBezTo>
                      <a:cubicBezTo>
                        <a:pt x="134" y="79"/>
                        <a:pt x="134" y="81"/>
                        <a:pt x="135" y="81"/>
                      </a:cubicBezTo>
                      <a:cubicBezTo>
                        <a:pt x="136" y="81"/>
                        <a:pt x="137" y="81"/>
                        <a:pt x="137" y="81"/>
                      </a:cubicBezTo>
                      <a:cubicBezTo>
                        <a:pt x="138" y="81"/>
                        <a:pt x="140" y="79"/>
                        <a:pt x="141" y="80"/>
                      </a:cubicBezTo>
                      <a:cubicBezTo>
                        <a:pt x="142" y="82"/>
                        <a:pt x="141" y="83"/>
                        <a:pt x="141" y="84"/>
                      </a:cubicBezTo>
                      <a:cubicBezTo>
                        <a:pt x="142" y="86"/>
                        <a:pt x="143" y="86"/>
                        <a:pt x="144" y="88"/>
                      </a:cubicBezTo>
                      <a:cubicBezTo>
                        <a:pt x="145" y="90"/>
                        <a:pt x="146" y="93"/>
                        <a:pt x="146" y="95"/>
                      </a:cubicBezTo>
                      <a:cubicBezTo>
                        <a:pt x="147" y="98"/>
                        <a:pt x="145" y="99"/>
                        <a:pt x="144" y="101"/>
                      </a:cubicBezTo>
                      <a:cubicBezTo>
                        <a:pt x="144" y="103"/>
                        <a:pt x="144" y="110"/>
                        <a:pt x="146" y="111"/>
                      </a:cubicBezTo>
                      <a:cubicBezTo>
                        <a:pt x="147" y="112"/>
                        <a:pt x="149" y="106"/>
                        <a:pt x="149" y="105"/>
                      </a:cubicBezTo>
                      <a:cubicBezTo>
                        <a:pt x="150" y="101"/>
                        <a:pt x="152" y="105"/>
                        <a:pt x="153" y="107"/>
                      </a:cubicBezTo>
                      <a:cubicBezTo>
                        <a:pt x="154" y="107"/>
                        <a:pt x="155" y="108"/>
                        <a:pt x="155" y="109"/>
                      </a:cubicBezTo>
                      <a:cubicBezTo>
                        <a:pt x="156" y="110"/>
                        <a:pt x="155" y="112"/>
                        <a:pt x="156" y="114"/>
                      </a:cubicBezTo>
                      <a:cubicBezTo>
                        <a:pt x="156" y="115"/>
                        <a:pt x="157" y="116"/>
                        <a:pt x="158" y="118"/>
                      </a:cubicBezTo>
                      <a:cubicBezTo>
                        <a:pt x="159" y="120"/>
                        <a:pt x="160" y="123"/>
                        <a:pt x="161" y="125"/>
                      </a:cubicBezTo>
                      <a:cubicBezTo>
                        <a:pt x="162" y="127"/>
                        <a:pt x="163" y="129"/>
                        <a:pt x="162" y="130"/>
                      </a:cubicBezTo>
                      <a:cubicBezTo>
                        <a:pt x="161" y="132"/>
                        <a:pt x="159" y="134"/>
                        <a:pt x="159" y="136"/>
                      </a:cubicBezTo>
                      <a:cubicBezTo>
                        <a:pt x="160" y="139"/>
                        <a:pt x="162" y="139"/>
                        <a:pt x="163" y="142"/>
                      </a:cubicBezTo>
                      <a:cubicBezTo>
                        <a:pt x="163" y="145"/>
                        <a:pt x="162" y="155"/>
                        <a:pt x="165" y="148"/>
                      </a:cubicBezTo>
                      <a:cubicBezTo>
                        <a:pt x="166" y="150"/>
                        <a:pt x="169" y="149"/>
                        <a:pt x="170" y="149"/>
                      </a:cubicBezTo>
                      <a:cubicBezTo>
                        <a:pt x="172" y="149"/>
                        <a:pt x="172" y="145"/>
                        <a:pt x="173" y="144"/>
                      </a:cubicBezTo>
                      <a:cubicBezTo>
                        <a:pt x="174" y="144"/>
                        <a:pt x="174" y="155"/>
                        <a:pt x="174" y="156"/>
                      </a:cubicBezTo>
                      <a:cubicBezTo>
                        <a:pt x="175" y="159"/>
                        <a:pt x="176" y="160"/>
                        <a:pt x="177" y="163"/>
                      </a:cubicBezTo>
                      <a:cubicBezTo>
                        <a:pt x="178" y="164"/>
                        <a:pt x="182" y="166"/>
                        <a:pt x="180" y="168"/>
                      </a:cubicBezTo>
                      <a:cubicBezTo>
                        <a:pt x="180" y="169"/>
                        <a:pt x="179" y="169"/>
                        <a:pt x="179" y="170"/>
                      </a:cubicBezTo>
                      <a:cubicBezTo>
                        <a:pt x="179" y="171"/>
                        <a:pt x="179" y="173"/>
                        <a:pt x="179" y="174"/>
                      </a:cubicBezTo>
                      <a:cubicBezTo>
                        <a:pt x="180" y="177"/>
                        <a:pt x="181" y="179"/>
                        <a:pt x="180" y="182"/>
                      </a:cubicBezTo>
                      <a:cubicBezTo>
                        <a:pt x="178" y="188"/>
                        <a:pt x="179" y="195"/>
                        <a:pt x="184" y="199"/>
                      </a:cubicBezTo>
                      <a:cubicBezTo>
                        <a:pt x="187" y="202"/>
                        <a:pt x="191" y="206"/>
                        <a:pt x="194" y="211"/>
                      </a:cubicBezTo>
                      <a:cubicBezTo>
                        <a:pt x="197" y="218"/>
                        <a:pt x="201" y="212"/>
                        <a:pt x="205" y="212"/>
                      </a:cubicBezTo>
                      <a:cubicBezTo>
                        <a:pt x="207" y="212"/>
                        <a:pt x="213" y="211"/>
                        <a:pt x="214" y="214"/>
                      </a:cubicBezTo>
                      <a:cubicBezTo>
                        <a:pt x="216" y="219"/>
                        <a:pt x="215" y="223"/>
                        <a:pt x="211" y="222"/>
                      </a:cubicBezTo>
                      <a:cubicBezTo>
                        <a:pt x="208" y="221"/>
                        <a:pt x="205" y="217"/>
                        <a:pt x="202" y="217"/>
                      </a:cubicBezTo>
                      <a:cubicBezTo>
                        <a:pt x="199" y="217"/>
                        <a:pt x="202" y="227"/>
                        <a:pt x="203" y="229"/>
                      </a:cubicBezTo>
                      <a:cubicBezTo>
                        <a:pt x="204" y="231"/>
                        <a:pt x="205" y="232"/>
                        <a:pt x="206" y="235"/>
                      </a:cubicBezTo>
                      <a:cubicBezTo>
                        <a:pt x="206" y="238"/>
                        <a:pt x="206" y="242"/>
                        <a:pt x="206" y="245"/>
                      </a:cubicBezTo>
                      <a:cubicBezTo>
                        <a:pt x="207" y="253"/>
                        <a:pt x="208" y="262"/>
                        <a:pt x="207" y="270"/>
                      </a:cubicBezTo>
                      <a:cubicBezTo>
                        <a:pt x="207" y="273"/>
                        <a:pt x="205" y="276"/>
                        <a:pt x="206" y="280"/>
                      </a:cubicBezTo>
                      <a:cubicBezTo>
                        <a:pt x="207" y="283"/>
                        <a:pt x="208" y="286"/>
                        <a:pt x="209" y="289"/>
                      </a:cubicBezTo>
                      <a:cubicBezTo>
                        <a:pt x="209" y="292"/>
                        <a:pt x="210" y="295"/>
                        <a:pt x="210" y="298"/>
                      </a:cubicBezTo>
                      <a:cubicBezTo>
                        <a:pt x="210" y="301"/>
                        <a:pt x="209" y="304"/>
                        <a:pt x="210" y="308"/>
                      </a:cubicBezTo>
                      <a:cubicBezTo>
                        <a:pt x="210" y="311"/>
                        <a:pt x="212" y="313"/>
                        <a:pt x="213" y="315"/>
                      </a:cubicBezTo>
                      <a:cubicBezTo>
                        <a:pt x="214" y="318"/>
                        <a:pt x="215" y="321"/>
                        <a:pt x="216" y="323"/>
                      </a:cubicBezTo>
                      <a:cubicBezTo>
                        <a:pt x="218" y="326"/>
                        <a:pt x="220" y="327"/>
                        <a:pt x="221" y="330"/>
                      </a:cubicBezTo>
                      <a:cubicBezTo>
                        <a:pt x="222" y="333"/>
                        <a:pt x="224" y="336"/>
                        <a:pt x="225" y="339"/>
                      </a:cubicBezTo>
                      <a:cubicBezTo>
                        <a:pt x="229" y="351"/>
                        <a:pt x="237" y="365"/>
                        <a:pt x="248" y="371"/>
                      </a:cubicBezTo>
                      <a:cubicBezTo>
                        <a:pt x="252" y="374"/>
                        <a:pt x="257" y="376"/>
                        <a:pt x="260" y="381"/>
                      </a:cubicBezTo>
                      <a:cubicBezTo>
                        <a:pt x="263" y="387"/>
                        <a:pt x="268" y="393"/>
                        <a:pt x="272" y="399"/>
                      </a:cubicBezTo>
                      <a:cubicBezTo>
                        <a:pt x="275" y="404"/>
                        <a:pt x="280" y="408"/>
                        <a:pt x="282" y="413"/>
                      </a:cubicBezTo>
                      <a:cubicBezTo>
                        <a:pt x="283" y="415"/>
                        <a:pt x="284" y="418"/>
                        <a:pt x="286" y="419"/>
                      </a:cubicBezTo>
                      <a:cubicBezTo>
                        <a:pt x="288" y="421"/>
                        <a:pt x="291" y="424"/>
                        <a:pt x="294" y="426"/>
                      </a:cubicBezTo>
                      <a:cubicBezTo>
                        <a:pt x="298" y="430"/>
                        <a:pt x="293" y="434"/>
                        <a:pt x="296" y="438"/>
                      </a:cubicBezTo>
                      <a:cubicBezTo>
                        <a:pt x="298" y="442"/>
                        <a:pt x="304" y="442"/>
                        <a:pt x="307" y="445"/>
                      </a:cubicBezTo>
                      <a:cubicBezTo>
                        <a:pt x="313" y="448"/>
                        <a:pt x="311" y="452"/>
                        <a:pt x="312" y="457"/>
                      </a:cubicBezTo>
                      <a:cubicBezTo>
                        <a:pt x="313" y="459"/>
                        <a:pt x="314" y="460"/>
                        <a:pt x="316" y="460"/>
                      </a:cubicBezTo>
                      <a:cubicBezTo>
                        <a:pt x="319" y="460"/>
                        <a:pt x="321" y="463"/>
                        <a:pt x="323" y="465"/>
                      </a:cubicBezTo>
                      <a:cubicBezTo>
                        <a:pt x="324" y="467"/>
                        <a:pt x="327" y="468"/>
                        <a:pt x="329" y="470"/>
                      </a:cubicBezTo>
                      <a:cubicBezTo>
                        <a:pt x="330" y="471"/>
                        <a:pt x="331" y="474"/>
                        <a:pt x="334" y="475"/>
                      </a:cubicBezTo>
                      <a:cubicBezTo>
                        <a:pt x="335" y="475"/>
                        <a:pt x="337" y="476"/>
                        <a:pt x="337" y="474"/>
                      </a:cubicBezTo>
                      <a:cubicBezTo>
                        <a:pt x="336" y="472"/>
                        <a:pt x="334" y="469"/>
                        <a:pt x="332" y="467"/>
                      </a:cubicBezTo>
                      <a:cubicBezTo>
                        <a:pt x="331" y="465"/>
                        <a:pt x="328" y="465"/>
                        <a:pt x="327" y="463"/>
                      </a:cubicBezTo>
                      <a:cubicBezTo>
                        <a:pt x="326" y="461"/>
                        <a:pt x="325" y="458"/>
                        <a:pt x="323" y="456"/>
                      </a:cubicBezTo>
                      <a:cubicBezTo>
                        <a:pt x="321" y="454"/>
                        <a:pt x="321" y="453"/>
                        <a:pt x="319" y="450"/>
                      </a:cubicBezTo>
                      <a:cubicBezTo>
                        <a:pt x="317" y="448"/>
                        <a:pt x="315" y="446"/>
                        <a:pt x="313" y="443"/>
                      </a:cubicBezTo>
                      <a:cubicBezTo>
                        <a:pt x="311" y="440"/>
                        <a:pt x="309" y="437"/>
                        <a:pt x="307" y="435"/>
                      </a:cubicBezTo>
                      <a:cubicBezTo>
                        <a:pt x="305" y="433"/>
                        <a:pt x="303" y="431"/>
                        <a:pt x="302" y="429"/>
                      </a:cubicBezTo>
                      <a:cubicBezTo>
                        <a:pt x="302" y="424"/>
                        <a:pt x="297" y="421"/>
                        <a:pt x="292" y="418"/>
                      </a:cubicBezTo>
                      <a:cubicBezTo>
                        <a:pt x="289" y="416"/>
                        <a:pt x="289" y="414"/>
                        <a:pt x="289" y="412"/>
                      </a:cubicBezTo>
                      <a:cubicBezTo>
                        <a:pt x="290" y="409"/>
                        <a:pt x="289" y="406"/>
                        <a:pt x="288" y="402"/>
                      </a:cubicBezTo>
                      <a:cubicBezTo>
                        <a:pt x="288" y="397"/>
                        <a:pt x="293" y="402"/>
                        <a:pt x="295" y="405"/>
                      </a:cubicBezTo>
                      <a:cubicBezTo>
                        <a:pt x="299" y="409"/>
                        <a:pt x="302" y="414"/>
                        <a:pt x="304" y="419"/>
                      </a:cubicBezTo>
                      <a:cubicBezTo>
                        <a:pt x="305" y="422"/>
                        <a:pt x="306" y="424"/>
                        <a:pt x="308" y="426"/>
                      </a:cubicBezTo>
                      <a:cubicBezTo>
                        <a:pt x="311" y="428"/>
                        <a:pt x="313" y="430"/>
                        <a:pt x="316" y="433"/>
                      </a:cubicBezTo>
                      <a:cubicBezTo>
                        <a:pt x="320" y="437"/>
                        <a:pt x="326" y="440"/>
                        <a:pt x="329" y="445"/>
                      </a:cubicBezTo>
                      <a:cubicBezTo>
                        <a:pt x="331" y="448"/>
                        <a:pt x="332" y="454"/>
                        <a:pt x="337" y="456"/>
                      </a:cubicBezTo>
                      <a:cubicBezTo>
                        <a:pt x="340" y="458"/>
                        <a:pt x="343" y="462"/>
                        <a:pt x="346" y="465"/>
                      </a:cubicBezTo>
                      <a:cubicBezTo>
                        <a:pt x="349" y="467"/>
                        <a:pt x="351" y="469"/>
                        <a:pt x="354" y="471"/>
                      </a:cubicBezTo>
                      <a:cubicBezTo>
                        <a:pt x="356" y="473"/>
                        <a:pt x="358" y="475"/>
                        <a:pt x="360" y="478"/>
                      </a:cubicBezTo>
                      <a:cubicBezTo>
                        <a:pt x="364" y="481"/>
                        <a:pt x="368" y="486"/>
                        <a:pt x="369" y="491"/>
                      </a:cubicBezTo>
                      <a:cubicBezTo>
                        <a:pt x="369" y="493"/>
                        <a:pt x="367" y="494"/>
                        <a:pt x="367" y="497"/>
                      </a:cubicBezTo>
                      <a:cubicBezTo>
                        <a:pt x="367" y="498"/>
                        <a:pt x="370" y="500"/>
                        <a:pt x="372" y="502"/>
                      </a:cubicBezTo>
                      <a:cubicBezTo>
                        <a:pt x="377" y="505"/>
                        <a:pt x="381" y="508"/>
                        <a:pt x="386" y="511"/>
                      </a:cubicBezTo>
                      <a:cubicBezTo>
                        <a:pt x="389" y="513"/>
                        <a:pt x="392" y="513"/>
                        <a:pt x="395" y="515"/>
                      </a:cubicBezTo>
                      <a:cubicBezTo>
                        <a:pt x="398" y="517"/>
                        <a:pt x="400" y="519"/>
                        <a:pt x="404" y="521"/>
                      </a:cubicBezTo>
                      <a:cubicBezTo>
                        <a:pt x="409" y="524"/>
                        <a:pt x="415" y="527"/>
                        <a:pt x="421" y="528"/>
                      </a:cubicBezTo>
                      <a:cubicBezTo>
                        <a:pt x="428" y="530"/>
                        <a:pt x="434" y="531"/>
                        <a:pt x="441" y="535"/>
                      </a:cubicBezTo>
                      <a:cubicBezTo>
                        <a:pt x="445" y="537"/>
                        <a:pt x="450" y="541"/>
                        <a:pt x="454" y="543"/>
                      </a:cubicBezTo>
                      <a:cubicBezTo>
                        <a:pt x="460" y="546"/>
                        <a:pt x="453" y="539"/>
                        <a:pt x="458" y="539"/>
                      </a:cubicBezTo>
                      <a:cubicBezTo>
                        <a:pt x="462" y="539"/>
                        <a:pt x="468" y="538"/>
                        <a:pt x="472" y="539"/>
                      </a:cubicBezTo>
                      <a:cubicBezTo>
                        <a:pt x="474" y="540"/>
                        <a:pt x="476" y="541"/>
                        <a:pt x="478" y="543"/>
                      </a:cubicBezTo>
                      <a:cubicBezTo>
                        <a:pt x="481" y="545"/>
                        <a:pt x="479" y="547"/>
                        <a:pt x="479" y="549"/>
                      </a:cubicBezTo>
                      <a:cubicBezTo>
                        <a:pt x="479" y="552"/>
                        <a:pt x="485" y="552"/>
                        <a:pt x="488" y="553"/>
                      </a:cubicBezTo>
                      <a:cubicBezTo>
                        <a:pt x="493" y="553"/>
                        <a:pt x="497" y="555"/>
                        <a:pt x="501" y="557"/>
                      </a:cubicBezTo>
                      <a:cubicBezTo>
                        <a:pt x="505" y="559"/>
                        <a:pt x="510" y="554"/>
                        <a:pt x="513" y="556"/>
                      </a:cubicBezTo>
                      <a:cubicBezTo>
                        <a:pt x="516" y="559"/>
                        <a:pt x="520" y="561"/>
                        <a:pt x="523" y="564"/>
                      </a:cubicBezTo>
                      <a:cubicBezTo>
                        <a:pt x="525" y="565"/>
                        <a:pt x="527" y="566"/>
                        <a:pt x="527" y="567"/>
                      </a:cubicBezTo>
                      <a:cubicBezTo>
                        <a:pt x="527" y="569"/>
                        <a:pt x="526" y="572"/>
                        <a:pt x="527" y="574"/>
                      </a:cubicBezTo>
                      <a:cubicBezTo>
                        <a:pt x="527" y="575"/>
                        <a:pt x="528" y="578"/>
                        <a:pt x="527" y="579"/>
                      </a:cubicBezTo>
                      <a:cubicBezTo>
                        <a:pt x="525" y="581"/>
                        <a:pt x="524" y="582"/>
                        <a:pt x="524" y="585"/>
                      </a:cubicBezTo>
                      <a:cubicBezTo>
                        <a:pt x="525" y="588"/>
                        <a:pt x="536" y="588"/>
                        <a:pt x="540" y="588"/>
                      </a:cubicBezTo>
                      <a:cubicBezTo>
                        <a:pt x="543" y="587"/>
                        <a:pt x="546" y="587"/>
                        <a:pt x="550" y="587"/>
                      </a:cubicBezTo>
                      <a:cubicBezTo>
                        <a:pt x="553" y="588"/>
                        <a:pt x="555" y="589"/>
                        <a:pt x="559" y="589"/>
                      </a:cubicBezTo>
                      <a:cubicBezTo>
                        <a:pt x="564" y="589"/>
                        <a:pt x="569" y="586"/>
                        <a:pt x="574" y="586"/>
                      </a:cubicBezTo>
                      <a:cubicBezTo>
                        <a:pt x="576" y="585"/>
                        <a:pt x="577" y="587"/>
                        <a:pt x="578" y="587"/>
                      </a:cubicBezTo>
                      <a:cubicBezTo>
                        <a:pt x="580" y="587"/>
                        <a:pt x="582" y="586"/>
                        <a:pt x="585" y="586"/>
                      </a:cubicBezTo>
                      <a:cubicBezTo>
                        <a:pt x="589" y="586"/>
                        <a:pt x="590" y="591"/>
                        <a:pt x="592" y="592"/>
                      </a:cubicBezTo>
                      <a:cubicBezTo>
                        <a:pt x="594" y="594"/>
                        <a:pt x="594" y="594"/>
                        <a:pt x="593" y="595"/>
                      </a:cubicBezTo>
                      <a:cubicBezTo>
                        <a:pt x="592" y="597"/>
                        <a:pt x="594" y="598"/>
                        <a:pt x="594" y="599"/>
                      </a:cubicBezTo>
                      <a:cubicBezTo>
                        <a:pt x="593" y="601"/>
                        <a:pt x="592" y="602"/>
                        <a:pt x="592" y="604"/>
                      </a:cubicBezTo>
                      <a:cubicBezTo>
                        <a:pt x="591" y="605"/>
                        <a:pt x="592" y="606"/>
                        <a:pt x="593" y="607"/>
                      </a:cubicBezTo>
                      <a:cubicBezTo>
                        <a:pt x="594" y="609"/>
                        <a:pt x="593" y="611"/>
                        <a:pt x="592" y="612"/>
                      </a:cubicBezTo>
                      <a:cubicBezTo>
                        <a:pt x="589" y="613"/>
                        <a:pt x="590" y="614"/>
                        <a:pt x="588" y="616"/>
                      </a:cubicBezTo>
                      <a:cubicBezTo>
                        <a:pt x="587" y="617"/>
                        <a:pt x="582" y="616"/>
                        <a:pt x="581" y="618"/>
                      </a:cubicBezTo>
                      <a:cubicBezTo>
                        <a:pt x="581" y="619"/>
                        <a:pt x="580" y="620"/>
                        <a:pt x="579" y="621"/>
                      </a:cubicBezTo>
                      <a:cubicBezTo>
                        <a:pt x="577" y="622"/>
                        <a:pt x="580" y="623"/>
                        <a:pt x="578" y="624"/>
                      </a:cubicBezTo>
                      <a:cubicBezTo>
                        <a:pt x="576" y="626"/>
                        <a:pt x="573" y="625"/>
                        <a:pt x="570" y="626"/>
                      </a:cubicBezTo>
                      <a:cubicBezTo>
                        <a:pt x="568" y="628"/>
                        <a:pt x="572" y="630"/>
                        <a:pt x="570" y="632"/>
                      </a:cubicBezTo>
                      <a:cubicBezTo>
                        <a:pt x="569" y="633"/>
                        <a:pt x="567" y="633"/>
                        <a:pt x="567" y="634"/>
                      </a:cubicBezTo>
                      <a:cubicBezTo>
                        <a:pt x="567" y="635"/>
                        <a:pt x="566" y="635"/>
                        <a:pt x="566" y="636"/>
                      </a:cubicBezTo>
                      <a:cubicBezTo>
                        <a:pt x="565" y="637"/>
                        <a:pt x="563" y="636"/>
                        <a:pt x="564" y="637"/>
                      </a:cubicBezTo>
                      <a:cubicBezTo>
                        <a:pt x="564" y="638"/>
                        <a:pt x="564" y="639"/>
                        <a:pt x="564" y="640"/>
                      </a:cubicBezTo>
                      <a:cubicBezTo>
                        <a:pt x="565" y="640"/>
                        <a:pt x="566" y="641"/>
                        <a:pt x="565" y="642"/>
                      </a:cubicBezTo>
                      <a:cubicBezTo>
                        <a:pt x="565" y="642"/>
                        <a:pt x="562" y="643"/>
                        <a:pt x="565" y="643"/>
                      </a:cubicBezTo>
                      <a:cubicBezTo>
                        <a:pt x="567" y="644"/>
                        <a:pt x="567" y="645"/>
                        <a:pt x="568" y="645"/>
                      </a:cubicBezTo>
                      <a:cubicBezTo>
                        <a:pt x="570" y="646"/>
                        <a:pt x="571" y="645"/>
                        <a:pt x="571" y="644"/>
                      </a:cubicBezTo>
                      <a:cubicBezTo>
                        <a:pt x="574" y="646"/>
                        <a:pt x="570" y="649"/>
                        <a:pt x="567" y="650"/>
                      </a:cubicBezTo>
                      <a:cubicBezTo>
                        <a:pt x="564" y="651"/>
                        <a:pt x="559" y="654"/>
                        <a:pt x="561" y="656"/>
                      </a:cubicBezTo>
                      <a:cubicBezTo>
                        <a:pt x="563" y="657"/>
                        <a:pt x="565" y="659"/>
                        <a:pt x="564" y="661"/>
                      </a:cubicBezTo>
                      <a:cubicBezTo>
                        <a:pt x="564" y="661"/>
                        <a:pt x="562" y="661"/>
                        <a:pt x="563" y="662"/>
                      </a:cubicBezTo>
                      <a:cubicBezTo>
                        <a:pt x="564" y="663"/>
                        <a:pt x="567" y="663"/>
                        <a:pt x="569" y="664"/>
                      </a:cubicBezTo>
                      <a:cubicBezTo>
                        <a:pt x="574" y="666"/>
                        <a:pt x="575" y="669"/>
                        <a:pt x="578" y="672"/>
                      </a:cubicBezTo>
                      <a:cubicBezTo>
                        <a:pt x="579" y="673"/>
                        <a:pt x="580" y="675"/>
                        <a:pt x="581" y="676"/>
                      </a:cubicBezTo>
                      <a:cubicBezTo>
                        <a:pt x="582" y="678"/>
                        <a:pt x="584" y="679"/>
                        <a:pt x="585" y="681"/>
                      </a:cubicBezTo>
                      <a:cubicBezTo>
                        <a:pt x="586" y="682"/>
                        <a:pt x="587" y="684"/>
                        <a:pt x="588" y="685"/>
                      </a:cubicBezTo>
                      <a:cubicBezTo>
                        <a:pt x="589" y="686"/>
                        <a:pt x="591" y="686"/>
                        <a:pt x="593" y="687"/>
                      </a:cubicBezTo>
                      <a:cubicBezTo>
                        <a:pt x="594" y="688"/>
                        <a:pt x="593" y="689"/>
                        <a:pt x="594" y="690"/>
                      </a:cubicBezTo>
                      <a:cubicBezTo>
                        <a:pt x="594" y="691"/>
                        <a:pt x="595" y="691"/>
                        <a:pt x="596" y="691"/>
                      </a:cubicBezTo>
                      <a:cubicBezTo>
                        <a:pt x="597" y="692"/>
                        <a:pt x="597" y="693"/>
                        <a:pt x="598" y="693"/>
                      </a:cubicBezTo>
                      <a:cubicBezTo>
                        <a:pt x="600" y="696"/>
                        <a:pt x="600" y="698"/>
                        <a:pt x="603" y="700"/>
                      </a:cubicBezTo>
                      <a:cubicBezTo>
                        <a:pt x="604" y="701"/>
                        <a:pt x="605" y="702"/>
                        <a:pt x="607" y="702"/>
                      </a:cubicBezTo>
                      <a:cubicBezTo>
                        <a:pt x="609" y="703"/>
                        <a:pt x="609" y="704"/>
                        <a:pt x="611" y="705"/>
                      </a:cubicBezTo>
                      <a:cubicBezTo>
                        <a:pt x="614" y="706"/>
                        <a:pt x="617" y="707"/>
                        <a:pt x="621" y="707"/>
                      </a:cubicBezTo>
                      <a:cubicBezTo>
                        <a:pt x="623" y="707"/>
                        <a:pt x="623" y="708"/>
                        <a:pt x="625" y="708"/>
                      </a:cubicBezTo>
                      <a:cubicBezTo>
                        <a:pt x="627" y="709"/>
                        <a:pt x="629" y="709"/>
                        <a:pt x="631" y="710"/>
                      </a:cubicBezTo>
                      <a:cubicBezTo>
                        <a:pt x="634" y="711"/>
                        <a:pt x="636" y="713"/>
                        <a:pt x="640" y="714"/>
                      </a:cubicBezTo>
                      <a:cubicBezTo>
                        <a:pt x="642" y="715"/>
                        <a:pt x="642" y="715"/>
                        <a:pt x="641" y="716"/>
                      </a:cubicBezTo>
                      <a:cubicBezTo>
                        <a:pt x="641" y="718"/>
                        <a:pt x="642" y="718"/>
                        <a:pt x="643" y="720"/>
                      </a:cubicBezTo>
                      <a:cubicBezTo>
                        <a:pt x="643" y="721"/>
                        <a:pt x="643" y="722"/>
                        <a:pt x="643" y="723"/>
                      </a:cubicBezTo>
                      <a:cubicBezTo>
                        <a:pt x="643" y="724"/>
                        <a:pt x="644" y="724"/>
                        <a:pt x="644" y="724"/>
                      </a:cubicBezTo>
                      <a:cubicBezTo>
                        <a:pt x="644" y="725"/>
                        <a:pt x="644" y="725"/>
                        <a:pt x="644" y="726"/>
                      </a:cubicBezTo>
                      <a:cubicBezTo>
                        <a:pt x="645" y="727"/>
                        <a:pt x="645" y="727"/>
                        <a:pt x="643" y="728"/>
                      </a:cubicBezTo>
                      <a:cubicBezTo>
                        <a:pt x="642" y="729"/>
                        <a:pt x="643" y="730"/>
                        <a:pt x="643" y="731"/>
                      </a:cubicBezTo>
                      <a:cubicBezTo>
                        <a:pt x="643" y="732"/>
                        <a:pt x="640" y="733"/>
                        <a:pt x="642" y="734"/>
                      </a:cubicBezTo>
                      <a:cubicBezTo>
                        <a:pt x="643" y="735"/>
                        <a:pt x="641" y="737"/>
                        <a:pt x="642" y="738"/>
                      </a:cubicBezTo>
                      <a:cubicBezTo>
                        <a:pt x="642" y="739"/>
                        <a:pt x="643" y="740"/>
                        <a:pt x="643" y="741"/>
                      </a:cubicBezTo>
                      <a:cubicBezTo>
                        <a:pt x="643" y="741"/>
                        <a:pt x="642" y="742"/>
                        <a:pt x="642" y="743"/>
                      </a:cubicBezTo>
                      <a:cubicBezTo>
                        <a:pt x="642" y="744"/>
                        <a:pt x="642" y="745"/>
                        <a:pt x="642" y="746"/>
                      </a:cubicBezTo>
                      <a:cubicBezTo>
                        <a:pt x="642" y="746"/>
                        <a:pt x="641" y="747"/>
                        <a:pt x="641" y="748"/>
                      </a:cubicBezTo>
                      <a:cubicBezTo>
                        <a:pt x="641" y="748"/>
                        <a:pt x="641" y="749"/>
                        <a:pt x="641" y="749"/>
                      </a:cubicBezTo>
                      <a:cubicBezTo>
                        <a:pt x="641" y="750"/>
                        <a:pt x="640" y="750"/>
                        <a:pt x="640" y="751"/>
                      </a:cubicBezTo>
                      <a:cubicBezTo>
                        <a:pt x="639" y="752"/>
                        <a:pt x="640" y="753"/>
                        <a:pt x="639" y="754"/>
                      </a:cubicBezTo>
                      <a:cubicBezTo>
                        <a:pt x="638" y="755"/>
                        <a:pt x="640" y="756"/>
                        <a:pt x="640" y="757"/>
                      </a:cubicBezTo>
                      <a:cubicBezTo>
                        <a:pt x="639" y="759"/>
                        <a:pt x="638" y="760"/>
                        <a:pt x="638" y="762"/>
                      </a:cubicBezTo>
                      <a:cubicBezTo>
                        <a:pt x="639" y="764"/>
                        <a:pt x="643" y="766"/>
                        <a:pt x="642" y="768"/>
                      </a:cubicBezTo>
                      <a:cubicBezTo>
                        <a:pt x="642" y="770"/>
                        <a:pt x="642" y="771"/>
                        <a:pt x="641" y="773"/>
                      </a:cubicBezTo>
                      <a:cubicBezTo>
                        <a:pt x="641" y="774"/>
                        <a:pt x="640" y="775"/>
                        <a:pt x="639" y="777"/>
                      </a:cubicBezTo>
                      <a:cubicBezTo>
                        <a:pt x="639" y="778"/>
                        <a:pt x="639" y="779"/>
                        <a:pt x="638" y="780"/>
                      </a:cubicBezTo>
                      <a:cubicBezTo>
                        <a:pt x="638" y="781"/>
                        <a:pt x="639" y="781"/>
                        <a:pt x="638" y="782"/>
                      </a:cubicBezTo>
                      <a:cubicBezTo>
                        <a:pt x="637" y="783"/>
                        <a:pt x="637" y="782"/>
                        <a:pt x="636" y="782"/>
                      </a:cubicBezTo>
                      <a:cubicBezTo>
                        <a:pt x="635" y="783"/>
                        <a:pt x="637" y="784"/>
                        <a:pt x="638" y="786"/>
                      </a:cubicBezTo>
                      <a:cubicBezTo>
                        <a:pt x="638" y="787"/>
                        <a:pt x="640" y="787"/>
                        <a:pt x="641" y="788"/>
                      </a:cubicBezTo>
                      <a:cubicBezTo>
                        <a:pt x="641" y="789"/>
                        <a:pt x="641" y="789"/>
                        <a:pt x="641" y="790"/>
                      </a:cubicBezTo>
                      <a:cubicBezTo>
                        <a:pt x="640" y="790"/>
                        <a:pt x="639" y="790"/>
                        <a:pt x="639" y="791"/>
                      </a:cubicBezTo>
                      <a:cubicBezTo>
                        <a:pt x="638" y="792"/>
                        <a:pt x="640" y="794"/>
                        <a:pt x="642" y="795"/>
                      </a:cubicBezTo>
                      <a:cubicBezTo>
                        <a:pt x="644" y="796"/>
                        <a:pt x="645" y="794"/>
                        <a:pt x="647" y="794"/>
                      </a:cubicBezTo>
                      <a:cubicBezTo>
                        <a:pt x="650" y="794"/>
                        <a:pt x="649" y="797"/>
                        <a:pt x="649" y="798"/>
                      </a:cubicBezTo>
                      <a:cubicBezTo>
                        <a:pt x="648" y="800"/>
                        <a:pt x="649" y="801"/>
                        <a:pt x="649" y="803"/>
                      </a:cubicBezTo>
                      <a:cubicBezTo>
                        <a:pt x="649" y="804"/>
                        <a:pt x="651" y="804"/>
                        <a:pt x="650" y="805"/>
                      </a:cubicBezTo>
                      <a:cubicBezTo>
                        <a:pt x="650" y="805"/>
                        <a:pt x="650" y="807"/>
                        <a:pt x="650" y="807"/>
                      </a:cubicBezTo>
                      <a:cubicBezTo>
                        <a:pt x="649" y="807"/>
                        <a:pt x="649" y="807"/>
                        <a:pt x="648" y="807"/>
                      </a:cubicBezTo>
                      <a:cubicBezTo>
                        <a:pt x="648" y="807"/>
                        <a:pt x="649" y="808"/>
                        <a:pt x="649" y="808"/>
                      </a:cubicBezTo>
                      <a:cubicBezTo>
                        <a:pt x="647" y="809"/>
                        <a:pt x="646" y="806"/>
                        <a:pt x="645" y="807"/>
                      </a:cubicBezTo>
                      <a:cubicBezTo>
                        <a:pt x="643" y="807"/>
                        <a:pt x="643" y="808"/>
                        <a:pt x="643" y="808"/>
                      </a:cubicBezTo>
                      <a:cubicBezTo>
                        <a:pt x="642" y="809"/>
                        <a:pt x="642" y="809"/>
                        <a:pt x="644" y="810"/>
                      </a:cubicBezTo>
                      <a:cubicBezTo>
                        <a:pt x="645" y="810"/>
                        <a:pt x="646" y="810"/>
                        <a:pt x="647" y="810"/>
                      </a:cubicBezTo>
                      <a:cubicBezTo>
                        <a:pt x="647" y="810"/>
                        <a:pt x="649" y="811"/>
                        <a:pt x="649" y="811"/>
                      </a:cubicBezTo>
                      <a:cubicBezTo>
                        <a:pt x="649" y="812"/>
                        <a:pt x="648" y="812"/>
                        <a:pt x="649" y="812"/>
                      </a:cubicBezTo>
                      <a:cubicBezTo>
                        <a:pt x="650" y="812"/>
                        <a:pt x="651" y="812"/>
                        <a:pt x="651" y="812"/>
                      </a:cubicBezTo>
                      <a:cubicBezTo>
                        <a:pt x="652" y="813"/>
                        <a:pt x="652" y="814"/>
                        <a:pt x="650" y="815"/>
                      </a:cubicBezTo>
                      <a:cubicBezTo>
                        <a:pt x="649" y="815"/>
                        <a:pt x="648" y="815"/>
                        <a:pt x="647" y="815"/>
                      </a:cubicBezTo>
                      <a:cubicBezTo>
                        <a:pt x="647" y="816"/>
                        <a:pt x="648" y="817"/>
                        <a:pt x="649" y="816"/>
                      </a:cubicBezTo>
                      <a:cubicBezTo>
                        <a:pt x="649" y="817"/>
                        <a:pt x="649" y="818"/>
                        <a:pt x="651" y="818"/>
                      </a:cubicBezTo>
                      <a:cubicBezTo>
                        <a:pt x="652" y="818"/>
                        <a:pt x="653" y="816"/>
                        <a:pt x="654" y="816"/>
                      </a:cubicBezTo>
                      <a:cubicBezTo>
                        <a:pt x="654" y="817"/>
                        <a:pt x="654" y="817"/>
                        <a:pt x="654" y="817"/>
                      </a:cubicBezTo>
                      <a:cubicBezTo>
                        <a:pt x="654" y="818"/>
                        <a:pt x="655" y="817"/>
                        <a:pt x="656" y="818"/>
                      </a:cubicBezTo>
                      <a:cubicBezTo>
                        <a:pt x="656" y="818"/>
                        <a:pt x="656" y="819"/>
                        <a:pt x="656" y="819"/>
                      </a:cubicBezTo>
                      <a:cubicBezTo>
                        <a:pt x="657" y="820"/>
                        <a:pt x="658" y="820"/>
                        <a:pt x="658" y="821"/>
                      </a:cubicBezTo>
                      <a:cubicBezTo>
                        <a:pt x="659" y="821"/>
                        <a:pt x="660" y="821"/>
                        <a:pt x="662" y="821"/>
                      </a:cubicBezTo>
                      <a:cubicBezTo>
                        <a:pt x="663" y="821"/>
                        <a:pt x="664" y="821"/>
                        <a:pt x="665" y="821"/>
                      </a:cubicBezTo>
                      <a:cubicBezTo>
                        <a:pt x="666" y="822"/>
                        <a:pt x="664" y="822"/>
                        <a:pt x="663" y="822"/>
                      </a:cubicBezTo>
                      <a:cubicBezTo>
                        <a:pt x="666" y="822"/>
                        <a:pt x="669" y="823"/>
                        <a:pt x="671" y="823"/>
                      </a:cubicBezTo>
                      <a:cubicBezTo>
                        <a:pt x="677" y="823"/>
                        <a:pt x="682" y="822"/>
                        <a:pt x="687" y="822"/>
                      </a:cubicBezTo>
                      <a:cubicBezTo>
                        <a:pt x="687" y="822"/>
                        <a:pt x="687" y="822"/>
                        <a:pt x="687" y="8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86"/>
                <p:cNvSpPr>
                  <a:spLocks/>
                </p:cNvSpPr>
                <p:nvPr/>
              </p:nvSpPr>
              <p:spPr bwMode="auto">
                <a:xfrm>
                  <a:off x="3084513" y="4470400"/>
                  <a:ext cx="69850" cy="19050"/>
                </a:xfrm>
                <a:custGeom>
                  <a:avLst/>
                  <a:gdLst>
                    <a:gd name="T0" fmla="*/ 89 w 92"/>
                    <a:gd name="T1" fmla="*/ 13 h 24"/>
                    <a:gd name="T2" fmla="*/ 81 w 92"/>
                    <a:gd name="T3" fmla="*/ 11 h 24"/>
                    <a:gd name="T4" fmla="*/ 71 w 92"/>
                    <a:gd name="T5" fmla="*/ 9 h 24"/>
                    <a:gd name="T6" fmla="*/ 65 w 92"/>
                    <a:gd name="T7" fmla="*/ 8 h 24"/>
                    <a:gd name="T8" fmla="*/ 59 w 92"/>
                    <a:gd name="T9" fmla="*/ 5 h 24"/>
                    <a:gd name="T10" fmla="*/ 52 w 92"/>
                    <a:gd name="T11" fmla="*/ 4 h 24"/>
                    <a:gd name="T12" fmla="*/ 44 w 92"/>
                    <a:gd name="T13" fmla="*/ 2 h 24"/>
                    <a:gd name="T14" fmla="*/ 39 w 92"/>
                    <a:gd name="T15" fmla="*/ 1 h 24"/>
                    <a:gd name="T16" fmla="*/ 35 w 92"/>
                    <a:gd name="T17" fmla="*/ 0 h 24"/>
                    <a:gd name="T18" fmla="*/ 28 w 92"/>
                    <a:gd name="T19" fmla="*/ 6 h 24"/>
                    <a:gd name="T20" fmla="*/ 15 w 92"/>
                    <a:gd name="T21" fmla="*/ 6 h 24"/>
                    <a:gd name="T22" fmla="*/ 6 w 92"/>
                    <a:gd name="T23" fmla="*/ 12 h 24"/>
                    <a:gd name="T24" fmla="*/ 1 w 92"/>
                    <a:gd name="T25" fmla="*/ 15 h 24"/>
                    <a:gd name="T26" fmla="*/ 4 w 92"/>
                    <a:gd name="T27" fmla="*/ 17 h 24"/>
                    <a:gd name="T28" fmla="*/ 13 w 92"/>
                    <a:gd name="T29" fmla="*/ 14 h 24"/>
                    <a:gd name="T30" fmla="*/ 18 w 92"/>
                    <a:gd name="T31" fmla="*/ 12 h 24"/>
                    <a:gd name="T32" fmla="*/ 24 w 92"/>
                    <a:gd name="T33" fmla="*/ 10 h 24"/>
                    <a:gd name="T34" fmla="*/ 28 w 92"/>
                    <a:gd name="T35" fmla="*/ 12 h 24"/>
                    <a:gd name="T36" fmla="*/ 35 w 92"/>
                    <a:gd name="T37" fmla="*/ 11 h 24"/>
                    <a:gd name="T38" fmla="*/ 40 w 92"/>
                    <a:gd name="T39" fmla="*/ 12 h 24"/>
                    <a:gd name="T40" fmla="*/ 44 w 92"/>
                    <a:gd name="T41" fmla="*/ 10 h 24"/>
                    <a:gd name="T42" fmla="*/ 53 w 92"/>
                    <a:gd name="T43" fmla="*/ 16 h 24"/>
                    <a:gd name="T44" fmla="*/ 58 w 92"/>
                    <a:gd name="T45" fmla="*/ 17 h 24"/>
                    <a:gd name="T46" fmla="*/ 60 w 92"/>
                    <a:gd name="T47" fmla="*/ 24 h 24"/>
                    <a:gd name="T48" fmla="*/ 65 w 92"/>
                    <a:gd name="T49" fmla="*/ 21 h 24"/>
                    <a:gd name="T50" fmla="*/ 71 w 92"/>
                    <a:gd name="T51" fmla="*/ 21 h 24"/>
                    <a:gd name="T52" fmla="*/ 89 w 92"/>
                    <a:gd name="T53" fmla="*/ 17 h 24"/>
                    <a:gd name="T54" fmla="*/ 89 w 92"/>
                    <a:gd name="T5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24">
                      <a:moveTo>
                        <a:pt x="89" y="13"/>
                      </a:moveTo>
                      <a:cubicBezTo>
                        <a:pt x="86" y="13"/>
                        <a:pt x="84" y="13"/>
                        <a:pt x="81" y="11"/>
                      </a:cubicBezTo>
                      <a:cubicBezTo>
                        <a:pt x="79" y="10"/>
                        <a:pt x="74" y="11"/>
                        <a:pt x="71" y="9"/>
                      </a:cubicBezTo>
                      <a:cubicBezTo>
                        <a:pt x="69" y="9"/>
                        <a:pt x="67" y="9"/>
                        <a:pt x="65" y="8"/>
                      </a:cubicBezTo>
                      <a:cubicBezTo>
                        <a:pt x="62" y="8"/>
                        <a:pt x="61" y="6"/>
                        <a:pt x="59" y="5"/>
                      </a:cubicBezTo>
                      <a:cubicBezTo>
                        <a:pt x="56" y="4"/>
                        <a:pt x="54" y="5"/>
                        <a:pt x="52" y="4"/>
                      </a:cubicBezTo>
                      <a:cubicBezTo>
                        <a:pt x="49" y="3"/>
                        <a:pt x="47" y="2"/>
                        <a:pt x="44" y="2"/>
                      </a:cubicBezTo>
                      <a:cubicBezTo>
                        <a:pt x="42" y="1"/>
                        <a:pt x="40" y="2"/>
                        <a:pt x="39" y="1"/>
                      </a:cubicBezTo>
                      <a:cubicBezTo>
                        <a:pt x="38" y="0"/>
                        <a:pt x="36" y="0"/>
                        <a:pt x="35" y="0"/>
                      </a:cubicBezTo>
                      <a:cubicBezTo>
                        <a:pt x="32" y="2"/>
                        <a:pt x="31" y="4"/>
                        <a:pt x="28" y="6"/>
                      </a:cubicBezTo>
                      <a:cubicBezTo>
                        <a:pt x="26" y="9"/>
                        <a:pt x="19" y="6"/>
                        <a:pt x="15" y="6"/>
                      </a:cubicBezTo>
                      <a:cubicBezTo>
                        <a:pt x="10" y="5"/>
                        <a:pt x="10" y="10"/>
                        <a:pt x="6" y="12"/>
                      </a:cubicBezTo>
                      <a:cubicBezTo>
                        <a:pt x="5" y="13"/>
                        <a:pt x="1" y="13"/>
                        <a:pt x="1" y="15"/>
                      </a:cubicBezTo>
                      <a:cubicBezTo>
                        <a:pt x="0" y="16"/>
                        <a:pt x="3" y="17"/>
                        <a:pt x="4" y="17"/>
                      </a:cubicBezTo>
                      <a:cubicBezTo>
                        <a:pt x="8" y="17"/>
                        <a:pt x="11" y="16"/>
                        <a:pt x="13" y="14"/>
                      </a:cubicBezTo>
                      <a:cubicBezTo>
                        <a:pt x="15" y="13"/>
                        <a:pt x="17" y="14"/>
                        <a:pt x="18" y="12"/>
                      </a:cubicBezTo>
                      <a:cubicBezTo>
                        <a:pt x="20" y="10"/>
                        <a:pt x="21" y="10"/>
                        <a:pt x="24" y="10"/>
                      </a:cubicBezTo>
                      <a:cubicBezTo>
                        <a:pt x="26" y="10"/>
                        <a:pt x="27" y="11"/>
                        <a:pt x="28" y="12"/>
                      </a:cubicBezTo>
                      <a:cubicBezTo>
                        <a:pt x="31" y="13"/>
                        <a:pt x="33" y="10"/>
                        <a:pt x="35" y="11"/>
                      </a:cubicBezTo>
                      <a:cubicBezTo>
                        <a:pt x="37" y="12"/>
                        <a:pt x="38" y="13"/>
                        <a:pt x="40" y="12"/>
                      </a:cubicBezTo>
                      <a:cubicBezTo>
                        <a:pt x="41" y="12"/>
                        <a:pt x="43" y="9"/>
                        <a:pt x="44" y="10"/>
                      </a:cubicBezTo>
                      <a:cubicBezTo>
                        <a:pt x="48" y="11"/>
                        <a:pt x="50" y="14"/>
                        <a:pt x="53" y="16"/>
                      </a:cubicBezTo>
                      <a:cubicBezTo>
                        <a:pt x="54" y="16"/>
                        <a:pt x="57" y="16"/>
                        <a:pt x="58" y="17"/>
                      </a:cubicBezTo>
                      <a:cubicBezTo>
                        <a:pt x="60" y="18"/>
                        <a:pt x="60" y="22"/>
                        <a:pt x="60" y="24"/>
                      </a:cubicBezTo>
                      <a:cubicBezTo>
                        <a:pt x="63" y="24"/>
                        <a:pt x="64" y="23"/>
                        <a:pt x="65" y="21"/>
                      </a:cubicBezTo>
                      <a:cubicBezTo>
                        <a:pt x="67" y="19"/>
                        <a:pt x="68" y="20"/>
                        <a:pt x="71" y="21"/>
                      </a:cubicBezTo>
                      <a:cubicBezTo>
                        <a:pt x="76" y="22"/>
                        <a:pt x="85" y="19"/>
                        <a:pt x="89" y="17"/>
                      </a:cubicBezTo>
                      <a:cubicBezTo>
                        <a:pt x="92" y="15"/>
                        <a:pt x="92" y="14"/>
                        <a:pt x="8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187"/>
                <p:cNvSpPr>
                  <a:spLocks/>
                </p:cNvSpPr>
                <p:nvPr/>
              </p:nvSpPr>
              <p:spPr bwMode="auto">
                <a:xfrm>
                  <a:off x="2667001" y="4124325"/>
                  <a:ext cx="9525" cy="7938"/>
                </a:xfrm>
                <a:custGeom>
                  <a:avLst/>
                  <a:gdLst>
                    <a:gd name="T0" fmla="*/ 10 w 12"/>
                    <a:gd name="T1" fmla="*/ 6 h 11"/>
                    <a:gd name="T2" fmla="*/ 8 w 12"/>
                    <a:gd name="T3" fmla="*/ 5 h 11"/>
                    <a:gd name="T4" fmla="*/ 4 w 12"/>
                    <a:gd name="T5" fmla="*/ 2 h 11"/>
                    <a:gd name="T6" fmla="*/ 2 w 12"/>
                    <a:gd name="T7" fmla="*/ 1 h 11"/>
                    <a:gd name="T8" fmla="*/ 2 w 12"/>
                    <a:gd name="T9" fmla="*/ 8 h 11"/>
                    <a:gd name="T10" fmla="*/ 6 w 12"/>
                    <a:gd name="T11" fmla="*/ 8 h 11"/>
                    <a:gd name="T12" fmla="*/ 7 w 12"/>
                    <a:gd name="T13" fmla="*/ 11 h 11"/>
                    <a:gd name="T14" fmla="*/ 8 w 12"/>
                    <a:gd name="T15" fmla="*/ 9 h 11"/>
                    <a:gd name="T16" fmla="*/ 10 w 12"/>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10" y="6"/>
                      </a:moveTo>
                      <a:cubicBezTo>
                        <a:pt x="9" y="6"/>
                        <a:pt x="8" y="6"/>
                        <a:pt x="8" y="5"/>
                      </a:cubicBezTo>
                      <a:cubicBezTo>
                        <a:pt x="6" y="4"/>
                        <a:pt x="6" y="2"/>
                        <a:pt x="4" y="2"/>
                      </a:cubicBezTo>
                      <a:cubicBezTo>
                        <a:pt x="3" y="2"/>
                        <a:pt x="3" y="0"/>
                        <a:pt x="2" y="1"/>
                      </a:cubicBezTo>
                      <a:cubicBezTo>
                        <a:pt x="0" y="3"/>
                        <a:pt x="0" y="9"/>
                        <a:pt x="2" y="8"/>
                      </a:cubicBezTo>
                      <a:cubicBezTo>
                        <a:pt x="4" y="6"/>
                        <a:pt x="4" y="6"/>
                        <a:pt x="6" y="8"/>
                      </a:cubicBezTo>
                      <a:cubicBezTo>
                        <a:pt x="6" y="9"/>
                        <a:pt x="7" y="10"/>
                        <a:pt x="7" y="11"/>
                      </a:cubicBezTo>
                      <a:cubicBezTo>
                        <a:pt x="7" y="11"/>
                        <a:pt x="8" y="10"/>
                        <a:pt x="8" y="9"/>
                      </a:cubicBezTo>
                      <a:cubicBezTo>
                        <a:pt x="9" y="8"/>
                        <a:pt x="12" y="7"/>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188"/>
                <p:cNvSpPr>
                  <a:spLocks/>
                </p:cNvSpPr>
                <p:nvPr/>
              </p:nvSpPr>
              <p:spPr bwMode="auto">
                <a:xfrm>
                  <a:off x="2667001" y="4187825"/>
                  <a:ext cx="1588" cy="3175"/>
                </a:xfrm>
                <a:custGeom>
                  <a:avLst/>
                  <a:gdLst>
                    <a:gd name="T0" fmla="*/ 0 w 3"/>
                    <a:gd name="T1" fmla="*/ 3 h 5"/>
                    <a:gd name="T2" fmla="*/ 3 w 3"/>
                    <a:gd name="T3" fmla="*/ 2 h 5"/>
                    <a:gd name="T4" fmla="*/ 2 w 3"/>
                    <a:gd name="T5" fmla="*/ 2 h 5"/>
                    <a:gd name="T6" fmla="*/ 0 w 3"/>
                    <a:gd name="T7" fmla="*/ 3 h 5"/>
                  </a:gdLst>
                  <a:ahLst/>
                  <a:cxnLst>
                    <a:cxn ang="0">
                      <a:pos x="T0" y="T1"/>
                    </a:cxn>
                    <a:cxn ang="0">
                      <a:pos x="T2" y="T3"/>
                    </a:cxn>
                    <a:cxn ang="0">
                      <a:pos x="T4" y="T5"/>
                    </a:cxn>
                    <a:cxn ang="0">
                      <a:pos x="T6" y="T7"/>
                    </a:cxn>
                  </a:cxnLst>
                  <a:rect l="0" t="0" r="r" b="b"/>
                  <a:pathLst>
                    <a:path w="3" h="5">
                      <a:moveTo>
                        <a:pt x="0" y="3"/>
                      </a:moveTo>
                      <a:cubicBezTo>
                        <a:pt x="1" y="4"/>
                        <a:pt x="3" y="5"/>
                        <a:pt x="3" y="2"/>
                      </a:cubicBezTo>
                      <a:cubicBezTo>
                        <a:pt x="2" y="2"/>
                        <a:pt x="2" y="2"/>
                        <a:pt x="2" y="2"/>
                      </a:cubicBezTo>
                      <a:cubicBezTo>
                        <a:pt x="2"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189"/>
                <p:cNvSpPr>
                  <a:spLocks/>
                </p:cNvSpPr>
                <p:nvPr/>
              </p:nvSpPr>
              <p:spPr bwMode="auto">
                <a:xfrm>
                  <a:off x="2679701" y="4208463"/>
                  <a:ext cx="7938" cy="6350"/>
                </a:xfrm>
                <a:custGeom>
                  <a:avLst/>
                  <a:gdLst>
                    <a:gd name="T0" fmla="*/ 3 w 9"/>
                    <a:gd name="T1" fmla="*/ 1 h 8"/>
                    <a:gd name="T2" fmla="*/ 2 w 9"/>
                    <a:gd name="T3" fmla="*/ 7 h 8"/>
                    <a:gd name="T4" fmla="*/ 4 w 9"/>
                    <a:gd name="T5" fmla="*/ 7 h 8"/>
                    <a:gd name="T6" fmla="*/ 7 w 9"/>
                    <a:gd name="T7" fmla="*/ 6 h 8"/>
                    <a:gd name="T8" fmla="*/ 7 w 9"/>
                    <a:gd name="T9" fmla="*/ 1 h 8"/>
                    <a:gd name="T10" fmla="*/ 3 w 9"/>
                    <a:gd name="T11" fmla="*/ 1 h 8"/>
                  </a:gdLst>
                  <a:ahLst/>
                  <a:cxnLst>
                    <a:cxn ang="0">
                      <a:pos x="T0" y="T1"/>
                    </a:cxn>
                    <a:cxn ang="0">
                      <a:pos x="T2" y="T3"/>
                    </a:cxn>
                    <a:cxn ang="0">
                      <a:pos x="T4" y="T5"/>
                    </a:cxn>
                    <a:cxn ang="0">
                      <a:pos x="T6" y="T7"/>
                    </a:cxn>
                    <a:cxn ang="0">
                      <a:pos x="T8" y="T9"/>
                    </a:cxn>
                    <a:cxn ang="0">
                      <a:pos x="T10" y="T11"/>
                    </a:cxn>
                  </a:cxnLst>
                  <a:rect l="0" t="0" r="r" b="b"/>
                  <a:pathLst>
                    <a:path w="9" h="8">
                      <a:moveTo>
                        <a:pt x="3" y="1"/>
                      </a:moveTo>
                      <a:cubicBezTo>
                        <a:pt x="3" y="3"/>
                        <a:pt x="0" y="5"/>
                        <a:pt x="2" y="7"/>
                      </a:cubicBezTo>
                      <a:cubicBezTo>
                        <a:pt x="3" y="8"/>
                        <a:pt x="3" y="8"/>
                        <a:pt x="4" y="7"/>
                      </a:cubicBezTo>
                      <a:cubicBezTo>
                        <a:pt x="5" y="6"/>
                        <a:pt x="6" y="6"/>
                        <a:pt x="7" y="6"/>
                      </a:cubicBezTo>
                      <a:cubicBezTo>
                        <a:pt x="9" y="6"/>
                        <a:pt x="9" y="1"/>
                        <a:pt x="7" y="1"/>
                      </a:cubicBezTo>
                      <a:cubicBezTo>
                        <a:pt x="7" y="0"/>
                        <a:pt x="4"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190"/>
                <p:cNvSpPr>
                  <a:spLocks/>
                </p:cNvSpPr>
                <p:nvPr/>
              </p:nvSpPr>
              <p:spPr bwMode="auto">
                <a:xfrm>
                  <a:off x="2668588" y="4192588"/>
                  <a:ext cx="1588" cy="6350"/>
                </a:xfrm>
                <a:custGeom>
                  <a:avLst/>
                  <a:gdLst>
                    <a:gd name="T0" fmla="*/ 1 w 3"/>
                    <a:gd name="T1" fmla="*/ 6 h 7"/>
                    <a:gd name="T2" fmla="*/ 3 w 3"/>
                    <a:gd name="T3" fmla="*/ 3 h 7"/>
                    <a:gd name="T4" fmla="*/ 1 w 3"/>
                    <a:gd name="T5" fmla="*/ 6 h 7"/>
                  </a:gdLst>
                  <a:ahLst/>
                  <a:cxnLst>
                    <a:cxn ang="0">
                      <a:pos x="T0" y="T1"/>
                    </a:cxn>
                    <a:cxn ang="0">
                      <a:pos x="T2" y="T3"/>
                    </a:cxn>
                    <a:cxn ang="0">
                      <a:pos x="T4" y="T5"/>
                    </a:cxn>
                  </a:cxnLst>
                  <a:rect l="0" t="0" r="r" b="b"/>
                  <a:pathLst>
                    <a:path w="3" h="7">
                      <a:moveTo>
                        <a:pt x="1" y="6"/>
                      </a:moveTo>
                      <a:cubicBezTo>
                        <a:pt x="2" y="7"/>
                        <a:pt x="3" y="5"/>
                        <a:pt x="3" y="3"/>
                      </a:cubicBezTo>
                      <a:cubicBezTo>
                        <a:pt x="2" y="0"/>
                        <a:pt x="0" y="3"/>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191"/>
                <p:cNvSpPr>
                  <a:spLocks/>
                </p:cNvSpPr>
                <p:nvPr/>
              </p:nvSpPr>
              <p:spPr bwMode="auto">
                <a:xfrm>
                  <a:off x="2671763" y="4219575"/>
                  <a:ext cx="3175" cy="6350"/>
                </a:xfrm>
                <a:custGeom>
                  <a:avLst/>
                  <a:gdLst>
                    <a:gd name="T0" fmla="*/ 0 w 3"/>
                    <a:gd name="T1" fmla="*/ 3 h 7"/>
                    <a:gd name="T2" fmla="*/ 2 w 3"/>
                    <a:gd name="T3" fmla="*/ 4 h 7"/>
                    <a:gd name="T4" fmla="*/ 0 w 3"/>
                    <a:gd name="T5" fmla="*/ 3 h 7"/>
                  </a:gdLst>
                  <a:ahLst/>
                  <a:cxnLst>
                    <a:cxn ang="0">
                      <a:pos x="T0" y="T1"/>
                    </a:cxn>
                    <a:cxn ang="0">
                      <a:pos x="T2" y="T3"/>
                    </a:cxn>
                    <a:cxn ang="0">
                      <a:pos x="T4" y="T5"/>
                    </a:cxn>
                  </a:cxnLst>
                  <a:rect l="0" t="0" r="r" b="b"/>
                  <a:pathLst>
                    <a:path w="3" h="7">
                      <a:moveTo>
                        <a:pt x="0" y="3"/>
                      </a:moveTo>
                      <a:cubicBezTo>
                        <a:pt x="0" y="7"/>
                        <a:pt x="3" y="5"/>
                        <a:pt x="2" y="4"/>
                      </a:cubicBezTo>
                      <a:cubicBezTo>
                        <a:pt x="2" y="3"/>
                        <a:pt x="1"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192"/>
                <p:cNvSpPr>
                  <a:spLocks/>
                </p:cNvSpPr>
                <p:nvPr/>
              </p:nvSpPr>
              <p:spPr bwMode="auto">
                <a:xfrm>
                  <a:off x="2687638" y="4213225"/>
                  <a:ext cx="1588" cy="3175"/>
                </a:xfrm>
                <a:custGeom>
                  <a:avLst/>
                  <a:gdLst>
                    <a:gd name="T0" fmla="*/ 2 w 3"/>
                    <a:gd name="T1" fmla="*/ 1 h 4"/>
                    <a:gd name="T2" fmla="*/ 1 w 3"/>
                    <a:gd name="T3" fmla="*/ 4 h 4"/>
                    <a:gd name="T4" fmla="*/ 2 w 3"/>
                    <a:gd name="T5" fmla="*/ 1 h 4"/>
                  </a:gdLst>
                  <a:ahLst/>
                  <a:cxnLst>
                    <a:cxn ang="0">
                      <a:pos x="T0" y="T1"/>
                    </a:cxn>
                    <a:cxn ang="0">
                      <a:pos x="T2" y="T3"/>
                    </a:cxn>
                    <a:cxn ang="0">
                      <a:pos x="T4" y="T5"/>
                    </a:cxn>
                  </a:cxnLst>
                  <a:rect l="0" t="0" r="r" b="b"/>
                  <a:pathLst>
                    <a:path w="3" h="4">
                      <a:moveTo>
                        <a:pt x="2" y="1"/>
                      </a:moveTo>
                      <a:cubicBezTo>
                        <a:pt x="1" y="1"/>
                        <a:pt x="0" y="3"/>
                        <a:pt x="1" y="4"/>
                      </a:cubicBezTo>
                      <a:cubicBezTo>
                        <a:pt x="3" y="4"/>
                        <a:pt x="2"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193"/>
                <p:cNvSpPr>
                  <a:spLocks/>
                </p:cNvSpPr>
                <p:nvPr/>
              </p:nvSpPr>
              <p:spPr bwMode="auto">
                <a:xfrm>
                  <a:off x="2665413" y="419258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2"/>
                        <a:pt x="1" y="2"/>
                      </a:cubicBezTo>
                      <a:cubicBezTo>
                        <a:pt x="2" y="3"/>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194"/>
                <p:cNvSpPr>
                  <a:spLocks/>
                </p:cNvSpPr>
                <p:nvPr/>
              </p:nvSpPr>
              <p:spPr bwMode="auto">
                <a:xfrm>
                  <a:off x="2686051" y="4198938"/>
                  <a:ext cx="9525" cy="9525"/>
                </a:xfrm>
                <a:custGeom>
                  <a:avLst/>
                  <a:gdLst>
                    <a:gd name="T0" fmla="*/ 7 w 13"/>
                    <a:gd name="T1" fmla="*/ 9 h 14"/>
                    <a:gd name="T2" fmla="*/ 12 w 13"/>
                    <a:gd name="T3" fmla="*/ 9 h 14"/>
                    <a:gd name="T4" fmla="*/ 10 w 13"/>
                    <a:gd name="T5" fmla="*/ 7 h 14"/>
                    <a:gd name="T6" fmla="*/ 9 w 13"/>
                    <a:gd name="T7" fmla="*/ 4 h 14"/>
                    <a:gd name="T8" fmla="*/ 5 w 13"/>
                    <a:gd name="T9" fmla="*/ 4 h 14"/>
                    <a:gd name="T10" fmla="*/ 1 w 13"/>
                    <a:gd name="T11" fmla="*/ 8 h 14"/>
                    <a:gd name="T12" fmla="*/ 0 w 13"/>
                    <a:gd name="T13" fmla="*/ 11 h 14"/>
                    <a:gd name="T14" fmla="*/ 2 w 13"/>
                    <a:gd name="T15" fmla="*/ 12 h 14"/>
                    <a:gd name="T16" fmla="*/ 5 w 13"/>
                    <a:gd name="T17" fmla="*/ 14 h 14"/>
                    <a:gd name="T18" fmla="*/ 7 w 13"/>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
                      <a:moveTo>
                        <a:pt x="7" y="9"/>
                      </a:moveTo>
                      <a:cubicBezTo>
                        <a:pt x="7" y="10"/>
                        <a:pt x="13" y="14"/>
                        <a:pt x="12" y="9"/>
                      </a:cubicBezTo>
                      <a:cubicBezTo>
                        <a:pt x="12" y="8"/>
                        <a:pt x="11" y="8"/>
                        <a:pt x="10" y="7"/>
                      </a:cubicBezTo>
                      <a:cubicBezTo>
                        <a:pt x="10" y="6"/>
                        <a:pt x="9" y="5"/>
                        <a:pt x="9" y="4"/>
                      </a:cubicBezTo>
                      <a:cubicBezTo>
                        <a:pt x="8" y="2"/>
                        <a:pt x="5" y="0"/>
                        <a:pt x="5" y="4"/>
                      </a:cubicBezTo>
                      <a:cubicBezTo>
                        <a:pt x="4" y="7"/>
                        <a:pt x="2" y="8"/>
                        <a:pt x="1" y="8"/>
                      </a:cubicBezTo>
                      <a:cubicBezTo>
                        <a:pt x="0" y="8"/>
                        <a:pt x="0" y="9"/>
                        <a:pt x="0" y="11"/>
                      </a:cubicBezTo>
                      <a:cubicBezTo>
                        <a:pt x="0" y="12"/>
                        <a:pt x="1" y="12"/>
                        <a:pt x="2" y="12"/>
                      </a:cubicBezTo>
                      <a:cubicBezTo>
                        <a:pt x="3" y="12"/>
                        <a:pt x="3" y="14"/>
                        <a:pt x="5" y="14"/>
                      </a:cubicBezTo>
                      <a:cubicBezTo>
                        <a:pt x="6" y="14"/>
                        <a:pt x="5" y="8"/>
                        <a:pt x="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195"/>
                <p:cNvSpPr>
                  <a:spLocks/>
                </p:cNvSpPr>
                <p:nvPr/>
              </p:nvSpPr>
              <p:spPr bwMode="auto">
                <a:xfrm>
                  <a:off x="2663826" y="4227513"/>
                  <a:ext cx="4763" cy="4763"/>
                </a:xfrm>
                <a:custGeom>
                  <a:avLst/>
                  <a:gdLst>
                    <a:gd name="T0" fmla="*/ 1 w 5"/>
                    <a:gd name="T1" fmla="*/ 4 h 5"/>
                    <a:gd name="T2" fmla="*/ 3 w 5"/>
                    <a:gd name="T3" fmla="*/ 1 h 5"/>
                    <a:gd name="T4" fmla="*/ 5 w 5"/>
                    <a:gd name="T5" fmla="*/ 0 h 5"/>
                    <a:gd name="T6" fmla="*/ 2 w 5"/>
                    <a:gd name="T7" fmla="*/ 0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5"/>
                        <a:pt x="2" y="1"/>
                        <a:pt x="3" y="1"/>
                      </a:cubicBezTo>
                      <a:cubicBezTo>
                        <a:pt x="4" y="1"/>
                        <a:pt x="5" y="2"/>
                        <a:pt x="5" y="0"/>
                      </a:cubicBezTo>
                      <a:cubicBezTo>
                        <a:pt x="4" y="0"/>
                        <a:pt x="3" y="0"/>
                        <a:pt x="2" y="0"/>
                      </a:cubicBezTo>
                      <a:cubicBezTo>
                        <a:pt x="2" y="1"/>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196"/>
                <p:cNvSpPr>
                  <a:spLocks/>
                </p:cNvSpPr>
                <p:nvPr/>
              </p:nvSpPr>
              <p:spPr bwMode="auto">
                <a:xfrm>
                  <a:off x="2676526" y="4157663"/>
                  <a:ext cx="4763" cy="9525"/>
                </a:xfrm>
                <a:custGeom>
                  <a:avLst/>
                  <a:gdLst>
                    <a:gd name="T0" fmla="*/ 5 w 8"/>
                    <a:gd name="T1" fmla="*/ 9 h 13"/>
                    <a:gd name="T2" fmla="*/ 7 w 8"/>
                    <a:gd name="T3" fmla="*/ 2 h 13"/>
                    <a:gd name="T4" fmla="*/ 2 w 8"/>
                    <a:gd name="T5" fmla="*/ 6 h 13"/>
                    <a:gd name="T6" fmla="*/ 5 w 8"/>
                    <a:gd name="T7" fmla="*/ 9 h 13"/>
                  </a:gdLst>
                  <a:ahLst/>
                  <a:cxnLst>
                    <a:cxn ang="0">
                      <a:pos x="T0" y="T1"/>
                    </a:cxn>
                    <a:cxn ang="0">
                      <a:pos x="T2" y="T3"/>
                    </a:cxn>
                    <a:cxn ang="0">
                      <a:pos x="T4" y="T5"/>
                    </a:cxn>
                    <a:cxn ang="0">
                      <a:pos x="T6" y="T7"/>
                    </a:cxn>
                  </a:cxnLst>
                  <a:rect l="0" t="0" r="r" b="b"/>
                  <a:pathLst>
                    <a:path w="8" h="13">
                      <a:moveTo>
                        <a:pt x="5" y="9"/>
                      </a:moveTo>
                      <a:cubicBezTo>
                        <a:pt x="6" y="7"/>
                        <a:pt x="8" y="4"/>
                        <a:pt x="7" y="2"/>
                      </a:cubicBezTo>
                      <a:cubicBezTo>
                        <a:pt x="6" y="0"/>
                        <a:pt x="0" y="2"/>
                        <a:pt x="2" y="6"/>
                      </a:cubicBezTo>
                      <a:cubicBezTo>
                        <a:pt x="3" y="6"/>
                        <a:pt x="4" y="13"/>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197"/>
                <p:cNvSpPr>
                  <a:spLocks/>
                </p:cNvSpPr>
                <p:nvPr/>
              </p:nvSpPr>
              <p:spPr bwMode="auto">
                <a:xfrm>
                  <a:off x="2674938" y="4214813"/>
                  <a:ext cx="6350" cy="7938"/>
                </a:xfrm>
                <a:custGeom>
                  <a:avLst/>
                  <a:gdLst>
                    <a:gd name="T0" fmla="*/ 1 w 9"/>
                    <a:gd name="T1" fmla="*/ 6 h 11"/>
                    <a:gd name="T2" fmla="*/ 2 w 9"/>
                    <a:gd name="T3" fmla="*/ 10 h 11"/>
                    <a:gd name="T4" fmla="*/ 4 w 9"/>
                    <a:gd name="T5" fmla="*/ 7 h 11"/>
                    <a:gd name="T6" fmla="*/ 9 w 9"/>
                    <a:gd name="T7" fmla="*/ 3 h 11"/>
                    <a:gd name="T8" fmla="*/ 6 w 9"/>
                    <a:gd name="T9" fmla="*/ 0 h 11"/>
                    <a:gd name="T10" fmla="*/ 5 w 9"/>
                    <a:gd name="T11" fmla="*/ 4 h 11"/>
                    <a:gd name="T12" fmla="*/ 3 w 9"/>
                    <a:gd name="T13" fmla="*/ 5 h 11"/>
                    <a:gd name="T14" fmla="*/ 1 w 9"/>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1" y="6"/>
                      </a:moveTo>
                      <a:cubicBezTo>
                        <a:pt x="0" y="7"/>
                        <a:pt x="1" y="11"/>
                        <a:pt x="2" y="10"/>
                      </a:cubicBezTo>
                      <a:cubicBezTo>
                        <a:pt x="3" y="10"/>
                        <a:pt x="3" y="7"/>
                        <a:pt x="4" y="7"/>
                      </a:cubicBezTo>
                      <a:cubicBezTo>
                        <a:pt x="4" y="8"/>
                        <a:pt x="9" y="4"/>
                        <a:pt x="9" y="3"/>
                      </a:cubicBezTo>
                      <a:cubicBezTo>
                        <a:pt x="8" y="1"/>
                        <a:pt x="7" y="0"/>
                        <a:pt x="6" y="0"/>
                      </a:cubicBezTo>
                      <a:cubicBezTo>
                        <a:pt x="4" y="0"/>
                        <a:pt x="4" y="3"/>
                        <a:pt x="5" y="4"/>
                      </a:cubicBezTo>
                      <a:cubicBezTo>
                        <a:pt x="6" y="5"/>
                        <a:pt x="3" y="5"/>
                        <a:pt x="3" y="5"/>
                      </a:cubicBezTo>
                      <a:cubicBezTo>
                        <a:pt x="2" y="5"/>
                        <a:pt x="1" y="4"/>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198"/>
                <p:cNvSpPr>
                  <a:spLocks/>
                </p:cNvSpPr>
                <p:nvPr/>
              </p:nvSpPr>
              <p:spPr bwMode="auto">
                <a:xfrm>
                  <a:off x="2884488" y="4424363"/>
                  <a:ext cx="3175" cy="4763"/>
                </a:xfrm>
                <a:custGeom>
                  <a:avLst/>
                  <a:gdLst>
                    <a:gd name="T0" fmla="*/ 4 w 4"/>
                    <a:gd name="T1" fmla="*/ 4 h 7"/>
                    <a:gd name="T2" fmla="*/ 2 w 4"/>
                    <a:gd name="T3" fmla="*/ 3 h 7"/>
                    <a:gd name="T4" fmla="*/ 1 w 4"/>
                    <a:gd name="T5" fmla="*/ 5 h 7"/>
                    <a:gd name="T6" fmla="*/ 4 w 4"/>
                    <a:gd name="T7" fmla="*/ 4 h 7"/>
                  </a:gdLst>
                  <a:ahLst/>
                  <a:cxnLst>
                    <a:cxn ang="0">
                      <a:pos x="T0" y="T1"/>
                    </a:cxn>
                    <a:cxn ang="0">
                      <a:pos x="T2" y="T3"/>
                    </a:cxn>
                    <a:cxn ang="0">
                      <a:pos x="T4" y="T5"/>
                    </a:cxn>
                    <a:cxn ang="0">
                      <a:pos x="T6" y="T7"/>
                    </a:cxn>
                  </a:cxnLst>
                  <a:rect l="0" t="0" r="r" b="b"/>
                  <a:pathLst>
                    <a:path w="4" h="7">
                      <a:moveTo>
                        <a:pt x="4" y="4"/>
                      </a:moveTo>
                      <a:cubicBezTo>
                        <a:pt x="2" y="3"/>
                        <a:pt x="2" y="3"/>
                        <a:pt x="2" y="3"/>
                      </a:cubicBezTo>
                      <a:cubicBezTo>
                        <a:pt x="0" y="0"/>
                        <a:pt x="1" y="4"/>
                        <a:pt x="1" y="5"/>
                      </a:cubicBezTo>
                      <a:cubicBezTo>
                        <a:pt x="2" y="7"/>
                        <a:pt x="4" y="6"/>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199"/>
                <p:cNvSpPr>
                  <a:spLocks/>
                </p:cNvSpPr>
                <p:nvPr/>
              </p:nvSpPr>
              <p:spPr bwMode="auto">
                <a:xfrm>
                  <a:off x="2792413" y="4210050"/>
                  <a:ext cx="6350" cy="7938"/>
                </a:xfrm>
                <a:custGeom>
                  <a:avLst/>
                  <a:gdLst>
                    <a:gd name="T0" fmla="*/ 4 w 8"/>
                    <a:gd name="T1" fmla="*/ 0 h 11"/>
                    <a:gd name="T2" fmla="*/ 1 w 8"/>
                    <a:gd name="T3" fmla="*/ 2 h 11"/>
                    <a:gd name="T4" fmla="*/ 1 w 8"/>
                    <a:gd name="T5" fmla="*/ 7 h 11"/>
                    <a:gd name="T6" fmla="*/ 2 w 8"/>
                    <a:gd name="T7" fmla="*/ 11 h 11"/>
                    <a:gd name="T8" fmla="*/ 4 w 8"/>
                    <a:gd name="T9" fmla="*/ 9 h 11"/>
                    <a:gd name="T10" fmla="*/ 8 w 8"/>
                    <a:gd name="T11" fmla="*/ 5 h 11"/>
                    <a:gd name="T12" fmla="*/ 4 w 8"/>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 h="11">
                      <a:moveTo>
                        <a:pt x="4" y="0"/>
                      </a:moveTo>
                      <a:cubicBezTo>
                        <a:pt x="3" y="0"/>
                        <a:pt x="2" y="1"/>
                        <a:pt x="1" y="2"/>
                      </a:cubicBezTo>
                      <a:cubicBezTo>
                        <a:pt x="0" y="4"/>
                        <a:pt x="1" y="5"/>
                        <a:pt x="1" y="7"/>
                      </a:cubicBezTo>
                      <a:cubicBezTo>
                        <a:pt x="1" y="8"/>
                        <a:pt x="1" y="10"/>
                        <a:pt x="2" y="11"/>
                      </a:cubicBezTo>
                      <a:cubicBezTo>
                        <a:pt x="3" y="11"/>
                        <a:pt x="4" y="10"/>
                        <a:pt x="4" y="9"/>
                      </a:cubicBezTo>
                      <a:cubicBezTo>
                        <a:pt x="5" y="7"/>
                        <a:pt x="7" y="7"/>
                        <a:pt x="8" y="5"/>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00"/>
                <p:cNvSpPr>
                  <a:spLocks/>
                </p:cNvSpPr>
                <p:nvPr/>
              </p:nvSpPr>
              <p:spPr bwMode="auto">
                <a:xfrm>
                  <a:off x="2790826" y="4195763"/>
                  <a:ext cx="7938" cy="12700"/>
                </a:xfrm>
                <a:custGeom>
                  <a:avLst/>
                  <a:gdLst>
                    <a:gd name="T0" fmla="*/ 7 w 10"/>
                    <a:gd name="T1" fmla="*/ 3 h 17"/>
                    <a:gd name="T2" fmla="*/ 3 w 10"/>
                    <a:gd name="T3" fmla="*/ 0 h 17"/>
                    <a:gd name="T4" fmla="*/ 3 w 10"/>
                    <a:gd name="T5" fmla="*/ 10 h 17"/>
                    <a:gd name="T6" fmla="*/ 2 w 10"/>
                    <a:gd name="T7" fmla="*/ 16 h 17"/>
                    <a:gd name="T8" fmla="*/ 5 w 10"/>
                    <a:gd name="T9" fmla="*/ 15 h 17"/>
                    <a:gd name="T10" fmla="*/ 9 w 10"/>
                    <a:gd name="T11" fmla="*/ 14 h 17"/>
                    <a:gd name="T12" fmla="*/ 9 w 10"/>
                    <a:gd name="T13" fmla="*/ 9 h 17"/>
                    <a:gd name="T14" fmla="*/ 7 w 10"/>
                    <a:gd name="T15" fmla="*/ 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7" y="3"/>
                      </a:moveTo>
                      <a:cubicBezTo>
                        <a:pt x="6" y="1"/>
                        <a:pt x="3" y="1"/>
                        <a:pt x="3" y="0"/>
                      </a:cubicBezTo>
                      <a:cubicBezTo>
                        <a:pt x="0" y="3"/>
                        <a:pt x="3" y="7"/>
                        <a:pt x="3" y="10"/>
                      </a:cubicBezTo>
                      <a:cubicBezTo>
                        <a:pt x="3" y="12"/>
                        <a:pt x="2" y="14"/>
                        <a:pt x="2" y="16"/>
                      </a:cubicBezTo>
                      <a:cubicBezTo>
                        <a:pt x="3" y="17"/>
                        <a:pt x="5" y="16"/>
                        <a:pt x="5" y="15"/>
                      </a:cubicBezTo>
                      <a:cubicBezTo>
                        <a:pt x="7" y="12"/>
                        <a:pt x="7" y="15"/>
                        <a:pt x="9" y="14"/>
                      </a:cubicBezTo>
                      <a:cubicBezTo>
                        <a:pt x="10" y="14"/>
                        <a:pt x="9" y="10"/>
                        <a:pt x="9" y="9"/>
                      </a:cubicBezTo>
                      <a:cubicBezTo>
                        <a:pt x="8" y="7"/>
                        <a:pt x="8"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201"/>
                <p:cNvSpPr>
                  <a:spLocks/>
                </p:cNvSpPr>
                <p:nvPr/>
              </p:nvSpPr>
              <p:spPr bwMode="auto">
                <a:xfrm>
                  <a:off x="2909888" y="4486275"/>
                  <a:ext cx="6350" cy="6350"/>
                </a:xfrm>
                <a:custGeom>
                  <a:avLst/>
                  <a:gdLst>
                    <a:gd name="T0" fmla="*/ 7 w 7"/>
                    <a:gd name="T1" fmla="*/ 5 h 7"/>
                    <a:gd name="T2" fmla="*/ 5 w 7"/>
                    <a:gd name="T3" fmla="*/ 1 h 7"/>
                    <a:gd name="T4" fmla="*/ 1 w 7"/>
                    <a:gd name="T5" fmla="*/ 0 h 7"/>
                    <a:gd name="T6" fmla="*/ 2 w 7"/>
                    <a:gd name="T7" fmla="*/ 4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7" y="4"/>
                        <a:pt x="5" y="3"/>
                        <a:pt x="5" y="1"/>
                      </a:cubicBezTo>
                      <a:cubicBezTo>
                        <a:pt x="4" y="1"/>
                        <a:pt x="2" y="0"/>
                        <a:pt x="1" y="0"/>
                      </a:cubicBezTo>
                      <a:cubicBezTo>
                        <a:pt x="0" y="1"/>
                        <a:pt x="1" y="3"/>
                        <a:pt x="2" y="4"/>
                      </a:cubicBezTo>
                      <a:cubicBezTo>
                        <a:pt x="3" y="5"/>
                        <a:pt x="6" y="7"/>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202"/>
                <p:cNvSpPr>
                  <a:spLocks/>
                </p:cNvSpPr>
                <p:nvPr/>
              </p:nvSpPr>
              <p:spPr bwMode="auto">
                <a:xfrm>
                  <a:off x="2898776" y="4481513"/>
                  <a:ext cx="7938" cy="7938"/>
                </a:xfrm>
                <a:custGeom>
                  <a:avLst/>
                  <a:gdLst>
                    <a:gd name="T0" fmla="*/ 4 w 10"/>
                    <a:gd name="T1" fmla="*/ 9 h 11"/>
                    <a:gd name="T2" fmla="*/ 9 w 10"/>
                    <a:gd name="T3" fmla="*/ 9 h 11"/>
                    <a:gd name="T4" fmla="*/ 7 w 10"/>
                    <a:gd name="T5" fmla="*/ 5 h 11"/>
                    <a:gd name="T6" fmla="*/ 4 w 10"/>
                    <a:gd name="T7" fmla="*/ 9 h 11"/>
                  </a:gdLst>
                  <a:ahLst/>
                  <a:cxnLst>
                    <a:cxn ang="0">
                      <a:pos x="T0" y="T1"/>
                    </a:cxn>
                    <a:cxn ang="0">
                      <a:pos x="T2" y="T3"/>
                    </a:cxn>
                    <a:cxn ang="0">
                      <a:pos x="T4" y="T5"/>
                    </a:cxn>
                    <a:cxn ang="0">
                      <a:pos x="T6" y="T7"/>
                    </a:cxn>
                  </a:cxnLst>
                  <a:rect l="0" t="0" r="r" b="b"/>
                  <a:pathLst>
                    <a:path w="10" h="11">
                      <a:moveTo>
                        <a:pt x="4" y="9"/>
                      </a:moveTo>
                      <a:cubicBezTo>
                        <a:pt x="6" y="10"/>
                        <a:pt x="9" y="11"/>
                        <a:pt x="9" y="9"/>
                      </a:cubicBezTo>
                      <a:cubicBezTo>
                        <a:pt x="10" y="7"/>
                        <a:pt x="7" y="7"/>
                        <a:pt x="7" y="5"/>
                      </a:cubicBezTo>
                      <a:cubicBezTo>
                        <a:pt x="1" y="0"/>
                        <a:pt x="0" y="5"/>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203"/>
                <p:cNvSpPr>
                  <a:spLocks/>
                </p:cNvSpPr>
                <p:nvPr/>
              </p:nvSpPr>
              <p:spPr bwMode="auto">
                <a:xfrm>
                  <a:off x="2894013" y="4430713"/>
                  <a:ext cx="7938" cy="4763"/>
                </a:xfrm>
                <a:custGeom>
                  <a:avLst/>
                  <a:gdLst>
                    <a:gd name="T0" fmla="*/ 2 w 11"/>
                    <a:gd name="T1" fmla="*/ 4 h 8"/>
                    <a:gd name="T2" fmla="*/ 7 w 11"/>
                    <a:gd name="T3" fmla="*/ 8 h 8"/>
                    <a:gd name="T4" fmla="*/ 9 w 11"/>
                    <a:gd name="T5" fmla="*/ 4 h 8"/>
                    <a:gd name="T6" fmla="*/ 2 w 11"/>
                    <a:gd name="T7" fmla="*/ 4 h 8"/>
                  </a:gdLst>
                  <a:ahLst/>
                  <a:cxnLst>
                    <a:cxn ang="0">
                      <a:pos x="T0" y="T1"/>
                    </a:cxn>
                    <a:cxn ang="0">
                      <a:pos x="T2" y="T3"/>
                    </a:cxn>
                    <a:cxn ang="0">
                      <a:pos x="T4" y="T5"/>
                    </a:cxn>
                    <a:cxn ang="0">
                      <a:pos x="T6" y="T7"/>
                    </a:cxn>
                  </a:cxnLst>
                  <a:rect l="0" t="0" r="r" b="b"/>
                  <a:pathLst>
                    <a:path w="11" h="8">
                      <a:moveTo>
                        <a:pt x="2" y="4"/>
                      </a:moveTo>
                      <a:cubicBezTo>
                        <a:pt x="3" y="6"/>
                        <a:pt x="5" y="7"/>
                        <a:pt x="7" y="8"/>
                      </a:cubicBezTo>
                      <a:cubicBezTo>
                        <a:pt x="9" y="8"/>
                        <a:pt x="11" y="6"/>
                        <a:pt x="9" y="4"/>
                      </a:cubicBezTo>
                      <a:cubicBezTo>
                        <a:pt x="7" y="3"/>
                        <a:pt x="0" y="0"/>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204"/>
                <p:cNvSpPr>
                  <a:spLocks/>
                </p:cNvSpPr>
                <p:nvPr/>
              </p:nvSpPr>
              <p:spPr bwMode="auto">
                <a:xfrm>
                  <a:off x="2713038" y="4170363"/>
                  <a:ext cx="9525" cy="17463"/>
                </a:xfrm>
                <a:custGeom>
                  <a:avLst/>
                  <a:gdLst>
                    <a:gd name="T0" fmla="*/ 10 w 12"/>
                    <a:gd name="T1" fmla="*/ 1 h 24"/>
                    <a:gd name="T2" fmla="*/ 7 w 12"/>
                    <a:gd name="T3" fmla="*/ 7 h 24"/>
                    <a:gd name="T4" fmla="*/ 2 w 12"/>
                    <a:gd name="T5" fmla="*/ 16 h 24"/>
                    <a:gd name="T6" fmla="*/ 0 w 12"/>
                    <a:gd name="T7" fmla="*/ 21 h 24"/>
                    <a:gd name="T8" fmla="*/ 2 w 12"/>
                    <a:gd name="T9" fmla="*/ 23 h 24"/>
                    <a:gd name="T10" fmla="*/ 5 w 12"/>
                    <a:gd name="T11" fmla="*/ 22 h 24"/>
                    <a:gd name="T12" fmla="*/ 10 w 12"/>
                    <a:gd name="T13" fmla="*/ 16 h 24"/>
                    <a:gd name="T14" fmla="*/ 10 w 12"/>
                    <a:gd name="T15" fmla="*/ 6 h 24"/>
                    <a:gd name="T16" fmla="*/ 10 w 12"/>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10" y="1"/>
                      </a:moveTo>
                      <a:cubicBezTo>
                        <a:pt x="8" y="2"/>
                        <a:pt x="7" y="4"/>
                        <a:pt x="7" y="7"/>
                      </a:cubicBezTo>
                      <a:cubicBezTo>
                        <a:pt x="7" y="12"/>
                        <a:pt x="3" y="13"/>
                        <a:pt x="2" y="16"/>
                      </a:cubicBezTo>
                      <a:cubicBezTo>
                        <a:pt x="1" y="17"/>
                        <a:pt x="0" y="19"/>
                        <a:pt x="0" y="21"/>
                      </a:cubicBezTo>
                      <a:cubicBezTo>
                        <a:pt x="0" y="22"/>
                        <a:pt x="1" y="23"/>
                        <a:pt x="2" y="23"/>
                      </a:cubicBezTo>
                      <a:cubicBezTo>
                        <a:pt x="4" y="24"/>
                        <a:pt x="3" y="23"/>
                        <a:pt x="5" y="22"/>
                      </a:cubicBezTo>
                      <a:cubicBezTo>
                        <a:pt x="6" y="19"/>
                        <a:pt x="9" y="19"/>
                        <a:pt x="10" y="16"/>
                      </a:cubicBezTo>
                      <a:cubicBezTo>
                        <a:pt x="12" y="13"/>
                        <a:pt x="9" y="10"/>
                        <a:pt x="10" y="6"/>
                      </a:cubicBezTo>
                      <a:cubicBezTo>
                        <a:pt x="11" y="5"/>
                        <a:pt x="12"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205"/>
                <p:cNvSpPr>
                  <a:spLocks/>
                </p:cNvSpPr>
                <p:nvPr/>
              </p:nvSpPr>
              <p:spPr bwMode="auto">
                <a:xfrm>
                  <a:off x="2695576" y="4208463"/>
                  <a:ext cx="3175" cy="3175"/>
                </a:xfrm>
                <a:custGeom>
                  <a:avLst/>
                  <a:gdLst>
                    <a:gd name="T0" fmla="*/ 1 w 4"/>
                    <a:gd name="T1" fmla="*/ 0 h 5"/>
                    <a:gd name="T2" fmla="*/ 0 w 4"/>
                    <a:gd name="T3" fmla="*/ 3 h 5"/>
                    <a:gd name="T4" fmla="*/ 2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0" y="0"/>
                        <a:pt x="0" y="2"/>
                        <a:pt x="0" y="3"/>
                      </a:cubicBezTo>
                      <a:cubicBezTo>
                        <a:pt x="0" y="5"/>
                        <a:pt x="2" y="5"/>
                        <a:pt x="2" y="5"/>
                      </a:cubicBezTo>
                      <a:cubicBezTo>
                        <a:pt x="4" y="5"/>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206"/>
                <p:cNvSpPr>
                  <a:spLocks/>
                </p:cNvSpPr>
                <p:nvPr/>
              </p:nvSpPr>
              <p:spPr bwMode="auto">
                <a:xfrm>
                  <a:off x="2795588" y="4221163"/>
                  <a:ext cx="6350" cy="14288"/>
                </a:xfrm>
                <a:custGeom>
                  <a:avLst/>
                  <a:gdLst>
                    <a:gd name="T0" fmla="*/ 5 w 10"/>
                    <a:gd name="T1" fmla="*/ 3 h 18"/>
                    <a:gd name="T2" fmla="*/ 1 w 10"/>
                    <a:gd name="T3" fmla="*/ 1 h 18"/>
                    <a:gd name="T4" fmla="*/ 0 w 10"/>
                    <a:gd name="T5" fmla="*/ 5 h 18"/>
                    <a:gd name="T6" fmla="*/ 2 w 10"/>
                    <a:gd name="T7" fmla="*/ 9 h 18"/>
                    <a:gd name="T8" fmla="*/ 6 w 10"/>
                    <a:gd name="T9" fmla="*/ 17 h 18"/>
                    <a:gd name="T10" fmla="*/ 4 w 10"/>
                    <a:gd name="T11" fmla="*/ 8 h 18"/>
                    <a:gd name="T12" fmla="*/ 5 w 10"/>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3"/>
                      </a:moveTo>
                      <a:cubicBezTo>
                        <a:pt x="5" y="3"/>
                        <a:pt x="1" y="0"/>
                        <a:pt x="1" y="1"/>
                      </a:cubicBezTo>
                      <a:cubicBezTo>
                        <a:pt x="1" y="3"/>
                        <a:pt x="0" y="3"/>
                        <a:pt x="0" y="5"/>
                      </a:cubicBezTo>
                      <a:cubicBezTo>
                        <a:pt x="1" y="7"/>
                        <a:pt x="2" y="8"/>
                        <a:pt x="2" y="9"/>
                      </a:cubicBezTo>
                      <a:cubicBezTo>
                        <a:pt x="3" y="12"/>
                        <a:pt x="4" y="16"/>
                        <a:pt x="6" y="17"/>
                      </a:cubicBezTo>
                      <a:cubicBezTo>
                        <a:pt x="10" y="18"/>
                        <a:pt x="5" y="9"/>
                        <a:pt x="4" y="8"/>
                      </a:cubicBezTo>
                      <a:cubicBezTo>
                        <a:pt x="3" y="6"/>
                        <a:pt x="6" y="6"/>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207"/>
                <p:cNvSpPr>
                  <a:spLocks/>
                </p:cNvSpPr>
                <p:nvPr/>
              </p:nvSpPr>
              <p:spPr bwMode="auto">
                <a:xfrm>
                  <a:off x="2779713" y="4171950"/>
                  <a:ext cx="7938" cy="12700"/>
                </a:xfrm>
                <a:custGeom>
                  <a:avLst/>
                  <a:gdLst>
                    <a:gd name="T0" fmla="*/ 12 w 12"/>
                    <a:gd name="T1" fmla="*/ 12 h 18"/>
                    <a:gd name="T2" fmla="*/ 9 w 12"/>
                    <a:gd name="T3" fmla="*/ 9 h 18"/>
                    <a:gd name="T4" fmla="*/ 6 w 12"/>
                    <a:gd name="T5" fmla="*/ 3 h 18"/>
                    <a:gd name="T6" fmla="*/ 1 w 12"/>
                    <a:gd name="T7" fmla="*/ 9 h 18"/>
                    <a:gd name="T8" fmla="*/ 4 w 12"/>
                    <a:gd name="T9" fmla="*/ 11 h 18"/>
                    <a:gd name="T10" fmla="*/ 6 w 12"/>
                    <a:gd name="T11" fmla="*/ 13 h 18"/>
                    <a:gd name="T12" fmla="*/ 12 w 12"/>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12" y="12"/>
                      </a:moveTo>
                      <a:cubicBezTo>
                        <a:pt x="12" y="10"/>
                        <a:pt x="10" y="10"/>
                        <a:pt x="9" y="9"/>
                      </a:cubicBezTo>
                      <a:cubicBezTo>
                        <a:pt x="8" y="7"/>
                        <a:pt x="7" y="5"/>
                        <a:pt x="6" y="3"/>
                      </a:cubicBezTo>
                      <a:cubicBezTo>
                        <a:pt x="3" y="0"/>
                        <a:pt x="0" y="3"/>
                        <a:pt x="1" y="9"/>
                      </a:cubicBezTo>
                      <a:cubicBezTo>
                        <a:pt x="1" y="11"/>
                        <a:pt x="2" y="11"/>
                        <a:pt x="4" y="11"/>
                      </a:cubicBezTo>
                      <a:cubicBezTo>
                        <a:pt x="5" y="11"/>
                        <a:pt x="5" y="12"/>
                        <a:pt x="6" y="13"/>
                      </a:cubicBezTo>
                      <a:cubicBezTo>
                        <a:pt x="8" y="15"/>
                        <a:pt x="12" y="18"/>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208"/>
                <p:cNvSpPr>
                  <a:spLocks/>
                </p:cNvSpPr>
                <p:nvPr/>
              </p:nvSpPr>
              <p:spPr bwMode="auto">
                <a:xfrm>
                  <a:off x="2784476" y="4186238"/>
                  <a:ext cx="3175" cy="4763"/>
                </a:xfrm>
                <a:custGeom>
                  <a:avLst/>
                  <a:gdLst>
                    <a:gd name="T0" fmla="*/ 2 w 5"/>
                    <a:gd name="T1" fmla="*/ 5 h 7"/>
                    <a:gd name="T2" fmla="*/ 4 w 5"/>
                    <a:gd name="T3" fmla="*/ 2 h 7"/>
                    <a:gd name="T4" fmla="*/ 2 w 5"/>
                    <a:gd name="T5" fmla="*/ 5 h 7"/>
                  </a:gdLst>
                  <a:ahLst/>
                  <a:cxnLst>
                    <a:cxn ang="0">
                      <a:pos x="T0" y="T1"/>
                    </a:cxn>
                    <a:cxn ang="0">
                      <a:pos x="T2" y="T3"/>
                    </a:cxn>
                    <a:cxn ang="0">
                      <a:pos x="T4" y="T5"/>
                    </a:cxn>
                  </a:cxnLst>
                  <a:rect l="0" t="0" r="r" b="b"/>
                  <a:pathLst>
                    <a:path w="5" h="7">
                      <a:moveTo>
                        <a:pt x="2" y="5"/>
                      </a:moveTo>
                      <a:cubicBezTo>
                        <a:pt x="5" y="7"/>
                        <a:pt x="5" y="1"/>
                        <a:pt x="4" y="2"/>
                      </a:cubicBezTo>
                      <a:cubicBezTo>
                        <a:pt x="2" y="0"/>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209"/>
                <p:cNvSpPr>
                  <a:spLocks/>
                </p:cNvSpPr>
                <p:nvPr/>
              </p:nvSpPr>
              <p:spPr bwMode="auto">
                <a:xfrm>
                  <a:off x="3227388" y="4518025"/>
                  <a:ext cx="3175" cy="3175"/>
                </a:xfrm>
                <a:custGeom>
                  <a:avLst/>
                  <a:gdLst>
                    <a:gd name="T0" fmla="*/ 2 w 3"/>
                    <a:gd name="T1" fmla="*/ 2 h 3"/>
                    <a:gd name="T2" fmla="*/ 1 w 3"/>
                    <a:gd name="T3" fmla="*/ 0 h 3"/>
                    <a:gd name="T4" fmla="*/ 0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3" y="1"/>
                        <a:pt x="2" y="1"/>
                        <a:pt x="1" y="0"/>
                      </a:cubicBezTo>
                      <a:cubicBezTo>
                        <a:pt x="1" y="1"/>
                        <a:pt x="0" y="2"/>
                        <a:pt x="0" y="2"/>
                      </a:cubicBezTo>
                      <a:cubicBezTo>
                        <a:pt x="0" y="3"/>
                        <a:pt x="1"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210"/>
                <p:cNvSpPr>
                  <a:spLocks/>
                </p:cNvSpPr>
                <p:nvPr/>
              </p:nvSpPr>
              <p:spPr bwMode="auto">
                <a:xfrm>
                  <a:off x="3662363" y="4406900"/>
                  <a:ext cx="4763" cy="12700"/>
                </a:xfrm>
                <a:custGeom>
                  <a:avLst/>
                  <a:gdLst>
                    <a:gd name="T0" fmla="*/ 3 w 6"/>
                    <a:gd name="T1" fmla="*/ 13 h 16"/>
                    <a:gd name="T2" fmla="*/ 6 w 6"/>
                    <a:gd name="T3" fmla="*/ 8 h 16"/>
                    <a:gd name="T4" fmla="*/ 5 w 6"/>
                    <a:gd name="T5" fmla="*/ 3 h 16"/>
                    <a:gd name="T6" fmla="*/ 3 w 6"/>
                    <a:gd name="T7" fmla="*/ 0 h 16"/>
                    <a:gd name="T8" fmla="*/ 1 w 6"/>
                    <a:gd name="T9" fmla="*/ 6 h 16"/>
                    <a:gd name="T10" fmla="*/ 0 w 6"/>
                    <a:gd name="T11" fmla="*/ 11 h 16"/>
                    <a:gd name="T12" fmla="*/ 0 w 6"/>
                    <a:gd name="T13" fmla="*/ 15 h 16"/>
                    <a:gd name="T14" fmla="*/ 3 w 6"/>
                    <a:gd name="T15" fmla="*/ 1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3"/>
                      </a:moveTo>
                      <a:cubicBezTo>
                        <a:pt x="4" y="11"/>
                        <a:pt x="5" y="10"/>
                        <a:pt x="6" y="8"/>
                      </a:cubicBezTo>
                      <a:cubicBezTo>
                        <a:pt x="6" y="6"/>
                        <a:pt x="6" y="4"/>
                        <a:pt x="5" y="3"/>
                      </a:cubicBezTo>
                      <a:cubicBezTo>
                        <a:pt x="5" y="1"/>
                        <a:pt x="4" y="0"/>
                        <a:pt x="3" y="0"/>
                      </a:cubicBezTo>
                      <a:cubicBezTo>
                        <a:pt x="2" y="1"/>
                        <a:pt x="1" y="5"/>
                        <a:pt x="1" y="6"/>
                      </a:cubicBezTo>
                      <a:cubicBezTo>
                        <a:pt x="0" y="8"/>
                        <a:pt x="0" y="9"/>
                        <a:pt x="0" y="11"/>
                      </a:cubicBezTo>
                      <a:cubicBezTo>
                        <a:pt x="0" y="12"/>
                        <a:pt x="0" y="14"/>
                        <a:pt x="0" y="15"/>
                      </a:cubicBezTo>
                      <a:cubicBezTo>
                        <a:pt x="1" y="16"/>
                        <a:pt x="2" y="14"/>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211"/>
                <p:cNvSpPr>
                  <a:spLocks/>
                </p:cNvSpPr>
                <p:nvPr/>
              </p:nvSpPr>
              <p:spPr bwMode="auto">
                <a:xfrm>
                  <a:off x="3563938" y="4497388"/>
                  <a:ext cx="25400" cy="50800"/>
                </a:xfrm>
                <a:custGeom>
                  <a:avLst/>
                  <a:gdLst>
                    <a:gd name="T0" fmla="*/ 3 w 34"/>
                    <a:gd name="T1" fmla="*/ 65 h 66"/>
                    <a:gd name="T2" fmla="*/ 9 w 34"/>
                    <a:gd name="T3" fmla="*/ 62 h 66"/>
                    <a:gd name="T4" fmla="*/ 11 w 34"/>
                    <a:gd name="T5" fmla="*/ 59 h 66"/>
                    <a:gd name="T6" fmla="*/ 14 w 34"/>
                    <a:gd name="T7" fmla="*/ 53 h 66"/>
                    <a:gd name="T8" fmla="*/ 19 w 34"/>
                    <a:gd name="T9" fmla="*/ 43 h 66"/>
                    <a:gd name="T10" fmla="*/ 25 w 34"/>
                    <a:gd name="T11" fmla="*/ 31 h 66"/>
                    <a:gd name="T12" fmla="*/ 27 w 34"/>
                    <a:gd name="T13" fmla="*/ 26 h 66"/>
                    <a:gd name="T14" fmla="*/ 29 w 34"/>
                    <a:gd name="T15" fmla="*/ 23 h 66"/>
                    <a:gd name="T16" fmla="*/ 31 w 34"/>
                    <a:gd name="T17" fmla="*/ 17 h 66"/>
                    <a:gd name="T18" fmla="*/ 33 w 34"/>
                    <a:gd name="T19" fmla="*/ 13 h 66"/>
                    <a:gd name="T20" fmla="*/ 33 w 34"/>
                    <a:gd name="T21" fmla="*/ 9 h 66"/>
                    <a:gd name="T22" fmla="*/ 32 w 34"/>
                    <a:gd name="T23" fmla="*/ 4 h 66"/>
                    <a:gd name="T24" fmla="*/ 30 w 34"/>
                    <a:gd name="T25" fmla="*/ 7 h 66"/>
                    <a:gd name="T26" fmla="*/ 27 w 34"/>
                    <a:gd name="T27" fmla="*/ 9 h 66"/>
                    <a:gd name="T28" fmla="*/ 26 w 34"/>
                    <a:gd name="T29" fmla="*/ 12 h 66"/>
                    <a:gd name="T30" fmla="*/ 27 w 34"/>
                    <a:gd name="T31" fmla="*/ 13 h 66"/>
                    <a:gd name="T32" fmla="*/ 23 w 34"/>
                    <a:gd name="T33" fmla="*/ 18 h 66"/>
                    <a:gd name="T34" fmla="*/ 20 w 34"/>
                    <a:gd name="T35" fmla="*/ 21 h 66"/>
                    <a:gd name="T36" fmla="*/ 17 w 34"/>
                    <a:gd name="T37" fmla="*/ 23 h 66"/>
                    <a:gd name="T38" fmla="*/ 13 w 34"/>
                    <a:gd name="T39" fmla="*/ 28 h 66"/>
                    <a:gd name="T40" fmla="*/ 12 w 34"/>
                    <a:gd name="T41" fmla="*/ 32 h 66"/>
                    <a:gd name="T42" fmla="*/ 10 w 34"/>
                    <a:gd name="T43" fmla="*/ 38 h 66"/>
                    <a:gd name="T44" fmla="*/ 6 w 34"/>
                    <a:gd name="T45" fmla="*/ 47 h 66"/>
                    <a:gd name="T46" fmla="*/ 4 w 34"/>
                    <a:gd name="T47" fmla="*/ 51 h 66"/>
                    <a:gd name="T48" fmla="*/ 2 w 34"/>
                    <a:gd name="T49" fmla="*/ 55 h 66"/>
                    <a:gd name="T50" fmla="*/ 1 w 34"/>
                    <a:gd name="T51" fmla="*/ 60 h 66"/>
                    <a:gd name="T52" fmla="*/ 3 w 34"/>
                    <a:gd name="T53"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66">
                      <a:moveTo>
                        <a:pt x="3" y="65"/>
                      </a:moveTo>
                      <a:cubicBezTo>
                        <a:pt x="4" y="66"/>
                        <a:pt x="7" y="64"/>
                        <a:pt x="9" y="62"/>
                      </a:cubicBezTo>
                      <a:cubicBezTo>
                        <a:pt x="9" y="61"/>
                        <a:pt x="11" y="60"/>
                        <a:pt x="11" y="59"/>
                      </a:cubicBezTo>
                      <a:cubicBezTo>
                        <a:pt x="12" y="57"/>
                        <a:pt x="13" y="55"/>
                        <a:pt x="14" y="53"/>
                      </a:cubicBezTo>
                      <a:cubicBezTo>
                        <a:pt x="16" y="50"/>
                        <a:pt x="18" y="46"/>
                        <a:pt x="19" y="43"/>
                      </a:cubicBezTo>
                      <a:cubicBezTo>
                        <a:pt x="21" y="39"/>
                        <a:pt x="23" y="35"/>
                        <a:pt x="25" y="31"/>
                      </a:cubicBezTo>
                      <a:cubicBezTo>
                        <a:pt x="25" y="29"/>
                        <a:pt x="26" y="28"/>
                        <a:pt x="27" y="26"/>
                      </a:cubicBezTo>
                      <a:cubicBezTo>
                        <a:pt x="27" y="25"/>
                        <a:pt x="28" y="24"/>
                        <a:pt x="29" y="23"/>
                      </a:cubicBezTo>
                      <a:cubicBezTo>
                        <a:pt x="29" y="21"/>
                        <a:pt x="30" y="18"/>
                        <a:pt x="31" y="17"/>
                      </a:cubicBezTo>
                      <a:cubicBezTo>
                        <a:pt x="33" y="16"/>
                        <a:pt x="33" y="15"/>
                        <a:pt x="33" y="13"/>
                      </a:cubicBezTo>
                      <a:cubicBezTo>
                        <a:pt x="34" y="11"/>
                        <a:pt x="34" y="9"/>
                        <a:pt x="33" y="9"/>
                      </a:cubicBezTo>
                      <a:cubicBezTo>
                        <a:pt x="33" y="8"/>
                        <a:pt x="34" y="0"/>
                        <a:pt x="32" y="4"/>
                      </a:cubicBezTo>
                      <a:cubicBezTo>
                        <a:pt x="32" y="5"/>
                        <a:pt x="30" y="6"/>
                        <a:pt x="30" y="7"/>
                      </a:cubicBezTo>
                      <a:cubicBezTo>
                        <a:pt x="29" y="8"/>
                        <a:pt x="28" y="8"/>
                        <a:pt x="27" y="9"/>
                      </a:cubicBezTo>
                      <a:cubicBezTo>
                        <a:pt x="27" y="10"/>
                        <a:pt x="26" y="11"/>
                        <a:pt x="26" y="12"/>
                      </a:cubicBezTo>
                      <a:cubicBezTo>
                        <a:pt x="26" y="13"/>
                        <a:pt x="27" y="13"/>
                        <a:pt x="27" y="13"/>
                      </a:cubicBezTo>
                      <a:cubicBezTo>
                        <a:pt x="28" y="14"/>
                        <a:pt x="23" y="17"/>
                        <a:pt x="23" y="18"/>
                      </a:cubicBezTo>
                      <a:cubicBezTo>
                        <a:pt x="22" y="19"/>
                        <a:pt x="21" y="20"/>
                        <a:pt x="20" y="21"/>
                      </a:cubicBezTo>
                      <a:cubicBezTo>
                        <a:pt x="19" y="22"/>
                        <a:pt x="18" y="22"/>
                        <a:pt x="17" y="23"/>
                      </a:cubicBezTo>
                      <a:cubicBezTo>
                        <a:pt x="17" y="25"/>
                        <a:pt x="14" y="26"/>
                        <a:pt x="13" y="28"/>
                      </a:cubicBezTo>
                      <a:cubicBezTo>
                        <a:pt x="13" y="29"/>
                        <a:pt x="12" y="31"/>
                        <a:pt x="12" y="32"/>
                      </a:cubicBezTo>
                      <a:cubicBezTo>
                        <a:pt x="11" y="34"/>
                        <a:pt x="11" y="36"/>
                        <a:pt x="10" y="38"/>
                      </a:cubicBezTo>
                      <a:cubicBezTo>
                        <a:pt x="10" y="41"/>
                        <a:pt x="8" y="44"/>
                        <a:pt x="6" y="47"/>
                      </a:cubicBezTo>
                      <a:cubicBezTo>
                        <a:pt x="6" y="48"/>
                        <a:pt x="5" y="50"/>
                        <a:pt x="4" y="51"/>
                      </a:cubicBezTo>
                      <a:cubicBezTo>
                        <a:pt x="3" y="51"/>
                        <a:pt x="2" y="54"/>
                        <a:pt x="2" y="55"/>
                      </a:cubicBezTo>
                      <a:cubicBezTo>
                        <a:pt x="2" y="57"/>
                        <a:pt x="3" y="57"/>
                        <a:pt x="1" y="60"/>
                      </a:cubicBezTo>
                      <a:cubicBezTo>
                        <a:pt x="0" y="63"/>
                        <a:pt x="2" y="64"/>
                        <a:pt x="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212"/>
                <p:cNvSpPr>
                  <a:spLocks/>
                </p:cNvSpPr>
                <p:nvPr/>
              </p:nvSpPr>
              <p:spPr bwMode="auto">
                <a:xfrm>
                  <a:off x="3490913" y="4324350"/>
                  <a:ext cx="28575" cy="25400"/>
                </a:xfrm>
                <a:custGeom>
                  <a:avLst/>
                  <a:gdLst>
                    <a:gd name="T0" fmla="*/ 5 w 39"/>
                    <a:gd name="T1" fmla="*/ 28 h 33"/>
                    <a:gd name="T2" fmla="*/ 11 w 39"/>
                    <a:gd name="T3" fmla="*/ 30 h 33"/>
                    <a:gd name="T4" fmla="*/ 13 w 39"/>
                    <a:gd name="T5" fmla="*/ 33 h 33"/>
                    <a:gd name="T6" fmla="*/ 17 w 39"/>
                    <a:gd name="T7" fmla="*/ 29 h 33"/>
                    <a:gd name="T8" fmla="*/ 24 w 39"/>
                    <a:gd name="T9" fmla="*/ 28 h 33"/>
                    <a:gd name="T10" fmla="*/ 31 w 39"/>
                    <a:gd name="T11" fmla="*/ 21 h 33"/>
                    <a:gd name="T12" fmla="*/ 37 w 39"/>
                    <a:gd name="T13" fmla="*/ 8 h 33"/>
                    <a:gd name="T14" fmla="*/ 39 w 39"/>
                    <a:gd name="T15" fmla="*/ 0 h 33"/>
                    <a:gd name="T16" fmla="*/ 1 w 39"/>
                    <a:gd name="T17" fmla="*/ 18 h 33"/>
                    <a:gd name="T18" fmla="*/ 2 w 39"/>
                    <a:gd name="T19" fmla="*/ 23 h 33"/>
                    <a:gd name="T20" fmla="*/ 0 w 39"/>
                    <a:gd name="T21" fmla="*/ 28 h 33"/>
                    <a:gd name="T22" fmla="*/ 5 w 39"/>
                    <a:gd name="T2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3">
                      <a:moveTo>
                        <a:pt x="5" y="28"/>
                      </a:moveTo>
                      <a:cubicBezTo>
                        <a:pt x="9" y="25"/>
                        <a:pt x="10" y="27"/>
                        <a:pt x="11" y="30"/>
                      </a:cubicBezTo>
                      <a:cubicBezTo>
                        <a:pt x="12" y="31"/>
                        <a:pt x="12" y="32"/>
                        <a:pt x="13" y="33"/>
                      </a:cubicBezTo>
                      <a:cubicBezTo>
                        <a:pt x="14" y="33"/>
                        <a:pt x="16" y="30"/>
                        <a:pt x="17" y="29"/>
                      </a:cubicBezTo>
                      <a:cubicBezTo>
                        <a:pt x="20" y="25"/>
                        <a:pt x="21" y="30"/>
                        <a:pt x="24" y="28"/>
                      </a:cubicBezTo>
                      <a:cubicBezTo>
                        <a:pt x="26" y="27"/>
                        <a:pt x="29" y="23"/>
                        <a:pt x="31" y="21"/>
                      </a:cubicBezTo>
                      <a:cubicBezTo>
                        <a:pt x="34" y="17"/>
                        <a:pt x="36" y="13"/>
                        <a:pt x="37" y="8"/>
                      </a:cubicBezTo>
                      <a:cubicBezTo>
                        <a:pt x="38" y="6"/>
                        <a:pt x="38" y="3"/>
                        <a:pt x="39" y="0"/>
                      </a:cubicBezTo>
                      <a:cubicBezTo>
                        <a:pt x="26" y="6"/>
                        <a:pt x="14" y="12"/>
                        <a:pt x="1" y="18"/>
                      </a:cubicBezTo>
                      <a:cubicBezTo>
                        <a:pt x="1" y="19"/>
                        <a:pt x="2" y="20"/>
                        <a:pt x="2" y="23"/>
                      </a:cubicBezTo>
                      <a:cubicBezTo>
                        <a:pt x="1" y="24"/>
                        <a:pt x="0" y="27"/>
                        <a:pt x="0" y="28"/>
                      </a:cubicBezTo>
                      <a:cubicBezTo>
                        <a:pt x="1" y="30"/>
                        <a:pt x="4" y="28"/>
                        <a:pt x="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213"/>
                <p:cNvSpPr>
                  <a:spLocks/>
                </p:cNvSpPr>
                <p:nvPr/>
              </p:nvSpPr>
              <p:spPr bwMode="auto">
                <a:xfrm>
                  <a:off x="3459163" y="4395788"/>
                  <a:ext cx="7938" cy="7938"/>
                </a:xfrm>
                <a:custGeom>
                  <a:avLst/>
                  <a:gdLst>
                    <a:gd name="T0" fmla="*/ 4 w 11"/>
                    <a:gd name="T1" fmla="*/ 12 h 12"/>
                    <a:gd name="T2" fmla="*/ 11 w 11"/>
                    <a:gd name="T3" fmla="*/ 1 h 12"/>
                    <a:gd name="T4" fmla="*/ 8 w 11"/>
                    <a:gd name="T5" fmla="*/ 1 h 12"/>
                    <a:gd name="T6" fmla="*/ 4 w 11"/>
                    <a:gd name="T7" fmla="*/ 12 h 12"/>
                  </a:gdLst>
                  <a:ahLst/>
                  <a:cxnLst>
                    <a:cxn ang="0">
                      <a:pos x="T0" y="T1"/>
                    </a:cxn>
                    <a:cxn ang="0">
                      <a:pos x="T2" y="T3"/>
                    </a:cxn>
                    <a:cxn ang="0">
                      <a:pos x="T4" y="T5"/>
                    </a:cxn>
                    <a:cxn ang="0">
                      <a:pos x="T6" y="T7"/>
                    </a:cxn>
                  </a:cxnLst>
                  <a:rect l="0" t="0" r="r" b="b"/>
                  <a:pathLst>
                    <a:path w="11" h="12">
                      <a:moveTo>
                        <a:pt x="4" y="12"/>
                      </a:moveTo>
                      <a:cubicBezTo>
                        <a:pt x="7" y="11"/>
                        <a:pt x="10" y="4"/>
                        <a:pt x="11" y="1"/>
                      </a:cubicBezTo>
                      <a:cubicBezTo>
                        <a:pt x="10" y="0"/>
                        <a:pt x="9" y="0"/>
                        <a:pt x="8" y="1"/>
                      </a:cubicBezTo>
                      <a:cubicBezTo>
                        <a:pt x="7" y="3"/>
                        <a:pt x="0"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214"/>
                <p:cNvSpPr>
                  <a:spLocks/>
                </p:cNvSpPr>
                <p:nvPr/>
              </p:nvSpPr>
              <p:spPr bwMode="auto">
                <a:xfrm>
                  <a:off x="3459163" y="4371975"/>
                  <a:ext cx="7938" cy="9525"/>
                </a:xfrm>
                <a:custGeom>
                  <a:avLst/>
                  <a:gdLst>
                    <a:gd name="T0" fmla="*/ 6 w 10"/>
                    <a:gd name="T1" fmla="*/ 2 h 13"/>
                    <a:gd name="T2" fmla="*/ 2 w 10"/>
                    <a:gd name="T3" fmla="*/ 5 h 13"/>
                    <a:gd name="T4" fmla="*/ 2 w 10"/>
                    <a:gd name="T5" fmla="*/ 11 h 13"/>
                    <a:gd name="T6" fmla="*/ 6 w 10"/>
                    <a:gd name="T7" fmla="*/ 8 h 13"/>
                    <a:gd name="T8" fmla="*/ 8 w 10"/>
                    <a:gd name="T9" fmla="*/ 0 h 13"/>
                    <a:gd name="T10" fmla="*/ 6 w 10"/>
                    <a:gd name="T11" fmla="*/ 2 h 13"/>
                  </a:gdLst>
                  <a:ahLst/>
                  <a:cxnLst>
                    <a:cxn ang="0">
                      <a:pos x="T0" y="T1"/>
                    </a:cxn>
                    <a:cxn ang="0">
                      <a:pos x="T2" y="T3"/>
                    </a:cxn>
                    <a:cxn ang="0">
                      <a:pos x="T4" y="T5"/>
                    </a:cxn>
                    <a:cxn ang="0">
                      <a:pos x="T6" y="T7"/>
                    </a:cxn>
                    <a:cxn ang="0">
                      <a:pos x="T8" y="T9"/>
                    </a:cxn>
                    <a:cxn ang="0">
                      <a:pos x="T10" y="T11"/>
                    </a:cxn>
                  </a:cxnLst>
                  <a:rect l="0" t="0" r="r" b="b"/>
                  <a:pathLst>
                    <a:path w="10" h="13">
                      <a:moveTo>
                        <a:pt x="6" y="2"/>
                      </a:moveTo>
                      <a:cubicBezTo>
                        <a:pt x="5" y="3"/>
                        <a:pt x="3" y="4"/>
                        <a:pt x="2" y="5"/>
                      </a:cubicBezTo>
                      <a:cubicBezTo>
                        <a:pt x="0" y="8"/>
                        <a:pt x="1" y="10"/>
                        <a:pt x="2" y="11"/>
                      </a:cubicBezTo>
                      <a:cubicBezTo>
                        <a:pt x="4" y="13"/>
                        <a:pt x="5" y="11"/>
                        <a:pt x="6" y="8"/>
                      </a:cubicBezTo>
                      <a:cubicBezTo>
                        <a:pt x="8" y="4"/>
                        <a:pt x="10" y="3"/>
                        <a:pt x="8" y="0"/>
                      </a:cubicBezTo>
                      <a:cubicBezTo>
                        <a:pt x="8" y="1"/>
                        <a:pt x="7" y="1"/>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215"/>
                <p:cNvSpPr>
                  <a:spLocks noEditPoints="1"/>
                </p:cNvSpPr>
                <p:nvPr/>
              </p:nvSpPr>
              <p:spPr bwMode="auto">
                <a:xfrm>
                  <a:off x="3435351" y="4184650"/>
                  <a:ext cx="279400" cy="420688"/>
                </a:xfrm>
                <a:custGeom>
                  <a:avLst/>
                  <a:gdLst>
                    <a:gd name="T0" fmla="*/ 235 w 369"/>
                    <a:gd name="T1" fmla="*/ 129 h 558"/>
                    <a:gd name="T2" fmla="*/ 229 w 369"/>
                    <a:gd name="T3" fmla="*/ 149 h 558"/>
                    <a:gd name="T4" fmla="*/ 204 w 369"/>
                    <a:gd name="T5" fmla="*/ 158 h 558"/>
                    <a:gd name="T6" fmla="*/ 204 w 369"/>
                    <a:gd name="T7" fmla="*/ 185 h 558"/>
                    <a:gd name="T8" fmla="*/ 219 w 369"/>
                    <a:gd name="T9" fmla="*/ 194 h 558"/>
                    <a:gd name="T10" fmla="*/ 200 w 369"/>
                    <a:gd name="T11" fmla="*/ 220 h 558"/>
                    <a:gd name="T12" fmla="*/ 178 w 369"/>
                    <a:gd name="T13" fmla="*/ 219 h 558"/>
                    <a:gd name="T14" fmla="*/ 158 w 369"/>
                    <a:gd name="T15" fmla="*/ 234 h 558"/>
                    <a:gd name="T16" fmla="*/ 144 w 369"/>
                    <a:gd name="T17" fmla="*/ 218 h 558"/>
                    <a:gd name="T18" fmla="*/ 131 w 369"/>
                    <a:gd name="T19" fmla="*/ 202 h 558"/>
                    <a:gd name="T20" fmla="*/ 101 w 369"/>
                    <a:gd name="T21" fmla="*/ 221 h 558"/>
                    <a:gd name="T22" fmla="*/ 66 w 369"/>
                    <a:gd name="T23" fmla="*/ 255 h 558"/>
                    <a:gd name="T24" fmla="*/ 36 w 369"/>
                    <a:gd name="T25" fmla="*/ 300 h 558"/>
                    <a:gd name="T26" fmla="*/ 5 w 369"/>
                    <a:gd name="T27" fmla="*/ 384 h 558"/>
                    <a:gd name="T28" fmla="*/ 14 w 369"/>
                    <a:gd name="T29" fmla="*/ 414 h 558"/>
                    <a:gd name="T30" fmla="*/ 50 w 369"/>
                    <a:gd name="T31" fmla="*/ 415 h 558"/>
                    <a:gd name="T32" fmla="*/ 80 w 369"/>
                    <a:gd name="T33" fmla="*/ 398 h 558"/>
                    <a:gd name="T34" fmla="*/ 99 w 369"/>
                    <a:gd name="T35" fmla="*/ 406 h 558"/>
                    <a:gd name="T36" fmla="*/ 94 w 369"/>
                    <a:gd name="T37" fmla="*/ 451 h 558"/>
                    <a:gd name="T38" fmla="*/ 78 w 369"/>
                    <a:gd name="T39" fmla="*/ 484 h 558"/>
                    <a:gd name="T40" fmla="*/ 71 w 369"/>
                    <a:gd name="T41" fmla="*/ 529 h 558"/>
                    <a:gd name="T42" fmla="*/ 70 w 369"/>
                    <a:gd name="T43" fmla="*/ 555 h 558"/>
                    <a:gd name="T44" fmla="*/ 98 w 369"/>
                    <a:gd name="T45" fmla="*/ 544 h 558"/>
                    <a:gd name="T46" fmla="*/ 133 w 369"/>
                    <a:gd name="T47" fmla="*/ 503 h 558"/>
                    <a:gd name="T48" fmla="*/ 161 w 369"/>
                    <a:gd name="T49" fmla="*/ 458 h 558"/>
                    <a:gd name="T50" fmla="*/ 181 w 369"/>
                    <a:gd name="T51" fmla="*/ 414 h 558"/>
                    <a:gd name="T52" fmla="*/ 206 w 369"/>
                    <a:gd name="T53" fmla="*/ 365 h 558"/>
                    <a:gd name="T54" fmla="*/ 235 w 369"/>
                    <a:gd name="T55" fmla="*/ 310 h 558"/>
                    <a:gd name="T56" fmla="*/ 216 w 369"/>
                    <a:gd name="T57" fmla="*/ 318 h 558"/>
                    <a:gd name="T58" fmla="*/ 209 w 369"/>
                    <a:gd name="T59" fmla="*/ 288 h 558"/>
                    <a:gd name="T60" fmla="*/ 207 w 369"/>
                    <a:gd name="T61" fmla="*/ 244 h 558"/>
                    <a:gd name="T62" fmla="*/ 216 w 369"/>
                    <a:gd name="T63" fmla="*/ 265 h 558"/>
                    <a:gd name="T64" fmla="*/ 219 w 369"/>
                    <a:gd name="T65" fmla="*/ 310 h 558"/>
                    <a:gd name="T66" fmla="*/ 243 w 369"/>
                    <a:gd name="T67" fmla="*/ 290 h 558"/>
                    <a:gd name="T68" fmla="*/ 262 w 369"/>
                    <a:gd name="T69" fmla="*/ 261 h 558"/>
                    <a:gd name="T70" fmla="*/ 259 w 369"/>
                    <a:gd name="T71" fmla="*/ 237 h 558"/>
                    <a:gd name="T72" fmla="*/ 246 w 369"/>
                    <a:gd name="T73" fmla="*/ 220 h 558"/>
                    <a:gd name="T74" fmla="*/ 262 w 369"/>
                    <a:gd name="T75" fmla="*/ 228 h 558"/>
                    <a:gd name="T76" fmla="*/ 281 w 369"/>
                    <a:gd name="T77" fmla="*/ 230 h 558"/>
                    <a:gd name="T78" fmla="*/ 290 w 369"/>
                    <a:gd name="T79" fmla="*/ 249 h 558"/>
                    <a:gd name="T80" fmla="*/ 295 w 369"/>
                    <a:gd name="T81" fmla="*/ 285 h 558"/>
                    <a:gd name="T82" fmla="*/ 306 w 369"/>
                    <a:gd name="T83" fmla="*/ 282 h 558"/>
                    <a:gd name="T84" fmla="*/ 322 w 369"/>
                    <a:gd name="T85" fmla="*/ 248 h 558"/>
                    <a:gd name="T86" fmla="*/ 369 w 369"/>
                    <a:gd name="T87" fmla="*/ 55 h 558"/>
                    <a:gd name="T88" fmla="*/ 127 w 369"/>
                    <a:gd name="T89" fmla="*/ 342 h 558"/>
                    <a:gd name="T90" fmla="*/ 155 w 369"/>
                    <a:gd name="T91" fmla="*/ 422 h 558"/>
                    <a:gd name="T92" fmla="*/ 159 w 369"/>
                    <a:gd name="T93" fmla="*/ 444 h 558"/>
                    <a:gd name="T94" fmla="*/ 176 w 369"/>
                    <a:gd name="T95" fmla="*/ 386 h 558"/>
                    <a:gd name="T96" fmla="*/ 176 w 369"/>
                    <a:gd name="T97" fmla="*/ 383 h 558"/>
                    <a:gd name="T98" fmla="*/ 266 w 369"/>
                    <a:gd name="T99" fmla="*/ 130 h 558"/>
                    <a:gd name="T100" fmla="*/ 267 w 369"/>
                    <a:gd name="T101" fmla="*/ 152 h 558"/>
                    <a:gd name="T102" fmla="*/ 255 w 369"/>
                    <a:gd name="T103" fmla="*/ 165 h 558"/>
                    <a:gd name="T104" fmla="*/ 254 w 369"/>
                    <a:gd name="T105" fmla="*/ 129 h 558"/>
                    <a:gd name="T106" fmla="*/ 267 w 369"/>
                    <a:gd name="T107" fmla="*/ 95 h 558"/>
                    <a:gd name="T108" fmla="*/ 280 w 369"/>
                    <a:gd name="T109" fmla="*/ 121 h 558"/>
                    <a:gd name="T110" fmla="*/ 285 w 369"/>
                    <a:gd name="T111" fmla="*/ 115 h 558"/>
                    <a:gd name="T112" fmla="*/ 318 w 369"/>
                    <a:gd name="T113" fmla="*/ 9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9" h="558">
                      <a:moveTo>
                        <a:pt x="232" y="106"/>
                      </a:moveTo>
                      <a:cubicBezTo>
                        <a:pt x="232" y="108"/>
                        <a:pt x="234" y="108"/>
                        <a:pt x="234" y="111"/>
                      </a:cubicBezTo>
                      <a:cubicBezTo>
                        <a:pt x="233" y="113"/>
                        <a:pt x="232" y="114"/>
                        <a:pt x="231" y="116"/>
                      </a:cubicBezTo>
                      <a:cubicBezTo>
                        <a:pt x="230" y="117"/>
                        <a:pt x="229" y="119"/>
                        <a:pt x="230" y="120"/>
                      </a:cubicBezTo>
                      <a:cubicBezTo>
                        <a:pt x="230" y="122"/>
                        <a:pt x="231" y="122"/>
                        <a:pt x="232" y="122"/>
                      </a:cubicBezTo>
                      <a:cubicBezTo>
                        <a:pt x="233" y="123"/>
                        <a:pt x="233" y="124"/>
                        <a:pt x="234" y="125"/>
                      </a:cubicBezTo>
                      <a:cubicBezTo>
                        <a:pt x="234" y="126"/>
                        <a:pt x="235" y="128"/>
                        <a:pt x="235" y="129"/>
                      </a:cubicBezTo>
                      <a:cubicBezTo>
                        <a:pt x="236" y="130"/>
                        <a:pt x="237" y="132"/>
                        <a:pt x="238" y="133"/>
                      </a:cubicBezTo>
                      <a:cubicBezTo>
                        <a:pt x="238" y="134"/>
                        <a:pt x="239" y="134"/>
                        <a:pt x="239" y="135"/>
                      </a:cubicBezTo>
                      <a:cubicBezTo>
                        <a:pt x="239" y="136"/>
                        <a:pt x="238" y="137"/>
                        <a:pt x="238" y="138"/>
                      </a:cubicBezTo>
                      <a:cubicBezTo>
                        <a:pt x="237" y="139"/>
                        <a:pt x="238" y="139"/>
                        <a:pt x="239" y="140"/>
                      </a:cubicBezTo>
                      <a:cubicBezTo>
                        <a:pt x="239" y="141"/>
                        <a:pt x="239" y="143"/>
                        <a:pt x="239" y="144"/>
                      </a:cubicBezTo>
                      <a:cubicBezTo>
                        <a:pt x="238" y="147"/>
                        <a:pt x="236" y="147"/>
                        <a:pt x="235" y="148"/>
                      </a:cubicBezTo>
                      <a:cubicBezTo>
                        <a:pt x="233" y="150"/>
                        <a:pt x="230" y="151"/>
                        <a:pt x="229" y="149"/>
                      </a:cubicBezTo>
                      <a:cubicBezTo>
                        <a:pt x="226" y="146"/>
                        <a:pt x="223" y="142"/>
                        <a:pt x="219" y="144"/>
                      </a:cubicBezTo>
                      <a:cubicBezTo>
                        <a:pt x="218" y="145"/>
                        <a:pt x="217" y="146"/>
                        <a:pt x="216" y="146"/>
                      </a:cubicBezTo>
                      <a:cubicBezTo>
                        <a:pt x="215" y="147"/>
                        <a:pt x="214" y="147"/>
                        <a:pt x="214" y="148"/>
                      </a:cubicBezTo>
                      <a:cubicBezTo>
                        <a:pt x="213" y="149"/>
                        <a:pt x="212" y="151"/>
                        <a:pt x="212" y="153"/>
                      </a:cubicBezTo>
                      <a:cubicBezTo>
                        <a:pt x="211" y="154"/>
                        <a:pt x="210" y="155"/>
                        <a:pt x="209" y="155"/>
                      </a:cubicBezTo>
                      <a:cubicBezTo>
                        <a:pt x="208" y="155"/>
                        <a:pt x="207" y="156"/>
                        <a:pt x="206" y="158"/>
                      </a:cubicBezTo>
                      <a:cubicBezTo>
                        <a:pt x="206" y="158"/>
                        <a:pt x="205" y="158"/>
                        <a:pt x="204" y="158"/>
                      </a:cubicBezTo>
                      <a:cubicBezTo>
                        <a:pt x="202" y="158"/>
                        <a:pt x="201" y="156"/>
                        <a:pt x="199" y="160"/>
                      </a:cubicBezTo>
                      <a:cubicBezTo>
                        <a:pt x="198" y="161"/>
                        <a:pt x="198" y="162"/>
                        <a:pt x="198" y="164"/>
                      </a:cubicBezTo>
                      <a:cubicBezTo>
                        <a:pt x="198" y="166"/>
                        <a:pt x="198" y="168"/>
                        <a:pt x="198" y="170"/>
                      </a:cubicBezTo>
                      <a:cubicBezTo>
                        <a:pt x="198" y="172"/>
                        <a:pt x="197" y="174"/>
                        <a:pt x="197" y="175"/>
                      </a:cubicBezTo>
                      <a:cubicBezTo>
                        <a:pt x="197" y="177"/>
                        <a:pt x="198" y="178"/>
                        <a:pt x="198" y="180"/>
                      </a:cubicBezTo>
                      <a:cubicBezTo>
                        <a:pt x="198" y="183"/>
                        <a:pt x="200" y="183"/>
                        <a:pt x="200" y="186"/>
                      </a:cubicBezTo>
                      <a:cubicBezTo>
                        <a:pt x="200" y="189"/>
                        <a:pt x="203" y="186"/>
                        <a:pt x="204" y="185"/>
                      </a:cubicBezTo>
                      <a:cubicBezTo>
                        <a:pt x="205" y="183"/>
                        <a:pt x="206" y="183"/>
                        <a:pt x="207" y="183"/>
                      </a:cubicBezTo>
                      <a:cubicBezTo>
                        <a:pt x="208" y="184"/>
                        <a:pt x="209" y="184"/>
                        <a:pt x="210" y="184"/>
                      </a:cubicBezTo>
                      <a:cubicBezTo>
                        <a:pt x="211" y="185"/>
                        <a:pt x="212" y="187"/>
                        <a:pt x="213" y="187"/>
                      </a:cubicBezTo>
                      <a:cubicBezTo>
                        <a:pt x="213" y="188"/>
                        <a:pt x="214" y="187"/>
                        <a:pt x="214" y="186"/>
                      </a:cubicBezTo>
                      <a:cubicBezTo>
                        <a:pt x="215" y="185"/>
                        <a:pt x="216" y="184"/>
                        <a:pt x="217" y="183"/>
                      </a:cubicBezTo>
                      <a:cubicBezTo>
                        <a:pt x="218" y="181"/>
                        <a:pt x="221" y="179"/>
                        <a:pt x="221" y="183"/>
                      </a:cubicBezTo>
                      <a:cubicBezTo>
                        <a:pt x="221" y="186"/>
                        <a:pt x="220" y="191"/>
                        <a:pt x="219" y="194"/>
                      </a:cubicBezTo>
                      <a:cubicBezTo>
                        <a:pt x="219" y="196"/>
                        <a:pt x="219" y="198"/>
                        <a:pt x="218" y="200"/>
                      </a:cubicBezTo>
                      <a:cubicBezTo>
                        <a:pt x="217" y="202"/>
                        <a:pt x="217" y="204"/>
                        <a:pt x="216" y="205"/>
                      </a:cubicBezTo>
                      <a:cubicBezTo>
                        <a:pt x="215" y="206"/>
                        <a:pt x="212" y="206"/>
                        <a:pt x="213" y="209"/>
                      </a:cubicBezTo>
                      <a:cubicBezTo>
                        <a:pt x="214" y="213"/>
                        <a:pt x="211" y="212"/>
                        <a:pt x="209" y="212"/>
                      </a:cubicBezTo>
                      <a:cubicBezTo>
                        <a:pt x="209" y="212"/>
                        <a:pt x="208" y="214"/>
                        <a:pt x="207" y="214"/>
                      </a:cubicBezTo>
                      <a:cubicBezTo>
                        <a:pt x="206" y="215"/>
                        <a:pt x="206" y="214"/>
                        <a:pt x="205" y="214"/>
                      </a:cubicBezTo>
                      <a:cubicBezTo>
                        <a:pt x="203" y="214"/>
                        <a:pt x="202" y="219"/>
                        <a:pt x="200" y="220"/>
                      </a:cubicBezTo>
                      <a:cubicBezTo>
                        <a:pt x="199" y="220"/>
                        <a:pt x="199" y="220"/>
                        <a:pt x="198" y="222"/>
                      </a:cubicBezTo>
                      <a:cubicBezTo>
                        <a:pt x="197" y="223"/>
                        <a:pt x="196" y="224"/>
                        <a:pt x="196" y="223"/>
                      </a:cubicBezTo>
                      <a:cubicBezTo>
                        <a:pt x="195" y="222"/>
                        <a:pt x="193" y="221"/>
                        <a:pt x="192" y="222"/>
                      </a:cubicBezTo>
                      <a:cubicBezTo>
                        <a:pt x="191" y="222"/>
                        <a:pt x="192" y="224"/>
                        <a:pt x="191" y="224"/>
                      </a:cubicBezTo>
                      <a:cubicBezTo>
                        <a:pt x="190" y="223"/>
                        <a:pt x="189" y="223"/>
                        <a:pt x="188" y="224"/>
                      </a:cubicBezTo>
                      <a:cubicBezTo>
                        <a:pt x="186" y="224"/>
                        <a:pt x="184" y="224"/>
                        <a:pt x="183" y="222"/>
                      </a:cubicBezTo>
                      <a:cubicBezTo>
                        <a:pt x="181" y="219"/>
                        <a:pt x="180" y="217"/>
                        <a:pt x="178" y="219"/>
                      </a:cubicBezTo>
                      <a:cubicBezTo>
                        <a:pt x="177" y="220"/>
                        <a:pt x="176" y="221"/>
                        <a:pt x="175" y="223"/>
                      </a:cubicBezTo>
                      <a:cubicBezTo>
                        <a:pt x="174" y="225"/>
                        <a:pt x="172" y="225"/>
                        <a:pt x="172" y="228"/>
                      </a:cubicBezTo>
                      <a:cubicBezTo>
                        <a:pt x="171" y="231"/>
                        <a:pt x="173" y="233"/>
                        <a:pt x="170" y="235"/>
                      </a:cubicBezTo>
                      <a:cubicBezTo>
                        <a:pt x="168" y="237"/>
                        <a:pt x="167" y="239"/>
                        <a:pt x="165" y="238"/>
                      </a:cubicBezTo>
                      <a:cubicBezTo>
                        <a:pt x="164" y="238"/>
                        <a:pt x="164" y="237"/>
                        <a:pt x="163" y="236"/>
                      </a:cubicBezTo>
                      <a:cubicBezTo>
                        <a:pt x="162" y="236"/>
                        <a:pt x="161" y="236"/>
                        <a:pt x="160" y="235"/>
                      </a:cubicBezTo>
                      <a:cubicBezTo>
                        <a:pt x="159" y="235"/>
                        <a:pt x="158" y="235"/>
                        <a:pt x="158" y="234"/>
                      </a:cubicBezTo>
                      <a:cubicBezTo>
                        <a:pt x="157" y="233"/>
                        <a:pt x="157" y="231"/>
                        <a:pt x="156" y="230"/>
                      </a:cubicBezTo>
                      <a:cubicBezTo>
                        <a:pt x="156" y="229"/>
                        <a:pt x="155" y="228"/>
                        <a:pt x="154" y="228"/>
                      </a:cubicBezTo>
                      <a:cubicBezTo>
                        <a:pt x="153" y="228"/>
                        <a:pt x="152" y="229"/>
                        <a:pt x="151" y="229"/>
                      </a:cubicBezTo>
                      <a:cubicBezTo>
                        <a:pt x="150" y="229"/>
                        <a:pt x="150" y="227"/>
                        <a:pt x="149" y="227"/>
                      </a:cubicBezTo>
                      <a:cubicBezTo>
                        <a:pt x="148" y="226"/>
                        <a:pt x="146" y="227"/>
                        <a:pt x="146" y="226"/>
                      </a:cubicBezTo>
                      <a:cubicBezTo>
                        <a:pt x="145" y="225"/>
                        <a:pt x="145" y="222"/>
                        <a:pt x="145" y="221"/>
                      </a:cubicBezTo>
                      <a:cubicBezTo>
                        <a:pt x="144" y="221"/>
                        <a:pt x="143" y="221"/>
                        <a:pt x="144" y="218"/>
                      </a:cubicBezTo>
                      <a:cubicBezTo>
                        <a:pt x="145" y="216"/>
                        <a:pt x="148" y="213"/>
                        <a:pt x="148" y="211"/>
                      </a:cubicBezTo>
                      <a:cubicBezTo>
                        <a:pt x="148" y="207"/>
                        <a:pt x="146" y="205"/>
                        <a:pt x="146" y="202"/>
                      </a:cubicBezTo>
                      <a:cubicBezTo>
                        <a:pt x="145" y="200"/>
                        <a:pt x="146" y="199"/>
                        <a:pt x="146" y="197"/>
                      </a:cubicBezTo>
                      <a:cubicBezTo>
                        <a:pt x="146" y="194"/>
                        <a:pt x="144" y="196"/>
                        <a:pt x="143" y="197"/>
                      </a:cubicBezTo>
                      <a:cubicBezTo>
                        <a:pt x="142" y="199"/>
                        <a:pt x="140" y="201"/>
                        <a:pt x="138" y="200"/>
                      </a:cubicBezTo>
                      <a:cubicBezTo>
                        <a:pt x="137" y="200"/>
                        <a:pt x="135" y="197"/>
                        <a:pt x="133" y="198"/>
                      </a:cubicBezTo>
                      <a:cubicBezTo>
                        <a:pt x="132" y="199"/>
                        <a:pt x="132" y="201"/>
                        <a:pt x="131" y="202"/>
                      </a:cubicBezTo>
                      <a:cubicBezTo>
                        <a:pt x="129" y="203"/>
                        <a:pt x="128" y="203"/>
                        <a:pt x="127" y="203"/>
                      </a:cubicBezTo>
                      <a:cubicBezTo>
                        <a:pt x="124" y="204"/>
                        <a:pt x="121" y="207"/>
                        <a:pt x="119" y="206"/>
                      </a:cubicBezTo>
                      <a:cubicBezTo>
                        <a:pt x="118" y="206"/>
                        <a:pt x="118" y="205"/>
                        <a:pt x="116" y="206"/>
                      </a:cubicBezTo>
                      <a:cubicBezTo>
                        <a:pt x="115" y="206"/>
                        <a:pt x="115" y="208"/>
                        <a:pt x="115" y="210"/>
                      </a:cubicBezTo>
                      <a:cubicBezTo>
                        <a:pt x="114" y="212"/>
                        <a:pt x="113" y="212"/>
                        <a:pt x="112" y="212"/>
                      </a:cubicBezTo>
                      <a:cubicBezTo>
                        <a:pt x="110" y="212"/>
                        <a:pt x="109" y="212"/>
                        <a:pt x="108" y="215"/>
                      </a:cubicBezTo>
                      <a:cubicBezTo>
                        <a:pt x="106" y="219"/>
                        <a:pt x="104" y="218"/>
                        <a:pt x="101" y="221"/>
                      </a:cubicBezTo>
                      <a:cubicBezTo>
                        <a:pt x="99" y="222"/>
                        <a:pt x="98" y="223"/>
                        <a:pt x="97" y="223"/>
                      </a:cubicBezTo>
                      <a:cubicBezTo>
                        <a:pt x="95" y="223"/>
                        <a:pt x="93" y="225"/>
                        <a:pt x="92" y="224"/>
                      </a:cubicBezTo>
                      <a:cubicBezTo>
                        <a:pt x="91" y="223"/>
                        <a:pt x="89" y="223"/>
                        <a:pt x="88" y="223"/>
                      </a:cubicBezTo>
                      <a:cubicBezTo>
                        <a:pt x="87" y="222"/>
                        <a:pt x="86" y="221"/>
                        <a:pt x="85" y="223"/>
                      </a:cubicBezTo>
                      <a:cubicBezTo>
                        <a:pt x="84" y="225"/>
                        <a:pt x="82" y="230"/>
                        <a:pt x="81" y="233"/>
                      </a:cubicBezTo>
                      <a:cubicBezTo>
                        <a:pt x="78" y="238"/>
                        <a:pt x="76" y="239"/>
                        <a:pt x="73" y="242"/>
                      </a:cubicBezTo>
                      <a:cubicBezTo>
                        <a:pt x="69" y="245"/>
                        <a:pt x="68" y="250"/>
                        <a:pt x="66" y="255"/>
                      </a:cubicBezTo>
                      <a:cubicBezTo>
                        <a:pt x="65" y="257"/>
                        <a:pt x="64" y="259"/>
                        <a:pt x="63" y="261"/>
                      </a:cubicBezTo>
                      <a:cubicBezTo>
                        <a:pt x="63" y="264"/>
                        <a:pt x="63" y="267"/>
                        <a:pt x="62" y="269"/>
                      </a:cubicBezTo>
                      <a:cubicBezTo>
                        <a:pt x="60" y="275"/>
                        <a:pt x="56" y="277"/>
                        <a:pt x="53" y="281"/>
                      </a:cubicBezTo>
                      <a:cubicBezTo>
                        <a:pt x="51" y="283"/>
                        <a:pt x="50" y="284"/>
                        <a:pt x="48" y="285"/>
                      </a:cubicBezTo>
                      <a:cubicBezTo>
                        <a:pt x="47" y="286"/>
                        <a:pt x="46" y="287"/>
                        <a:pt x="44" y="289"/>
                      </a:cubicBezTo>
                      <a:cubicBezTo>
                        <a:pt x="43" y="290"/>
                        <a:pt x="42" y="292"/>
                        <a:pt x="41" y="294"/>
                      </a:cubicBezTo>
                      <a:cubicBezTo>
                        <a:pt x="39" y="296"/>
                        <a:pt x="38" y="298"/>
                        <a:pt x="36" y="300"/>
                      </a:cubicBezTo>
                      <a:cubicBezTo>
                        <a:pt x="34" y="306"/>
                        <a:pt x="31" y="310"/>
                        <a:pt x="28" y="316"/>
                      </a:cubicBezTo>
                      <a:cubicBezTo>
                        <a:pt x="26" y="321"/>
                        <a:pt x="23" y="325"/>
                        <a:pt x="19" y="330"/>
                      </a:cubicBezTo>
                      <a:cubicBezTo>
                        <a:pt x="16" y="334"/>
                        <a:pt x="16" y="340"/>
                        <a:pt x="15" y="344"/>
                      </a:cubicBezTo>
                      <a:cubicBezTo>
                        <a:pt x="15" y="346"/>
                        <a:pt x="15" y="349"/>
                        <a:pt x="15" y="351"/>
                      </a:cubicBezTo>
                      <a:cubicBezTo>
                        <a:pt x="15" y="353"/>
                        <a:pt x="16" y="355"/>
                        <a:pt x="15" y="358"/>
                      </a:cubicBezTo>
                      <a:cubicBezTo>
                        <a:pt x="14" y="363"/>
                        <a:pt x="12" y="366"/>
                        <a:pt x="9" y="371"/>
                      </a:cubicBezTo>
                      <a:cubicBezTo>
                        <a:pt x="6" y="375"/>
                        <a:pt x="6" y="380"/>
                        <a:pt x="5" y="384"/>
                      </a:cubicBezTo>
                      <a:cubicBezTo>
                        <a:pt x="3" y="387"/>
                        <a:pt x="0" y="392"/>
                        <a:pt x="2" y="394"/>
                      </a:cubicBezTo>
                      <a:cubicBezTo>
                        <a:pt x="2" y="395"/>
                        <a:pt x="3" y="396"/>
                        <a:pt x="5" y="396"/>
                      </a:cubicBezTo>
                      <a:cubicBezTo>
                        <a:pt x="7" y="395"/>
                        <a:pt x="9" y="395"/>
                        <a:pt x="9" y="397"/>
                      </a:cubicBezTo>
                      <a:cubicBezTo>
                        <a:pt x="10" y="398"/>
                        <a:pt x="10" y="400"/>
                        <a:pt x="10" y="401"/>
                      </a:cubicBezTo>
                      <a:cubicBezTo>
                        <a:pt x="10" y="403"/>
                        <a:pt x="10" y="405"/>
                        <a:pt x="11" y="406"/>
                      </a:cubicBezTo>
                      <a:cubicBezTo>
                        <a:pt x="12" y="408"/>
                        <a:pt x="12" y="409"/>
                        <a:pt x="12" y="411"/>
                      </a:cubicBezTo>
                      <a:cubicBezTo>
                        <a:pt x="12" y="413"/>
                        <a:pt x="12" y="414"/>
                        <a:pt x="14" y="414"/>
                      </a:cubicBezTo>
                      <a:cubicBezTo>
                        <a:pt x="15" y="414"/>
                        <a:pt x="17" y="413"/>
                        <a:pt x="18" y="414"/>
                      </a:cubicBezTo>
                      <a:cubicBezTo>
                        <a:pt x="19" y="414"/>
                        <a:pt x="19" y="416"/>
                        <a:pt x="19" y="417"/>
                      </a:cubicBezTo>
                      <a:cubicBezTo>
                        <a:pt x="20" y="418"/>
                        <a:pt x="21" y="417"/>
                        <a:pt x="22" y="418"/>
                      </a:cubicBezTo>
                      <a:cubicBezTo>
                        <a:pt x="23" y="418"/>
                        <a:pt x="24" y="419"/>
                        <a:pt x="24" y="420"/>
                      </a:cubicBezTo>
                      <a:cubicBezTo>
                        <a:pt x="26" y="422"/>
                        <a:pt x="28" y="424"/>
                        <a:pt x="31" y="423"/>
                      </a:cubicBezTo>
                      <a:cubicBezTo>
                        <a:pt x="35" y="421"/>
                        <a:pt x="39" y="418"/>
                        <a:pt x="42" y="416"/>
                      </a:cubicBezTo>
                      <a:cubicBezTo>
                        <a:pt x="46" y="413"/>
                        <a:pt x="49" y="411"/>
                        <a:pt x="50" y="415"/>
                      </a:cubicBezTo>
                      <a:cubicBezTo>
                        <a:pt x="51" y="417"/>
                        <a:pt x="56" y="414"/>
                        <a:pt x="59" y="412"/>
                      </a:cubicBezTo>
                      <a:cubicBezTo>
                        <a:pt x="60" y="411"/>
                        <a:pt x="61" y="409"/>
                        <a:pt x="62" y="409"/>
                      </a:cubicBezTo>
                      <a:cubicBezTo>
                        <a:pt x="63" y="408"/>
                        <a:pt x="64" y="408"/>
                        <a:pt x="65" y="408"/>
                      </a:cubicBezTo>
                      <a:cubicBezTo>
                        <a:pt x="67" y="407"/>
                        <a:pt x="70" y="405"/>
                        <a:pt x="72" y="403"/>
                      </a:cubicBezTo>
                      <a:cubicBezTo>
                        <a:pt x="73" y="402"/>
                        <a:pt x="73" y="400"/>
                        <a:pt x="74" y="399"/>
                      </a:cubicBezTo>
                      <a:cubicBezTo>
                        <a:pt x="75" y="398"/>
                        <a:pt x="76" y="398"/>
                        <a:pt x="77" y="398"/>
                      </a:cubicBezTo>
                      <a:cubicBezTo>
                        <a:pt x="78" y="398"/>
                        <a:pt x="79" y="398"/>
                        <a:pt x="80" y="398"/>
                      </a:cubicBezTo>
                      <a:cubicBezTo>
                        <a:pt x="81" y="398"/>
                        <a:pt x="83" y="396"/>
                        <a:pt x="84" y="396"/>
                      </a:cubicBezTo>
                      <a:cubicBezTo>
                        <a:pt x="86" y="396"/>
                        <a:pt x="86" y="399"/>
                        <a:pt x="86" y="401"/>
                      </a:cubicBezTo>
                      <a:cubicBezTo>
                        <a:pt x="86" y="404"/>
                        <a:pt x="88" y="403"/>
                        <a:pt x="91" y="401"/>
                      </a:cubicBezTo>
                      <a:cubicBezTo>
                        <a:pt x="94" y="399"/>
                        <a:pt x="97" y="395"/>
                        <a:pt x="98" y="397"/>
                      </a:cubicBezTo>
                      <a:cubicBezTo>
                        <a:pt x="99" y="397"/>
                        <a:pt x="98" y="399"/>
                        <a:pt x="99" y="399"/>
                      </a:cubicBezTo>
                      <a:cubicBezTo>
                        <a:pt x="100" y="400"/>
                        <a:pt x="101" y="399"/>
                        <a:pt x="101" y="401"/>
                      </a:cubicBezTo>
                      <a:cubicBezTo>
                        <a:pt x="100" y="403"/>
                        <a:pt x="100" y="405"/>
                        <a:pt x="99" y="406"/>
                      </a:cubicBezTo>
                      <a:cubicBezTo>
                        <a:pt x="98" y="408"/>
                        <a:pt x="97" y="409"/>
                        <a:pt x="96" y="411"/>
                      </a:cubicBezTo>
                      <a:cubicBezTo>
                        <a:pt x="94" y="415"/>
                        <a:pt x="93" y="419"/>
                        <a:pt x="90" y="423"/>
                      </a:cubicBezTo>
                      <a:cubicBezTo>
                        <a:pt x="88" y="427"/>
                        <a:pt x="90" y="428"/>
                        <a:pt x="91" y="429"/>
                      </a:cubicBezTo>
                      <a:cubicBezTo>
                        <a:pt x="92" y="431"/>
                        <a:pt x="93" y="434"/>
                        <a:pt x="95" y="436"/>
                      </a:cubicBezTo>
                      <a:cubicBezTo>
                        <a:pt x="96" y="437"/>
                        <a:pt x="96" y="439"/>
                        <a:pt x="95" y="443"/>
                      </a:cubicBezTo>
                      <a:cubicBezTo>
                        <a:pt x="94" y="444"/>
                        <a:pt x="94" y="446"/>
                        <a:pt x="94" y="447"/>
                      </a:cubicBezTo>
                      <a:cubicBezTo>
                        <a:pt x="94" y="448"/>
                        <a:pt x="94" y="449"/>
                        <a:pt x="94" y="451"/>
                      </a:cubicBezTo>
                      <a:cubicBezTo>
                        <a:pt x="94" y="453"/>
                        <a:pt x="94" y="454"/>
                        <a:pt x="93" y="456"/>
                      </a:cubicBezTo>
                      <a:cubicBezTo>
                        <a:pt x="92" y="458"/>
                        <a:pt x="92" y="459"/>
                        <a:pt x="92" y="460"/>
                      </a:cubicBezTo>
                      <a:cubicBezTo>
                        <a:pt x="93" y="461"/>
                        <a:pt x="94" y="461"/>
                        <a:pt x="93" y="462"/>
                      </a:cubicBezTo>
                      <a:cubicBezTo>
                        <a:pt x="93" y="464"/>
                        <a:pt x="92" y="466"/>
                        <a:pt x="91" y="467"/>
                      </a:cubicBezTo>
                      <a:cubicBezTo>
                        <a:pt x="89" y="470"/>
                        <a:pt x="86" y="472"/>
                        <a:pt x="84" y="474"/>
                      </a:cubicBezTo>
                      <a:cubicBezTo>
                        <a:pt x="83" y="476"/>
                        <a:pt x="82" y="477"/>
                        <a:pt x="82" y="479"/>
                      </a:cubicBezTo>
                      <a:cubicBezTo>
                        <a:pt x="81" y="480"/>
                        <a:pt x="80" y="482"/>
                        <a:pt x="78" y="484"/>
                      </a:cubicBezTo>
                      <a:cubicBezTo>
                        <a:pt x="77" y="485"/>
                        <a:pt x="77" y="487"/>
                        <a:pt x="76" y="488"/>
                      </a:cubicBezTo>
                      <a:cubicBezTo>
                        <a:pt x="76" y="490"/>
                        <a:pt x="75" y="492"/>
                        <a:pt x="74" y="493"/>
                      </a:cubicBezTo>
                      <a:cubicBezTo>
                        <a:pt x="73" y="497"/>
                        <a:pt x="73" y="499"/>
                        <a:pt x="74" y="501"/>
                      </a:cubicBezTo>
                      <a:cubicBezTo>
                        <a:pt x="75" y="505"/>
                        <a:pt x="78" y="509"/>
                        <a:pt x="75" y="516"/>
                      </a:cubicBezTo>
                      <a:cubicBezTo>
                        <a:pt x="75" y="517"/>
                        <a:pt x="74" y="519"/>
                        <a:pt x="73" y="521"/>
                      </a:cubicBezTo>
                      <a:cubicBezTo>
                        <a:pt x="73" y="522"/>
                        <a:pt x="71" y="524"/>
                        <a:pt x="71" y="525"/>
                      </a:cubicBezTo>
                      <a:cubicBezTo>
                        <a:pt x="71" y="526"/>
                        <a:pt x="71" y="527"/>
                        <a:pt x="71" y="529"/>
                      </a:cubicBezTo>
                      <a:cubicBezTo>
                        <a:pt x="71" y="530"/>
                        <a:pt x="70" y="532"/>
                        <a:pt x="71" y="533"/>
                      </a:cubicBezTo>
                      <a:cubicBezTo>
                        <a:pt x="71" y="534"/>
                        <a:pt x="72" y="536"/>
                        <a:pt x="73" y="538"/>
                      </a:cubicBezTo>
                      <a:cubicBezTo>
                        <a:pt x="73" y="538"/>
                        <a:pt x="72" y="540"/>
                        <a:pt x="72" y="541"/>
                      </a:cubicBezTo>
                      <a:cubicBezTo>
                        <a:pt x="71" y="543"/>
                        <a:pt x="73" y="542"/>
                        <a:pt x="73" y="543"/>
                      </a:cubicBezTo>
                      <a:cubicBezTo>
                        <a:pt x="74" y="544"/>
                        <a:pt x="74" y="546"/>
                        <a:pt x="73" y="548"/>
                      </a:cubicBezTo>
                      <a:cubicBezTo>
                        <a:pt x="73" y="550"/>
                        <a:pt x="71" y="551"/>
                        <a:pt x="71" y="552"/>
                      </a:cubicBezTo>
                      <a:cubicBezTo>
                        <a:pt x="70" y="554"/>
                        <a:pt x="70" y="554"/>
                        <a:pt x="70" y="555"/>
                      </a:cubicBezTo>
                      <a:cubicBezTo>
                        <a:pt x="70" y="556"/>
                        <a:pt x="70" y="557"/>
                        <a:pt x="71" y="557"/>
                      </a:cubicBezTo>
                      <a:cubicBezTo>
                        <a:pt x="72" y="557"/>
                        <a:pt x="72" y="558"/>
                        <a:pt x="73" y="558"/>
                      </a:cubicBezTo>
                      <a:cubicBezTo>
                        <a:pt x="74" y="558"/>
                        <a:pt x="79" y="556"/>
                        <a:pt x="81" y="554"/>
                      </a:cubicBezTo>
                      <a:cubicBezTo>
                        <a:pt x="82" y="553"/>
                        <a:pt x="83" y="552"/>
                        <a:pt x="84" y="551"/>
                      </a:cubicBezTo>
                      <a:cubicBezTo>
                        <a:pt x="86" y="551"/>
                        <a:pt x="88" y="550"/>
                        <a:pt x="89" y="549"/>
                      </a:cubicBezTo>
                      <a:cubicBezTo>
                        <a:pt x="91" y="549"/>
                        <a:pt x="92" y="548"/>
                        <a:pt x="93" y="548"/>
                      </a:cubicBezTo>
                      <a:cubicBezTo>
                        <a:pt x="95" y="547"/>
                        <a:pt x="96" y="545"/>
                        <a:pt x="98" y="544"/>
                      </a:cubicBezTo>
                      <a:cubicBezTo>
                        <a:pt x="99" y="543"/>
                        <a:pt x="101" y="543"/>
                        <a:pt x="102" y="541"/>
                      </a:cubicBezTo>
                      <a:cubicBezTo>
                        <a:pt x="104" y="540"/>
                        <a:pt x="105" y="539"/>
                        <a:pt x="107" y="538"/>
                      </a:cubicBezTo>
                      <a:cubicBezTo>
                        <a:pt x="108" y="536"/>
                        <a:pt x="109" y="535"/>
                        <a:pt x="110" y="533"/>
                      </a:cubicBezTo>
                      <a:cubicBezTo>
                        <a:pt x="112" y="532"/>
                        <a:pt x="113" y="531"/>
                        <a:pt x="115" y="529"/>
                      </a:cubicBezTo>
                      <a:cubicBezTo>
                        <a:pt x="118" y="526"/>
                        <a:pt x="119" y="523"/>
                        <a:pt x="122" y="521"/>
                      </a:cubicBezTo>
                      <a:cubicBezTo>
                        <a:pt x="124" y="518"/>
                        <a:pt x="126" y="515"/>
                        <a:pt x="128" y="512"/>
                      </a:cubicBezTo>
                      <a:cubicBezTo>
                        <a:pt x="130" y="509"/>
                        <a:pt x="131" y="506"/>
                        <a:pt x="133" y="503"/>
                      </a:cubicBezTo>
                      <a:cubicBezTo>
                        <a:pt x="134" y="500"/>
                        <a:pt x="136" y="497"/>
                        <a:pt x="139" y="495"/>
                      </a:cubicBezTo>
                      <a:cubicBezTo>
                        <a:pt x="142" y="493"/>
                        <a:pt x="144" y="492"/>
                        <a:pt x="146" y="488"/>
                      </a:cubicBezTo>
                      <a:cubicBezTo>
                        <a:pt x="147" y="486"/>
                        <a:pt x="147" y="484"/>
                        <a:pt x="148" y="483"/>
                      </a:cubicBezTo>
                      <a:cubicBezTo>
                        <a:pt x="148" y="481"/>
                        <a:pt x="149" y="479"/>
                        <a:pt x="150" y="477"/>
                      </a:cubicBezTo>
                      <a:cubicBezTo>
                        <a:pt x="150" y="475"/>
                        <a:pt x="149" y="473"/>
                        <a:pt x="151" y="471"/>
                      </a:cubicBezTo>
                      <a:cubicBezTo>
                        <a:pt x="153" y="467"/>
                        <a:pt x="156" y="465"/>
                        <a:pt x="158" y="462"/>
                      </a:cubicBezTo>
                      <a:cubicBezTo>
                        <a:pt x="159" y="461"/>
                        <a:pt x="160" y="459"/>
                        <a:pt x="161" y="458"/>
                      </a:cubicBezTo>
                      <a:cubicBezTo>
                        <a:pt x="162" y="457"/>
                        <a:pt x="163" y="456"/>
                        <a:pt x="164" y="456"/>
                      </a:cubicBezTo>
                      <a:cubicBezTo>
                        <a:pt x="165" y="455"/>
                        <a:pt x="166" y="453"/>
                        <a:pt x="167" y="452"/>
                      </a:cubicBezTo>
                      <a:cubicBezTo>
                        <a:pt x="169" y="450"/>
                        <a:pt x="170" y="449"/>
                        <a:pt x="171" y="448"/>
                      </a:cubicBezTo>
                      <a:cubicBezTo>
                        <a:pt x="174" y="445"/>
                        <a:pt x="175" y="443"/>
                        <a:pt x="176" y="440"/>
                      </a:cubicBezTo>
                      <a:cubicBezTo>
                        <a:pt x="177" y="437"/>
                        <a:pt x="177" y="434"/>
                        <a:pt x="179" y="430"/>
                      </a:cubicBezTo>
                      <a:cubicBezTo>
                        <a:pt x="180" y="427"/>
                        <a:pt x="181" y="424"/>
                        <a:pt x="181" y="422"/>
                      </a:cubicBezTo>
                      <a:cubicBezTo>
                        <a:pt x="181" y="420"/>
                        <a:pt x="180" y="417"/>
                        <a:pt x="181" y="414"/>
                      </a:cubicBezTo>
                      <a:cubicBezTo>
                        <a:pt x="181" y="410"/>
                        <a:pt x="183" y="407"/>
                        <a:pt x="183" y="404"/>
                      </a:cubicBezTo>
                      <a:cubicBezTo>
                        <a:pt x="183" y="403"/>
                        <a:pt x="184" y="401"/>
                        <a:pt x="184" y="400"/>
                      </a:cubicBezTo>
                      <a:cubicBezTo>
                        <a:pt x="185" y="398"/>
                        <a:pt x="187" y="396"/>
                        <a:pt x="188" y="394"/>
                      </a:cubicBezTo>
                      <a:cubicBezTo>
                        <a:pt x="192" y="387"/>
                        <a:pt x="195" y="382"/>
                        <a:pt x="200" y="376"/>
                      </a:cubicBezTo>
                      <a:cubicBezTo>
                        <a:pt x="200" y="375"/>
                        <a:pt x="201" y="374"/>
                        <a:pt x="202" y="373"/>
                      </a:cubicBezTo>
                      <a:cubicBezTo>
                        <a:pt x="203" y="372"/>
                        <a:pt x="203" y="371"/>
                        <a:pt x="204" y="369"/>
                      </a:cubicBezTo>
                      <a:cubicBezTo>
                        <a:pt x="204" y="368"/>
                        <a:pt x="205" y="367"/>
                        <a:pt x="206" y="365"/>
                      </a:cubicBezTo>
                      <a:cubicBezTo>
                        <a:pt x="207" y="364"/>
                        <a:pt x="208" y="362"/>
                        <a:pt x="209" y="361"/>
                      </a:cubicBezTo>
                      <a:cubicBezTo>
                        <a:pt x="210" y="361"/>
                        <a:pt x="211" y="361"/>
                        <a:pt x="212" y="360"/>
                      </a:cubicBezTo>
                      <a:cubicBezTo>
                        <a:pt x="213" y="359"/>
                        <a:pt x="214" y="357"/>
                        <a:pt x="215" y="356"/>
                      </a:cubicBezTo>
                      <a:cubicBezTo>
                        <a:pt x="217" y="353"/>
                        <a:pt x="219" y="349"/>
                        <a:pt x="221" y="345"/>
                      </a:cubicBezTo>
                      <a:cubicBezTo>
                        <a:pt x="223" y="341"/>
                        <a:pt x="225" y="337"/>
                        <a:pt x="227" y="333"/>
                      </a:cubicBezTo>
                      <a:cubicBezTo>
                        <a:pt x="229" y="329"/>
                        <a:pt x="231" y="324"/>
                        <a:pt x="233" y="320"/>
                      </a:cubicBezTo>
                      <a:cubicBezTo>
                        <a:pt x="234" y="318"/>
                        <a:pt x="237" y="309"/>
                        <a:pt x="235" y="310"/>
                      </a:cubicBezTo>
                      <a:cubicBezTo>
                        <a:pt x="235" y="310"/>
                        <a:pt x="234" y="311"/>
                        <a:pt x="233" y="312"/>
                      </a:cubicBezTo>
                      <a:cubicBezTo>
                        <a:pt x="232" y="313"/>
                        <a:pt x="231" y="313"/>
                        <a:pt x="230" y="314"/>
                      </a:cubicBezTo>
                      <a:cubicBezTo>
                        <a:pt x="229" y="314"/>
                        <a:pt x="228" y="316"/>
                        <a:pt x="227" y="317"/>
                      </a:cubicBezTo>
                      <a:cubicBezTo>
                        <a:pt x="226" y="318"/>
                        <a:pt x="225" y="318"/>
                        <a:pt x="224" y="319"/>
                      </a:cubicBezTo>
                      <a:cubicBezTo>
                        <a:pt x="223" y="319"/>
                        <a:pt x="223" y="319"/>
                        <a:pt x="222" y="320"/>
                      </a:cubicBezTo>
                      <a:cubicBezTo>
                        <a:pt x="221" y="322"/>
                        <a:pt x="220" y="323"/>
                        <a:pt x="219" y="323"/>
                      </a:cubicBezTo>
                      <a:cubicBezTo>
                        <a:pt x="217" y="323"/>
                        <a:pt x="216" y="321"/>
                        <a:pt x="216" y="318"/>
                      </a:cubicBezTo>
                      <a:cubicBezTo>
                        <a:pt x="216" y="317"/>
                        <a:pt x="216" y="316"/>
                        <a:pt x="216" y="314"/>
                      </a:cubicBezTo>
                      <a:cubicBezTo>
                        <a:pt x="216" y="312"/>
                        <a:pt x="217" y="310"/>
                        <a:pt x="216" y="309"/>
                      </a:cubicBezTo>
                      <a:cubicBezTo>
                        <a:pt x="216" y="309"/>
                        <a:pt x="215" y="309"/>
                        <a:pt x="215" y="308"/>
                      </a:cubicBezTo>
                      <a:cubicBezTo>
                        <a:pt x="214" y="307"/>
                        <a:pt x="213" y="306"/>
                        <a:pt x="212" y="306"/>
                      </a:cubicBezTo>
                      <a:cubicBezTo>
                        <a:pt x="211" y="305"/>
                        <a:pt x="209" y="305"/>
                        <a:pt x="209" y="302"/>
                      </a:cubicBezTo>
                      <a:cubicBezTo>
                        <a:pt x="209" y="298"/>
                        <a:pt x="211" y="293"/>
                        <a:pt x="210" y="291"/>
                      </a:cubicBezTo>
                      <a:cubicBezTo>
                        <a:pt x="210" y="290"/>
                        <a:pt x="210" y="289"/>
                        <a:pt x="209" y="288"/>
                      </a:cubicBezTo>
                      <a:cubicBezTo>
                        <a:pt x="209" y="288"/>
                        <a:pt x="208" y="288"/>
                        <a:pt x="207" y="287"/>
                      </a:cubicBezTo>
                      <a:cubicBezTo>
                        <a:pt x="207" y="285"/>
                        <a:pt x="209" y="279"/>
                        <a:pt x="209" y="276"/>
                      </a:cubicBezTo>
                      <a:cubicBezTo>
                        <a:pt x="210" y="274"/>
                        <a:pt x="209" y="272"/>
                        <a:pt x="209" y="271"/>
                      </a:cubicBezTo>
                      <a:cubicBezTo>
                        <a:pt x="209" y="269"/>
                        <a:pt x="207" y="268"/>
                        <a:pt x="208" y="266"/>
                      </a:cubicBezTo>
                      <a:cubicBezTo>
                        <a:pt x="208" y="264"/>
                        <a:pt x="208" y="262"/>
                        <a:pt x="209" y="261"/>
                      </a:cubicBezTo>
                      <a:cubicBezTo>
                        <a:pt x="209" y="259"/>
                        <a:pt x="208" y="257"/>
                        <a:pt x="208" y="256"/>
                      </a:cubicBezTo>
                      <a:cubicBezTo>
                        <a:pt x="208" y="252"/>
                        <a:pt x="207" y="248"/>
                        <a:pt x="207" y="244"/>
                      </a:cubicBezTo>
                      <a:cubicBezTo>
                        <a:pt x="207" y="244"/>
                        <a:pt x="207" y="241"/>
                        <a:pt x="207" y="241"/>
                      </a:cubicBezTo>
                      <a:cubicBezTo>
                        <a:pt x="208" y="240"/>
                        <a:pt x="209" y="240"/>
                        <a:pt x="209" y="239"/>
                      </a:cubicBezTo>
                      <a:cubicBezTo>
                        <a:pt x="210" y="238"/>
                        <a:pt x="211" y="238"/>
                        <a:pt x="211" y="239"/>
                      </a:cubicBezTo>
                      <a:cubicBezTo>
                        <a:pt x="211" y="240"/>
                        <a:pt x="212" y="242"/>
                        <a:pt x="212" y="243"/>
                      </a:cubicBezTo>
                      <a:cubicBezTo>
                        <a:pt x="212" y="247"/>
                        <a:pt x="212" y="250"/>
                        <a:pt x="213" y="253"/>
                      </a:cubicBezTo>
                      <a:cubicBezTo>
                        <a:pt x="214" y="255"/>
                        <a:pt x="215" y="257"/>
                        <a:pt x="216" y="260"/>
                      </a:cubicBezTo>
                      <a:cubicBezTo>
                        <a:pt x="216" y="262"/>
                        <a:pt x="216" y="263"/>
                        <a:pt x="216" y="265"/>
                      </a:cubicBezTo>
                      <a:cubicBezTo>
                        <a:pt x="216" y="266"/>
                        <a:pt x="216" y="268"/>
                        <a:pt x="216" y="270"/>
                      </a:cubicBezTo>
                      <a:cubicBezTo>
                        <a:pt x="216" y="272"/>
                        <a:pt x="215" y="274"/>
                        <a:pt x="215" y="276"/>
                      </a:cubicBezTo>
                      <a:cubicBezTo>
                        <a:pt x="214" y="278"/>
                        <a:pt x="216" y="277"/>
                        <a:pt x="217" y="278"/>
                      </a:cubicBezTo>
                      <a:cubicBezTo>
                        <a:pt x="218" y="279"/>
                        <a:pt x="218" y="283"/>
                        <a:pt x="218" y="286"/>
                      </a:cubicBezTo>
                      <a:cubicBezTo>
                        <a:pt x="218" y="289"/>
                        <a:pt x="220" y="291"/>
                        <a:pt x="219" y="295"/>
                      </a:cubicBezTo>
                      <a:cubicBezTo>
                        <a:pt x="219" y="299"/>
                        <a:pt x="219" y="301"/>
                        <a:pt x="218" y="305"/>
                      </a:cubicBezTo>
                      <a:cubicBezTo>
                        <a:pt x="217" y="308"/>
                        <a:pt x="219" y="309"/>
                        <a:pt x="219" y="310"/>
                      </a:cubicBezTo>
                      <a:cubicBezTo>
                        <a:pt x="220" y="311"/>
                        <a:pt x="221" y="310"/>
                        <a:pt x="222" y="309"/>
                      </a:cubicBezTo>
                      <a:cubicBezTo>
                        <a:pt x="223" y="308"/>
                        <a:pt x="224" y="308"/>
                        <a:pt x="225" y="307"/>
                      </a:cubicBezTo>
                      <a:cubicBezTo>
                        <a:pt x="227" y="306"/>
                        <a:pt x="228" y="305"/>
                        <a:pt x="229" y="304"/>
                      </a:cubicBezTo>
                      <a:cubicBezTo>
                        <a:pt x="230" y="302"/>
                        <a:pt x="231" y="302"/>
                        <a:pt x="232" y="301"/>
                      </a:cubicBezTo>
                      <a:cubicBezTo>
                        <a:pt x="233" y="300"/>
                        <a:pt x="233" y="298"/>
                        <a:pt x="234" y="298"/>
                      </a:cubicBezTo>
                      <a:cubicBezTo>
                        <a:pt x="235" y="297"/>
                        <a:pt x="236" y="296"/>
                        <a:pt x="236" y="296"/>
                      </a:cubicBezTo>
                      <a:cubicBezTo>
                        <a:pt x="239" y="293"/>
                        <a:pt x="241" y="293"/>
                        <a:pt x="243" y="290"/>
                      </a:cubicBezTo>
                      <a:cubicBezTo>
                        <a:pt x="244" y="288"/>
                        <a:pt x="245" y="286"/>
                        <a:pt x="246" y="284"/>
                      </a:cubicBezTo>
                      <a:cubicBezTo>
                        <a:pt x="247" y="283"/>
                        <a:pt x="248" y="284"/>
                        <a:pt x="248" y="283"/>
                      </a:cubicBezTo>
                      <a:cubicBezTo>
                        <a:pt x="250" y="282"/>
                        <a:pt x="250" y="279"/>
                        <a:pt x="251" y="278"/>
                      </a:cubicBezTo>
                      <a:cubicBezTo>
                        <a:pt x="253" y="277"/>
                        <a:pt x="254" y="274"/>
                        <a:pt x="256" y="272"/>
                      </a:cubicBezTo>
                      <a:cubicBezTo>
                        <a:pt x="257" y="270"/>
                        <a:pt x="257" y="270"/>
                        <a:pt x="258" y="269"/>
                      </a:cubicBezTo>
                      <a:cubicBezTo>
                        <a:pt x="259" y="269"/>
                        <a:pt x="260" y="266"/>
                        <a:pt x="261" y="265"/>
                      </a:cubicBezTo>
                      <a:cubicBezTo>
                        <a:pt x="261" y="263"/>
                        <a:pt x="261" y="262"/>
                        <a:pt x="262" y="261"/>
                      </a:cubicBezTo>
                      <a:cubicBezTo>
                        <a:pt x="262" y="259"/>
                        <a:pt x="263" y="258"/>
                        <a:pt x="264" y="257"/>
                      </a:cubicBezTo>
                      <a:cubicBezTo>
                        <a:pt x="266" y="254"/>
                        <a:pt x="268" y="251"/>
                        <a:pt x="267" y="248"/>
                      </a:cubicBezTo>
                      <a:cubicBezTo>
                        <a:pt x="266" y="246"/>
                        <a:pt x="266" y="245"/>
                        <a:pt x="266" y="243"/>
                      </a:cubicBezTo>
                      <a:cubicBezTo>
                        <a:pt x="266" y="242"/>
                        <a:pt x="265" y="243"/>
                        <a:pt x="265" y="243"/>
                      </a:cubicBezTo>
                      <a:cubicBezTo>
                        <a:pt x="264" y="242"/>
                        <a:pt x="262" y="242"/>
                        <a:pt x="261" y="239"/>
                      </a:cubicBezTo>
                      <a:cubicBezTo>
                        <a:pt x="261" y="238"/>
                        <a:pt x="263" y="232"/>
                        <a:pt x="262" y="232"/>
                      </a:cubicBezTo>
                      <a:cubicBezTo>
                        <a:pt x="262" y="232"/>
                        <a:pt x="260" y="236"/>
                        <a:pt x="259" y="237"/>
                      </a:cubicBezTo>
                      <a:cubicBezTo>
                        <a:pt x="258" y="238"/>
                        <a:pt x="258" y="239"/>
                        <a:pt x="257" y="240"/>
                      </a:cubicBezTo>
                      <a:cubicBezTo>
                        <a:pt x="256" y="241"/>
                        <a:pt x="255" y="243"/>
                        <a:pt x="254" y="244"/>
                      </a:cubicBezTo>
                      <a:cubicBezTo>
                        <a:pt x="253" y="246"/>
                        <a:pt x="251" y="247"/>
                        <a:pt x="251" y="246"/>
                      </a:cubicBezTo>
                      <a:cubicBezTo>
                        <a:pt x="250" y="246"/>
                        <a:pt x="250" y="244"/>
                        <a:pt x="250" y="243"/>
                      </a:cubicBezTo>
                      <a:cubicBezTo>
                        <a:pt x="249" y="242"/>
                        <a:pt x="249" y="240"/>
                        <a:pt x="249" y="239"/>
                      </a:cubicBezTo>
                      <a:cubicBezTo>
                        <a:pt x="248" y="235"/>
                        <a:pt x="247" y="233"/>
                        <a:pt x="247" y="230"/>
                      </a:cubicBezTo>
                      <a:cubicBezTo>
                        <a:pt x="246" y="227"/>
                        <a:pt x="245" y="224"/>
                        <a:pt x="246" y="220"/>
                      </a:cubicBezTo>
                      <a:cubicBezTo>
                        <a:pt x="246" y="216"/>
                        <a:pt x="247" y="213"/>
                        <a:pt x="248" y="214"/>
                      </a:cubicBezTo>
                      <a:cubicBezTo>
                        <a:pt x="250" y="214"/>
                        <a:pt x="251" y="214"/>
                        <a:pt x="251" y="216"/>
                      </a:cubicBezTo>
                      <a:cubicBezTo>
                        <a:pt x="251" y="217"/>
                        <a:pt x="251" y="219"/>
                        <a:pt x="252" y="220"/>
                      </a:cubicBezTo>
                      <a:cubicBezTo>
                        <a:pt x="252" y="222"/>
                        <a:pt x="253" y="222"/>
                        <a:pt x="253" y="223"/>
                      </a:cubicBezTo>
                      <a:cubicBezTo>
                        <a:pt x="254" y="226"/>
                        <a:pt x="254" y="228"/>
                        <a:pt x="255" y="230"/>
                      </a:cubicBezTo>
                      <a:cubicBezTo>
                        <a:pt x="256" y="233"/>
                        <a:pt x="258" y="232"/>
                        <a:pt x="260" y="231"/>
                      </a:cubicBezTo>
                      <a:cubicBezTo>
                        <a:pt x="260" y="230"/>
                        <a:pt x="261" y="229"/>
                        <a:pt x="262" y="228"/>
                      </a:cubicBezTo>
                      <a:cubicBezTo>
                        <a:pt x="263" y="227"/>
                        <a:pt x="263" y="225"/>
                        <a:pt x="264" y="225"/>
                      </a:cubicBezTo>
                      <a:cubicBezTo>
                        <a:pt x="265" y="224"/>
                        <a:pt x="265" y="230"/>
                        <a:pt x="265" y="232"/>
                      </a:cubicBezTo>
                      <a:cubicBezTo>
                        <a:pt x="265" y="235"/>
                        <a:pt x="267" y="233"/>
                        <a:pt x="268" y="233"/>
                      </a:cubicBezTo>
                      <a:cubicBezTo>
                        <a:pt x="269" y="233"/>
                        <a:pt x="270" y="232"/>
                        <a:pt x="271" y="232"/>
                      </a:cubicBezTo>
                      <a:cubicBezTo>
                        <a:pt x="273" y="232"/>
                        <a:pt x="274" y="232"/>
                        <a:pt x="275" y="232"/>
                      </a:cubicBezTo>
                      <a:cubicBezTo>
                        <a:pt x="276" y="232"/>
                        <a:pt x="277" y="231"/>
                        <a:pt x="278" y="231"/>
                      </a:cubicBezTo>
                      <a:cubicBezTo>
                        <a:pt x="279" y="230"/>
                        <a:pt x="280" y="230"/>
                        <a:pt x="281" y="230"/>
                      </a:cubicBezTo>
                      <a:cubicBezTo>
                        <a:pt x="282" y="229"/>
                        <a:pt x="283" y="228"/>
                        <a:pt x="284" y="228"/>
                      </a:cubicBezTo>
                      <a:cubicBezTo>
                        <a:pt x="285" y="228"/>
                        <a:pt x="285" y="230"/>
                        <a:pt x="285" y="231"/>
                      </a:cubicBezTo>
                      <a:cubicBezTo>
                        <a:pt x="285" y="232"/>
                        <a:pt x="285" y="233"/>
                        <a:pt x="286" y="234"/>
                      </a:cubicBezTo>
                      <a:cubicBezTo>
                        <a:pt x="287" y="234"/>
                        <a:pt x="287" y="236"/>
                        <a:pt x="287" y="236"/>
                      </a:cubicBezTo>
                      <a:cubicBezTo>
                        <a:pt x="288" y="237"/>
                        <a:pt x="288" y="238"/>
                        <a:pt x="288" y="239"/>
                      </a:cubicBezTo>
                      <a:cubicBezTo>
                        <a:pt x="288" y="240"/>
                        <a:pt x="288" y="242"/>
                        <a:pt x="288" y="244"/>
                      </a:cubicBezTo>
                      <a:cubicBezTo>
                        <a:pt x="288" y="246"/>
                        <a:pt x="288" y="250"/>
                        <a:pt x="290" y="249"/>
                      </a:cubicBezTo>
                      <a:cubicBezTo>
                        <a:pt x="292" y="249"/>
                        <a:pt x="293" y="248"/>
                        <a:pt x="295" y="244"/>
                      </a:cubicBezTo>
                      <a:cubicBezTo>
                        <a:pt x="295" y="241"/>
                        <a:pt x="296" y="244"/>
                        <a:pt x="296" y="245"/>
                      </a:cubicBezTo>
                      <a:cubicBezTo>
                        <a:pt x="296" y="248"/>
                        <a:pt x="295" y="250"/>
                        <a:pt x="295" y="253"/>
                      </a:cubicBezTo>
                      <a:cubicBezTo>
                        <a:pt x="295" y="255"/>
                        <a:pt x="295" y="257"/>
                        <a:pt x="295" y="258"/>
                      </a:cubicBezTo>
                      <a:cubicBezTo>
                        <a:pt x="294" y="260"/>
                        <a:pt x="294" y="262"/>
                        <a:pt x="294" y="264"/>
                      </a:cubicBezTo>
                      <a:cubicBezTo>
                        <a:pt x="293" y="268"/>
                        <a:pt x="294" y="272"/>
                        <a:pt x="294" y="275"/>
                      </a:cubicBezTo>
                      <a:cubicBezTo>
                        <a:pt x="294" y="279"/>
                        <a:pt x="294" y="282"/>
                        <a:pt x="295" y="285"/>
                      </a:cubicBezTo>
                      <a:cubicBezTo>
                        <a:pt x="295" y="288"/>
                        <a:pt x="295" y="292"/>
                        <a:pt x="295" y="295"/>
                      </a:cubicBezTo>
                      <a:cubicBezTo>
                        <a:pt x="295" y="297"/>
                        <a:pt x="295" y="298"/>
                        <a:pt x="296" y="300"/>
                      </a:cubicBezTo>
                      <a:cubicBezTo>
                        <a:pt x="296" y="301"/>
                        <a:pt x="295" y="303"/>
                        <a:pt x="296" y="303"/>
                      </a:cubicBezTo>
                      <a:cubicBezTo>
                        <a:pt x="297" y="305"/>
                        <a:pt x="300" y="297"/>
                        <a:pt x="300" y="296"/>
                      </a:cubicBezTo>
                      <a:cubicBezTo>
                        <a:pt x="301" y="294"/>
                        <a:pt x="301" y="293"/>
                        <a:pt x="302" y="291"/>
                      </a:cubicBezTo>
                      <a:cubicBezTo>
                        <a:pt x="302" y="290"/>
                        <a:pt x="303" y="289"/>
                        <a:pt x="304" y="287"/>
                      </a:cubicBezTo>
                      <a:cubicBezTo>
                        <a:pt x="304" y="285"/>
                        <a:pt x="305" y="284"/>
                        <a:pt x="306" y="282"/>
                      </a:cubicBezTo>
                      <a:cubicBezTo>
                        <a:pt x="306" y="281"/>
                        <a:pt x="308" y="278"/>
                        <a:pt x="308" y="277"/>
                      </a:cubicBezTo>
                      <a:cubicBezTo>
                        <a:pt x="307" y="276"/>
                        <a:pt x="307" y="276"/>
                        <a:pt x="307" y="275"/>
                      </a:cubicBezTo>
                      <a:cubicBezTo>
                        <a:pt x="307" y="273"/>
                        <a:pt x="307" y="272"/>
                        <a:pt x="308" y="270"/>
                      </a:cubicBezTo>
                      <a:cubicBezTo>
                        <a:pt x="308" y="267"/>
                        <a:pt x="311" y="265"/>
                        <a:pt x="312" y="263"/>
                      </a:cubicBezTo>
                      <a:cubicBezTo>
                        <a:pt x="314" y="262"/>
                        <a:pt x="316" y="258"/>
                        <a:pt x="317" y="255"/>
                      </a:cubicBezTo>
                      <a:cubicBezTo>
                        <a:pt x="318" y="254"/>
                        <a:pt x="318" y="253"/>
                        <a:pt x="319" y="252"/>
                      </a:cubicBezTo>
                      <a:cubicBezTo>
                        <a:pt x="320" y="251"/>
                        <a:pt x="321" y="250"/>
                        <a:pt x="322" y="248"/>
                      </a:cubicBezTo>
                      <a:cubicBezTo>
                        <a:pt x="323" y="247"/>
                        <a:pt x="323" y="245"/>
                        <a:pt x="324" y="244"/>
                      </a:cubicBezTo>
                      <a:cubicBezTo>
                        <a:pt x="325" y="243"/>
                        <a:pt x="326" y="241"/>
                        <a:pt x="327" y="240"/>
                      </a:cubicBezTo>
                      <a:cubicBezTo>
                        <a:pt x="329" y="238"/>
                        <a:pt x="330" y="235"/>
                        <a:pt x="332" y="234"/>
                      </a:cubicBezTo>
                      <a:cubicBezTo>
                        <a:pt x="334" y="233"/>
                        <a:pt x="335" y="231"/>
                        <a:pt x="337" y="229"/>
                      </a:cubicBezTo>
                      <a:cubicBezTo>
                        <a:pt x="337" y="228"/>
                        <a:pt x="338" y="226"/>
                        <a:pt x="339" y="227"/>
                      </a:cubicBezTo>
                      <a:cubicBezTo>
                        <a:pt x="339" y="227"/>
                        <a:pt x="339" y="228"/>
                        <a:pt x="339" y="228"/>
                      </a:cubicBezTo>
                      <a:cubicBezTo>
                        <a:pt x="356" y="173"/>
                        <a:pt x="366" y="115"/>
                        <a:pt x="369" y="55"/>
                      </a:cubicBezTo>
                      <a:cubicBezTo>
                        <a:pt x="369" y="45"/>
                        <a:pt x="369" y="35"/>
                        <a:pt x="369" y="25"/>
                      </a:cubicBezTo>
                      <a:cubicBezTo>
                        <a:pt x="369" y="16"/>
                        <a:pt x="369" y="8"/>
                        <a:pt x="369" y="0"/>
                      </a:cubicBezTo>
                      <a:cubicBezTo>
                        <a:pt x="365" y="2"/>
                        <a:pt x="361" y="5"/>
                        <a:pt x="357" y="7"/>
                      </a:cubicBezTo>
                      <a:cubicBezTo>
                        <a:pt x="318" y="32"/>
                        <a:pt x="278" y="69"/>
                        <a:pt x="232" y="106"/>
                      </a:cubicBezTo>
                      <a:close/>
                      <a:moveTo>
                        <a:pt x="133" y="343"/>
                      </a:moveTo>
                      <a:cubicBezTo>
                        <a:pt x="131" y="347"/>
                        <a:pt x="130" y="347"/>
                        <a:pt x="129" y="346"/>
                      </a:cubicBezTo>
                      <a:cubicBezTo>
                        <a:pt x="128" y="345"/>
                        <a:pt x="125" y="344"/>
                        <a:pt x="127" y="342"/>
                      </a:cubicBezTo>
                      <a:cubicBezTo>
                        <a:pt x="129" y="339"/>
                        <a:pt x="129" y="341"/>
                        <a:pt x="130" y="342"/>
                      </a:cubicBezTo>
                      <a:cubicBezTo>
                        <a:pt x="131" y="343"/>
                        <a:pt x="134" y="341"/>
                        <a:pt x="133" y="343"/>
                      </a:cubicBezTo>
                      <a:close/>
                      <a:moveTo>
                        <a:pt x="156" y="410"/>
                      </a:moveTo>
                      <a:cubicBezTo>
                        <a:pt x="156" y="411"/>
                        <a:pt x="156" y="412"/>
                        <a:pt x="155" y="413"/>
                      </a:cubicBezTo>
                      <a:cubicBezTo>
                        <a:pt x="155" y="415"/>
                        <a:pt x="155" y="416"/>
                        <a:pt x="155" y="418"/>
                      </a:cubicBezTo>
                      <a:cubicBezTo>
                        <a:pt x="155" y="419"/>
                        <a:pt x="155" y="420"/>
                        <a:pt x="155" y="421"/>
                      </a:cubicBezTo>
                      <a:cubicBezTo>
                        <a:pt x="156" y="421"/>
                        <a:pt x="154" y="423"/>
                        <a:pt x="155" y="422"/>
                      </a:cubicBezTo>
                      <a:cubicBezTo>
                        <a:pt x="153" y="421"/>
                        <a:pt x="151" y="420"/>
                        <a:pt x="153" y="416"/>
                      </a:cubicBezTo>
                      <a:cubicBezTo>
                        <a:pt x="154" y="414"/>
                        <a:pt x="154" y="412"/>
                        <a:pt x="155" y="411"/>
                      </a:cubicBezTo>
                      <a:cubicBezTo>
                        <a:pt x="156" y="409"/>
                        <a:pt x="156" y="409"/>
                        <a:pt x="156" y="410"/>
                      </a:cubicBezTo>
                      <a:close/>
                      <a:moveTo>
                        <a:pt x="163" y="433"/>
                      </a:moveTo>
                      <a:cubicBezTo>
                        <a:pt x="162" y="435"/>
                        <a:pt x="161" y="437"/>
                        <a:pt x="160" y="439"/>
                      </a:cubicBezTo>
                      <a:cubicBezTo>
                        <a:pt x="160" y="440"/>
                        <a:pt x="159" y="441"/>
                        <a:pt x="159" y="442"/>
                      </a:cubicBezTo>
                      <a:cubicBezTo>
                        <a:pt x="159" y="443"/>
                        <a:pt x="159" y="444"/>
                        <a:pt x="159" y="444"/>
                      </a:cubicBezTo>
                      <a:cubicBezTo>
                        <a:pt x="157" y="443"/>
                        <a:pt x="159" y="438"/>
                        <a:pt x="160" y="435"/>
                      </a:cubicBezTo>
                      <a:cubicBezTo>
                        <a:pt x="160" y="434"/>
                        <a:pt x="160" y="433"/>
                        <a:pt x="161" y="432"/>
                      </a:cubicBezTo>
                      <a:cubicBezTo>
                        <a:pt x="161" y="431"/>
                        <a:pt x="162" y="430"/>
                        <a:pt x="162" y="429"/>
                      </a:cubicBezTo>
                      <a:cubicBezTo>
                        <a:pt x="162" y="429"/>
                        <a:pt x="163" y="426"/>
                        <a:pt x="164" y="426"/>
                      </a:cubicBezTo>
                      <a:cubicBezTo>
                        <a:pt x="164" y="426"/>
                        <a:pt x="164" y="426"/>
                        <a:pt x="164" y="426"/>
                      </a:cubicBezTo>
                      <a:cubicBezTo>
                        <a:pt x="165" y="426"/>
                        <a:pt x="163" y="432"/>
                        <a:pt x="163" y="433"/>
                      </a:cubicBezTo>
                      <a:close/>
                      <a:moveTo>
                        <a:pt x="176" y="386"/>
                      </a:moveTo>
                      <a:cubicBezTo>
                        <a:pt x="175" y="388"/>
                        <a:pt x="174" y="390"/>
                        <a:pt x="173" y="391"/>
                      </a:cubicBezTo>
                      <a:cubicBezTo>
                        <a:pt x="172" y="391"/>
                        <a:pt x="172" y="392"/>
                        <a:pt x="171" y="393"/>
                      </a:cubicBezTo>
                      <a:cubicBezTo>
                        <a:pt x="171" y="394"/>
                        <a:pt x="170" y="394"/>
                        <a:pt x="169" y="395"/>
                      </a:cubicBezTo>
                      <a:cubicBezTo>
                        <a:pt x="168" y="396"/>
                        <a:pt x="167" y="396"/>
                        <a:pt x="166" y="396"/>
                      </a:cubicBezTo>
                      <a:cubicBezTo>
                        <a:pt x="165" y="395"/>
                        <a:pt x="168" y="389"/>
                        <a:pt x="169" y="387"/>
                      </a:cubicBezTo>
                      <a:cubicBezTo>
                        <a:pt x="170" y="385"/>
                        <a:pt x="170" y="384"/>
                        <a:pt x="172" y="384"/>
                      </a:cubicBezTo>
                      <a:cubicBezTo>
                        <a:pt x="173" y="383"/>
                        <a:pt x="174" y="383"/>
                        <a:pt x="176" y="383"/>
                      </a:cubicBezTo>
                      <a:cubicBezTo>
                        <a:pt x="177" y="382"/>
                        <a:pt x="176" y="385"/>
                        <a:pt x="176" y="386"/>
                      </a:cubicBezTo>
                      <a:close/>
                      <a:moveTo>
                        <a:pt x="269" y="110"/>
                      </a:moveTo>
                      <a:cubicBezTo>
                        <a:pt x="267" y="108"/>
                        <a:pt x="266" y="109"/>
                        <a:pt x="265" y="111"/>
                      </a:cubicBezTo>
                      <a:cubicBezTo>
                        <a:pt x="264" y="113"/>
                        <a:pt x="263" y="115"/>
                        <a:pt x="263" y="118"/>
                      </a:cubicBezTo>
                      <a:cubicBezTo>
                        <a:pt x="263" y="119"/>
                        <a:pt x="264" y="120"/>
                        <a:pt x="264" y="121"/>
                      </a:cubicBezTo>
                      <a:cubicBezTo>
                        <a:pt x="264" y="123"/>
                        <a:pt x="264" y="124"/>
                        <a:pt x="264" y="126"/>
                      </a:cubicBezTo>
                      <a:cubicBezTo>
                        <a:pt x="264" y="128"/>
                        <a:pt x="266" y="128"/>
                        <a:pt x="266" y="130"/>
                      </a:cubicBezTo>
                      <a:cubicBezTo>
                        <a:pt x="266" y="132"/>
                        <a:pt x="265" y="136"/>
                        <a:pt x="266" y="136"/>
                      </a:cubicBezTo>
                      <a:cubicBezTo>
                        <a:pt x="268" y="135"/>
                        <a:pt x="268" y="137"/>
                        <a:pt x="269" y="139"/>
                      </a:cubicBezTo>
                      <a:cubicBezTo>
                        <a:pt x="269" y="140"/>
                        <a:pt x="270" y="143"/>
                        <a:pt x="269" y="144"/>
                      </a:cubicBezTo>
                      <a:cubicBezTo>
                        <a:pt x="268" y="145"/>
                        <a:pt x="267" y="144"/>
                        <a:pt x="266" y="144"/>
                      </a:cubicBezTo>
                      <a:cubicBezTo>
                        <a:pt x="266" y="144"/>
                        <a:pt x="265" y="143"/>
                        <a:pt x="265" y="145"/>
                      </a:cubicBezTo>
                      <a:cubicBezTo>
                        <a:pt x="265" y="147"/>
                        <a:pt x="265" y="148"/>
                        <a:pt x="266" y="148"/>
                      </a:cubicBezTo>
                      <a:cubicBezTo>
                        <a:pt x="267" y="148"/>
                        <a:pt x="267" y="150"/>
                        <a:pt x="267" y="152"/>
                      </a:cubicBezTo>
                      <a:cubicBezTo>
                        <a:pt x="267" y="156"/>
                        <a:pt x="266" y="160"/>
                        <a:pt x="266" y="165"/>
                      </a:cubicBezTo>
                      <a:cubicBezTo>
                        <a:pt x="266" y="167"/>
                        <a:pt x="266" y="167"/>
                        <a:pt x="265" y="168"/>
                      </a:cubicBezTo>
                      <a:cubicBezTo>
                        <a:pt x="264" y="168"/>
                        <a:pt x="264" y="169"/>
                        <a:pt x="263" y="169"/>
                      </a:cubicBezTo>
                      <a:cubicBezTo>
                        <a:pt x="261" y="170"/>
                        <a:pt x="260" y="173"/>
                        <a:pt x="259" y="172"/>
                      </a:cubicBezTo>
                      <a:cubicBezTo>
                        <a:pt x="258" y="171"/>
                        <a:pt x="258" y="171"/>
                        <a:pt x="258" y="169"/>
                      </a:cubicBezTo>
                      <a:cubicBezTo>
                        <a:pt x="258" y="168"/>
                        <a:pt x="257" y="167"/>
                        <a:pt x="256" y="166"/>
                      </a:cubicBezTo>
                      <a:cubicBezTo>
                        <a:pt x="256" y="165"/>
                        <a:pt x="255" y="166"/>
                        <a:pt x="255" y="165"/>
                      </a:cubicBezTo>
                      <a:cubicBezTo>
                        <a:pt x="254" y="163"/>
                        <a:pt x="255" y="161"/>
                        <a:pt x="255" y="160"/>
                      </a:cubicBezTo>
                      <a:cubicBezTo>
                        <a:pt x="255" y="158"/>
                        <a:pt x="255" y="156"/>
                        <a:pt x="256" y="154"/>
                      </a:cubicBezTo>
                      <a:cubicBezTo>
                        <a:pt x="256" y="152"/>
                        <a:pt x="257" y="151"/>
                        <a:pt x="258" y="148"/>
                      </a:cubicBezTo>
                      <a:cubicBezTo>
                        <a:pt x="258" y="146"/>
                        <a:pt x="258" y="144"/>
                        <a:pt x="257" y="143"/>
                      </a:cubicBezTo>
                      <a:cubicBezTo>
                        <a:pt x="257" y="141"/>
                        <a:pt x="257" y="140"/>
                        <a:pt x="257" y="139"/>
                      </a:cubicBezTo>
                      <a:cubicBezTo>
                        <a:pt x="256" y="138"/>
                        <a:pt x="256" y="137"/>
                        <a:pt x="255" y="135"/>
                      </a:cubicBezTo>
                      <a:cubicBezTo>
                        <a:pt x="255" y="133"/>
                        <a:pt x="255" y="131"/>
                        <a:pt x="254" y="129"/>
                      </a:cubicBezTo>
                      <a:cubicBezTo>
                        <a:pt x="254" y="126"/>
                        <a:pt x="254" y="125"/>
                        <a:pt x="254" y="122"/>
                      </a:cubicBezTo>
                      <a:cubicBezTo>
                        <a:pt x="254" y="120"/>
                        <a:pt x="254" y="120"/>
                        <a:pt x="254" y="119"/>
                      </a:cubicBezTo>
                      <a:cubicBezTo>
                        <a:pt x="254" y="114"/>
                        <a:pt x="255" y="113"/>
                        <a:pt x="256" y="109"/>
                      </a:cubicBezTo>
                      <a:cubicBezTo>
                        <a:pt x="257" y="107"/>
                        <a:pt x="257" y="103"/>
                        <a:pt x="258" y="102"/>
                      </a:cubicBezTo>
                      <a:cubicBezTo>
                        <a:pt x="260" y="100"/>
                        <a:pt x="261" y="102"/>
                        <a:pt x="263" y="100"/>
                      </a:cubicBezTo>
                      <a:cubicBezTo>
                        <a:pt x="263" y="99"/>
                        <a:pt x="264" y="98"/>
                        <a:pt x="264" y="97"/>
                      </a:cubicBezTo>
                      <a:cubicBezTo>
                        <a:pt x="265" y="96"/>
                        <a:pt x="266" y="95"/>
                        <a:pt x="267" y="95"/>
                      </a:cubicBezTo>
                      <a:cubicBezTo>
                        <a:pt x="268" y="96"/>
                        <a:pt x="269" y="101"/>
                        <a:pt x="270" y="104"/>
                      </a:cubicBezTo>
                      <a:cubicBezTo>
                        <a:pt x="271" y="106"/>
                        <a:pt x="271" y="108"/>
                        <a:pt x="271" y="110"/>
                      </a:cubicBezTo>
                      <a:cubicBezTo>
                        <a:pt x="271" y="112"/>
                        <a:pt x="269" y="110"/>
                        <a:pt x="269" y="110"/>
                      </a:cubicBezTo>
                      <a:close/>
                      <a:moveTo>
                        <a:pt x="285" y="115"/>
                      </a:moveTo>
                      <a:cubicBezTo>
                        <a:pt x="285" y="117"/>
                        <a:pt x="284" y="120"/>
                        <a:pt x="283" y="120"/>
                      </a:cubicBezTo>
                      <a:cubicBezTo>
                        <a:pt x="282" y="121"/>
                        <a:pt x="282" y="120"/>
                        <a:pt x="281" y="121"/>
                      </a:cubicBezTo>
                      <a:cubicBezTo>
                        <a:pt x="281" y="121"/>
                        <a:pt x="280" y="121"/>
                        <a:pt x="280" y="121"/>
                      </a:cubicBezTo>
                      <a:cubicBezTo>
                        <a:pt x="279" y="120"/>
                        <a:pt x="279" y="115"/>
                        <a:pt x="279" y="114"/>
                      </a:cubicBezTo>
                      <a:cubicBezTo>
                        <a:pt x="279" y="112"/>
                        <a:pt x="280" y="110"/>
                        <a:pt x="280" y="108"/>
                      </a:cubicBezTo>
                      <a:cubicBezTo>
                        <a:pt x="281" y="105"/>
                        <a:pt x="282" y="104"/>
                        <a:pt x="283" y="103"/>
                      </a:cubicBezTo>
                      <a:cubicBezTo>
                        <a:pt x="284" y="102"/>
                        <a:pt x="286" y="100"/>
                        <a:pt x="286" y="102"/>
                      </a:cubicBezTo>
                      <a:cubicBezTo>
                        <a:pt x="287" y="102"/>
                        <a:pt x="287" y="104"/>
                        <a:pt x="286" y="105"/>
                      </a:cubicBezTo>
                      <a:cubicBezTo>
                        <a:pt x="286" y="106"/>
                        <a:pt x="287" y="108"/>
                        <a:pt x="287" y="109"/>
                      </a:cubicBezTo>
                      <a:cubicBezTo>
                        <a:pt x="287" y="112"/>
                        <a:pt x="285" y="113"/>
                        <a:pt x="285" y="115"/>
                      </a:cubicBezTo>
                      <a:close/>
                      <a:moveTo>
                        <a:pt x="320" y="96"/>
                      </a:moveTo>
                      <a:cubicBezTo>
                        <a:pt x="319" y="97"/>
                        <a:pt x="317" y="97"/>
                        <a:pt x="316" y="98"/>
                      </a:cubicBezTo>
                      <a:cubicBezTo>
                        <a:pt x="315" y="98"/>
                        <a:pt x="315" y="100"/>
                        <a:pt x="314" y="101"/>
                      </a:cubicBezTo>
                      <a:cubicBezTo>
                        <a:pt x="314" y="102"/>
                        <a:pt x="313" y="106"/>
                        <a:pt x="313" y="106"/>
                      </a:cubicBezTo>
                      <a:cubicBezTo>
                        <a:pt x="313" y="104"/>
                        <a:pt x="312" y="102"/>
                        <a:pt x="313" y="100"/>
                      </a:cubicBezTo>
                      <a:cubicBezTo>
                        <a:pt x="313" y="99"/>
                        <a:pt x="314" y="97"/>
                        <a:pt x="315" y="95"/>
                      </a:cubicBezTo>
                      <a:cubicBezTo>
                        <a:pt x="316" y="94"/>
                        <a:pt x="317" y="94"/>
                        <a:pt x="318" y="94"/>
                      </a:cubicBezTo>
                      <a:cubicBezTo>
                        <a:pt x="319" y="94"/>
                        <a:pt x="320" y="96"/>
                        <a:pt x="321" y="95"/>
                      </a:cubicBezTo>
                      <a:cubicBezTo>
                        <a:pt x="321" y="96"/>
                        <a:pt x="320" y="96"/>
                        <a:pt x="3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216"/>
                <p:cNvSpPr>
                  <a:spLocks/>
                </p:cNvSpPr>
                <p:nvPr/>
              </p:nvSpPr>
              <p:spPr bwMode="auto">
                <a:xfrm>
                  <a:off x="3405188" y="4465638"/>
                  <a:ext cx="9525" cy="7938"/>
                </a:xfrm>
                <a:custGeom>
                  <a:avLst/>
                  <a:gdLst>
                    <a:gd name="T0" fmla="*/ 8 w 12"/>
                    <a:gd name="T1" fmla="*/ 0 h 11"/>
                    <a:gd name="T2" fmla="*/ 3 w 12"/>
                    <a:gd name="T3" fmla="*/ 8 h 11"/>
                    <a:gd name="T4" fmla="*/ 9 w 12"/>
                    <a:gd name="T5" fmla="*/ 9 h 11"/>
                    <a:gd name="T6" fmla="*/ 8 w 12"/>
                    <a:gd name="T7" fmla="*/ 0 h 11"/>
                  </a:gdLst>
                  <a:ahLst/>
                  <a:cxnLst>
                    <a:cxn ang="0">
                      <a:pos x="T0" y="T1"/>
                    </a:cxn>
                    <a:cxn ang="0">
                      <a:pos x="T2" y="T3"/>
                    </a:cxn>
                    <a:cxn ang="0">
                      <a:pos x="T4" y="T5"/>
                    </a:cxn>
                    <a:cxn ang="0">
                      <a:pos x="T6" y="T7"/>
                    </a:cxn>
                  </a:cxnLst>
                  <a:rect l="0" t="0" r="r" b="b"/>
                  <a:pathLst>
                    <a:path w="12" h="11">
                      <a:moveTo>
                        <a:pt x="8" y="0"/>
                      </a:moveTo>
                      <a:cubicBezTo>
                        <a:pt x="6" y="2"/>
                        <a:pt x="0" y="6"/>
                        <a:pt x="3" y="8"/>
                      </a:cubicBezTo>
                      <a:cubicBezTo>
                        <a:pt x="3" y="8"/>
                        <a:pt x="8" y="11"/>
                        <a:pt x="9" y="9"/>
                      </a:cubicBezTo>
                      <a:cubicBezTo>
                        <a:pt x="12" y="5"/>
                        <a:pt x="10"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217"/>
                <p:cNvSpPr>
                  <a:spLocks/>
                </p:cNvSpPr>
                <p:nvPr/>
              </p:nvSpPr>
              <p:spPr bwMode="auto">
                <a:xfrm>
                  <a:off x="3408363" y="4473575"/>
                  <a:ext cx="4763" cy="6350"/>
                </a:xfrm>
                <a:custGeom>
                  <a:avLst/>
                  <a:gdLst>
                    <a:gd name="T0" fmla="*/ 2 w 5"/>
                    <a:gd name="T1" fmla="*/ 7 h 8"/>
                    <a:gd name="T2" fmla="*/ 4 w 5"/>
                    <a:gd name="T3" fmla="*/ 2 h 8"/>
                    <a:gd name="T4" fmla="*/ 2 w 5"/>
                    <a:gd name="T5" fmla="*/ 7 h 8"/>
                  </a:gdLst>
                  <a:ahLst/>
                  <a:cxnLst>
                    <a:cxn ang="0">
                      <a:pos x="T0" y="T1"/>
                    </a:cxn>
                    <a:cxn ang="0">
                      <a:pos x="T2" y="T3"/>
                    </a:cxn>
                    <a:cxn ang="0">
                      <a:pos x="T4" y="T5"/>
                    </a:cxn>
                  </a:cxnLst>
                  <a:rect l="0" t="0" r="r" b="b"/>
                  <a:pathLst>
                    <a:path w="5" h="8">
                      <a:moveTo>
                        <a:pt x="2" y="7"/>
                      </a:moveTo>
                      <a:cubicBezTo>
                        <a:pt x="4" y="8"/>
                        <a:pt x="5" y="2"/>
                        <a:pt x="4" y="2"/>
                      </a:cubicBezTo>
                      <a:cubicBezTo>
                        <a:pt x="2" y="0"/>
                        <a:pt x="0" y="6"/>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218"/>
                <p:cNvSpPr>
                  <a:spLocks/>
                </p:cNvSpPr>
                <p:nvPr/>
              </p:nvSpPr>
              <p:spPr bwMode="auto">
                <a:xfrm>
                  <a:off x="3370263" y="4540250"/>
                  <a:ext cx="3175" cy="4763"/>
                </a:xfrm>
                <a:custGeom>
                  <a:avLst/>
                  <a:gdLst>
                    <a:gd name="T0" fmla="*/ 4 w 6"/>
                    <a:gd name="T1" fmla="*/ 1 h 6"/>
                    <a:gd name="T2" fmla="*/ 1 w 6"/>
                    <a:gd name="T3" fmla="*/ 5 h 6"/>
                    <a:gd name="T4" fmla="*/ 4 w 6"/>
                    <a:gd name="T5" fmla="*/ 1 h 6"/>
                  </a:gdLst>
                  <a:ahLst/>
                  <a:cxnLst>
                    <a:cxn ang="0">
                      <a:pos x="T0" y="T1"/>
                    </a:cxn>
                    <a:cxn ang="0">
                      <a:pos x="T2" y="T3"/>
                    </a:cxn>
                    <a:cxn ang="0">
                      <a:pos x="T4" y="T5"/>
                    </a:cxn>
                  </a:cxnLst>
                  <a:rect l="0" t="0" r="r" b="b"/>
                  <a:pathLst>
                    <a:path w="6" h="6">
                      <a:moveTo>
                        <a:pt x="4" y="1"/>
                      </a:moveTo>
                      <a:cubicBezTo>
                        <a:pt x="3" y="0"/>
                        <a:pt x="0" y="4"/>
                        <a:pt x="1" y="5"/>
                      </a:cubicBezTo>
                      <a:cubicBezTo>
                        <a:pt x="3" y="6"/>
                        <a:pt x="6"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219"/>
                <p:cNvSpPr>
                  <a:spLocks/>
                </p:cNvSpPr>
                <p:nvPr/>
              </p:nvSpPr>
              <p:spPr bwMode="auto">
                <a:xfrm>
                  <a:off x="3414713" y="4465638"/>
                  <a:ext cx="4763" cy="4763"/>
                </a:xfrm>
                <a:custGeom>
                  <a:avLst/>
                  <a:gdLst>
                    <a:gd name="T0" fmla="*/ 6 w 6"/>
                    <a:gd name="T1" fmla="*/ 0 h 6"/>
                    <a:gd name="T2" fmla="*/ 3 w 6"/>
                    <a:gd name="T3" fmla="*/ 0 h 6"/>
                    <a:gd name="T4" fmla="*/ 2 w 6"/>
                    <a:gd name="T5" fmla="*/ 5 h 6"/>
                    <a:gd name="T6" fmla="*/ 6 w 6"/>
                    <a:gd name="T7" fmla="*/ 0 h 6"/>
                  </a:gdLst>
                  <a:ahLst/>
                  <a:cxnLst>
                    <a:cxn ang="0">
                      <a:pos x="T0" y="T1"/>
                    </a:cxn>
                    <a:cxn ang="0">
                      <a:pos x="T2" y="T3"/>
                    </a:cxn>
                    <a:cxn ang="0">
                      <a:pos x="T4" y="T5"/>
                    </a:cxn>
                    <a:cxn ang="0">
                      <a:pos x="T6" y="T7"/>
                    </a:cxn>
                  </a:cxnLst>
                  <a:rect l="0" t="0" r="r" b="b"/>
                  <a:pathLst>
                    <a:path w="6" h="6">
                      <a:moveTo>
                        <a:pt x="6" y="0"/>
                      </a:moveTo>
                      <a:cubicBezTo>
                        <a:pt x="5" y="0"/>
                        <a:pt x="4" y="0"/>
                        <a:pt x="3" y="0"/>
                      </a:cubicBezTo>
                      <a:cubicBezTo>
                        <a:pt x="0" y="1"/>
                        <a:pt x="1" y="4"/>
                        <a:pt x="2" y="5"/>
                      </a:cubicBezTo>
                      <a:cubicBezTo>
                        <a:pt x="4" y="6"/>
                        <a:pt x="6" y="2"/>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20"/>
                <p:cNvSpPr>
                  <a:spLocks/>
                </p:cNvSpPr>
                <p:nvPr/>
              </p:nvSpPr>
              <p:spPr bwMode="auto">
                <a:xfrm>
                  <a:off x="3405188" y="4478338"/>
                  <a:ext cx="1588" cy="3175"/>
                </a:xfrm>
                <a:custGeom>
                  <a:avLst/>
                  <a:gdLst>
                    <a:gd name="T0" fmla="*/ 1 w 4"/>
                    <a:gd name="T1" fmla="*/ 5 h 5"/>
                    <a:gd name="T2" fmla="*/ 3 w 4"/>
                    <a:gd name="T3" fmla="*/ 3 h 5"/>
                    <a:gd name="T4" fmla="*/ 2 w 4"/>
                    <a:gd name="T5" fmla="*/ 0 h 5"/>
                    <a:gd name="T6" fmla="*/ 1 w 4"/>
                    <a:gd name="T7" fmla="*/ 5 h 5"/>
                  </a:gdLst>
                  <a:ahLst/>
                  <a:cxnLst>
                    <a:cxn ang="0">
                      <a:pos x="T0" y="T1"/>
                    </a:cxn>
                    <a:cxn ang="0">
                      <a:pos x="T2" y="T3"/>
                    </a:cxn>
                    <a:cxn ang="0">
                      <a:pos x="T4" y="T5"/>
                    </a:cxn>
                    <a:cxn ang="0">
                      <a:pos x="T6" y="T7"/>
                    </a:cxn>
                  </a:cxnLst>
                  <a:rect l="0" t="0" r="r" b="b"/>
                  <a:pathLst>
                    <a:path w="4" h="5">
                      <a:moveTo>
                        <a:pt x="1" y="5"/>
                      </a:moveTo>
                      <a:cubicBezTo>
                        <a:pt x="2" y="5"/>
                        <a:pt x="3" y="4"/>
                        <a:pt x="3" y="3"/>
                      </a:cubicBezTo>
                      <a:cubicBezTo>
                        <a:pt x="4" y="2"/>
                        <a:pt x="3" y="1"/>
                        <a:pt x="2" y="0"/>
                      </a:cubicBezTo>
                      <a:cubicBezTo>
                        <a:pt x="0" y="1"/>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21"/>
                <p:cNvSpPr>
                  <a:spLocks/>
                </p:cNvSpPr>
                <p:nvPr/>
              </p:nvSpPr>
              <p:spPr bwMode="auto">
                <a:xfrm>
                  <a:off x="3575051" y="4332288"/>
                  <a:ext cx="6350" cy="3175"/>
                </a:xfrm>
                <a:custGeom>
                  <a:avLst/>
                  <a:gdLst>
                    <a:gd name="T0" fmla="*/ 5 w 9"/>
                    <a:gd name="T1" fmla="*/ 2 h 5"/>
                    <a:gd name="T2" fmla="*/ 1 w 9"/>
                    <a:gd name="T3" fmla="*/ 2 h 5"/>
                    <a:gd name="T4" fmla="*/ 3 w 9"/>
                    <a:gd name="T5" fmla="*/ 4 h 5"/>
                    <a:gd name="T6" fmla="*/ 6 w 9"/>
                    <a:gd name="T7" fmla="*/ 5 h 5"/>
                    <a:gd name="T8" fmla="*/ 7 w 9"/>
                    <a:gd name="T9" fmla="*/ 4 h 5"/>
                    <a:gd name="T10" fmla="*/ 9 w 9"/>
                    <a:gd name="T11" fmla="*/ 3 h 5"/>
                    <a:gd name="T12" fmla="*/ 5 w 9"/>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5" y="2"/>
                      </a:moveTo>
                      <a:cubicBezTo>
                        <a:pt x="4" y="2"/>
                        <a:pt x="2" y="0"/>
                        <a:pt x="1" y="2"/>
                      </a:cubicBezTo>
                      <a:cubicBezTo>
                        <a:pt x="0" y="4"/>
                        <a:pt x="3" y="4"/>
                        <a:pt x="3" y="4"/>
                      </a:cubicBezTo>
                      <a:cubicBezTo>
                        <a:pt x="4" y="4"/>
                        <a:pt x="5" y="5"/>
                        <a:pt x="6" y="5"/>
                      </a:cubicBezTo>
                      <a:cubicBezTo>
                        <a:pt x="6" y="5"/>
                        <a:pt x="7" y="5"/>
                        <a:pt x="7" y="4"/>
                      </a:cubicBezTo>
                      <a:cubicBezTo>
                        <a:pt x="8" y="4"/>
                        <a:pt x="8" y="3"/>
                        <a:pt x="9" y="3"/>
                      </a:cubicBezTo>
                      <a:cubicBezTo>
                        <a:pt x="9" y="0"/>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22"/>
                <p:cNvSpPr>
                  <a:spLocks/>
                </p:cNvSpPr>
                <p:nvPr/>
              </p:nvSpPr>
              <p:spPr bwMode="auto">
                <a:xfrm>
                  <a:off x="3567113" y="4278313"/>
                  <a:ext cx="25400" cy="50800"/>
                </a:xfrm>
                <a:custGeom>
                  <a:avLst/>
                  <a:gdLst>
                    <a:gd name="T0" fmla="*/ 33 w 34"/>
                    <a:gd name="T1" fmla="*/ 4 h 69"/>
                    <a:gd name="T2" fmla="*/ 34 w 34"/>
                    <a:gd name="T3" fmla="*/ 0 h 69"/>
                    <a:gd name="T4" fmla="*/ 1 w 34"/>
                    <a:gd name="T5" fmla="*/ 24 h 69"/>
                    <a:gd name="T6" fmla="*/ 1 w 34"/>
                    <a:gd name="T7" fmla="*/ 24 h 69"/>
                    <a:gd name="T8" fmla="*/ 4 w 34"/>
                    <a:gd name="T9" fmla="*/ 31 h 69"/>
                    <a:gd name="T10" fmla="*/ 4 w 34"/>
                    <a:gd name="T11" fmla="*/ 36 h 69"/>
                    <a:gd name="T12" fmla="*/ 3 w 34"/>
                    <a:gd name="T13" fmla="*/ 43 h 69"/>
                    <a:gd name="T14" fmla="*/ 2 w 34"/>
                    <a:gd name="T15" fmla="*/ 56 h 69"/>
                    <a:gd name="T16" fmla="*/ 5 w 34"/>
                    <a:gd name="T17" fmla="*/ 58 h 69"/>
                    <a:gd name="T18" fmla="*/ 6 w 34"/>
                    <a:gd name="T19" fmla="*/ 60 h 69"/>
                    <a:gd name="T20" fmla="*/ 6 w 34"/>
                    <a:gd name="T21" fmla="*/ 67 h 69"/>
                    <a:gd name="T22" fmla="*/ 11 w 34"/>
                    <a:gd name="T23" fmla="*/ 66 h 69"/>
                    <a:gd name="T24" fmla="*/ 13 w 34"/>
                    <a:gd name="T25" fmla="*/ 61 h 69"/>
                    <a:gd name="T26" fmla="*/ 16 w 34"/>
                    <a:gd name="T27" fmla="*/ 61 h 69"/>
                    <a:gd name="T28" fmla="*/ 16 w 34"/>
                    <a:gd name="T29" fmla="*/ 55 h 69"/>
                    <a:gd name="T30" fmla="*/ 15 w 34"/>
                    <a:gd name="T31" fmla="*/ 55 h 69"/>
                    <a:gd name="T32" fmla="*/ 14 w 34"/>
                    <a:gd name="T33" fmla="*/ 52 h 69"/>
                    <a:gd name="T34" fmla="*/ 14 w 34"/>
                    <a:gd name="T35" fmla="*/ 48 h 69"/>
                    <a:gd name="T36" fmla="*/ 13 w 34"/>
                    <a:gd name="T37" fmla="*/ 45 h 69"/>
                    <a:gd name="T38" fmla="*/ 15 w 34"/>
                    <a:gd name="T39" fmla="*/ 43 h 69"/>
                    <a:gd name="T40" fmla="*/ 17 w 34"/>
                    <a:gd name="T41" fmla="*/ 38 h 69"/>
                    <a:gd name="T42" fmla="*/ 21 w 34"/>
                    <a:gd name="T43" fmla="*/ 34 h 69"/>
                    <a:gd name="T44" fmla="*/ 24 w 34"/>
                    <a:gd name="T45" fmla="*/ 32 h 69"/>
                    <a:gd name="T46" fmla="*/ 27 w 34"/>
                    <a:gd name="T47" fmla="*/ 30 h 69"/>
                    <a:gd name="T48" fmla="*/ 30 w 34"/>
                    <a:gd name="T49" fmla="*/ 25 h 69"/>
                    <a:gd name="T50" fmla="*/ 29 w 34"/>
                    <a:gd name="T51" fmla="*/ 19 h 69"/>
                    <a:gd name="T52" fmla="*/ 30 w 34"/>
                    <a:gd name="T53" fmla="*/ 14 h 69"/>
                    <a:gd name="T54" fmla="*/ 33 w 34"/>
                    <a:gd name="T55"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9">
                      <a:moveTo>
                        <a:pt x="33" y="4"/>
                      </a:moveTo>
                      <a:cubicBezTo>
                        <a:pt x="33" y="3"/>
                        <a:pt x="34" y="1"/>
                        <a:pt x="34" y="0"/>
                      </a:cubicBezTo>
                      <a:cubicBezTo>
                        <a:pt x="23" y="8"/>
                        <a:pt x="12" y="16"/>
                        <a:pt x="1" y="24"/>
                      </a:cubicBezTo>
                      <a:cubicBezTo>
                        <a:pt x="1" y="24"/>
                        <a:pt x="1" y="24"/>
                        <a:pt x="1" y="24"/>
                      </a:cubicBezTo>
                      <a:cubicBezTo>
                        <a:pt x="2" y="26"/>
                        <a:pt x="4" y="27"/>
                        <a:pt x="4" y="31"/>
                      </a:cubicBezTo>
                      <a:cubicBezTo>
                        <a:pt x="5" y="33"/>
                        <a:pt x="4" y="34"/>
                        <a:pt x="4" y="36"/>
                      </a:cubicBezTo>
                      <a:cubicBezTo>
                        <a:pt x="3" y="38"/>
                        <a:pt x="4" y="40"/>
                        <a:pt x="3" y="43"/>
                      </a:cubicBezTo>
                      <a:cubicBezTo>
                        <a:pt x="3" y="47"/>
                        <a:pt x="0" y="53"/>
                        <a:pt x="2" y="56"/>
                      </a:cubicBezTo>
                      <a:cubicBezTo>
                        <a:pt x="2" y="58"/>
                        <a:pt x="4" y="58"/>
                        <a:pt x="5" y="58"/>
                      </a:cubicBezTo>
                      <a:cubicBezTo>
                        <a:pt x="6" y="58"/>
                        <a:pt x="6" y="59"/>
                        <a:pt x="6" y="60"/>
                      </a:cubicBezTo>
                      <a:cubicBezTo>
                        <a:pt x="6" y="62"/>
                        <a:pt x="6" y="66"/>
                        <a:pt x="6" y="67"/>
                      </a:cubicBezTo>
                      <a:cubicBezTo>
                        <a:pt x="7" y="68"/>
                        <a:pt x="10" y="69"/>
                        <a:pt x="11" y="66"/>
                      </a:cubicBezTo>
                      <a:cubicBezTo>
                        <a:pt x="12" y="64"/>
                        <a:pt x="12" y="62"/>
                        <a:pt x="13" y="61"/>
                      </a:cubicBezTo>
                      <a:cubicBezTo>
                        <a:pt x="14" y="60"/>
                        <a:pt x="15" y="61"/>
                        <a:pt x="16" y="61"/>
                      </a:cubicBezTo>
                      <a:cubicBezTo>
                        <a:pt x="17" y="60"/>
                        <a:pt x="17" y="56"/>
                        <a:pt x="16" y="55"/>
                      </a:cubicBezTo>
                      <a:cubicBezTo>
                        <a:pt x="16" y="55"/>
                        <a:pt x="15" y="55"/>
                        <a:pt x="15" y="55"/>
                      </a:cubicBezTo>
                      <a:cubicBezTo>
                        <a:pt x="14" y="54"/>
                        <a:pt x="14" y="53"/>
                        <a:pt x="14" y="52"/>
                      </a:cubicBezTo>
                      <a:cubicBezTo>
                        <a:pt x="14" y="51"/>
                        <a:pt x="14" y="49"/>
                        <a:pt x="14" y="48"/>
                      </a:cubicBezTo>
                      <a:cubicBezTo>
                        <a:pt x="14" y="47"/>
                        <a:pt x="13" y="47"/>
                        <a:pt x="13" y="45"/>
                      </a:cubicBezTo>
                      <a:cubicBezTo>
                        <a:pt x="13" y="44"/>
                        <a:pt x="14" y="43"/>
                        <a:pt x="15" y="43"/>
                      </a:cubicBezTo>
                      <a:cubicBezTo>
                        <a:pt x="16" y="42"/>
                        <a:pt x="16" y="40"/>
                        <a:pt x="17" y="38"/>
                      </a:cubicBezTo>
                      <a:cubicBezTo>
                        <a:pt x="18" y="35"/>
                        <a:pt x="19" y="33"/>
                        <a:pt x="21" y="34"/>
                      </a:cubicBezTo>
                      <a:cubicBezTo>
                        <a:pt x="22" y="34"/>
                        <a:pt x="23" y="34"/>
                        <a:pt x="24" y="32"/>
                      </a:cubicBezTo>
                      <a:cubicBezTo>
                        <a:pt x="25" y="31"/>
                        <a:pt x="26" y="31"/>
                        <a:pt x="27" y="30"/>
                      </a:cubicBezTo>
                      <a:cubicBezTo>
                        <a:pt x="29" y="30"/>
                        <a:pt x="29" y="28"/>
                        <a:pt x="30" y="25"/>
                      </a:cubicBezTo>
                      <a:cubicBezTo>
                        <a:pt x="30" y="22"/>
                        <a:pt x="29" y="21"/>
                        <a:pt x="29" y="19"/>
                      </a:cubicBezTo>
                      <a:cubicBezTo>
                        <a:pt x="29" y="17"/>
                        <a:pt x="30" y="16"/>
                        <a:pt x="30" y="14"/>
                      </a:cubicBezTo>
                      <a:cubicBezTo>
                        <a:pt x="32" y="11"/>
                        <a:pt x="32" y="7"/>
                        <a:pt x="3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23"/>
                <p:cNvSpPr>
                  <a:spLocks/>
                </p:cNvSpPr>
                <p:nvPr/>
              </p:nvSpPr>
              <p:spPr bwMode="auto">
                <a:xfrm>
                  <a:off x="2660651" y="4232275"/>
                  <a:ext cx="1588" cy="1588"/>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0" y="2"/>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224"/>
                <p:cNvSpPr>
                  <a:spLocks/>
                </p:cNvSpPr>
                <p:nvPr/>
              </p:nvSpPr>
              <p:spPr bwMode="auto">
                <a:xfrm>
                  <a:off x="3598863" y="4268788"/>
                  <a:ext cx="6350" cy="11113"/>
                </a:xfrm>
                <a:custGeom>
                  <a:avLst/>
                  <a:gdLst>
                    <a:gd name="T0" fmla="*/ 8 w 9"/>
                    <a:gd name="T1" fmla="*/ 0 h 14"/>
                    <a:gd name="T2" fmla="*/ 1 w 9"/>
                    <a:gd name="T3" fmla="*/ 5 h 14"/>
                    <a:gd name="T4" fmla="*/ 1 w 9"/>
                    <a:gd name="T5" fmla="*/ 7 h 14"/>
                    <a:gd name="T6" fmla="*/ 3 w 9"/>
                    <a:gd name="T7" fmla="*/ 8 h 14"/>
                    <a:gd name="T8" fmla="*/ 4 w 9"/>
                    <a:gd name="T9" fmla="*/ 13 h 14"/>
                    <a:gd name="T10" fmla="*/ 5 w 9"/>
                    <a:gd name="T11" fmla="*/ 12 h 14"/>
                    <a:gd name="T12" fmla="*/ 7 w 9"/>
                    <a:gd name="T13" fmla="*/ 9 h 14"/>
                    <a:gd name="T14" fmla="*/ 7 w 9"/>
                    <a:gd name="T15" fmla="*/ 1 h 14"/>
                    <a:gd name="T16" fmla="*/ 8 w 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4">
                      <a:moveTo>
                        <a:pt x="8" y="0"/>
                      </a:moveTo>
                      <a:cubicBezTo>
                        <a:pt x="6" y="1"/>
                        <a:pt x="3" y="3"/>
                        <a:pt x="1" y="5"/>
                      </a:cubicBezTo>
                      <a:cubicBezTo>
                        <a:pt x="1" y="6"/>
                        <a:pt x="0" y="6"/>
                        <a:pt x="1" y="7"/>
                      </a:cubicBezTo>
                      <a:cubicBezTo>
                        <a:pt x="1" y="7"/>
                        <a:pt x="2" y="7"/>
                        <a:pt x="3" y="8"/>
                      </a:cubicBezTo>
                      <a:cubicBezTo>
                        <a:pt x="3" y="9"/>
                        <a:pt x="3" y="12"/>
                        <a:pt x="4" y="13"/>
                      </a:cubicBezTo>
                      <a:cubicBezTo>
                        <a:pt x="4" y="14"/>
                        <a:pt x="5" y="14"/>
                        <a:pt x="5" y="12"/>
                      </a:cubicBezTo>
                      <a:cubicBezTo>
                        <a:pt x="5" y="11"/>
                        <a:pt x="6" y="10"/>
                        <a:pt x="7" y="9"/>
                      </a:cubicBezTo>
                      <a:cubicBezTo>
                        <a:pt x="9" y="6"/>
                        <a:pt x="7" y="4"/>
                        <a:pt x="7" y="1"/>
                      </a:cubicBezTo>
                      <a:cubicBezTo>
                        <a:pt x="7" y="2"/>
                        <a:pt x="8"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225"/>
                <p:cNvSpPr>
                  <a:spLocks/>
                </p:cNvSpPr>
                <p:nvPr/>
              </p:nvSpPr>
              <p:spPr bwMode="auto">
                <a:xfrm>
                  <a:off x="3551238" y="4324350"/>
                  <a:ext cx="6350" cy="7938"/>
                </a:xfrm>
                <a:custGeom>
                  <a:avLst/>
                  <a:gdLst>
                    <a:gd name="T0" fmla="*/ 0 w 9"/>
                    <a:gd name="T1" fmla="*/ 2 h 10"/>
                    <a:gd name="T2" fmla="*/ 2 w 9"/>
                    <a:gd name="T3" fmla="*/ 6 h 10"/>
                    <a:gd name="T4" fmla="*/ 4 w 9"/>
                    <a:gd name="T5" fmla="*/ 9 h 10"/>
                    <a:gd name="T6" fmla="*/ 7 w 9"/>
                    <a:gd name="T7" fmla="*/ 10 h 10"/>
                    <a:gd name="T8" fmla="*/ 9 w 9"/>
                    <a:gd name="T9" fmla="*/ 7 h 10"/>
                    <a:gd name="T10" fmla="*/ 7 w 9"/>
                    <a:gd name="T11" fmla="*/ 3 h 10"/>
                    <a:gd name="T12" fmla="*/ 6 w 9"/>
                    <a:gd name="T13" fmla="*/ 2 h 10"/>
                    <a:gd name="T14" fmla="*/ 3 w 9"/>
                    <a:gd name="T15" fmla="*/ 0 h 10"/>
                    <a:gd name="T16" fmla="*/ 0 w 9"/>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0" y="2"/>
                      </a:moveTo>
                      <a:cubicBezTo>
                        <a:pt x="0" y="4"/>
                        <a:pt x="1" y="5"/>
                        <a:pt x="2" y="6"/>
                      </a:cubicBezTo>
                      <a:cubicBezTo>
                        <a:pt x="3" y="7"/>
                        <a:pt x="3" y="9"/>
                        <a:pt x="4" y="9"/>
                      </a:cubicBezTo>
                      <a:cubicBezTo>
                        <a:pt x="6" y="9"/>
                        <a:pt x="6" y="10"/>
                        <a:pt x="7" y="10"/>
                      </a:cubicBezTo>
                      <a:cubicBezTo>
                        <a:pt x="9" y="10"/>
                        <a:pt x="9" y="8"/>
                        <a:pt x="9" y="7"/>
                      </a:cubicBezTo>
                      <a:cubicBezTo>
                        <a:pt x="9" y="5"/>
                        <a:pt x="7" y="5"/>
                        <a:pt x="7" y="3"/>
                      </a:cubicBezTo>
                      <a:cubicBezTo>
                        <a:pt x="7" y="3"/>
                        <a:pt x="6" y="2"/>
                        <a:pt x="6" y="2"/>
                      </a:cubicBezTo>
                      <a:cubicBezTo>
                        <a:pt x="5" y="1"/>
                        <a:pt x="4" y="0"/>
                        <a:pt x="3" y="0"/>
                      </a:cubicBezTo>
                      <a:cubicBezTo>
                        <a:pt x="2"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226"/>
                <p:cNvSpPr>
                  <a:spLocks/>
                </p:cNvSpPr>
                <p:nvPr/>
              </p:nvSpPr>
              <p:spPr bwMode="auto">
                <a:xfrm>
                  <a:off x="3554413" y="4300538"/>
                  <a:ext cx="12700" cy="25400"/>
                </a:xfrm>
                <a:custGeom>
                  <a:avLst/>
                  <a:gdLst>
                    <a:gd name="T0" fmla="*/ 15 w 18"/>
                    <a:gd name="T1" fmla="*/ 11 h 33"/>
                    <a:gd name="T2" fmla="*/ 18 w 18"/>
                    <a:gd name="T3" fmla="*/ 16 h 33"/>
                    <a:gd name="T4" fmla="*/ 16 w 18"/>
                    <a:gd name="T5" fmla="*/ 7 h 33"/>
                    <a:gd name="T6" fmla="*/ 13 w 18"/>
                    <a:gd name="T7" fmla="*/ 3 h 33"/>
                    <a:gd name="T8" fmla="*/ 10 w 18"/>
                    <a:gd name="T9" fmla="*/ 1 h 33"/>
                    <a:gd name="T10" fmla="*/ 9 w 18"/>
                    <a:gd name="T11" fmla="*/ 0 h 33"/>
                    <a:gd name="T12" fmla="*/ 0 w 18"/>
                    <a:gd name="T13" fmla="*/ 5 h 33"/>
                    <a:gd name="T14" fmla="*/ 0 w 18"/>
                    <a:gd name="T15" fmla="*/ 6 h 33"/>
                    <a:gd name="T16" fmla="*/ 4 w 18"/>
                    <a:gd name="T17" fmla="*/ 7 h 33"/>
                    <a:gd name="T18" fmla="*/ 6 w 18"/>
                    <a:gd name="T19" fmla="*/ 11 h 33"/>
                    <a:gd name="T20" fmla="*/ 9 w 18"/>
                    <a:gd name="T21" fmla="*/ 19 h 33"/>
                    <a:gd name="T22" fmla="*/ 9 w 18"/>
                    <a:gd name="T23" fmla="*/ 24 h 33"/>
                    <a:gd name="T24" fmla="*/ 7 w 18"/>
                    <a:gd name="T25" fmla="*/ 29 h 33"/>
                    <a:gd name="T26" fmla="*/ 11 w 18"/>
                    <a:gd name="T27" fmla="*/ 29 h 33"/>
                    <a:gd name="T28" fmla="*/ 13 w 18"/>
                    <a:gd name="T29" fmla="*/ 20 h 33"/>
                    <a:gd name="T30" fmla="*/ 13 w 18"/>
                    <a:gd name="T31" fmla="*/ 14 h 33"/>
                    <a:gd name="T32" fmla="*/ 15 w 18"/>
                    <a:gd name="T3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3">
                      <a:moveTo>
                        <a:pt x="15" y="11"/>
                      </a:moveTo>
                      <a:cubicBezTo>
                        <a:pt x="16" y="12"/>
                        <a:pt x="17" y="17"/>
                        <a:pt x="18" y="16"/>
                      </a:cubicBezTo>
                      <a:cubicBezTo>
                        <a:pt x="18" y="12"/>
                        <a:pt x="18" y="7"/>
                        <a:pt x="16" y="7"/>
                      </a:cubicBezTo>
                      <a:cubicBezTo>
                        <a:pt x="15" y="6"/>
                        <a:pt x="14" y="5"/>
                        <a:pt x="13" y="3"/>
                      </a:cubicBezTo>
                      <a:cubicBezTo>
                        <a:pt x="13" y="2"/>
                        <a:pt x="11" y="1"/>
                        <a:pt x="10" y="1"/>
                      </a:cubicBezTo>
                      <a:cubicBezTo>
                        <a:pt x="10" y="0"/>
                        <a:pt x="9" y="0"/>
                        <a:pt x="9" y="0"/>
                      </a:cubicBezTo>
                      <a:cubicBezTo>
                        <a:pt x="6" y="1"/>
                        <a:pt x="3" y="3"/>
                        <a:pt x="0" y="5"/>
                      </a:cubicBezTo>
                      <a:cubicBezTo>
                        <a:pt x="0" y="5"/>
                        <a:pt x="0" y="6"/>
                        <a:pt x="0" y="6"/>
                      </a:cubicBezTo>
                      <a:cubicBezTo>
                        <a:pt x="1" y="6"/>
                        <a:pt x="3" y="6"/>
                        <a:pt x="4" y="7"/>
                      </a:cubicBezTo>
                      <a:cubicBezTo>
                        <a:pt x="5" y="8"/>
                        <a:pt x="5" y="10"/>
                        <a:pt x="6" y="11"/>
                      </a:cubicBezTo>
                      <a:cubicBezTo>
                        <a:pt x="7" y="13"/>
                        <a:pt x="9" y="15"/>
                        <a:pt x="9" y="19"/>
                      </a:cubicBezTo>
                      <a:cubicBezTo>
                        <a:pt x="9" y="20"/>
                        <a:pt x="9" y="23"/>
                        <a:pt x="9" y="24"/>
                      </a:cubicBezTo>
                      <a:cubicBezTo>
                        <a:pt x="9" y="26"/>
                        <a:pt x="8" y="28"/>
                        <a:pt x="7" y="29"/>
                      </a:cubicBezTo>
                      <a:cubicBezTo>
                        <a:pt x="7" y="33"/>
                        <a:pt x="10" y="30"/>
                        <a:pt x="11" y="29"/>
                      </a:cubicBezTo>
                      <a:cubicBezTo>
                        <a:pt x="12" y="26"/>
                        <a:pt x="14" y="22"/>
                        <a:pt x="13" y="20"/>
                      </a:cubicBezTo>
                      <a:cubicBezTo>
                        <a:pt x="12" y="18"/>
                        <a:pt x="12" y="17"/>
                        <a:pt x="13" y="14"/>
                      </a:cubicBezTo>
                      <a:cubicBezTo>
                        <a:pt x="13" y="13"/>
                        <a:pt x="14" y="10"/>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227"/>
                <p:cNvSpPr>
                  <a:spLocks/>
                </p:cNvSpPr>
                <p:nvPr/>
              </p:nvSpPr>
              <p:spPr bwMode="auto">
                <a:xfrm>
                  <a:off x="3525838" y="4319588"/>
                  <a:ext cx="3175" cy="4763"/>
                </a:xfrm>
                <a:custGeom>
                  <a:avLst/>
                  <a:gdLst>
                    <a:gd name="T0" fmla="*/ 3 w 5"/>
                    <a:gd name="T1" fmla="*/ 5 h 6"/>
                    <a:gd name="T2" fmla="*/ 3 w 5"/>
                    <a:gd name="T3" fmla="*/ 0 h 6"/>
                    <a:gd name="T4" fmla="*/ 1 w 5"/>
                    <a:gd name="T5" fmla="*/ 1 h 6"/>
                    <a:gd name="T6" fmla="*/ 1 w 5"/>
                    <a:gd name="T7" fmla="*/ 4 h 6"/>
                    <a:gd name="T8" fmla="*/ 3 w 5"/>
                    <a:gd name="T9" fmla="*/ 5 h 6"/>
                  </a:gdLst>
                  <a:ahLst/>
                  <a:cxnLst>
                    <a:cxn ang="0">
                      <a:pos x="T0" y="T1"/>
                    </a:cxn>
                    <a:cxn ang="0">
                      <a:pos x="T2" y="T3"/>
                    </a:cxn>
                    <a:cxn ang="0">
                      <a:pos x="T4" y="T5"/>
                    </a:cxn>
                    <a:cxn ang="0">
                      <a:pos x="T6" y="T7"/>
                    </a:cxn>
                    <a:cxn ang="0">
                      <a:pos x="T8" y="T9"/>
                    </a:cxn>
                  </a:cxnLst>
                  <a:rect l="0" t="0" r="r" b="b"/>
                  <a:pathLst>
                    <a:path w="5" h="6">
                      <a:moveTo>
                        <a:pt x="3" y="5"/>
                      </a:moveTo>
                      <a:cubicBezTo>
                        <a:pt x="5" y="4"/>
                        <a:pt x="4" y="1"/>
                        <a:pt x="3" y="0"/>
                      </a:cubicBezTo>
                      <a:cubicBezTo>
                        <a:pt x="3" y="1"/>
                        <a:pt x="2" y="1"/>
                        <a:pt x="1" y="1"/>
                      </a:cubicBezTo>
                      <a:cubicBezTo>
                        <a:pt x="1" y="2"/>
                        <a:pt x="0" y="3"/>
                        <a:pt x="1" y="4"/>
                      </a:cubicBezTo>
                      <a:cubicBezTo>
                        <a:pt x="1" y="5"/>
                        <a:pt x="2"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228"/>
                <p:cNvSpPr>
                  <a:spLocks/>
                </p:cNvSpPr>
                <p:nvPr/>
              </p:nvSpPr>
              <p:spPr bwMode="auto">
                <a:xfrm>
                  <a:off x="3522663" y="432593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3"/>
                        <a:pt x="1" y="2"/>
                      </a:cubicBezTo>
                      <a:cubicBezTo>
                        <a:pt x="1"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229"/>
                <p:cNvSpPr>
                  <a:spLocks/>
                </p:cNvSpPr>
                <p:nvPr/>
              </p:nvSpPr>
              <p:spPr bwMode="auto">
                <a:xfrm>
                  <a:off x="3529013" y="4318000"/>
                  <a:ext cx="3175" cy="4763"/>
                </a:xfrm>
                <a:custGeom>
                  <a:avLst/>
                  <a:gdLst>
                    <a:gd name="T0" fmla="*/ 3 w 3"/>
                    <a:gd name="T1" fmla="*/ 0 h 5"/>
                    <a:gd name="T2" fmla="*/ 3 w 3"/>
                    <a:gd name="T3" fmla="*/ 0 h 5"/>
                    <a:gd name="T4" fmla="*/ 1 w 3"/>
                    <a:gd name="T5" fmla="*/ 1 h 5"/>
                    <a:gd name="T6" fmla="*/ 1 w 3"/>
                    <a:gd name="T7" fmla="*/ 3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3" y="0"/>
                        <a:pt x="3" y="0"/>
                      </a:cubicBezTo>
                      <a:cubicBezTo>
                        <a:pt x="2" y="0"/>
                        <a:pt x="1" y="0"/>
                        <a:pt x="1" y="1"/>
                      </a:cubicBezTo>
                      <a:cubicBezTo>
                        <a:pt x="0" y="1"/>
                        <a:pt x="1" y="2"/>
                        <a:pt x="1" y="3"/>
                      </a:cubicBezTo>
                      <a:cubicBezTo>
                        <a:pt x="1" y="5"/>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230"/>
                <p:cNvSpPr>
                  <a:spLocks/>
                </p:cNvSpPr>
                <p:nvPr/>
              </p:nvSpPr>
              <p:spPr bwMode="auto">
                <a:xfrm>
                  <a:off x="3541713" y="4310063"/>
                  <a:ext cx="4763" cy="15875"/>
                </a:xfrm>
                <a:custGeom>
                  <a:avLst/>
                  <a:gdLst>
                    <a:gd name="T0" fmla="*/ 0 w 7"/>
                    <a:gd name="T1" fmla="*/ 19 h 21"/>
                    <a:gd name="T2" fmla="*/ 3 w 7"/>
                    <a:gd name="T3" fmla="*/ 17 h 21"/>
                    <a:gd name="T4" fmla="*/ 6 w 7"/>
                    <a:gd name="T5" fmla="*/ 11 h 21"/>
                    <a:gd name="T6" fmla="*/ 6 w 7"/>
                    <a:gd name="T7" fmla="*/ 7 h 21"/>
                    <a:gd name="T8" fmla="*/ 6 w 7"/>
                    <a:gd name="T9" fmla="*/ 3 h 21"/>
                    <a:gd name="T10" fmla="*/ 5 w 7"/>
                    <a:gd name="T11" fmla="*/ 0 h 21"/>
                    <a:gd name="T12" fmla="*/ 1 w 7"/>
                    <a:gd name="T13" fmla="*/ 3 h 21"/>
                    <a:gd name="T14" fmla="*/ 1 w 7"/>
                    <a:gd name="T15" fmla="*/ 6 h 21"/>
                    <a:gd name="T16" fmla="*/ 1 w 7"/>
                    <a:gd name="T17" fmla="*/ 12 h 21"/>
                    <a:gd name="T18" fmla="*/ 0 w 7"/>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1">
                      <a:moveTo>
                        <a:pt x="0" y="19"/>
                      </a:moveTo>
                      <a:cubicBezTo>
                        <a:pt x="1" y="21"/>
                        <a:pt x="2" y="19"/>
                        <a:pt x="3" y="17"/>
                      </a:cubicBezTo>
                      <a:cubicBezTo>
                        <a:pt x="4" y="15"/>
                        <a:pt x="5" y="13"/>
                        <a:pt x="6" y="11"/>
                      </a:cubicBezTo>
                      <a:cubicBezTo>
                        <a:pt x="6" y="10"/>
                        <a:pt x="6" y="8"/>
                        <a:pt x="6" y="7"/>
                      </a:cubicBezTo>
                      <a:cubicBezTo>
                        <a:pt x="6" y="5"/>
                        <a:pt x="7" y="4"/>
                        <a:pt x="6" y="3"/>
                      </a:cubicBezTo>
                      <a:cubicBezTo>
                        <a:pt x="6" y="2"/>
                        <a:pt x="6" y="1"/>
                        <a:pt x="5" y="0"/>
                      </a:cubicBezTo>
                      <a:cubicBezTo>
                        <a:pt x="4" y="1"/>
                        <a:pt x="2" y="2"/>
                        <a:pt x="1" y="3"/>
                      </a:cubicBezTo>
                      <a:cubicBezTo>
                        <a:pt x="1" y="4"/>
                        <a:pt x="1" y="6"/>
                        <a:pt x="1" y="6"/>
                      </a:cubicBezTo>
                      <a:cubicBezTo>
                        <a:pt x="2" y="8"/>
                        <a:pt x="2" y="9"/>
                        <a:pt x="1" y="12"/>
                      </a:cubicBezTo>
                      <a:cubicBezTo>
                        <a:pt x="1" y="14"/>
                        <a:pt x="0" y="17"/>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231"/>
                <p:cNvSpPr>
                  <a:spLocks/>
                </p:cNvSpPr>
                <p:nvPr/>
              </p:nvSpPr>
              <p:spPr bwMode="auto">
                <a:xfrm>
                  <a:off x="3128963" y="4452938"/>
                  <a:ext cx="6350" cy="4763"/>
                </a:xfrm>
                <a:custGeom>
                  <a:avLst/>
                  <a:gdLst>
                    <a:gd name="T0" fmla="*/ 1 w 8"/>
                    <a:gd name="T1" fmla="*/ 0 h 6"/>
                    <a:gd name="T2" fmla="*/ 6 w 8"/>
                    <a:gd name="T3" fmla="*/ 4 h 6"/>
                    <a:gd name="T4" fmla="*/ 1 w 8"/>
                    <a:gd name="T5" fmla="*/ 0 h 6"/>
                  </a:gdLst>
                  <a:ahLst/>
                  <a:cxnLst>
                    <a:cxn ang="0">
                      <a:pos x="T0" y="T1"/>
                    </a:cxn>
                    <a:cxn ang="0">
                      <a:pos x="T2" y="T3"/>
                    </a:cxn>
                    <a:cxn ang="0">
                      <a:pos x="T4" y="T5"/>
                    </a:cxn>
                  </a:cxnLst>
                  <a:rect l="0" t="0" r="r" b="b"/>
                  <a:pathLst>
                    <a:path w="8" h="6">
                      <a:moveTo>
                        <a:pt x="1" y="0"/>
                      </a:moveTo>
                      <a:cubicBezTo>
                        <a:pt x="0" y="2"/>
                        <a:pt x="3" y="6"/>
                        <a:pt x="6" y="4"/>
                      </a:cubicBezTo>
                      <a:cubicBezTo>
                        <a:pt x="8"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232"/>
                <p:cNvSpPr>
                  <a:spLocks/>
                </p:cNvSpPr>
                <p:nvPr/>
              </p:nvSpPr>
              <p:spPr bwMode="auto">
                <a:xfrm>
                  <a:off x="3225801" y="4483100"/>
                  <a:ext cx="1588" cy="1588"/>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3"/>
                        <a:pt x="2" y="0"/>
                        <a:pt x="1" y="1"/>
                      </a:cubicBezTo>
                      <a:cubicBezTo>
                        <a:pt x="0"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233"/>
                <p:cNvSpPr>
                  <a:spLocks/>
                </p:cNvSpPr>
                <p:nvPr/>
              </p:nvSpPr>
              <p:spPr bwMode="auto">
                <a:xfrm>
                  <a:off x="3203576" y="4473575"/>
                  <a:ext cx="7938" cy="6350"/>
                </a:xfrm>
                <a:custGeom>
                  <a:avLst/>
                  <a:gdLst>
                    <a:gd name="T0" fmla="*/ 11 w 11"/>
                    <a:gd name="T1" fmla="*/ 3 h 8"/>
                    <a:gd name="T2" fmla="*/ 5 w 11"/>
                    <a:gd name="T3" fmla="*/ 1 h 8"/>
                    <a:gd name="T4" fmla="*/ 2 w 11"/>
                    <a:gd name="T5" fmla="*/ 3 h 8"/>
                    <a:gd name="T6" fmla="*/ 0 w 11"/>
                    <a:gd name="T7" fmla="*/ 3 h 8"/>
                    <a:gd name="T8" fmla="*/ 11 w 11"/>
                    <a:gd name="T9" fmla="*/ 3 h 8"/>
                  </a:gdLst>
                  <a:ahLst/>
                  <a:cxnLst>
                    <a:cxn ang="0">
                      <a:pos x="T0" y="T1"/>
                    </a:cxn>
                    <a:cxn ang="0">
                      <a:pos x="T2" y="T3"/>
                    </a:cxn>
                    <a:cxn ang="0">
                      <a:pos x="T4" y="T5"/>
                    </a:cxn>
                    <a:cxn ang="0">
                      <a:pos x="T6" y="T7"/>
                    </a:cxn>
                    <a:cxn ang="0">
                      <a:pos x="T8" y="T9"/>
                    </a:cxn>
                  </a:cxnLst>
                  <a:rect l="0" t="0" r="r" b="b"/>
                  <a:pathLst>
                    <a:path w="11" h="8">
                      <a:moveTo>
                        <a:pt x="11" y="3"/>
                      </a:moveTo>
                      <a:cubicBezTo>
                        <a:pt x="11" y="0"/>
                        <a:pt x="7" y="0"/>
                        <a:pt x="5" y="1"/>
                      </a:cubicBezTo>
                      <a:cubicBezTo>
                        <a:pt x="4" y="2"/>
                        <a:pt x="3" y="3"/>
                        <a:pt x="2" y="3"/>
                      </a:cubicBezTo>
                      <a:cubicBezTo>
                        <a:pt x="1" y="2"/>
                        <a:pt x="0" y="1"/>
                        <a:pt x="0" y="3"/>
                      </a:cubicBezTo>
                      <a:cubicBezTo>
                        <a:pt x="0" y="8"/>
                        <a:pt x="11"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234"/>
                <p:cNvSpPr>
                  <a:spLocks/>
                </p:cNvSpPr>
                <p:nvPr/>
              </p:nvSpPr>
              <p:spPr bwMode="auto">
                <a:xfrm>
                  <a:off x="3225801" y="4481513"/>
                  <a:ext cx="3175" cy="1588"/>
                </a:xfrm>
                <a:custGeom>
                  <a:avLst/>
                  <a:gdLst>
                    <a:gd name="T0" fmla="*/ 3 w 4"/>
                    <a:gd name="T1" fmla="*/ 0 h 3"/>
                    <a:gd name="T2" fmla="*/ 1 w 4"/>
                    <a:gd name="T3" fmla="*/ 2 h 3"/>
                    <a:gd name="T4" fmla="*/ 3 w 4"/>
                    <a:gd name="T5" fmla="*/ 0 h 3"/>
                  </a:gdLst>
                  <a:ahLst/>
                  <a:cxnLst>
                    <a:cxn ang="0">
                      <a:pos x="T0" y="T1"/>
                    </a:cxn>
                    <a:cxn ang="0">
                      <a:pos x="T2" y="T3"/>
                    </a:cxn>
                    <a:cxn ang="0">
                      <a:pos x="T4" y="T5"/>
                    </a:cxn>
                  </a:cxnLst>
                  <a:rect l="0" t="0" r="r" b="b"/>
                  <a:pathLst>
                    <a:path w="4" h="3">
                      <a:moveTo>
                        <a:pt x="3" y="0"/>
                      </a:moveTo>
                      <a:cubicBezTo>
                        <a:pt x="2" y="0"/>
                        <a:pt x="0" y="1"/>
                        <a:pt x="1" y="2"/>
                      </a:cubicBezTo>
                      <a:cubicBezTo>
                        <a:pt x="2" y="3"/>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235"/>
                <p:cNvSpPr>
                  <a:spLocks/>
                </p:cNvSpPr>
                <p:nvPr/>
              </p:nvSpPr>
              <p:spPr bwMode="auto">
                <a:xfrm>
                  <a:off x="3224213" y="4478338"/>
                  <a:ext cx="1588" cy="1588"/>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2" y="2"/>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236"/>
                <p:cNvSpPr>
                  <a:spLocks/>
                </p:cNvSpPr>
                <p:nvPr/>
              </p:nvSpPr>
              <p:spPr bwMode="auto">
                <a:xfrm>
                  <a:off x="3200401" y="4530725"/>
                  <a:ext cx="6350" cy="4763"/>
                </a:xfrm>
                <a:custGeom>
                  <a:avLst/>
                  <a:gdLst>
                    <a:gd name="T0" fmla="*/ 0 w 8"/>
                    <a:gd name="T1" fmla="*/ 2 h 6"/>
                    <a:gd name="T2" fmla="*/ 5 w 8"/>
                    <a:gd name="T3" fmla="*/ 1 h 6"/>
                    <a:gd name="T4" fmla="*/ 0 w 8"/>
                    <a:gd name="T5" fmla="*/ 2 h 6"/>
                  </a:gdLst>
                  <a:ahLst/>
                  <a:cxnLst>
                    <a:cxn ang="0">
                      <a:pos x="T0" y="T1"/>
                    </a:cxn>
                    <a:cxn ang="0">
                      <a:pos x="T2" y="T3"/>
                    </a:cxn>
                    <a:cxn ang="0">
                      <a:pos x="T4" y="T5"/>
                    </a:cxn>
                  </a:cxnLst>
                  <a:rect l="0" t="0" r="r" b="b"/>
                  <a:pathLst>
                    <a:path w="8" h="6">
                      <a:moveTo>
                        <a:pt x="0" y="2"/>
                      </a:moveTo>
                      <a:cubicBezTo>
                        <a:pt x="0" y="6"/>
                        <a:pt x="8" y="2"/>
                        <a:pt x="5" y="1"/>
                      </a:cubicBezTo>
                      <a:cubicBezTo>
                        <a:pt x="3"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237"/>
                <p:cNvSpPr>
                  <a:spLocks/>
                </p:cNvSpPr>
                <p:nvPr/>
              </p:nvSpPr>
              <p:spPr bwMode="auto">
                <a:xfrm>
                  <a:off x="3155951" y="4465638"/>
                  <a:ext cx="4763" cy="6350"/>
                </a:xfrm>
                <a:custGeom>
                  <a:avLst/>
                  <a:gdLst>
                    <a:gd name="T0" fmla="*/ 4 w 6"/>
                    <a:gd name="T1" fmla="*/ 7 h 9"/>
                    <a:gd name="T2" fmla="*/ 5 w 6"/>
                    <a:gd name="T3" fmla="*/ 5 h 9"/>
                    <a:gd name="T4" fmla="*/ 4 w 6"/>
                    <a:gd name="T5" fmla="*/ 7 h 9"/>
                  </a:gdLst>
                  <a:ahLst/>
                  <a:cxnLst>
                    <a:cxn ang="0">
                      <a:pos x="T0" y="T1"/>
                    </a:cxn>
                    <a:cxn ang="0">
                      <a:pos x="T2" y="T3"/>
                    </a:cxn>
                    <a:cxn ang="0">
                      <a:pos x="T4" y="T5"/>
                    </a:cxn>
                  </a:cxnLst>
                  <a:rect l="0" t="0" r="r" b="b"/>
                  <a:pathLst>
                    <a:path w="6" h="9">
                      <a:moveTo>
                        <a:pt x="4" y="7"/>
                      </a:moveTo>
                      <a:cubicBezTo>
                        <a:pt x="6" y="6"/>
                        <a:pt x="5" y="6"/>
                        <a:pt x="5" y="5"/>
                      </a:cubicBezTo>
                      <a:cubicBezTo>
                        <a:pt x="3" y="0"/>
                        <a:pt x="0"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238"/>
                <p:cNvSpPr>
                  <a:spLocks/>
                </p:cNvSpPr>
                <p:nvPr/>
              </p:nvSpPr>
              <p:spPr bwMode="auto">
                <a:xfrm>
                  <a:off x="3141663" y="4464050"/>
                  <a:ext cx="4763" cy="9525"/>
                </a:xfrm>
                <a:custGeom>
                  <a:avLst/>
                  <a:gdLst>
                    <a:gd name="T0" fmla="*/ 2 w 8"/>
                    <a:gd name="T1" fmla="*/ 2 h 14"/>
                    <a:gd name="T2" fmla="*/ 8 w 8"/>
                    <a:gd name="T3" fmla="*/ 7 h 14"/>
                    <a:gd name="T4" fmla="*/ 5 w 8"/>
                    <a:gd name="T5" fmla="*/ 1 h 14"/>
                    <a:gd name="T6" fmla="*/ 2 w 8"/>
                    <a:gd name="T7" fmla="*/ 2 h 14"/>
                  </a:gdLst>
                  <a:ahLst/>
                  <a:cxnLst>
                    <a:cxn ang="0">
                      <a:pos x="T0" y="T1"/>
                    </a:cxn>
                    <a:cxn ang="0">
                      <a:pos x="T2" y="T3"/>
                    </a:cxn>
                    <a:cxn ang="0">
                      <a:pos x="T4" y="T5"/>
                    </a:cxn>
                    <a:cxn ang="0">
                      <a:pos x="T6" y="T7"/>
                    </a:cxn>
                  </a:cxnLst>
                  <a:rect l="0" t="0" r="r" b="b"/>
                  <a:pathLst>
                    <a:path w="8" h="14">
                      <a:moveTo>
                        <a:pt x="2" y="2"/>
                      </a:moveTo>
                      <a:cubicBezTo>
                        <a:pt x="3" y="3"/>
                        <a:pt x="8" y="14"/>
                        <a:pt x="8" y="7"/>
                      </a:cubicBezTo>
                      <a:cubicBezTo>
                        <a:pt x="8" y="5"/>
                        <a:pt x="7" y="1"/>
                        <a:pt x="5" y="1"/>
                      </a:cubicBezTo>
                      <a:cubicBezTo>
                        <a:pt x="4" y="0"/>
                        <a:pt x="0"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239"/>
                <p:cNvSpPr>
                  <a:spLocks/>
                </p:cNvSpPr>
                <p:nvPr/>
              </p:nvSpPr>
              <p:spPr bwMode="auto">
                <a:xfrm>
                  <a:off x="3152776" y="4473575"/>
                  <a:ext cx="4763" cy="3175"/>
                </a:xfrm>
                <a:custGeom>
                  <a:avLst/>
                  <a:gdLst>
                    <a:gd name="T0" fmla="*/ 5 w 6"/>
                    <a:gd name="T1" fmla="*/ 2 h 4"/>
                    <a:gd name="T2" fmla="*/ 2 w 6"/>
                    <a:gd name="T3" fmla="*/ 3 h 4"/>
                    <a:gd name="T4" fmla="*/ 5 w 6"/>
                    <a:gd name="T5" fmla="*/ 2 h 4"/>
                  </a:gdLst>
                  <a:ahLst/>
                  <a:cxnLst>
                    <a:cxn ang="0">
                      <a:pos x="T0" y="T1"/>
                    </a:cxn>
                    <a:cxn ang="0">
                      <a:pos x="T2" y="T3"/>
                    </a:cxn>
                    <a:cxn ang="0">
                      <a:pos x="T4" y="T5"/>
                    </a:cxn>
                  </a:cxnLst>
                  <a:rect l="0" t="0" r="r" b="b"/>
                  <a:pathLst>
                    <a:path w="6" h="4">
                      <a:moveTo>
                        <a:pt x="5" y="2"/>
                      </a:moveTo>
                      <a:cubicBezTo>
                        <a:pt x="6" y="1"/>
                        <a:pt x="0" y="0"/>
                        <a:pt x="2" y="3"/>
                      </a:cubicBezTo>
                      <a:cubicBezTo>
                        <a:pt x="3" y="4"/>
                        <a:pt x="5" y="4"/>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40"/>
                <p:cNvSpPr>
                  <a:spLocks/>
                </p:cNvSpPr>
                <p:nvPr/>
              </p:nvSpPr>
              <p:spPr bwMode="auto">
                <a:xfrm>
                  <a:off x="3167063" y="4467225"/>
                  <a:ext cx="4763" cy="3175"/>
                </a:xfrm>
                <a:custGeom>
                  <a:avLst/>
                  <a:gdLst>
                    <a:gd name="T0" fmla="*/ 6 w 8"/>
                    <a:gd name="T1" fmla="*/ 3 h 4"/>
                    <a:gd name="T2" fmla="*/ 2 w 8"/>
                    <a:gd name="T3" fmla="*/ 2 h 4"/>
                    <a:gd name="T4" fmla="*/ 6 w 8"/>
                    <a:gd name="T5" fmla="*/ 3 h 4"/>
                  </a:gdLst>
                  <a:ahLst/>
                  <a:cxnLst>
                    <a:cxn ang="0">
                      <a:pos x="T0" y="T1"/>
                    </a:cxn>
                    <a:cxn ang="0">
                      <a:pos x="T2" y="T3"/>
                    </a:cxn>
                    <a:cxn ang="0">
                      <a:pos x="T4" y="T5"/>
                    </a:cxn>
                  </a:cxnLst>
                  <a:rect l="0" t="0" r="r" b="b"/>
                  <a:pathLst>
                    <a:path w="8" h="4">
                      <a:moveTo>
                        <a:pt x="6" y="3"/>
                      </a:moveTo>
                      <a:cubicBezTo>
                        <a:pt x="8" y="1"/>
                        <a:pt x="3" y="0"/>
                        <a:pt x="2" y="2"/>
                      </a:cubicBezTo>
                      <a:cubicBezTo>
                        <a:pt x="0" y="4"/>
                        <a:pt x="6" y="4"/>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241"/>
                <p:cNvSpPr>
                  <a:spLocks/>
                </p:cNvSpPr>
                <p:nvPr/>
              </p:nvSpPr>
              <p:spPr bwMode="auto">
                <a:xfrm>
                  <a:off x="3219451" y="4503738"/>
                  <a:ext cx="11113" cy="7938"/>
                </a:xfrm>
                <a:custGeom>
                  <a:avLst/>
                  <a:gdLst>
                    <a:gd name="T0" fmla="*/ 3 w 14"/>
                    <a:gd name="T1" fmla="*/ 4 h 11"/>
                    <a:gd name="T2" fmla="*/ 6 w 14"/>
                    <a:gd name="T3" fmla="*/ 6 h 11"/>
                    <a:gd name="T4" fmla="*/ 8 w 14"/>
                    <a:gd name="T5" fmla="*/ 7 h 11"/>
                    <a:gd name="T6" fmla="*/ 8 w 14"/>
                    <a:gd name="T7" fmla="*/ 9 h 11"/>
                    <a:gd name="T8" fmla="*/ 12 w 14"/>
                    <a:gd name="T9" fmla="*/ 7 h 11"/>
                    <a:gd name="T10" fmla="*/ 10 w 14"/>
                    <a:gd name="T11" fmla="*/ 5 h 11"/>
                    <a:gd name="T12" fmla="*/ 7 w 14"/>
                    <a:gd name="T13" fmla="*/ 1 h 11"/>
                    <a:gd name="T14" fmla="*/ 3 w 14"/>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3" y="4"/>
                      </a:moveTo>
                      <a:cubicBezTo>
                        <a:pt x="5" y="5"/>
                        <a:pt x="7" y="4"/>
                        <a:pt x="6" y="6"/>
                      </a:cubicBezTo>
                      <a:cubicBezTo>
                        <a:pt x="6" y="7"/>
                        <a:pt x="7" y="6"/>
                        <a:pt x="8" y="7"/>
                      </a:cubicBezTo>
                      <a:cubicBezTo>
                        <a:pt x="8" y="7"/>
                        <a:pt x="8" y="8"/>
                        <a:pt x="8" y="9"/>
                      </a:cubicBezTo>
                      <a:cubicBezTo>
                        <a:pt x="10" y="11"/>
                        <a:pt x="14" y="8"/>
                        <a:pt x="12" y="7"/>
                      </a:cubicBezTo>
                      <a:cubicBezTo>
                        <a:pt x="11" y="6"/>
                        <a:pt x="9" y="7"/>
                        <a:pt x="10" y="5"/>
                      </a:cubicBezTo>
                      <a:cubicBezTo>
                        <a:pt x="10" y="4"/>
                        <a:pt x="9" y="2"/>
                        <a:pt x="7" y="1"/>
                      </a:cubicBezTo>
                      <a:cubicBezTo>
                        <a:pt x="3" y="0"/>
                        <a:pt x="0"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242"/>
                <p:cNvSpPr>
                  <a:spLocks/>
                </p:cNvSpPr>
                <p:nvPr/>
              </p:nvSpPr>
              <p:spPr bwMode="auto">
                <a:xfrm>
                  <a:off x="3219451" y="4500563"/>
                  <a:ext cx="4763" cy="3175"/>
                </a:xfrm>
                <a:custGeom>
                  <a:avLst/>
                  <a:gdLst>
                    <a:gd name="T0" fmla="*/ 3 w 6"/>
                    <a:gd name="T1" fmla="*/ 3 h 3"/>
                    <a:gd name="T2" fmla="*/ 2 w 6"/>
                    <a:gd name="T3" fmla="*/ 0 h 3"/>
                    <a:gd name="T4" fmla="*/ 3 w 6"/>
                    <a:gd name="T5" fmla="*/ 3 h 3"/>
                  </a:gdLst>
                  <a:ahLst/>
                  <a:cxnLst>
                    <a:cxn ang="0">
                      <a:pos x="T0" y="T1"/>
                    </a:cxn>
                    <a:cxn ang="0">
                      <a:pos x="T2" y="T3"/>
                    </a:cxn>
                    <a:cxn ang="0">
                      <a:pos x="T4" y="T5"/>
                    </a:cxn>
                  </a:cxnLst>
                  <a:rect l="0" t="0" r="r" b="b"/>
                  <a:pathLst>
                    <a:path w="6" h="3">
                      <a:moveTo>
                        <a:pt x="3" y="3"/>
                      </a:moveTo>
                      <a:cubicBezTo>
                        <a:pt x="6" y="3"/>
                        <a:pt x="5" y="0"/>
                        <a:pt x="2" y="0"/>
                      </a:cubicBezTo>
                      <a:cubicBezTo>
                        <a:pt x="0" y="1"/>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43"/>
                <p:cNvSpPr>
                  <a:spLocks/>
                </p:cNvSpPr>
                <p:nvPr/>
              </p:nvSpPr>
              <p:spPr bwMode="auto">
                <a:xfrm>
                  <a:off x="3211513" y="4411663"/>
                  <a:ext cx="7938" cy="7938"/>
                </a:xfrm>
                <a:custGeom>
                  <a:avLst/>
                  <a:gdLst>
                    <a:gd name="T0" fmla="*/ 3 w 12"/>
                    <a:gd name="T1" fmla="*/ 3 h 12"/>
                    <a:gd name="T2" fmla="*/ 9 w 12"/>
                    <a:gd name="T3" fmla="*/ 7 h 12"/>
                    <a:gd name="T4" fmla="*/ 3 w 12"/>
                    <a:gd name="T5" fmla="*/ 3 h 12"/>
                  </a:gdLst>
                  <a:ahLst/>
                  <a:cxnLst>
                    <a:cxn ang="0">
                      <a:pos x="T0" y="T1"/>
                    </a:cxn>
                    <a:cxn ang="0">
                      <a:pos x="T2" y="T3"/>
                    </a:cxn>
                    <a:cxn ang="0">
                      <a:pos x="T4" y="T5"/>
                    </a:cxn>
                  </a:cxnLst>
                  <a:rect l="0" t="0" r="r" b="b"/>
                  <a:pathLst>
                    <a:path w="12" h="12">
                      <a:moveTo>
                        <a:pt x="3" y="3"/>
                      </a:moveTo>
                      <a:cubicBezTo>
                        <a:pt x="0" y="7"/>
                        <a:pt x="5" y="12"/>
                        <a:pt x="9" y="7"/>
                      </a:cubicBezTo>
                      <a:cubicBezTo>
                        <a:pt x="12" y="4"/>
                        <a:pt x="6" y="0"/>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244"/>
                <p:cNvSpPr>
                  <a:spLocks/>
                </p:cNvSpPr>
                <p:nvPr/>
              </p:nvSpPr>
              <p:spPr bwMode="auto">
                <a:xfrm>
                  <a:off x="3232151" y="4487863"/>
                  <a:ext cx="1588" cy="3175"/>
                </a:xfrm>
                <a:custGeom>
                  <a:avLst/>
                  <a:gdLst>
                    <a:gd name="T0" fmla="*/ 2 w 2"/>
                    <a:gd name="T1" fmla="*/ 3 h 4"/>
                    <a:gd name="T2" fmla="*/ 0 w 2"/>
                    <a:gd name="T3" fmla="*/ 2 h 4"/>
                    <a:gd name="T4" fmla="*/ 2 w 2"/>
                    <a:gd name="T5" fmla="*/ 3 h 4"/>
                  </a:gdLst>
                  <a:ahLst/>
                  <a:cxnLst>
                    <a:cxn ang="0">
                      <a:pos x="T0" y="T1"/>
                    </a:cxn>
                    <a:cxn ang="0">
                      <a:pos x="T2" y="T3"/>
                    </a:cxn>
                    <a:cxn ang="0">
                      <a:pos x="T4" y="T5"/>
                    </a:cxn>
                  </a:cxnLst>
                  <a:rect l="0" t="0" r="r" b="b"/>
                  <a:pathLst>
                    <a:path w="2" h="4">
                      <a:moveTo>
                        <a:pt x="2" y="3"/>
                      </a:moveTo>
                      <a:cubicBezTo>
                        <a:pt x="2" y="2"/>
                        <a:pt x="1" y="0"/>
                        <a:pt x="0" y="2"/>
                      </a:cubicBezTo>
                      <a:cubicBezTo>
                        <a:pt x="0" y="3"/>
                        <a:pt x="2" y="4"/>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245"/>
                <p:cNvSpPr>
                  <a:spLocks/>
                </p:cNvSpPr>
                <p:nvPr/>
              </p:nvSpPr>
              <p:spPr bwMode="auto">
                <a:xfrm>
                  <a:off x="3233738" y="4413250"/>
                  <a:ext cx="9525" cy="7938"/>
                </a:xfrm>
                <a:custGeom>
                  <a:avLst/>
                  <a:gdLst>
                    <a:gd name="T0" fmla="*/ 7 w 11"/>
                    <a:gd name="T1" fmla="*/ 2 h 11"/>
                    <a:gd name="T2" fmla="*/ 1 w 11"/>
                    <a:gd name="T3" fmla="*/ 5 h 11"/>
                    <a:gd name="T4" fmla="*/ 7 w 11"/>
                    <a:gd name="T5" fmla="*/ 2 h 11"/>
                  </a:gdLst>
                  <a:ahLst/>
                  <a:cxnLst>
                    <a:cxn ang="0">
                      <a:pos x="T0" y="T1"/>
                    </a:cxn>
                    <a:cxn ang="0">
                      <a:pos x="T2" y="T3"/>
                    </a:cxn>
                    <a:cxn ang="0">
                      <a:pos x="T4" y="T5"/>
                    </a:cxn>
                  </a:cxnLst>
                  <a:rect l="0" t="0" r="r" b="b"/>
                  <a:pathLst>
                    <a:path w="11" h="11">
                      <a:moveTo>
                        <a:pt x="7" y="2"/>
                      </a:moveTo>
                      <a:cubicBezTo>
                        <a:pt x="5" y="0"/>
                        <a:pt x="0" y="1"/>
                        <a:pt x="1" y="5"/>
                      </a:cubicBezTo>
                      <a:cubicBezTo>
                        <a:pt x="3" y="11"/>
                        <a:pt x="11" y="4"/>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246"/>
                <p:cNvSpPr>
                  <a:spLocks/>
                </p:cNvSpPr>
                <p:nvPr/>
              </p:nvSpPr>
              <p:spPr bwMode="auto">
                <a:xfrm>
                  <a:off x="3224213" y="4721225"/>
                  <a:ext cx="9525" cy="4763"/>
                </a:xfrm>
                <a:custGeom>
                  <a:avLst/>
                  <a:gdLst>
                    <a:gd name="T0" fmla="*/ 2 w 14"/>
                    <a:gd name="T1" fmla="*/ 4 h 5"/>
                    <a:gd name="T2" fmla="*/ 2 w 14"/>
                    <a:gd name="T3" fmla="*/ 5 h 5"/>
                    <a:gd name="T4" fmla="*/ 7 w 14"/>
                    <a:gd name="T5" fmla="*/ 3 h 5"/>
                    <a:gd name="T6" fmla="*/ 8 w 14"/>
                    <a:gd name="T7" fmla="*/ 4 h 5"/>
                    <a:gd name="T8" fmla="*/ 11 w 14"/>
                    <a:gd name="T9" fmla="*/ 3 h 5"/>
                    <a:gd name="T10" fmla="*/ 13 w 14"/>
                    <a:gd name="T11" fmla="*/ 2 h 5"/>
                    <a:gd name="T12" fmla="*/ 13 w 14"/>
                    <a:gd name="T13" fmla="*/ 2 h 5"/>
                    <a:gd name="T14" fmla="*/ 6 w 14"/>
                    <a:gd name="T15" fmla="*/ 2 h 5"/>
                    <a:gd name="T16" fmla="*/ 2 w 14"/>
                    <a:gd name="T17" fmla="*/ 2 h 5"/>
                    <a:gd name="T18" fmla="*/ 2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2" y="4"/>
                      </a:moveTo>
                      <a:cubicBezTo>
                        <a:pt x="0" y="4"/>
                        <a:pt x="0" y="5"/>
                        <a:pt x="2" y="5"/>
                      </a:cubicBezTo>
                      <a:cubicBezTo>
                        <a:pt x="4" y="5"/>
                        <a:pt x="5" y="3"/>
                        <a:pt x="7" y="3"/>
                      </a:cubicBezTo>
                      <a:cubicBezTo>
                        <a:pt x="8" y="4"/>
                        <a:pt x="8" y="4"/>
                        <a:pt x="8" y="4"/>
                      </a:cubicBezTo>
                      <a:cubicBezTo>
                        <a:pt x="9" y="4"/>
                        <a:pt x="10" y="4"/>
                        <a:pt x="11" y="3"/>
                      </a:cubicBezTo>
                      <a:cubicBezTo>
                        <a:pt x="11" y="3"/>
                        <a:pt x="13" y="3"/>
                        <a:pt x="13" y="2"/>
                      </a:cubicBezTo>
                      <a:cubicBezTo>
                        <a:pt x="14" y="2"/>
                        <a:pt x="13" y="2"/>
                        <a:pt x="13" y="2"/>
                      </a:cubicBezTo>
                      <a:cubicBezTo>
                        <a:pt x="12" y="0"/>
                        <a:pt x="7" y="3"/>
                        <a:pt x="6" y="2"/>
                      </a:cubicBezTo>
                      <a:cubicBezTo>
                        <a:pt x="6" y="1"/>
                        <a:pt x="3" y="2"/>
                        <a:pt x="2" y="2"/>
                      </a:cubicBezTo>
                      <a:cubicBezTo>
                        <a:pt x="1" y="3"/>
                        <a:pt x="4"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247"/>
                <p:cNvSpPr>
                  <a:spLocks/>
                </p:cNvSpPr>
                <p:nvPr/>
              </p:nvSpPr>
              <p:spPr bwMode="auto">
                <a:xfrm>
                  <a:off x="3216276" y="4476750"/>
                  <a:ext cx="1588" cy="1588"/>
                </a:xfrm>
                <a:custGeom>
                  <a:avLst/>
                  <a:gdLst>
                    <a:gd name="T0" fmla="*/ 2 w 3"/>
                    <a:gd name="T1" fmla="*/ 0 h 2"/>
                    <a:gd name="T2" fmla="*/ 2 w 3"/>
                    <a:gd name="T3" fmla="*/ 2 h 2"/>
                    <a:gd name="T4" fmla="*/ 2 w 3"/>
                    <a:gd name="T5" fmla="*/ 0 h 2"/>
                  </a:gdLst>
                  <a:ahLst/>
                  <a:cxnLst>
                    <a:cxn ang="0">
                      <a:pos x="T0" y="T1"/>
                    </a:cxn>
                    <a:cxn ang="0">
                      <a:pos x="T2" y="T3"/>
                    </a:cxn>
                    <a:cxn ang="0">
                      <a:pos x="T4" y="T5"/>
                    </a:cxn>
                  </a:cxnLst>
                  <a:rect l="0" t="0" r="r" b="b"/>
                  <a:pathLst>
                    <a:path w="3" h="2">
                      <a:moveTo>
                        <a:pt x="2" y="0"/>
                      </a:moveTo>
                      <a:cubicBezTo>
                        <a:pt x="0" y="0"/>
                        <a:pt x="1" y="2"/>
                        <a:pt x="2" y="2"/>
                      </a:cubicBezTo>
                      <a:cubicBezTo>
                        <a:pt x="3" y="2"/>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248"/>
                <p:cNvSpPr>
                  <a:spLocks/>
                </p:cNvSpPr>
                <p:nvPr/>
              </p:nvSpPr>
              <p:spPr bwMode="auto">
                <a:xfrm>
                  <a:off x="3344863" y="4562475"/>
                  <a:ext cx="4763" cy="3175"/>
                </a:xfrm>
                <a:custGeom>
                  <a:avLst/>
                  <a:gdLst>
                    <a:gd name="T0" fmla="*/ 6 w 7"/>
                    <a:gd name="T1" fmla="*/ 2 h 5"/>
                    <a:gd name="T2" fmla="*/ 4 w 7"/>
                    <a:gd name="T3" fmla="*/ 0 h 5"/>
                    <a:gd name="T4" fmla="*/ 6 w 7"/>
                    <a:gd name="T5" fmla="*/ 2 h 5"/>
                  </a:gdLst>
                  <a:ahLst/>
                  <a:cxnLst>
                    <a:cxn ang="0">
                      <a:pos x="T0" y="T1"/>
                    </a:cxn>
                    <a:cxn ang="0">
                      <a:pos x="T2" y="T3"/>
                    </a:cxn>
                    <a:cxn ang="0">
                      <a:pos x="T4" y="T5"/>
                    </a:cxn>
                  </a:cxnLst>
                  <a:rect l="0" t="0" r="r" b="b"/>
                  <a:pathLst>
                    <a:path w="7" h="5">
                      <a:moveTo>
                        <a:pt x="6" y="2"/>
                      </a:moveTo>
                      <a:cubicBezTo>
                        <a:pt x="7" y="1"/>
                        <a:pt x="5" y="1"/>
                        <a:pt x="4" y="0"/>
                      </a:cubicBezTo>
                      <a:cubicBezTo>
                        <a:pt x="0" y="3"/>
                        <a:pt x="4" y="5"/>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249"/>
                <p:cNvSpPr>
                  <a:spLocks/>
                </p:cNvSpPr>
                <p:nvPr/>
              </p:nvSpPr>
              <p:spPr bwMode="auto">
                <a:xfrm>
                  <a:off x="3227388" y="4511675"/>
                  <a:ext cx="4763" cy="6350"/>
                </a:xfrm>
                <a:custGeom>
                  <a:avLst/>
                  <a:gdLst>
                    <a:gd name="T0" fmla="*/ 3 w 6"/>
                    <a:gd name="T1" fmla="*/ 7 h 8"/>
                    <a:gd name="T2" fmla="*/ 5 w 6"/>
                    <a:gd name="T3" fmla="*/ 3 h 8"/>
                    <a:gd name="T4" fmla="*/ 2 w 6"/>
                    <a:gd name="T5" fmla="*/ 1 h 8"/>
                    <a:gd name="T6" fmla="*/ 1 w 6"/>
                    <a:gd name="T7" fmla="*/ 3 h 8"/>
                    <a:gd name="T8" fmla="*/ 1 w 6"/>
                    <a:gd name="T9" fmla="*/ 6 h 8"/>
                    <a:gd name="T10" fmla="*/ 3 w 6"/>
                    <a:gd name="T11" fmla="*/ 7 h 8"/>
                  </a:gdLst>
                  <a:ahLst/>
                  <a:cxnLst>
                    <a:cxn ang="0">
                      <a:pos x="T0" y="T1"/>
                    </a:cxn>
                    <a:cxn ang="0">
                      <a:pos x="T2" y="T3"/>
                    </a:cxn>
                    <a:cxn ang="0">
                      <a:pos x="T4" y="T5"/>
                    </a:cxn>
                    <a:cxn ang="0">
                      <a:pos x="T6" y="T7"/>
                    </a:cxn>
                    <a:cxn ang="0">
                      <a:pos x="T8" y="T9"/>
                    </a:cxn>
                    <a:cxn ang="0">
                      <a:pos x="T10" y="T11"/>
                    </a:cxn>
                  </a:cxnLst>
                  <a:rect l="0" t="0" r="r" b="b"/>
                  <a:pathLst>
                    <a:path w="6" h="8">
                      <a:moveTo>
                        <a:pt x="3" y="7"/>
                      </a:moveTo>
                      <a:cubicBezTo>
                        <a:pt x="5" y="6"/>
                        <a:pt x="6" y="4"/>
                        <a:pt x="5" y="3"/>
                      </a:cubicBezTo>
                      <a:cubicBezTo>
                        <a:pt x="4" y="2"/>
                        <a:pt x="2" y="2"/>
                        <a:pt x="2" y="1"/>
                      </a:cubicBezTo>
                      <a:cubicBezTo>
                        <a:pt x="0" y="0"/>
                        <a:pt x="0" y="2"/>
                        <a:pt x="1" y="3"/>
                      </a:cubicBezTo>
                      <a:cubicBezTo>
                        <a:pt x="2" y="4"/>
                        <a:pt x="3" y="4"/>
                        <a:pt x="1" y="6"/>
                      </a:cubicBezTo>
                      <a:cubicBezTo>
                        <a:pt x="0" y="8"/>
                        <a:pt x="2" y="8"/>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250"/>
                <p:cNvSpPr>
                  <a:spLocks/>
                </p:cNvSpPr>
                <p:nvPr/>
              </p:nvSpPr>
              <p:spPr bwMode="auto">
                <a:xfrm>
                  <a:off x="3217863" y="4495800"/>
                  <a:ext cx="4763" cy="4763"/>
                </a:xfrm>
                <a:custGeom>
                  <a:avLst/>
                  <a:gdLst>
                    <a:gd name="T0" fmla="*/ 3 w 8"/>
                    <a:gd name="T1" fmla="*/ 0 h 7"/>
                    <a:gd name="T2" fmla="*/ 1 w 8"/>
                    <a:gd name="T3" fmla="*/ 2 h 7"/>
                    <a:gd name="T4" fmla="*/ 4 w 8"/>
                    <a:gd name="T5" fmla="*/ 5 h 7"/>
                    <a:gd name="T6" fmla="*/ 3 w 8"/>
                    <a:gd name="T7" fmla="*/ 0 h 7"/>
                  </a:gdLst>
                  <a:ahLst/>
                  <a:cxnLst>
                    <a:cxn ang="0">
                      <a:pos x="T0" y="T1"/>
                    </a:cxn>
                    <a:cxn ang="0">
                      <a:pos x="T2" y="T3"/>
                    </a:cxn>
                    <a:cxn ang="0">
                      <a:pos x="T4" y="T5"/>
                    </a:cxn>
                    <a:cxn ang="0">
                      <a:pos x="T6" y="T7"/>
                    </a:cxn>
                  </a:cxnLst>
                  <a:rect l="0" t="0" r="r" b="b"/>
                  <a:pathLst>
                    <a:path w="8" h="7">
                      <a:moveTo>
                        <a:pt x="3" y="0"/>
                      </a:moveTo>
                      <a:cubicBezTo>
                        <a:pt x="3" y="0"/>
                        <a:pt x="1" y="1"/>
                        <a:pt x="1" y="2"/>
                      </a:cubicBezTo>
                      <a:cubicBezTo>
                        <a:pt x="0" y="3"/>
                        <a:pt x="1" y="7"/>
                        <a:pt x="4" y="5"/>
                      </a:cubicBezTo>
                      <a:cubicBezTo>
                        <a:pt x="8" y="2"/>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251"/>
                <p:cNvSpPr>
                  <a:spLocks/>
                </p:cNvSpPr>
                <p:nvPr/>
              </p:nvSpPr>
              <p:spPr bwMode="auto">
                <a:xfrm>
                  <a:off x="3224213" y="4525963"/>
                  <a:ext cx="6350" cy="3175"/>
                </a:xfrm>
                <a:custGeom>
                  <a:avLst/>
                  <a:gdLst>
                    <a:gd name="T0" fmla="*/ 2 w 7"/>
                    <a:gd name="T1" fmla="*/ 1 h 5"/>
                    <a:gd name="T2" fmla="*/ 6 w 7"/>
                    <a:gd name="T3" fmla="*/ 3 h 5"/>
                    <a:gd name="T4" fmla="*/ 2 w 7"/>
                    <a:gd name="T5" fmla="*/ 1 h 5"/>
                  </a:gdLst>
                  <a:ahLst/>
                  <a:cxnLst>
                    <a:cxn ang="0">
                      <a:pos x="T0" y="T1"/>
                    </a:cxn>
                    <a:cxn ang="0">
                      <a:pos x="T2" y="T3"/>
                    </a:cxn>
                    <a:cxn ang="0">
                      <a:pos x="T4" y="T5"/>
                    </a:cxn>
                  </a:cxnLst>
                  <a:rect l="0" t="0" r="r" b="b"/>
                  <a:pathLst>
                    <a:path w="7" h="5">
                      <a:moveTo>
                        <a:pt x="2" y="1"/>
                      </a:moveTo>
                      <a:cubicBezTo>
                        <a:pt x="0" y="3"/>
                        <a:pt x="4" y="5"/>
                        <a:pt x="6" y="3"/>
                      </a:cubicBezTo>
                      <a:cubicBezTo>
                        <a:pt x="7" y="1"/>
                        <a:pt x="4"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252"/>
                <p:cNvSpPr>
                  <a:spLocks/>
                </p:cNvSpPr>
                <p:nvPr/>
              </p:nvSpPr>
              <p:spPr bwMode="auto">
                <a:xfrm>
                  <a:off x="3221038" y="4476750"/>
                  <a:ext cx="1588" cy="1588"/>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3" y="1"/>
                        <a:pt x="2" y="0"/>
                        <a:pt x="1"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9" name="Group 4"/>
              <p:cNvGrpSpPr>
                <a:grpSpLocks noChangeAspect="1"/>
              </p:cNvGrpSpPr>
              <p:nvPr/>
            </p:nvGrpSpPr>
            <p:grpSpPr bwMode="auto">
              <a:xfrm>
                <a:off x="9943753" y="1905990"/>
                <a:ext cx="1404548" cy="1870777"/>
                <a:chOff x="6007" y="1258"/>
                <a:chExt cx="479" cy="638"/>
              </a:xfrm>
            </p:grpSpPr>
            <p:sp>
              <p:nvSpPr>
                <p:cNvPr id="210" name="Freeform 5"/>
                <p:cNvSpPr>
                  <a:spLocks noEditPoints="1"/>
                </p:cNvSpPr>
                <p:nvPr/>
              </p:nvSpPr>
              <p:spPr bwMode="auto">
                <a:xfrm>
                  <a:off x="6007" y="1523"/>
                  <a:ext cx="479" cy="373"/>
                </a:xfrm>
                <a:custGeom>
                  <a:avLst/>
                  <a:gdLst>
                    <a:gd name="T0" fmla="*/ 587 w 663"/>
                    <a:gd name="T1" fmla="*/ 1 h 517"/>
                    <a:gd name="T2" fmla="*/ 575 w 663"/>
                    <a:gd name="T3" fmla="*/ 1 h 517"/>
                    <a:gd name="T4" fmla="*/ 575 w 663"/>
                    <a:gd name="T5" fmla="*/ 0 h 517"/>
                    <a:gd name="T6" fmla="*/ 481 w 663"/>
                    <a:gd name="T7" fmla="*/ 0 h 517"/>
                    <a:gd name="T8" fmla="*/ 481 w 663"/>
                    <a:gd name="T9" fmla="*/ 1 h 517"/>
                    <a:gd name="T10" fmla="*/ 177 w 663"/>
                    <a:gd name="T11" fmla="*/ 1 h 517"/>
                    <a:gd name="T12" fmla="*/ 177 w 663"/>
                    <a:gd name="T13" fmla="*/ 0 h 517"/>
                    <a:gd name="T14" fmla="*/ 83 w 663"/>
                    <a:gd name="T15" fmla="*/ 0 h 517"/>
                    <a:gd name="T16" fmla="*/ 83 w 663"/>
                    <a:gd name="T17" fmla="*/ 1 h 517"/>
                    <a:gd name="T18" fmla="*/ 77 w 663"/>
                    <a:gd name="T19" fmla="*/ 1 h 517"/>
                    <a:gd name="T20" fmla="*/ 0 w 663"/>
                    <a:gd name="T21" fmla="*/ 77 h 517"/>
                    <a:gd name="T22" fmla="*/ 0 w 663"/>
                    <a:gd name="T23" fmla="*/ 440 h 517"/>
                    <a:gd name="T24" fmla="*/ 77 w 663"/>
                    <a:gd name="T25" fmla="*/ 517 h 517"/>
                    <a:gd name="T26" fmla="*/ 587 w 663"/>
                    <a:gd name="T27" fmla="*/ 517 h 517"/>
                    <a:gd name="T28" fmla="*/ 663 w 663"/>
                    <a:gd name="T29" fmla="*/ 440 h 517"/>
                    <a:gd name="T30" fmla="*/ 663 w 663"/>
                    <a:gd name="T31" fmla="*/ 77 h 517"/>
                    <a:gd name="T32" fmla="*/ 587 w 663"/>
                    <a:gd name="T33" fmla="*/ 1 h 517"/>
                    <a:gd name="T34" fmla="*/ 357 w 663"/>
                    <a:gd name="T35" fmla="*/ 279 h 517"/>
                    <a:gd name="T36" fmla="*/ 357 w 663"/>
                    <a:gd name="T37" fmla="*/ 374 h 517"/>
                    <a:gd name="T38" fmla="*/ 295 w 663"/>
                    <a:gd name="T39" fmla="*/ 374 h 517"/>
                    <a:gd name="T40" fmla="*/ 295 w 663"/>
                    <a:gd name="T41" fmla="*/ 279 h 517"/>
                    <a:gd name="T42" fmla="*/ 257 w 663"/>
                    <a:gd name="T43" fmla="*/ 217 h 517"/>
                    <a:gd name="T44" fmla="*/ 326 w 663"/>
                    <a:gd name="T45" fmla="*/ 147 h 517"/>
                    <a:gd name="T46" fmla="*/ 396 w 663"/>
                    <a:gd name="T47" fmla="*/ 217 h 517"/>
                    <a:gd name="T48" fmla="*/ 357 w 663"/>
                    <a:gd name="T49" fmla="*/ 279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3" h="517">
                      <a:moveTo>
                        <a:pt x="587" y="1"/>
                      </a:moveTo>
                      <a:cubicBezTo>
                        <a:pt x="575" y="1"/>
                        <a:pt x="575" y="1"/>
                        <a:pt x="575" y="1"/>
                      </a:cubicBezTo>
                      <a:cubicBezTo>
                        <a:pt x="575" y="0"/>
                        <a:pt x="575" y="0"/>
                        <a:pt x="575" y="0"/>
                      </a:cubicBezTo>
                      <a:cubicBezTo>
                        <a:pt x="481" y="0"/>
                        <a:pt x="481" y="0"/>
                        <a:pt x="481" y="0"/>
                      </a:cubicBezTo>
                      <a:cubicBezTo>
                        <a:pt x="481" y="1"/>
                        <a:pt x="481" y="1"/>
                        <a:pt x="481" y="1"/>
                      </a:cubicBezTo>
                      <a:cubicBezTo>
                        <a:pt x="177" y="1"/>
                        <a:pt x="177" y="1"/>
                        <a:pt x="177" y="1"/>
                      </a:cubicBezTo>
                      <a:cubicBezTo>
                        <a:pt x="177" y="0"/>
                        <a:pt x="177" y="0"/>
                        <a:pt x="177" y="0"/>
                      </a:cubicBezTo>
                      <a:cubicBezTo>
                        <a:pt x="83" y="0"/>
                        <a:pt x="83" y="0"/>
                        <a:pt x="83" y="0"/>
                      </a:cubicBezTo>
                      <a:cubicBezTo>
                        <a:pt x="83" y="1"/>
                        <a:pt x="83" y="1"/>
                        <a:pt x="83" y="1"/>
                      </a:cubicBezTo>
                      <a:cubicBezTo>
                        <a:pt x="77" y="1"/>
                        <a:pt x="77" y="1"/>
                        <a:pt x="77" y="1"/>
                      </a:cubicBezTo>
                      <a:cubicBezTo>
                        <a:pt x="35" y="1"/>
                        <a:pt x="0" y="35"/>
                        <a:pt x="0" y="77"/>
                      </a:cubicBezTo>
                      <a:cubicBezTo>
                        <a:pt x="0" y="440"/>
                        <a:pt x="0" y="440"/>
                        <a:pt x="0" y="440"/>
                      </a:cubicBezTo>
                      <a:cubicBezTo>
                        <a:pt x="0" y="483"/>
                        <a:pt x="35" y="517"/>
                        <a:pt x="77" y="517"/>
                      </a:cubicBezTo>
                      <a:cubicBezTo>
                        <a:pt x="587" y="517"/>
                        <a:pt x="587" y="517"/>
                        <a:pt x="587" y="517"/>
                      </a:cubicBezTo>
                      <a:cubicBezTo>
                        <a:pt x="629" y="517"/>
                        <a:pt x="663" y="483"/>
                        <a:pt x="663" y="440"/>
                      </a:cubicBezTo>
                      <a:cubicBezTo>
                        <a:pt x="663" y="77"/>
                        <a:pt x="663" y="77"/>
                        <a:pt x="663" y="77"/>
                      </a:cubicBezTo>
                      <a:cubicBezTo>
                        <a:pt x="663" y="35"/>
                        <a:pt x="629" y="1"/>
                        <a:pt x="587" y="1"/>
                      </a:cubicBezTo>
                      <a:close/>
                      <a:moveTo>
                        <a:pt x="357" y="279"/>
                      </a:moveTo>
                      <a:cubicBezTo>
                        <a:pt x="357" y="374"/>
                        <a:pt x="357" y="374"/>
                        <a:pt x="357" y="374"/>
                      </a:cubicBezTo>
                      <a:cubicBezTo>
                        <a:pt x="295" y="374"/>
                        <a:pt x="295" y="374"/>
                        <a:pt x="295" y="374"/>
                      </a:cubicBezTo>
                      <a:cubicBezTo>
                        <a:pt x="295" y="279"/>
                        <a:pt x="295" y="279"/>
                        <a:pt x="295" y="279"/>
                      </a:cubicBezTo>
                      <a:cubicBezTo>
                        <a:pt x="272" y="268"/>
                        <a:pt x="257" y="244"/>
                        <a:pt x="257" y="217"/>
                      </a:cubicBezTo>
                      <a:cubicBezTo>
                        <a:pt x="257" y="178"/>
                        <a:pt x="288" y="147"/>
                        <a:pt x="326" y="147"/>
                      </a:cubicBezTo>
                      <a:cubicBezTo>
                        <a:pt x="365" y="147"/>
                        <a:pt x="396" y="178"/>
                        <a:pt x="396" y="217"/>
                      </a:cubicBezTo>
                      <a:cubicBezTo>
                        <a:pt x="396" y="244"/>
                        <a:pt x="380" y="268"/>
                        <a:pt x="357" y="279"/>
                      </a:cubicBezTo>
                      <a:close/>
                    </a:path>
                  </a:pathLst>
                </a:custGeom>
                <a:solidFill>
                  <a:srgbClr val="3D5800"/>
                </a:solidFill>
                <a:ln w="222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1" name="Freeform 6"/>
                <p:cNvSpPr>
                  <a:spLocks/>
                </p:cNvSpPr>
                <p:nvPr/>
              </p:nvSpPr>
              <p:spPr bwMode="auto">
                <a:xfrm>
                  <a:off x="6067" y="1258"/>
                  <a:ext cx="356" cy="267"/>
                </a:xfrm>
                <a:custGeom>
                  <a:avLst/>
                  <a:gdLst>
                    <a:gd name="T0" fmla="*/ 0 w 492"/>
                    <a:gd name="T1" fmla="*/ 370 h 370"/>
                    <a:gd name="T2" fmla="*/ 94 w 492"/>
                    <a:gd name="T3" fmla="*/ 370 h 370"/>
                    <a:gd name="T4" fmla="*/ 94 w 492"/>
                    <a:gd name="T5" fmla="*/ 238 h 370"/>
                    <a:gd name="T6" fmla="*/ 94 w 492"/>
                    <a:gd name="T7" fmla="*/ 238 h 370"/>
                    <a:gd name="T8" fmla="*/ 94 w 492"/>
                    <a:gd name="T9" fmla="*/ 237 h 370"/>
                    <a:gd name="T10" fmla="*/ 133 w 492"/>
                    <a:gd name="T11" fmla="*/ 134 h 370"/>
                    <a:gd name="T12" fmla="*/ 253 w 492"/>
                    <a:gd name="T13" fmla="*/ 93 h 370"/>
                    <a:gd name="T14" fmla="*/ 328 w 492"/>
                    <a:gd name="T15" fmla="*/ 113 h 370"/>
                    <a:gd name="T16" fmla="*/ 398 w 492"/>
                    <a:gd name="T17" fmla="*/ 239 h 370"/>
                    <a:gd name="T18" fmla="*/ 398 w 492"/>
                    <a:gd name="T19" fmla="*/ 370 h 370"/>
                    <a:gd name="T20" fmla="*/ 492 w 492"/>
                    <a:gd name="T21" fmla="*/ 370 h 370"/>
                    <a:gd name="T22" fmla="*/ 492 w 492"/>
                    <a:gd name="T23" fmla="*/ 239 h 370"/>
                    <a:gd name="T24" fmla="*/ 370 w 492"/>
                    <a:gd name="T25" fmla="*/ 29 h 370"/>
                    <a:gd name="T26" fmla="*/ 253 w 492"/>
                    <a:gd name="T27" fmla="*/ 0 h 370"/>
                    <a:gd name="T28" fmla="*/ 65 w 492"/>
                    <a:gd name="T29" fmla="*/ 70 h 370"/>
                    <a:gd name="T30" fmla="*/ 0 w 492"/>
                    <a:gd name="T31" fmla="*/ 239 h 370"/>
                    <a:gd name="T32" fmla="*/ 0 w 492"/>
                    <a:gd name="T33"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2" h="370">
                      <a:moveTo>
                        <a:pt x="0" y="370"/>
                      </a:moveTo>
                      <a:cubicBezTo>
                        <a:pt x="94" y="370"/>
                        <a:pt x="94" y="370"/>
                        <a:pt x="94" y="370"/>
                      </a:cubicBezTo>
                      <a:cubicBezTo>
                        <a:pt x="94" y="238"/>
                        <a:pt x="94" y="238"/>
                        <a:pt x="94" y="238"/>
                      </a:cubicBezTo>
                      <a:cubicBezTo>
                        <a:pt x="94" y="238"/>
                        <a:pt x="94" y="238"/>
                        <a:pt x="94" y="238"/>
                      </a:cubicBezTo>
                      <a:cubicBezTo>
                        <a:pt x="94" y="237"/>
                        <a:pt x="94" y="237"/>
                        <a:pt x="94" y="237"/>
                      </a:cubicBezTo>
                      <a:cubicBezTo>
                        <a:pt x="94" y="236"/>
                        <a:pt x="93" y="175"/>
                        <a:pt x="133" y="134"/>
                      </a:cubicBezTo>
                      <a:cubicBezTo>
                        <a:pt x="160" y="107"/>
                        <a:pt x="200" y="93"/>
                        <a:pt x="253" y="93"/>
                      </a:cubicBezTo>
                      <a:cubicBezTo>
                        <a:pt x="253" y="93"/>
                        <a:pt x="291" y="94"/>
                        <a:pt x="328" y="113"/>
                      </a:cubicBezTo>
                      <a:cubicBezTo>
                        <a:pt x="375" y="137"/>
                        <a:pt x="398" y="178"/>
                        <a:pt x="398" y="239"/>
                      </a:cubicBezTo>
                      <a:cubicBezTo>
                        <a:pt x="398" y="370"/>
                        <a:pt x="398" y="370"/>
                        <a:pt x="398" y="370"/>
                      </a:cubicBezTo>
                      <a:cubicBezTo>
                        <a:pt x="492" y="370"/>
                        <a:pt x="492" y="370"/>
                        <a:pt x="492" y="370"/>
                      </a:cubicBezTo>
                      <a:cubicBezTo>
                        <a:pt x="492" y="239"/>
                        <a:pt x="492" y="239"/>
                        <a:pt x="492" y="239"/>
                      </a:cubicBezTo>
                      <a:cubicBezTo>
                        <a:pt x="492" y="116"/>
                        <a:pt x="426" y="57"/>
                        <a:pt x="370" y="29"/>
                      </a:cubicBezTo>
                      <a:cubicBezTo>
                        <a:pt x="314" y="1"/>
                        <a:pt x="259" y="0"/>
                        <a:pt x="253" y="0"/>
                      </a:cubicBezTo>
                      <a:cubicBezTo>
                        <a:pt x="173" y="0"/>
                        <a:pt x="110" y="23"/>
                        <a:pt x="65" y="70"/>
                      </a:cubicBezTo>
                      <a:cubicBezTo>
                        <a:pt x="1" y="137"/>
                        <a:pt x="0" y="227"/>
                        <a:pt x="0" y="239"/>
                      </a:cubicBezTo>
                      <a:lnTo>
                        <a:pt x="0" y="370"/>
                      </a:lnTo>
                      <a:close/>
                    </a:path>
                  </a:pathLst>
                </a:custGeom>
                <a:solidFill>
                  <a:srgbClr val="3D5800"/>
                </a:solidFill>
                <a:ln w="22225">
                  <a:solidFill>
                    <a:srgbClr val="FFFFFF"/>
                  </a:solidFill>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404" name="Freeform 6"/>
            <p:cNvSpPr>
              <a:spLocks noEditPoints="1"/>
            </p:cNvSpPr>
            <p:nvPr/>
          </p:nvSpPr>
          <p:spPr bwMode="auto">
            <a:xfrm>
              <a:off x="892858" y="1593204"/>
              <a:ext cx="1547293" cy="2337725"/>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05" name="Rectangle 404"/>
          <p:cNvSpPr/>
          <p:nvPr/>
        </p:nvSpPr>
        <p:spPr>
          <a:xfrm>
            <a:off x="4848177" y="5085541"/>
            <a:ext cx="2156716" cy="338554"/>
          </a:xfrm>
          <a:prstGeom prst="rect">
            <a:avLst/>
          </a:prstGeom>
        </p:spPr>
        <p:txBody>
          <a:bodyPr wrap="square">
            <a:spAutoFit/>
          </a:bodyPr>
          <a:lstStyle/>
          <a:p>
            <a:pPr marL="289817" lvl="2" indent="0" algn="ctr">
              <a:buNone/>
            </a:pPr>
            <a:r>
              <a:rPr lang="en-US" sz="1600" dirty="0" smtClean="0"/>
              <a:t>PPTP ,</a:t>
            </a:r>
            <a:r>
              <a:rPr lang="en-US" sz="1600" dirty="0"/>
              <a:t>L2TP, IKEv2</a:t>
            </a:r>
          </a:p>
        </p:txBody>
      </p:sp>
    </p:spTree>
    <p:extLst>
      <p:ext uri="{BB962C8B-B14F-4D97-AF65-F5344CB8AC3E}">
        <p14:creationId xmlns:p14="http://schemas.microsoft.com/office/powerpoint/2010/main" val="12984900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dirty="0"/>
              <a:t>Unified Modern Device Management with Microsoft System Center 2012 </a:t>
            </a:r>
            <a:r>
              <a:rPr lang="en-US" sz="3600" dirty="0" smtClean="0"/>
              <a:t>Configuration </a:t>
            </a:r>
            <a:r>
              <a:rPr lang="en-US" sz="3600" dirty="0"/>
              <a:t>Manager SP1 Integrated with Windows Intune </a:t>
            </a:r>
          </a:p>
        </p:txBody>
      </p:sp>
      <p:sp>
        <p:nvSpPr>
          <p:cNvPr id="5" name="Text Placeholder 4"/>
          <p:cNvSpPr>
            <a:spLocks noGrp="1"/>
          </p:cNvSpPr>
          <p:nvPr>
            <p:ph type="body" sz="quarter" idx="12"/>
          </p:nvPr>
        </p:nvSpPr>
        <p:spPr/>
        <p:txBody>
          <a:bodyPr/>
          <a:lstStyle/>
          <a:p>
            <a:r>
              <a:rPr lang="en-US" dirty="0" smtClean="0"/>
              <a:t>Martin Booth</a:t>
            </a:r>
          </a:p>
          <a:p>
            <a:r>
              <a:rPr lang="en-US" dirty="0" smtClean="0"/>
              <a:t>Craig Morris</a:t>
            </a:r>
            <a:endParaRPr lang="en-US" dirty="0"/>
          </a:p>
        </p:txBody>
      </p:sp>
      <p:sp>
        <p:nvSpPr>
          <p:cNvPr id="14" name="Text Placeholder 13"/>
          <p:cNvSpPr>
            <a:spLocks noGrp="1"/>
          </p:cNvSpPr>
          <p:nvPr>
            <p:ph type="body" sz="quarter" idx="13"/>
          </p:nvPr>
        </p:nvSpPr>
        <p:spPr/>
        <p:txBody>
          <a:bodyPr/>
          <a:lstStyle/>
          <a:p>
            <a:r>
              <a:rPr lang="en-US" dirty="0" smtClean="0"/>
              <a:t>WCA-B343</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2453" y="292646"/>
            <a:ext cx="11370961" cy="738664"/>
          </a:xfrm>
        </p:spPr>
        <p:txBody>
          <a:bodyPr vert="horz" wrap="square" lIns="146304" tIns="91440" rIns="146304" bIns="91440" rtlCol="0" anchor="t">
            <a:spAutoFit/>
          </a:bodyPr>
          <a:lstStyle/>
          <a:p>
            <a:r>
              <a:rPr lang="en-US" sz="4000" dirty="0"/>
              <a:t>Wi-Fi </a:t>
            </a:r>
            <a:r>
              <a:rPr lang="en-US" sz="4000" dirty="0" smtClean="0"/>
              <a:t>and </a:t>
            </a:r>
            <a:r>
              <a:rPr lang="en-US" sz="4000" dirty="0"/>
              <a:t>Certificate </a:t>
            </a:r>
            <a:r>
              <a:rPr lang="en-US" sz="4000" dirty="0" smtClean="0"/>
              <a:t>Profiles</a:t>
            </a:r>
            <a:endParaRPr lang="en-US" sz="4000" dirty="0"/>
          </a:p>
        </p:txBody>
      </p:sp>
      <p:sp>
        <p:nvSpPr>
          <p:cNvPr id="3" name="Text Placeholder 2"/>
          <p:cNvSpPr>
            <a:spLocks noGrp="1"/>
          </p:cNvSpPr>
          <p:nvPr>
            <p:ph type="body" sz="quarter" idx="10"/>
          </p:nvPr>
        </p:nvSpPr>
        <p:spPr>
          <a:xfrm>
            <a:off x="460375" y="4949567"/>
            <a:ext cx="5310188" cy="627864"/>
          </a:xfrm>
        </p:spPr>
        <p:txBody>
          <a:bodyPr/>
          <a:lstStyle/>
          <a:p>
            <a:pPr marL="0" indent="0" algn="ctr">
              <a:buNone/>
            </a:pPr>
            <a:r>
              <a:rPr lang="en-US" sz="2400" dirty="0" smtClean="0">
                <a:solidFill>
                  <a:schemeClr val="accent1"/>
                </a:solidFill>
                <a:latin typeface="+mn-lt"/>
              </a:rPr>
              <a:t>Wi-Fi settings</a:t>
            </a:r>
            <a:endParaRPr lang="en-US" dirty="0" smtClean="0"/>
          </a:p>
        </p:txBody>
      </p:sp>
      <p:sp>
        <p:nvSpPr>
          <p:cNvPr id="4" name="Rectangle 3"/>
          <p:cNvSpPr/>
          <p:nvPr/>
        </p:nvSpPr>
        <p:spPr>
          <a:xfrm>
            <a:off x="6664326" y="5020401"/>
            <a:ext cx="5322888" cy="461665"/>
          </a:xfrm>
          <a:prstGeom prst="rect">
            <a:avLst/>
          </a:prstGeom>
        </p:spPr>
        <p:txBody>
          <a:bodyPr wrap="square">
            <a:spAutoFit/>
          </a:bodyPr>
          <a:lstStyle/>
          <a:p>
            <a:pPr marL="0" lvl="1" indent="0" algn="ctr">
              <a:buNone/>
            </a:pPr>
            <a:r>
              <a:rPr lang="en-US" sz="2400" dirty="0">
                <a:solidFill>
                  <a:schemeClr val="accent1"/>
                </a:solidFill>
              </a:rPr>
              <a:t>Manage and distribute </a:t>
            </a:r>
            <a:r>
              <a:rPr lang="en-US" sz="2400" dirty="0" smtClean="0">
                <a:solidFill>
                  <a:schemeClr val="accent1"/>
                </a:solidFill>
              </a:rPr>
              <a:t>certificates</a:t>
            </a:r>
            <a:endParaRPr lang="en-US" sz="2400" dirty="0">
              <a:solidFill>
                <a:schemeClr val="accent1"/>
              </a:solidFill>
            </a:endParaRPr>
          </a:p>
        </p:txBody>
      </p:sp>
      <p:sp>
        <p:nvSpPr>
          <p:cNvPr id="5" name="Rectangle 4"/>
          <p:cNvSpPr/>
          <p:nvPr/>
        </p:nvSpPr>
        <p:spPr>
          <a:xfrm>
            <a:off x="6664324" y="5536771"/>
            <a:ext cx="5322889" cy="830997"/>
          </a:xfrm>
          <a:prstGeom prst="rect">
            <a:avLst/>
          </a:prstGeom>
        </p:spPr>
        <p:txBody>
          <a:bodyPr wrap="square">
            <a:spAutoFit/>
          </a:bodyPr>
          <a:lstStyle/>
          <a:p>
            <a:pPr marL="289817" lvl="2" indent="0">
              <a:buNone/>
            </a:pPr>
            <a:r>
              <a:rPr lang="en-US" sz="1600" dirty="0"/>
              <a:t>Deploy trusted root certificates</a:t>
            </a:r>
          </a:p>
          <a:p>
            <a:pPr marL="289817" lvl="2" indent="0">
              <a:buNone/>
            </a:pPr>
            <a:r>
              <a:rPr lang="en-US" sz="1600" dirty="0"/>
              <a:t>Support for </a:t>
            </a:r>
            <a:r>
              <a:rPr lang="en-US" sz="1600" dirty="0" smtClean="0"/>
              <a:t>Security Center Endpoint Protection(SCEP) </a:t>
            </a:r>
            <a:r>
              <a:rPr lang="en-US" sz="1600" dirty="0"/>
              <a:t>protocol</a:t>
            </a:r>
          </a:p>
        </p:txBody>
      </p:sp>
      <p:sp>
        <p:nvSpPr>
          <p:cNvPr id="6" name="Rectangle 5"/>
          <p:cNvSpPr/>
          <p:nvPr/>
        </p:nvSpPr>
        <p:spPr>
          <a:xfrm>
            <a:off x="447674" y="5531879"/>
            <a:ext cx="5322889" cy="830997"/>
          </a:xfrm>
          <a:prstGeom prst="rect">
            <a:avLst/>
          </a:prstGeom>
        </p:spPr>
        <p:txBody>
          <a:bodyPr wrap="square">
            <a:spAutoFit/>
          </a:bodyPr>
          <a:lstStyle/>
          <a:p>
            <a:pPr marL="289817" lvl="2" indent="0">
              <a:buNone/>
            </a:pPr>
            <a:r>
              <a:rPr lang="en-US" sz="1600" dirty="0"/>
              <a:t>Manage Wi-Fi protocol and authentication settings </a:t>
            </a:r>
          </a:p>
          <a:p>
            <a:pPr marL="289817" lvl="2" indent="0">
              <a:buNone/>
            </a:pPr>
            <a:r>
              <a:rPr lang="en-US" sz="1600" dirty="0"/>
              <a:t>Provision Wi-Fi networks that device can auto connect</a:t>
            </a:r>
          </a:p>
          <a:p>
            <a:pPr marL="289817" lvl="2" indent="0">
              <a:buNone/>
            </a:pPr>
            <a:r>
              <a:rPr lang="en-US" sz="1600" dirty="0"/>
              <a:t>Specify certificate to be used for Wi-Fi connection</a:t>
            </a:r>
          </a:p>
        </p:txBody>
      </p:sp>
      <p:sp>
        <p:nvSpPr>
          <p:cNvPr id="7" name="Freeform 120"/>
          <p:cNvSpPr>
            <a:spLocks noEditPoints="1"/>
          </p:cNvSpPr>
          <p:nvPr/>
        </p:nvSpPr>
        <p:spPr bwMode="auto">
          <a:xfrm>
            <a:off x="1272195" y="2039402"/>
            <a:ext cx="3909403" cy="2471722"/>
          </a:xfrm>
          <a:custGeom>
            <a:avLst/>
            <a:gdLst>
              <a:gd name="T0" fmla="*/ 2685 w 3448"/>
              <a:gd name="T1" fmla="*/ 1930 h 2181"/>
              <a:gd name="T2" fmla="*/ 2917 w 3448"/>
              <a:gd name="T3" fmla="*/ 1930 h 2181"/>
              <a:gd name="T4" fmla="*/ 2355 w 3448"/>
              <a:gd name="T5" fmla="*/ 1983 h 2181"/>
              <a:gd name="T6" fmla="*/ 2595 w 3448"/>
              <a:gd name="T7" fmla="*/ 1984 h 2181"/>
              <a:gd name="T8" fmla="*/ 1951 w 3448"/>
              <a:gd name="T9" fmla="*/ 1878 h 2181"/>
              <a:gd name="T10" fmla="*/ 1940 w 3448"/>
              <a:gd name="T11" fmla="*/ 1995 h 2181"/>
              <a:gd name="T12" fmla="*/ 2164 w 3448"/>
              <a:gd name="T13" fmla="*/ 1903 h 2181"/>
              <a:gd name="T14" fmla="*/ 529 w 3448"/>
              <a:gd name="T15" fmla="*/ 1902 h 2181"/>
              <a:gd name="T16" fmla="*/ 659 w 3448"/>
              <a:gd name="T17" fmla="*/ 2021 h 2181"/>
              <a:gd name="T18" fmla="*/ 609 w 3448"/>
              <a:gd name="T19" fmla="*/ 1871 h 2181"/>
              <a:gd name="T20" fmla="*/ 872 w 3448"/>
              <a:gd name="T21" fmla="*/ 1911 h 2181"/>
              <a:gd name="T22" fmla="*/ 866 w 3448"/>
              <a:gd name="T23" fmla="*/ 2025 h 2181"/>
              <a:gd name="T24" fmla="*/ 1789 w 3448"/>
              <a:gd name="T25" fmla="*/ 2016 h 2181"/>
              <a:gd name="T26" fmla="*/ 1796 w 3448"/>
              <a:gd name="T27" fmla="*/ 1882 h 2181"/>
              <a:gd name="T28" fmla="*/ 686 w 3448"/>
              <a:gd name="T29" fmla="*/ 1696 h 2181"/>
              <a:gd name="T30" fmla="*/ 627 w 3448"/>
              <a:gd name="T31" fmla="*/ 1757 h 2181"/>
              <a:gd name="T32" fmla="*/ 788 w 3448"/>
              <a:gd name="T33" fmla="*/ 1807 h 2181"/>
              <a:gd name="T34" fmla="*/ 2345 w 3448"/>
              <a:gd name="T35" fmla="*/ 1689 h 2181"/>
              <a:gd name="T36" fmla="*/ 2337 w 3448"/>
              <a:gd name="T37" fmla="*/ 1814 h 2181"/>
              <a:gd name="T38" fmla="*/ 2479 w 3448"/>
              <a:gd name="T39" fmla="*/ 1752 h 2181"/>
              <a:gd name="T40" fmla="*/ 2570 w 3448"/>
              <a:gd name="T41" fmla="*/ 1725 h 2181"/>
              <a:gd name="T42" fmla="*/ 2813 w 3448"/>
              <a:gd name="T43" fmla="*/ 1802 h 2181"/>
              <a:gd name="T44" fmla="*/ 996 w 3448"/>
              <a:gd name="T45" fmla="*/ 1696 h 2181"/>
              <a:gd name="T46" fmla="*/ 957 w 3448"/>
              <a:gd name="T47" fmla="*/ 1810 h 2181"/>
              <a:gd name="T48" fmla="*/ 1163 w 3448"/>
              <a:gd name="T49" fmla="*/ 1692 h 2181"/>
              <a:gd name="T50" fmla="*/ 1270 w 3448"/>
              <a:gd name="T51" fmla="*/ 1795 h 2181"/>
              <a:gd name="T52" fmla="*/ 1491 w 3448"/>
              <a:gd name="T53" fmla="*/ 1733 h 2181"/>
              <a:gd name="T54" fmla="*/ 1593 w 3448"/>
              <a:gd name="T55" fmla="*/ 1775 h 2181"/>
              <a:gd name="T56" fmla="*/ 1812 w 3448"/>
              <a:gd name="T57" fmla="*/ 1778 h 2181"/>
              <a:gd name="T58" fmla="*/ 1913 w 3448"/>
              <a:gd name="T59" fmla="*/ 1716 h 2181"/>
              <a:gd name="T60" fmla="*/ 2116 w 3448"/>
              <a:gd name="T61" fmla="*/ 1804 h 2181"/>
              <a:gd name="T62" fmla="*/ 2126 w 3448"/>
              <a:gd name="T63" fmla="*/ 1721 h 2181"/>
              <a:gd name="T64" fmla="*/ 2213 w 3448"/>
              <a:gd name="T65" fmla="*/ 1606 h 2181"/>
              <a:gd name="T66" fmla="*/ 2412 w 3448"/>
              <a:gd name="T67" fmla="*/ 1619 h 2181"/>
              <a:gd name="T68" fmla="*/ 2492 w 3448"/>
              <a:gd name="T69" fmla="*/ 1544 h 2181"/>
              <a:gd name="T70" fmla="*/ 2689 w 3448"/>
              <a:gd name="T71" fmla="*/ 1632 h 2181"/>
              <a:gd name="T72" fmla="*/ 2627 w 3448"/>
              <a:gd name="T73" fmla="*/ 1542 h 2181"/>
              <a:gd name="T74" fmla="*/ 1640 w 3448"/>
              <a:gd name="T75" fmla="*/ 1631 h 2181"/>
              <a:gd name="T76" fmla="*/ 1336 w 3448"/>
              <a:gd name="T77" fmla="*/ 1551 h 2181"/>
              <a:gd name="T78" fmla="*/ 1513 w 3448"/>
              <a:gd name="T79" fmla="*/ 1606 h 2181"/>
              <a:gd name="T80" fmla="*/ 1085 w 3448"/>
              <a:gd name="T81" fmla="*/ 1539 h 2181"/>
              <a:gd name="T82" fmla="*/ 1195 w 3448"/>
              <a:gd name="T83" fmla="*/ 1628 h 2181"/>
              <a:gd name="T84" fmla="*/ 1230 w 3448"/>
              <a:gd name="T85" fmla="*/ 1544 h 2181"/>
              <a:gd name="T86" fmla="*/ 869 w 3448"/>
              <a:gd name="T87" fmla="*/ 1635 h 2181"/>
              <a:gd name="T88" fmla="*/ 939 w 3448"/>
              <a:gd name="T89" fmla="*/ 1539 h 2181"/>
              <a:gd name="T90" fmla="*/ 1931 w 3448"/>
              <a:gd name="T91" fmla="*/ 1628 h 2181"/>
              <a:gd name="T92" fmla="*/ 2049 w 3448"/>
              <a:gd name="T93" fmla="*/ 1531 h 2181"/>
              <a:gd name="T94" fmla="*/ 2980 w 3448"/>
              <a:gd name="T95" fmla="*/ 616 h 2181"/>
              <a:gd name="T96" fmla="*/ 3121 w 3448"/>
              <a:gd name="T97" fmla="*/ 505 h 2181"/>
              <a:gd name="T98" fmla="*/ 3069 w 3448"/>
              <a:gd name="T99" fmla="*/ 478 h 2181"/>
              <a:gd name="T100" fmla="*/ 303 w 3448"/>
              <a:gd name="T101" fmla="*/ 525 h 2181"/>
              <a:gd name="T102" fmla="*/ 3375 w 3448"/>
              <a:gd name="T103" fmla="*/ 807 h 2181"/>
              <a:gd name="T104" fmla="*/ 61 w 3448"/>
              <a:gd name="T105" fmla="*/ 981 h 2181"/>
              <a:gd name="T106" fmla="*/ 723 w 3448"/>
              <a:gd name="T107" fmla="*/ 237 h 2181"/>
              <a:gd name="T108" fmla="*/ 798 w 3448"/>
              <a:gd name="T109" fmla="*/ 1427 h 2181"/>
              <a:gd name="T110" fmla="*/ 2713 w 3448"/>
              <a:gd name="T111" fmla="*/ 1372 h 2181"/>
              <a:gd name="T112" fmla="*/ 1363 w 3448"/>
              <a:gd name="T113" fmla="*/ 71 h 2181"/>
              <a:gd name="T114" fmla="*/ 2797 w 3448"/>
              <a:gd name="T115" fmla="*/ 150 h 2181"/>
              <a:gd name="T116" fmla="*/ 3112 w 3448"/>
              <a:gd name="T117" fmla="*/ 1937 h 2181"/>
              <a:gd name="T118" fmla="*/ 2954 w 3448"/>
              <a:gd name="T119" fmla="*/ 2181 h 2181"/>
              <a:gd name="T120" fmla="*/ 657 w 3448"/>
              <a:gd name="T121" fmla="*/ 1566 h 2181"/>
              <a:gd name="T122" fmla="*/ 791 w 3448"/>
              <a:gd name="T123" fmla="*/ 11 h 2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8" h="2181">
                <a:moveTo>
                  <a:pt x="255" y="2123"/>
                </a:moveTo>
                <a:lnTo>
                  <a:pt x="255" y="2126"/>
                </a:lnTo>
                <a:lnTo>
                  <a:pt x="255" y="2126"/>
                </a:lnTo>
                <a:lnTo>
                  <a:pt x="255" y="2123"/>
                </a:lnTo>
                <a:close/>
                <a:moveTo>
                  <a:pt x="255" y="2115"/>
                </a:moveTo>
                <a:lnTo>
                  <a:pt x="255" y="2118"/>
                </a:lnTo>
                <a:lnTo>
                  <a:pt x="255" y="2123"/>
                </a:lnTo>
                <a:lnTo>
                  <a:pt x="255" y="2116"/>
                </a:lnTo>
                <a:lnTo>
                  <a:pt x="255" y="2115"/>
                </a:lnTo>
                <a:close/>
                <a:moveTo>
                  <a:pt x="255" y="2115"/>
                </a:moveTo>
                <a:lnTo>
                  <a:pt x="255" y="2115"/>
                </a:lnTo>
                <a:lnTo>
                  <a:pt x="255" y="2115"/>
                </a:lnTo>
                <a:close/>
                <a:moveTo>
                  <a:pt x="2694" y="1871"/>
                </a:moveTo>
                <a:lnTo>
                  <a:pt x="2693" y="1872"/>
                </a:lnTo>
                <a:lnTo>
                  <a:pt x="2690" y="1874"/>
                </a:lnTo>
                <a:lnTo>
                  <a:pt x="2690" y="1874"/>
                </a:lnTo>
                <a:lnTo>
                  <a:pt x="2689" y="1875"/>
                </a:lnTo>
                <a:lnTo>
                  <a:pt x="2689" y="1875"/>
                </a:lnTo>
                <a:lnTo>
                  <a:pt x="2689" y="1875"/>
                </a:lnTo>
                <a:lnTo>
                  <a:pt x="2681" y="1879"/>
                </a:lnTo>
                <a:lnTo>
                  <a:pt x="2674" y="1883"/>
                </a:lnTo>
                <a:lnTo>
                  <a:pt x="2670" y="1889"/>
                </a:lnTo>
                <a:lnTo>
                  <a:pt x="2667" y="1897"/>
                </a:lnTo>
                <a:lnTo>
                  <a:pt x="2667" y="1897"/>
                </a:lnTo>
                <a:lnTo>
                  <a:pt x="2667" y="1897"/>
                </a:lnTo>
                <a:lnTo>
                  <a:pt x="2669" y="1897"/>
                </a:lnTo>
                <a:lnTo>
                  <a:pt x="2669" y="1899"/>
                </a:lnTo>
                <a:lnTo>
                  <a:pt x="2671" y="1900"/>
                </a:lnTo>
                <a:lnTo>
                  <a:pt x="2672" y="1902"/>
                </a:lnTo>
                <a:lnTo>
                  <a:pt x="2674" y="1912"/>
                </a:lnTo>
                <a:lnTo>
                  <a:pt x="2679" y="1922"/>
                </a:lnTo>
                <a:lnTo>
                  <a:pt x="2685" y="1930"/>
                </a:lnTo>
                <a:lnTo>
                  <a:pt x="2689" y="1937"/>
                </a:lnTo>
                <a:lnTo>
                  <a:pt x="2698" y="1952"/>
                </a:lnTo>
                <a:lnTo>
                  <a:pt x="2706" y="1967"/>
                </a:lnTo>
                <a:lnTo>
                  <a:pt x="2711" y="1981"/>
                </a:lnTo>
                <a:lnTo>
                  <a:pt x="2713" y="1982"/>
                </a:lnTo>
                <a:lnTo>
                  <a:pt x="2715" y="1982"/>
                </a:lnTo>
                <a:lnTo>
                  <a:pt x="2716" y="1983"/>
                </a:lnTo>
                <a:lnTo>
                  <a:pt x="2716" y="1984"/>
                </a:lnTo>
                <a:lnTo>
                  <a:pt x="2716" y="1985"/>
                </a:lnTo>
                <a:lnTo>
                  <a:pt x="2716" y="1985"/>
                </a:lnTo>
                <a:lnTo>
                  <a:pt x="2731" y="2000"/>
                </a:lnTo>
                <a:lnTo>
                  <a:pt x="2748" y="2010"/>
                </a:lnTo>
                <a:lnTo>
                  <a:pt x="2767" y="2017"/>
                </a:lnTo>
                <a:lnTo>
                  <a:pt x="2787" y="2021"/>
                </a:lnTo>
                <a:lnTo>
                  <a:pt x="2910" y="2021"/>
                </a:lnTo>
                <a:lnTo>
                  <a:pt x="2910" y="2021"/>
                </a:lnTo>
                <a:lnTo>
                  <a:pt x="2910" y="2021"/>
                </a:lnTo>
                <a:lnTo>
                  <a:pt x="2912" y="2021"/>
                </a:lnTo>
                <a:lnTo>
                  <a:pt x="2915" y="2021"/>
                </a:lnTo>
                <a:lnTo>
                  <a:pt x="2919" y="2021"/>
                </a:lnTo>
                <a:lnTo>
                  <a:pt x="2929" y="2021"/>
                </a:lnTo>
                <a:lnTo>
                  <a:pt x="2936" y="2017"/>
                </a:lnTo>
                <a:lnTo>
                  <a:pt x="2944" y="2016"/>
                </a:lnTo>
                <a:lnTo>
                  <a:pt x="2950" y="2013"/>
                </a:lnTo>
                <a:lnTo>
                  <a:pt x="2954" y="2008"/>
                </a:lnTo>
                <a:lnTo>
                  <a:pt x="2957" y="2002"/>
                </a:lnTo>
                <a:lnTo>
                  <a:pt x="2957" y="1995"/>
                </a:lnTo>
                <a:lnTo>
                  <a:pt x="2954" y="1985"/>
                </a:lnTo>
                <a:lnTo>
                  <a:pt x="2945" y="1970"/>
                </a:lnTo>
                <a:lnTo>
                  <a:pt x="2933" y="1955"/>
                </a:lnTo>
                <a:lnTo>
                  <a:pt x="2924" y="1941"/>
                </a:lnTo>
                <a:lnTo>
                  <a:pt x="2917" y="1930"/>
                </a:lnTo>
                <a:lnTo>
                  <a:pt x="2911" y="1919"/>
                </a:lnTo>
                <a:lnTo>
                  <a:pt x="2906" y="1911"/>
                </a:lnTo>
                <a:lnTo>
                  <a:pt x="2906" y="1911"/>
                </a:lnTo>
                <a:lnTo>
                  <a:pt x="2906" y="1910"/>
                </a:lnTo>
                <a:lnTo>
                  <a:pt x="2905" y="1910"/>
                </a:lnTo>
                <a:lnTo>
                  <a:pt x="2904" y="1909"/>
                </a:lnTo>
                <a:lnTo>
                  <a:pt x="2903" y="1908"/>
                </a:lnTo>
                <a:lnTo>
                  <a:pt x="2902" y="1906"/>
                </a:lnTo>
                <a:lnTo>
                  <a:pt x="2897" y="1906"/>
                </a:lnTo>
                <a:lnTo>
                  <a:pt x="2897" y="1902"/>
                </a:lnTo>
                <a:lnTo>
                  <a:pt x="2897" y="1902"/>
                </a:lnTo>
                <a:lnTo>
                  <a:pt x="2897" y="1901"/>
                </a:lnTo>
                <a:lnTo>
                  <a:pt x="2897" y="1900"/>
                </a:lnTo>
                <a:lnTo>
                  <a:pt x="2895" y="1899"/>
                </a:lnTo>
                <a:lnTo>
                  <a:pt x="2894" y="1897"/>
                </a:lnTo>
                <a:lnTo>
                  <a:pt x="2892" y="1897"/>
                </a:lnTo>
                <a:lnTo>
                  <a:pt x="2880" y="1888"/>
                </a:lnTo>
                <a:lnTo>
                  <a:pt x="2865" y="1881"/>
                </a:lnTo>
                <a:lnTo>
                  <a:pt x="2847" y="1875"/>
                </a:lnTo>
                <a:lnTo>
                  <a:pt x="2831" y="1871"/>
                </a:lnTo>
                <a:lnTo>
                  <a:pt x="2694" y="1871"/>
                </a:lnTo>
                <a:close/>
                <a:moveTo>
                  <a:pt x="2359" y="1871"/>
                </a:moveTo>
                <a:lnTo>
                  <a:pt x="2342" y="1878"/>
                </a:lnTo>
                <a:lnTo>
                  <a:pt x="2329" y="1888"/>
                </a:lnTo>
                <a:lnTo>
                  <a:pt x="2329" y="1911"/>
                </a:lnTo>
                <a:lnTo>
                  <a:pt x="2331" y="1919"/>
                </a:lnTo>
                <a:lnTo>
                  <a:pt x="2335" y="1929"/>
                </a:lnTo>
                <a:lnTo>
                  <a:pt x="2337" y="1937"/>
                </a:lnTo>
                <a:lnTo>
                  <a:pt x="2342" y="1951"/>
                </a:lnTo>
                <a:lnTo>
                  <a:pt x="2349" y="1965"/>
                </a:lnTo>
                <a:lnTo>
                  <a:pt x="2355" y="1981"/>
                </a:lnTo>
                <a:lnTo>
                  <a:pt x="2355" y="1983"/>
                </a:lnTo>
                <a:lnTo>
                  <a:pt x="2355" y="1984"/>
                </a:lnTo>
                <a:lnTo>
                  <a:pt x="2355" y="1985"/>
                </a:lnTo>
                <a:lnTo>
                  <a:pt x="2356" y="1987"/>
                </a:lnTo>
                <a:lnTo>
                  <a:pt x="2357" y="1988"/>
                </a:lnTo>
                <a:lnTo>
                  <a:pt x="2359" y="1991"/>
                </a:lnTo>
                <a:lnTo>
                  <a:pt x="2370" y="2002"/>
                </a:lnTo>
                <a:lnTo>
                  <a:pt x="2384" y="2010"/>
                </a:lnTo>
                <a:lnTo>
                  <a:pt x="2400" y="2017"/>
                </a:lnTo>
                <a:lnTo>
                  <a:pt x="2416" y="2021"/>
                </a:lnTo>
                <a:lnTo>
                  <a:pt x="2434" y="2021"/>
                </a:lnTo>
                <a:lnTo>
                  <a:pt x="2435" y="2021"/>
                </a:lnTo>
                <a:lnTo>
                  <a:pt x="2437" y="2021"/>
                </a:lnTo>
                <a:lnTo>
                  <a:pt x="2443" y="2021"/>
                </a:lnTo>
                <a:lnTo>
                  <a:pt x="2451" y="2021"/>
                </a:lnTo>
                <a:lnTo>
                  <a:pt x="2463" y="2021"/>
                </a:lnTo>
                <a:lnTo>
                  <a:pt x="2481" y="2021"/>
                </a:lnTo>
                <a:lnTo>
                  <a:pt x="2505" y="2021"/>
                </a:lnTo>
                <a:lnTo>
                  <a:pt x="2562" y="2021"/>
                </a:lnTo>
                <a:lnTo>
                  <a:pt x="2575" y="2019"/>
                </a:lnTo>
                <a:lnTo>
                  <a:pt x="2588" y="2013"/>
                </a:lnTo>
                <a:lnTo>
                  <a:pt x="2588" y="2008"/>
                </a:lnTo>
                <a:lnTo>
                  <a:pt x="2592" y="2008"/>
                </a:lnTo>
                <a:lnTo>
                  <a:pt x="2592" y="1999"/>
                </a:lnTo>
                <a:lnTo>
                  <a:pt x="2593" y="1999"/>
                </a:lnTo>
                <a:lnTo>
                  <a:pt x="2594" y="1999"/>
                </a:lnTo>
                <a:lnTo>
                  <a:pt x="2595" y="1999"/>
                </a:lnTo>
                <a:lnTo>
                  <a:pt x="2596" y="1998"/>
                </a:lnTo>
                <a:lnTo>
                  <a:pt x="2596" y="1997"/>
                </a:lnTo>
                <a:lnTo>
                  <a:pt x="2597" y="1995"/>
                </a:lnTo>
                <a:lnTo>
                  <a:pt x="2597" y="1992"/>
                </a:lnTo>
                <a:lnTo>
                  <a:pt x="2596" y="1988"/>
                </a:lnTo>
                <a:lnTo>
                  <a:pt x="2595" y="1984"/>
                </a:lnTo>
                <a:lnTo>
                  <a:pt x="2592" y="1981"/>
                </a:lnTo>
                <a:lnTo>
                  <a:pt x="2591" y="1974"/>
                </a:lnTo>
                <a:lnTo>
                  <a:pt x="2588" y="1967"/>
                </a:lnTo>
                <a:lnTo>
                  <a:pt x="2584" y="1959"/>
                </a:lnTo>
                <a:lnTo>
                  <a:pt x="2580" y="1955"/>
                </a:lnTo>
                <a:lnTo>
                  <a:pt x="2570" y="1935"/>
                </a:lnTo>
                <a:lnTo>
                  <a:pt x="2562" y="1915"/>
                </a:lnTo>
                <a:lnTo>
                  <a:pt x="2562" y="1915"/>
                </a:lnTo>
                <a:lnTo>
                  <a:pt x="2562" y="1915"/>
                </a:lnTo>
                <a:lnTo>
                  <a:pt x="2562" y="1914"/>
                </a:lnTo>
                <a:lnTo>
                  <a:pt x="2561" y="1913"/>
                </a:lnTo>
                <a:lnTo>
                  <a:pt x="2560" y="1912"/>
                </a:lnTo>
                <a:lnTo>
                  <a:pt x="2559" y="1910"/>
                </a:lnTo>
                <a:lnTo>
                  <a:pt x="2558" y="1906"/>
                </a:lnTo>
                <a:lnTo>
                  <a:pt x="2556" y="1906"/>
                </a:lnTo>
                <a:lnTo>
                  <a:pt x="2554" y="1905"/>
                </a:lnTo>
                <a:lnTo>
                  <a:pt x="2553" y="1904"/>
                </a:lnTo>
                <a:lnTo>
                  <a:pt x="2553" y="1903"/>
                </a:lnTo>
                <a:lnTo>
                  <a:pt x="2553" y="1902"/>
                </a:lnTo>
                <a:lnTo>
                  <a:pt x="2553" y="1902"/>
                </a:lnTo>
                <a:lnTo>
                  <a:pt x="2541" y="1890"/>
                </a:lnTo>
                <a:lnTo>
                  <a:pt x="2525" y="1882"/>
                </a:lnTo>
                <a:lnTo>
                  <a:pt x="2508" y="1875"/>
                </a:lnTo>
                <a:lnTo>
                  <a:pt x="2492" y="1871"/>
                </a:lnTo>
                <a:lnTo>
                  <a:pt x="2381" y="1871"/>
                </a:lnTo>
                <a:lnTo>
                  <a:pt x="2381" y="1871"/>
                </a:lnTo>
                <a:lnTo>
                  <a:pt x="2381" y="1871"/>
                </a:lnTo>
                <a:lnTo>
                  <a:pt x="2359" y="1871"/>
                </a:lnTo>
                <a:close/>
                <a:moveTo>
                  <a:pt x="1962" y="1871"/>
                </a:moveTo>
                <a:lnTo>
                  <a:pt x="1957" y="1875"/>
                </a:lnTo>
                <a:lnTo>
                  <a:pt x="1953" y="1875"/>
                </a:lnTo>
                <a:lnTo>
                  <a:pt x="1951" y="1878"/>
                </a:lnTo>
                <a:lnTo>
                  <a:pt x="1950" y="1879"/>
                </a:lnTo>
                <a:lnTo>
                  <a:pt x="1949" y="1880"/>
                </a:lnTo>
                <a:lnTo>
                  <a:pt x="1948" y="1880"/>
                </a:lnTo>
                <a:lnTo>
                  <a:pt x="1947" y="1880"/>
                </a:lnTo>
                <a:lnTo>
                  <a:pt x="1945" y="1880"/>
                </a:lnTo>
                <a:lnTo>
                  <a:pt x="1945" y="1882"/>
                </a:lnTo>
                <a:lnTo>
                  <a:pt x="1944" y="1883"/>
                </a:lnTo>
                <a:lnTo>
                  <a:pt x="1943" y="1884"/>
                </a:lnTo>
                <a:lnTo>
                  <a:pt x="1941" y="1884"/>
                </a:lnTo>
                <a:lnTo>
                  <a:pt x="1940" y="1884"/>
                </a:lnTo>
                <a:lnTo>
                  <a:pt x="1940" y="1884"/>
                </a:lnTo>
                <a:lnTo>
                  <a:pt x="1940" y="1884"/>
                </a:lnTo>
                <a:lnTo>
                  <a:pt x="1939" y="1884"/>
                </a:lnTo>
                <a:lnTo>
                  <a:pt x="1939" y="1885"/>
                </a:lnTo>
                <a:lnTo>
                  <a:pt x="1938" y="1886"/>
                </a:lnTo>
                <a:lnTo>
                  <a:pt x="1937" y="1887"/>
                </a:lnTo>
                <a:lnTo>
                  <a:pt x="1935" y="1888"/>
                </a:lnTo>
                <a:lnTo>
                  <a:pt x="1935" y="1893"/>
                </a:lnTo>
                <a:lnTo>
                  <a:pt x="1931" y="1893"/>
                </a:lnTo>
                <a:lnTo>
                  <a:pt x="1931" y="1924"/>
                </a:lnTo>
                <a:lnTo>
                  <a:pt x="1932" y="1938"/>
                </a:lnTo>
                <a:lnTo>
                  <a:pt x="1933" y="1952"/>
                </a:lnTo>
                <a:lnTo>
                  <a:pt x="1935" y="1965"/>
                </a:lnTo>
                <a:lnTo>
                  <a:pt x="1935" y="1977"/>
                </a:lnTo>
                <a:lnTo>
                  <a:pt x="1935" y="1985"/>
                </a:lnTo>
                <a:lnTo>
                  <a:pt x="1935" y="1986"/>
                </a:lnTo>
                <a:lnTo>
                  <a:pt x="1936" y="1987"/>
                </a:lnTo>
                <a:lnTo>
                  <a:pt x="1936" y="1988"/>
                </a:lnTo>
                <a:lnTo>
                  <a:pt x="1937" y="1990"/>
                </a:lnTo>
                <a:lnTo>
                  <a:pt x="1938" y="1990"/>
                </a:lnTo>
                <a:lnTo>
                  <a:pt x="1940" y="1991"/>
                </a:lnTo>
                <a:lnTo>
                  <a:pt x="1940" y="1995"/>
                </a:lnTo>
                <a:lnTo>
                  <a:pt x="1950" y="2006"/>
                </a:lnTo>
                <a:lnTo>
                  <a:pt x="1962" y="2016"/>
                </a:lnTo>
                <a:lnTo>
                  <a:pt x="1975" y="2021"/>
                </a:lnTo>
                <a:lnTo>
                  <a:pt x="2120" y="2021"/>
                </a:lnTo>
                <a:lnTo>
                  <a:pt x="2132" y="2021"/>
                </a:lnTo>
                <a:lnTo>
                  <a:pt x="2139" y="2020"/>
                </a:lnTo>
                <a:lnTo>
                  <a:pt x="2148" y="2017"/>
                </a:lnTo>
                <a:lnTo>
                  <a:pt x="2155" y="2016"/>
                </a:lnTo>
                <a:lnTo>
                  <a:pt x="2160" y="2013"/>
                </a:lnTo>
                <a:lnTo>
                  <a:pt x="2165" y="2008"/>
                </a:lnTo>
                <a:lnTo>
                  <a:pt x="2167" y="2006"/>
                </a:lnTo>
                <a:lnTo>
                  <a:pt x="2170" y="2004"/>
                </a:lnTo>
                <a:lnTo>
                  <a:pt x="2172" y="2003"/>
                </a:lnTo>
                <a:lnTo>
                  <a:pt x="2174" y="2001"/>
                </a:lnTo>
                <a:lnTo>
                  <a:pt x="2176" y="1999"/>
                </a:lnTo>
                <a:lnTo>
                  <a:pt x="2178" y="1995"/>
                </a:lnTo>
                <a:lnTo>
                  <a:pt x="2178" y="1981"/>
                </a:lnTo>
                <a:lnTo>
                  <a:pt x="2178" y="1981"/>
                </a:lnTo>
                <a:lnTo>
                  <a:pt x="2178" y="1981"/>
                </a:lnTo>
                <a:lnTo>
                  <a:pt x="2178" y="1979"/>
                </a:lnTo>
                <a:lnTo>
                  <a:pt x="2178" y="1976"/>
                </a:lnTo>
                <a:lnTo>
                  <a:pt x="2178" y="1973"/>
                </a:lnTo>
                <a:lnTo>
                  <a:pt x="2175" y="1960"/>
                </a:lnTo>
                <a:lnTo>
                  <a:pt x="2173" y="1950"/>
                </a:lnTo>
                <a:lnTo>
                  <a:pt x="2170" y="1937"/>
                </a:lnTo>
                <a:lnTo>
                  <a:pt x="2170" y="1937"/>
                </a:lnTo>
                <a:lnTo>
                  <a:pt x="2170" y="1936"/>
                </a:lnTo>
                <a:lnTo>
                  <a:pt x="2168" y="1933"/>
                </a:lnTo>
                <a:lnTo>
                  <a:pt x="2168" y="1928"/>
                </a:lnTo>
                <a:lnTo>
                  <a:pt x="2166" y="1919"/>
                </a:lnTo>
                <a:lnTo>
                  <a:pt x="2165" y="1906"/>
                </a:lnTo>
                <a:lnTo>
                  <a:pt x="2164" y="1903"/>
                </a:lnTo>
                <a:lnTo>
                  <a:pt x="2162" y="1900"/>
                </a:lnTo>
                <a:lnTo>
                  <a:pt x="2159" y="1896"/>
                </a:lnTo>
                <a:lnTo>
                  <a:pt x="2156" y="1893"/>
                </a:lnTo>
                <a:lnTo>
                  <a:pt x="2143" y="1880"/>
                </a:lnTo>
                <a:lnTo>
                  <a:pt x="2134" y="1880"/>
                </a:lnTo>
                <a:lnTo>
                  <a:pt x="2134" y="1875"/>
                </a:lnTo>
                <a:lnTo>
                  <a:pt x="2130" y="1875"/>
                </a:lnTo>
                <a:lnTo>
                  <a:pt x="2128" y="1874"/>
                </a:lnTo>
                <a:lnTo>
                  <a:pt x="2127" y="1874"/>
                </a:lnTo>
                <a:lnTo>
                  <a:pt x="2126" y="1873"/>
                </a:lnTo>
                <a:lnTo>
                  <a:pt x="2125" y="1872"/>
                </a:lnTo>
                <a:lnTo>
                  <a:pt x="2122" y="1871"/>
                </a:lnTo>
                <a:lnTo>
                  <a:pt x="2120" y="1871"/>
                </a:lnTo>
                <a:lnTo>
                  <a:pt x="2068" y="1871"/>
                </a:lnTo>
                <a:lnTo>
                  <a:pt x="2068" y="1871"/>
                </a:lnTo>
                <a:lnTo>
                  <a:pt x="2066" y="1871"/>
                </a:lnTo>
                <a:lnTo>
                  <a:pt x="1962" y="1871"/>
                </a:lnTo>
                <a:close/>
                <a:moveTo>
                  <a:pt x="609" y="1871"/>
                </a:moveTo>
                <a:lnTo>
                  <a:pt x="606" y="1871"/>
                </a:lnTo>
                <a:lnTo>
                  <a:pt x="605" y="1871"/>
                </a:lnTo>
                <a:lnTo>
                  <a:pt x="605" y="1872"/>
                </a:lnTo>
                <a:lnTo>
                  <a:pt x="604" y="1875"/>
                </a:lnTo>
                <a:lnTo>
                  <a:pt x="582" y="1875"/>
                </a:lnTo>
                <a:lnTo>
                  <a:pt x="566" y="1880"/>
                </a:lnTo>
                <a:lnTo>
                  <a:pt x="551" y="1887"/>
                </a:lnTo>
                <a:lnTo>
                  <a:pt x="538" y="1897"/>
                </a:lnTo>
                <a:lnTo>
                  <a:pt x="536" y="1897"/>
                </a:lnTo>
                <a:lnTo>
                  <a:pt x="535" y="1899"/>
                </a:lnTo>
                <a:lnTo>
                  <a:pt x="533" y="1900"/>
                </a:lnTo>
                <a:lnTo>
                  <a:pt x="532" y="1901"/>
                </a:lnTo>
                <a:lnTo>
                  <a:pt x="531" y="1902"/>
                </a:lnTo>
                <a:lnTo>
                  <a:pt x="529" y="1902"/>
                </a:lnTo>
                <a:lnTo>
                  <a:pt x="529" y="1902"/>
                </a:lnTo>
                <a:lnTo>
                  <a:pt x="529" y="1903"/>
                </a:lnTo>
                <a:lnTo>
                  <a:pt x="528" y="1904"/>
                </a:lnTo>
                <a:lnTo>
                  <a:pt x="528" y="1905"/>
                </a:lnTo>
                <a:lnTo>
                  <a:pt x="526" y="1906"/>
                </a:lnTo>
                <a:lnTo>
                  <a:pt x="525" y="1906"/>
                </a:lnTo>
                <a:lnTo>
                  <a:pt x="517" y="1916"/>
                </a:lnTo>
                <a:lnTo>
                  <a:pt x="510" y="1929"/>
                </a:lnTo>
                <a:lnTo>
                  <a:pt x="503" y="1941"/>
                </a:lnTo>
                <a:lnTo>
                  <a:pt x="487" y="1961"/>
                </a:lnTo>
                <a:lnTo>
                  <a:pt x="472" y="1981"/>
                </a:lnTo>
                <a:lnTo>
                  <a:pt x="472" y="1991"/>
                </a:lnTo>
                <a:lnTo>
                  <a:pt x="470" y="1993"/>
                </a:lnTo>
                <a:lnTo>
                  <a:pt x="469" y="1994"/>
                </a:lnTo>
                <a:lnTo>
                  <a:pt x="468" y="1995"/>
                </a:lnTo>
                <a:lnTo>
                  <a:pt x="468" y="1996"/>
                </a:lnTo>
                <a:lnTo>
                  <a:pt x="468" y="1997"/>
                </a:lnTo>
                <a:lnTo>
                  <a:pt x="468" y="1999"/>
                </a:lnTo>
                <a:lnTo>
                  <a:pt x="468" y="2004"/>
                </a:lnTo>
                <a:lnTo>
                  <a:pt x="469" y="2012"/>
                </a:lnTo>
                <a:lnTo>
                  <a:pt x="472" y="2017"/>
                </a:lnTo>
                <a:lnTo>
                  <a:pt x="472" y="2017"/>
                </a:lnTo>
                <a:lnTo>
                  <a:pt x="474" y="2018"/>
                </a:lnTo>
                <a:lnTo>
                  <a:pt x="476" y="2019"/>
                </a:lnTo>
                <a:lnTo>
                  <a:pt x="478" y="2020"/>
                </a:lnTo>
                <a:lnTo>
                  <a:pt x="480" y="2022"/>
                </a:lnTo>
                <a:lnTo>
                  <a:pt x="483" y="2024"/>
                </a:lnTo>
                <a:lnTo>
                  <a:pt x="485" y="2026"/>
                </a:lnTo>
                <a:lnTo>
                  <a:pt x="657" y="2026"/>
                </a:lnTo>
                <a:lnTo>
                  <a:pt x="657" y="2023"/>
                </a:lnTo>
                <a:lnTo>
                  <a:pt x="658" y="2022"/>
                </a:lnTo>
                <a:lnTo>
                  <a:pt x="659" y="2021"/>
                </a:lnTo>
                <a:lnTo>
                  <a:pt x="661" y="2021"/>
                </a:lnTo>
                <a:lnTo>
                  <a:pt x="675" y="2017"/>
                </a:lnTo>
                <a:lnTo>
                  <a:pt x="688" y="2009"/>
                </a:lnTo>
                <a:lnTo>
                  <a:pt x="701" y="1999"/>
                </a:lnTo>
                <a:lnTo>
                  <a:pt x="705" y="1999"/>
                </a:lnTo>
                <a:lnTo>
                  <a:pt x="705" y="1995"/>
                </a:lnTo>
                <a:lnTo>
                  <a:pt x="710" y="1995"/>
                </a:lnTo>
                <a:lnTo>
                  <a:pt x="710" y="1991"/>
                </a:lnTo>
                <a:lnTo>
                  <a:pt x="719" y="1979"/>
                </a:lnTo>
                <a:lnTo>
                  <a:pt x="725" y="1968"/>
                </a:lnTo>
                <a:lnTo>
                  <a:pt x="730" y="1955"/>
                </a:lnTo>
                <a:lnTo>
                  <a:pt x="736" y="1941"/>
                </a:lnTo>
                <a:lnTo>
                  <a:pt x="744" y="1933"/>
                </a:lnTo>
                <a:lnTo>
                  <a:pt x="751" y="1924"/>
                </a:lnTo>
                <a:lnTo>
                  <a:pt x="756" y="1912"/>
                </a:lnTo>
                <a:lnTo>
                  <a:pt x="758" y="1902"/>
                </a:lnTo>
                <a:lnTo>
                  <a:pt x="760" y="1893"/>
                </a:lnTo>
                <a:lnTo>
                  <a:pt x="756" y="1886"/>
                </a:lnTo>
                <a:lnTo>
                  <a:pt x="750" y="1880"/>
                </a:lnTo>
                <a:lnTo>
                  <a:pt x="745" y="1880"/>
                </a:lnTo>
                <a:lnTo>
                  <a:pt x="744" y="1878"/>
                </a:lnTo>
                <a:lnTo>
                  <a:pt x="742" y="1877"/>
                </a:lnTo>
                <a:lnTo>
                  <a:pt x="741" y="1875"/>
                </a:lnTo>
                <a:lnTo>
                  <a:pt x="740" y="1875"/>
                </a:lnTo>
                <a:lnTo>
                  <a:pt x="739" y="1875"/>
                </a:lnTo>
                <a:lnTo>
                  <a:pt x="736" y="1875"/>
                </a:lnTo>
                <a:lnTo>
                  <a:pt x="732" y="1874"/>
                </a:lnTo>
                <a:lnTo>
                  <a:pt x="726" y="1872"/>
                </a:lnTo>
                <a:lnTo>
                  <a:pt x="719" y="1871"/>
                </a:lnTo>
                <a:lnTo>
                  <a:pt x="719" y="1871"/>
                </a:lnTo>
                <a:lnTo>
                  <a:pt x="719" y="1871"/>
                </a:lnTo>
                <a:lnTo>
                  <a:pt x="609" y="1871"/>
                </a:lnTo>
                <a:close/>
                <a:moveTo>
                  <a:pt x="956" y="1871"/>
                </a:moveTo>
                <a:lnTo>
                  <a:pt x="952" y="1871"/>
                </a:lnTo>
                <a:lnTo>
                  <a:pt x="939" y="1871"/>
                </a:lnTo>
                <a:lnTo>
                  <a:pt x="926" y="1875"/>
                </a:lnTo>
                <a:lnTo>
                  <a:pt x="922" y="1875"/>
                </a:lnTo>
                <a:lnTo>
                  <a:pt x="919" y="1878"/>
                </a:lnTo>
                <a:lnTo>
                  <a:pt x="918" y="1879"/>
                </a:lnTo>
                <a:lnTo>
                  <a:pt x="917" y="1880"/>
                </a:lnTo>
                <a:lnTo>
                  <a:pt x="916" y="1880"/>
                </a:lnTo>
                <a:lnTo>
                  <a:pt x="914" y="1880"/>
                </a:lnTo>
                <a:lnTo>
                  <a:pt x="913" y="1880"/>
                </a:lnTo>
                <a:lnTo>
                  <a:pt x="908" y="1880"/>
                </a:lnTo>
                <a:lnTo>
                  <a:pt x="908" y="1882"/>
                </a:lnTo>
                <a:lnTo>
                  <a:pt x="907" y="1883"/>
                </a:lnTo>
                <a:lnTo>
                  <a:pt x="906" y="1884"/>
                </a:lnTo>
                <a:lnTo>
                  <a:pt x="905" y="1884"/>
                </a:lnTo>
                <a:lnTo>
                  <a:pt x="904" y="1884"/>
                </a:lnTo>
                <a:lnTo>
                  <a:pt x="904" y="1884"/>
                </a:lnTo>
                <a:lnTo>
                  <a:pt x="904" y="1884"/>
                </a:lnTo>
                <a:lnTo>
                  <a:pt x="903" y="1884"/>
                </a:lnTo>
                <a:lnTo>
                  <a:pt x="902" y="1885"/>
                </a:lnTo>
                <a:lnTo>
                  <a:pt x="901" y="1886"/>
                </a:lnTo>
                <a:lnTo>
                  <a:pt x="900" y="1887"/>
                </a:lnTo>
                <a:lnTo>
                  <a:pt x="900" y="1888"/>
                </a:lnTo>
                <a:lnTo>
                  <a:pt x="895" y="1888"/>
                </a:lnTo>
                <a:lnTo>
                  <a:pt x="895" y="1893"/>
                </a:lnTo>
                <a:lnTo>
                  <a:pt x="886" y="1893"/>
                </a:lnTo>
                <a:lnTo>
                  <a:pt x="880" y="1904"/>
                </a:lnTo>
                <a:lnTo>
                  <a:pt x="873" y="1911"/>
                </a:lnTo>
                <a:lnTo>
                  <a:pt x="873" y="1911"/>
                </a:lnTo>
                <a:lnTo>
                  <a:pt x="873" y="1911"/>
                </a:lnTo>
                <a:lnTo>
                  <a:pt x="872" y="1911"/>
                </a:lnTo>
                <a:lnTo>
                  <a:pt x="872" y="1912"/>
                </a:lnTo>
                <a:lnTo>
                  <a:pt x="872" y="1914"/>
                </a:lnTo>
                <a:lnTo>
                  <a:pt x="871" y="1916"/>
                </a:lnTo>
                <a:lnTo>
                  <a:pt x="870" y="1919"/>
                </a:lnTo>
                <a:lnTo>
                  <a:pt x="868" y="1924"/>
                </a:lnTo>
                <a:lnTo>
                  <a:pt x="868" y="1925"/>
                </a:lnTo>
                <a:lnTo>
                  <a:pt x="867" y="1926"/>
                </a:lnTo>
                <a:lnTo>
                  <a:pt x="866" y="1927"/>
                </a:lnTo>
                <a:lnTo>
                  <a:pt x="865" y="1929"/>
                </a:lnTo>
                <a:lnTo>
                  <a:pt x="864" y="1931"/>
                </a:lnTo>
                <a:lnTo>
                  <a:pt x="864" y="1933"/>
                </a:lnTo>
                <a:lnTo>
                  <a:pt x="851" y="1955"/>
                </a:lnTo>
                <a:lnTo>
                  <a:pt x="842" y="1981"/>
                </a:lnTo>
                <a:lnTo>
                  <a:pt x="842" y="1981"/>
                </a:lnTo>
                <a:lnTo>
                  <a:pt x="842" y="1981"/>
                </a:lnTo>
                <a:lnTo>
                  <a:pt x="842" y="1982"/>
                </a:lnTo>
                <a:lnTo>
                  <a:pt x="841" y="1983"/>
                </a:lnTo>
                <a:lnTo>
                  <a:pt x="840" y="1984"/>
                </a:lnTo>
                <a:lnTo>
                  <a:pt x="838" y="1985"/>
                </a:lnTo>
                <a:lnTo>
                  <a:pt x="835" y="1990"/>
                </a:lnTo>
                <a:lnTo>
                  <a:pt x="834" y="1993"/>
                </a:lnTo>
                <a:lnTo>
                  <a:pt x="834" y="1996"/>
                </a:lnTo>
                <a:lnTo>
                  <a:pt x="834" y="1999"/>
                </a:lnTo>
                <a:lnTo>
                  <a:pt x="836" y="2002"/>
                </a:lnTo>
                <a:lnTo>
                  <a:pt x="838" y="2006"/>
                </a:lnTo>
                <a:lnTo>
                  <a:pt x="840" y="2009"/>
                </a:lnTo>
                <a:lnTo>
                  <a:pt x="842" y="2013"/>
                </a:lnTo>
                <a:lnTo>
                  <a:pt x="846" y="2017"/>
                </a:lnTo>
                <a:lnTo>
                  <a:pt x="853" y="2020"/>
                </a:lnTo>
                <a:lnTo>
                  <a:pt x="860" y="2021"/>
                </a:lnTo>
                <a:lnTo>
                  <a:pt x="863" y="2024"/>
                </a:lnTo>
                <a:lnTo>
                  <a:pt x="866" y="2025"/>
                </a:lnTo>
                <a:lnTo>
                  <a:pt x="869" y="2025"/>
                </a:lnTo>
                <a:lnTo>
                  <a:pt x="873" y="2026"/>
                </a:lnTo>
                <a:lnTo>
                  <a:pt x="893" y="2026"/>
                </a:lnTo>
                <a:lnTo>
                  <a:pt x="911" y="2026"/>
                </a:lnTo>
                <a:lnTo>
                  <a:pt x="937" y="2026"/>
                </a:lnTo>
                <a:lnTo>
                  <a:pt x="1291" y="2026"/>
                </a:lnTo>
                <a:lnTo>
                  <a:pt x="1343" y="2026"/>
                </a:lnTo>
                <a:lnTo>
                  <a:pt x="1394" y="2026"/>
                </a:lnTo>
                <a:lnTo>
                  <a:pt x="1445" y="2026"/>
                </a:lnTo>
                <a:lnTo>
                  <a:pt x="1493" y="2026"/>
                </a:lnTo>
                <a:lnTo>
                  <a:pt x="1538" y="2026"/>
                </a:lnTo>
                <a:lnTo>
                  <a:pt x="1580" y="2026"/>
                </a:lnTo>
                <a:lnTo>
                  <a:pt x="1649" y="2026"/>
                </a:lnTo>
                <a:lnTo>
                  <a:pt x="1675" y="2026"/>
                </a:lnTo>
                <a:lnTo>
                  <a:pt x="1694" y="2026"/>
                </a:lnTo>
                <a:lnTo>
                  <a:pt x="1750" y="2026"/>
                </a:lnTo>
                <a:lnTo>
                  <a:pt x="1752" y="2026"/>
                </a:lnTo>
                <a:lnTo>
                  <a:pt x="1754" y="2025"/>
                </a:lnTo>
                <a:lnTo>
                  <a:pt x="1755" y="2025"/>
                </a:lnTo>
                <a:lnTo>
                  <a:pt x="1756" y="2024"/>
                </a:lnTo>
                <a:lnTo>
                  <a:pt x="1757" y="2023"/>
                </a:lnTo>
                <a:lnTo>
                  <a:pt x="1759" y="2021"/>
                </a:lnTo>
                <a:lnTo>
                  <a:pt x="1777" y="2021"/>
                </a:lnTo>
                <a:lnTo>
                  <a:pt x="1777" y="2021"/>
                </a:lnTo>
                <a:lnTo>
                  <a:pt x="1777" y="2020"/>
                </a:lnTo>
                <a:lnTo>
                  <a:pt x="1777" y="2019"/>
                </a:lnTo>
                <a:lnTo>
                  <a:pt x="1778" y="2018"/>
                </a:lnTo>
                <a:lnTo>
                  <a:pt x="1779" y="2017"/>
                </a:lnTo>
                <a:lnTo>
                  <a:pt x="1781" y="2017"/>
                </a:lnTo>
                <a:lnTo>
                  <a:pt x="1786" y="2017"/>
                </a:lnTo>
                <a:lnTo>
                  <a:pt x="1788" y="2017"/>
                </a:lnTo>
                <a:lnTo>
                  <a:pt x="1789" y="2016"/>
                </a:lnTo>
                <a:lnTo>
                  <a:pt x="1790" y="2015"/>
                </a:lnTo>
                <a:lnTo>
                  <a:pt x="1791" y="2014"/>
                </a:lnTo>
                <a:lnTo>
                  <a:pt x="1793" y="2013"/>
                </a:lnTo>
                <a:lnTo>
                  <a:pt x="1795" y="2013"/>
                </a:lnTo>
                <a:lnTo>
                  <a:pt x="1796" y="2010"/>
                </a:lnTo>
                <a:lnTo>
                  <a:pt x="1798" y="2009"/>
                </a:lnTo>
                <a:lnTo>
                  <a:pt x="1799" y="2008"/>
                </a:lnTo>
                <a:lnTo>
                  <a:pt x="1800" y="2007"/>
                </a:lnTo>
                <a:lnTo>
                  <a:pt x="1801" y="2005"/>
                </a:lnTo>
                <a:lnTo>
                  <a:pt x="1803" y="2003"/>
                </a:lnTo>
                <a:lnTo>
                  <a:pt x="1808" y="1999"/>
                </a:lnTo>
                <a:lnTo>
                  <a:pt x="1808" y="1995"/>
                </a:lnTo>
                <a:lnTo>
                  <a:pt x="1811" y="1995"/>
                </a:lnTo>
                <a:lnTo>
                  <a:pt x="1812" y="1994"/>
                </a:lnTo>
                <a:lnTo>
                  <a:pt x="1812" y="1993"/>
                </a:lnTo>
                <a:lnTo>
                  <a:pt x="1812" y="1991"/>
                </a:lnTo>
                <a:lnTo>
                  <a:pt x="1812" y="1906"/>
                </a:lnTo>
                <a:lnTo>
                  <a:pt x="1812" y="1903"/>
                </a:lnTo>
                <a:lnTo>
                  <a:pt x="1812" y="1900"/>
                </a:lnTo>
                <a:lnTo>
                  <a:pt x="1811" y="1896"/>
                </a:lnTo>
                <a:lnTo>
                  <a:pt x="1808" y="1893"/>
                </a:lnTo>
                <a:lnTo>
                  <a:pt x="1806" y="1891"/>
                </a:lnTo>
                <a:lnTo>
                  <a:pt x="1804" y="1890"/>
                </a:lnTo>
                <a:lnTo>
                  <a:pt x="1803" y="1888"/>
                </a:lnTo>
                <a:lnTo>
                  <a:pt x="1802" y="1887"/>
                </a:lnTo>
                <a:lnTo>
                  <a:pt x="1801" y="1886"/>
                </a:lnTo>
                <a:lnTo>
                  <a:pt x="1799" y="1884"/>
                </a:lnTo>
                <a:lnTo>
                  <a:pt x="1799" y="1884"/>
                </a:lnTo>
                <a:lnTo>
                  <a:pt x="1799" y="1884"/>
                </a:lnTo>
                <a:lnTo>
                  <a:pt x="1798" y="1884"/>
                </a:lnTo>
                <a:lnTo>
                  <a:pt x="1797" y="1883"/>
                </a:lnTo>
                <a:lnTo>
                  <a:pt x="1796" y="1882"/>
                </a:lnTo>
                <a:lnTo>
                  <a:pt x="1795" y="1880"/>
                </a:lnTo>
                <a:lnTo>
                  <a:pt x="1793" y="1880"/>
                </a:lnTo>
                <a:lnTo>
                  <a:pt x="1791" y="1880"/>
                </a:lnTo>
                <a:lnTo>
                  <a:pt x="1790" y="1880"/>
                </a:lnTo>
                <a:lnTo>
                  <a:pt x="1789" y="1879"/>
                </a:lnTo>
                <a:lnTo>
                  <a:pt x="1788" y="1878"/>
                </a:lnTo>
                <a:lnTo>
                  <a:pt x="1786" y="1875"/>
                </a:lnTo>
                <a:lnTo>
                  <a:pt x="1784" y="1875"/>
                </a:lnTo>
                <a:lnTo>
                  <a:pt x="1782" y="1875"/>
                </a:lnTo>
                <a:lnTo>
                  <a:pt x="1781" y="1874"/>
                </a:lnTo>
                <a:lnTo>
                  <a:pt x="1780" y="1874"/>
                </a:lnTo>
                <a:lnTo>
                  <a:pt x="1778" y="1872"/>
                </a:lnTo>
                <a:lnTo>
                  <a:pt x="1777" y="1871"/>
                </a:lnTo>
                <a:lnTo>
                  <a:pt x="1721" y="1871"/>
                </a:lnTo>
                <a:lnTo>
                  <a:pt x="1706" y="1871"/>
                </a:lnTo>
                <a:lnTo>
                  <a:pt x="1686" y="1871"/>
                </a:lnTo>
                <a:lnTo>
                  <a:pt x="1660" y="1871"/>
                </a:lnTo>
                <a:lnTo>
                  <a:pt x="1630" y="1871"/>
                </a:lnTo>
                <a:lnTo>
                  <a:pt x="1328" y="1871"/>
                </a:lnTo>
                <a:lnTo>
                  <a:pt x="1281" y="1871"/>
                </a:lnTo>
                <a:lnTo>
                  <a:pt x="1235" y="1871"/>
                </a:lnTo>
                <a:lnTo>
                  <a:pt x="1189" y="1871"/>
                </a:lnTo>
                <a:lnTo>
                  <a:pt x="1069" y="1871"/>
                </a:lnTo>
                <a:lnTo>
                  <a:pt x="1037" y="1871"/>
                </a:lnTo>
                <a:lnTo>
                  <a:pt x="1007" y="1871"/>
                </a:lnTo>
                <a:lnTo>
                  <a:pt x="967" y="1871"/>
                </a:lnTo>
                <a:lnTo>
                  <a:pt x="956" y="1871"/>
                </a:lnTo>
                <a:close/>
                <a:moveTo>
                  <a:pt x="705" y="1689"/>
                </a:moveTo>
                <a:lnTo>
                  <a:pt x="698" y="1692"/>
                </a:lnTo>
                <a:lnTo>
                  <a:pt x="692" y="1693"/>
                </a:lnTo>
                <a:lnTo>
                  <a:pt x="688" y="1693"/>
                </a:lnTo>
                <a:lnTo>
                  <a:pt x="686" y="1696"/>
                </a:lnTo>
                <a:lnTo>
                  <a:pt x="685" y="1697"/>
                </a:lnTo>
                <a:lnTo>
                  <a:pt x="684" y="1698"/>
                </a:lnTo>
                <a:lnTo>
                  <a:pt x="683" y="1699"/>
                </a:lnTo>
                <a:lnTo>
                  <a:pt x="683" y="1699"/>
                </a:lnTo>
                <a:lnTo>
                  <a:pt x="683" y="1699"/>
                </a:lnTo>
                <a:lnTo>
                  <a:pt x="679" y="1699"/>
                </a:lnTo>
                <a:lnTo>
                  <a:pt x="679" y="1699"/>
                </a:lnTo>
                <a:lnTo>
                  <a:pt x="678" y="1699"/>
                </a:lnTo>
                <a:lnTo>
                  <a:pt x="677" y="1699"/>
                </a:lnTo>
                <a:lnTo>
                  <a:pt x="676" y="1700"/>
                </a:lnTo>
                <a:lnTo>
                  <a:pt x="675" y="1701"/>
                </a:lnTo>
                <a:lnTo>
                  <a:pt x="675" y="1703"/>
                </a:lnTo>
                <a:lnTo>
                  <a:pt x="673" y="1703"/>
                </a:lnTo>
                <a:lnTo>
                  <a:pt x="671" y="1703"/>
                </a:lnTo>
                <a:lnTo>
                  <a:pt x="668" y="1703"/>
                </a:lnTo>
                <a:lnTo>
                  <a:pt x="667" y="1704"/>
                </a:lnTo>
                <a:lnTo>
                  <a:pt x="666" y="1705"/>
                </a:lnTo>
                <a:lnTo>
                  <a:pt x="665" y="1707"/>
                </a:lnTo>
                <a:lnTo>
                  <a:pt x="662" y="1709"/>
                </a:lnTo>
                <a:lnTo>
                  <a:pt x="659" y="1711"/>
                </a:lnTo>
                <a:lnTo>
                  <a:pt x="658" y="1713"/>
                </a:lnTo>
                <a:lnTo>
                  <a:pt x="656" y="1716"/>
                </a:lnTo>
                <a:lnTo>
                  <a:pt x="655" y="1719"/>
                </a:lnTo>
                <a:lnTo>
                  <a:pt x="653" y="1721"/>
                </a:lnTo>
                <a:lnTo>
                  <a:pt x="653" y="1721"/>
                </a:lnTo>
                <a:lnTo>
                  <a:pt x="653" y="1721"/>
                </a:lnTo>
                <a:lnTo>
                  <a:pt x="652" y="1721"/>
                </a:lnTo>
                <a:lnTo>
                  <a:pt x="652" y="1722"/>
                </a:lnTo>
                <a:lnTo>
                  <a:pt x="650" y="1723"/>
                </a:lnTo>
                <a:lnTo>
                  <a:pt x="649" y="1725"/>
                </a:lnTo>
                <a:lnTo>
                  <a:pt x="636" y="1742"/>
                </a:lnTo>
                <a:lnTo>
                  <a:pt x="627" y="1757"/>
                </a:lnTo>
                <a:lnTo>
                  <a:pt x="617" y="1774"/>
                </a:lnTo>
                <a:lnTo>
                  <a:pt x="615" y="1774"/>
                </a:lnTo>
                <a:lnTo>
                  <a:pt x="614" y="1775"/>
                </a:lnTo>
                <a:lnTo>
                  <a:pt x="613" y="1776"/>
                </a:lnTo>
                <a:lnTo>
                  <a:pt x="613" y="1777"/>
                </a:lnTo>
                <a:lnTo>
                  <a:pt x="613" y="1777"/>
                </a:lnTo>
                <a:lnTo>
                  <a:pt x="613" y="1778"/>
                </a:lnTo>
                <a:lnTo>
                  <a:pt x="611" y="1780"/>
                </a:lnTo>
                <a:lnTo>
                  <a:pt x="610" y="1781"/>
                </a:lnTo>
                <a:lnTo>
                  <a:pt x="609" y="1781"/>
                </a:lnTo>
                <a:lnTo>
                  <a:pt x="609" y="1782"/>
                </a:lnTo>
                <a:lnTo>
                  <a:pt x="609" y="1782"/>
                </a:lnTo>
                <a:lnTo>
                  <a:pt x="609" y="1782"/>
                </a:lnTo>
                <a:lnTo>
                  <a:pt x="609" y="1791"/>
                </a:lnTo>
                <a:lnTo>
                  <a:pt x="611" y="1800"/>
                </a:lnTo>
                <a:lnTo>
                  <a:pt x="617" y="1806"/>
                </a:lnTo>
                <a:lnTo>
                  <a:pt x="627" y="1809"/>
                </a:lnTo>
                <a:lnTo>
                  <a:pt x="628" y="1809"/>
                </a:lnTo>
                <a:lnTo>
                  <a:pt x="630" y="1810"/>
                </a:lnTo>
                <a:lnTo>
                  <a:pt x="631" y="1810"/>
                </a:lnTo>
                <a:lnTo>
                  <a:pt x="632" y="1811"/>
                </a:lnTo>
                <a:lnTo>
                  <a:pt x="633" y="1812"/>
                </a:lnTo>
                <a:lnTo>
                  <a:pt x="635" y="1814"/>
                </a:lnTo>
                <a:lnTo>
                  <a:pt x="754" y="1814"/>
                </a:lnTo>
                <a:lnTo>
                  <a:pt x="759" y="1812"/>
                </a:lnTo>
                <a:lnTo>
                  <a:pt x="768" y="1810"/>
                </a:lnTo>
                <a:lnTo>
                  <a:pt x="776" y="1809"/>
                </a:lnTo>
                <a:lnTo>
                  <a:pt x="785" y="1809"/>
                </a:lnTo>
                <a:lnTo>
                  <a:pt x="786" y="1809"/>
                </a:lnTo>
                <a:lnTo>
                  <a:pt x="786" y="1809"/>
                </a:lnTo>
                <a:lnTo>
                  <a:pt x="787" y="1809"/>
                </a:lnTo>
                <a:lnTo>
                  <a:pt x="788" y="1807"/>
                </a:lnTo>
                <a:lnTo>
                  <a:pt x="789" y="1806"/>
                </a:lnTo>
                <a:lnTo>
                  <a:pt x="789" y="1804"/>
                </a:lnTo>
                <a:lnTo>
                  <a:pt x="802" y="1800"/>
                </a:lnTo>
                <a:lnTo>
                  <a:pt x="815" y="1794"/>
                </a:lnTo>
                <a:lnTo>
                  <a:pt x="824" y="1787"/>
                </a:lnTo>
                <a:lnTo>
                  <a:pt x="825" y="1784"/>
                </a:lnTo>
                <a:lnTo>
                  <a:pt x="825" y="1783"/>
                </a:lnTo>
                <a:lnTo>
                  <a:pt x="826" y="1782"/>
                </a:lnTo>
                <a:lnTo>
                  <a:pt x="827" y="1781"/>
                </a:lnTo>
                <a:lnTo>
                  <a:pt x="828" y="1780"/>
                </a:lnTo>
                <a:lnTo>
                  <a:pt x="828" y="1778"/>
                </a:lnTo>
                <a:lnTo>
                  <a:pt x="828" y="1778"/>
                </a:lnTo>
                <a:lnTo>
                  <a:pt x="830" y="1777"/>
                </a:lnTo>
                <a:lnTo>
                  <a:pt x="831" y="1774"/>
                </a:lnTo>
                <a:lnTo>
                  <a:pt x="834" y="1769"/>
                </a:lnTo>
                <a:lnTo>
                  <a:pt x="838" y="1760"/>
                </a:lnTo>
                <a:lnTo>
                  <a:pt x="864" y="1721"/>
                </a:lnTo>
                <a:lnTo>
                  <a:pt x="866" y="1711"/>
                </a:lnTo>
                <a:lnTo>
                  <a:pt x="865" y="1704"/>
                </a:lnTo>
                <a:lnTo>
                  <a:pt x="861" y="1698"/>
                </a:lnTo>
                <a:lnTo>
                  <a:pt x="856" y="1693"/>
                </a:lnTo>
                <a:lnTo>
                  <a:pt x="854" y="1693"/>
                </a:lnTo>
                <a:lnTo>
                  <a:pt x="853" y="1693"/>
                </a:lnTo>
                <a:lnTo>
                  <a:pt x="851" y="1693"/>
                </a:lnTo>
                <a:lnTo>
                  <a:pt x="849" y="1693"/>
                </a:lnTo>
                <a:lnTo>
                  <a:pt x="848" y="1692"/>
                </a:lnTo>
                <a:lnTo>
                  <a:pt x="845" y="1691"/>
                </a:lnTo>
                <a:lnTo>
                  <a:pt x="842" y="1689"/>
                </a:lnTo>
                <a:lnTo>
                  <a:pt x="705" y="1689"/>
                </a:lnTo>
                <a:close/>
                <a:moveTo>
                  <a:pt x="2376" y="1689"/>
                </a:moveTo>
                <a:lnTo>
                  <a:pt x="2360" y="1689"/>
                </a:lnTo>
                <a:lnTo>
                  <a:pt x="2345" y="1689"/>
                </a:lnTo>
                <a:lnTo>
                  <a:pt x="2293" y="1689"/>
                </a:lnTo>
                <a:lnTo>
                  <a:pt x="2290" y="1692"/>
                </a:lnTo>
                <a:lnTo>
                  <a:pt x="2286" y="1693"/>
                </a:lnTo>
                <a:lnTo>
                  <a:pt x="2283" y="1693"/>
                </a:lnTo>
                <a:lnTo>
                  <a:pt x="2279" y="1693"/>
                </a:lnTo>
                <a:lnTo>
                  <a:pt x="2276" y="1694"/>
                </a:lnTo>
                <a:lnTo>
                  <a:pt x="2273" y="1697"/>
                </a:lnTo>
                <a:lnTo>
                  <a:pt x="2270" y="1698"/>
                </a:lnTo>
                <a:lnTo>
                  <a:pt x="2267" y="1699"/>
                </a:lnTo>
                <a:lnTo>
                  <a:pt x="2267" y="1703"/>
                </a:lnTo>
                <a:lnTo>
                  <a:pt x="2262" y="1703"/>
                </a:lnTo>
                <a:lnTo>
                  <a:pt x="2257" y="1707"/>
                </a:lnTo>
                <a:lnTo>
                  <a:pt x="2257" y="1725"/>
                </a:lnTo>
                <a:lnTo>
                  <a:pt x="2271" y="1751"/>
                </a:lnTo>
                <a:lnTo>
                  <a:pt x="2271" y="1752"/>
                </a:lnTo>
                <a:lnTo>
                  <a:pt x="2271" y="1752"/>
                </a:lnTo>
                <a:lnTo>
                  <a:pt x="2272" y="1755"/>
                </a:lnTo>
                <a:lnTo>
                  <a:pt x="2273" y="1759"/>
                </a:lnTo>
                <a:lnTo>
                  <a:pt x="2276" y="1767"/>
                </a:lnTo>
                <a:lnTo>
                  <a:pt x="2279" y="1778"/>
                </a:lnTo>
                <a:lnTo>
                  <a:pt x="2280" y="1781"/>
                </a:lnTo>
                <a:lnTo>
                  <a:pt x="2283" y="1784"/>
                </a:lnTo>
                <a:lnTo>
                  <a:pt x="2286" y="1788"/>
                </a:lnTo>
                <a:lnTo>
                  <a:pt x="2289" y="1791"/>
                </a:lnTo>
                <a:lnTo>
                  <a:pt x="2290" y="1793"/>
                </a:lnTo>
                <a:lnTo>
                  <a:pt x="2292" y="1794"/>
                </a:lnTo>
                <a:lnTo>
                  <a:pt x="2293" y="1795"/>
                </a:lnTo>
                <a:lnTo>
                  <a:pt x="2294" y="1796"/>
                </a:lnTo>
                <a:lnTo>
                  <a:pt x="2295" y="1796"/>
                </a:lnTo>
                <a:lnTo>
                  <a:pt x="2297" y="1796"/>
                </a:lnTo>
                <a:lnTo>
                  <a:pt x="2317" y="1806"/>
                </a:lnTo>
                <a:lnTo>
                  <a:pt x="2337" y="1814"/>
                </a:lnTo>
                <a:lnTo>
                  <a:pt x="2465" y="1814"/>
                </a:lnTo>
                <a:lnTo>
                  <a:pt x="2466" y="1812"/>
                </a:lnTo>
                <a:lnTo>
                  <a:pt x="2466" y="1811"/>
                </a:lnTo>
                <a:lnTo>
                  <a:pt x="2467" y="1810"/>
                </a:lnTo>
                <a:lnTo>
                  <a:pt x="2468" y="1810"/>
                </a:lnTo>
                <a:lnTo>
                  <a:pt x="2469" y="1809"/>
                </a:lnTo>
                <a:lnTo>
                  <a:pt x="2469" y="1809"/>
                </a:lnTo>
                <a:lnTo>
                  <a:pt x="2474" y="1809"/>
                </a:lnTo>
                <a:lnTo>
                  <a:pt x="2476" y="1809"/>
                </a:lnTo>
                <a:lnTo>
                  <a:pt x="2478" y="1807"/>
                </a:lnTo>
                <a:lnTo>
                  <a:pt x="2479" y="1806"/>
                </a:lnTo>
                <a:lnTo>
                  <a:pt x="2481" y="1805"/>
                </a:lnTo>
                <a:lnTo>
                  <a:pt x="2482" y="1804"/>
                </a:lnTo>
                <a:lnTo>
                  <a:pt x="2482" y="1804"/>
                </a:lnTo>
                <a:lnTo>
                  <a:pt x="2486" y="1804"/>
                </a:lnTo>
                <a:lnTo>
                  <a:pt x="2486" y="1800"/>
                </a:lnTo>
                <a:lnTo>
                  <a:pt x="2490" y="1800"/>
                </a:lnTo>
                <a:lnTo>
                  <a:pt x="2491" y="1799"/>
                </a:lnTo>
                <a:lnTo>
                  <a:pt x="2491" y="1798"/>
                </a:lnTo>
                <a:lnTo>
                  <a:pt x="2492" y="1796"/>
                </a:lnTo>
                <a:lnTo>
                  <a:pt x="2492" y="1796"/>
                </a:lnTo>
                <a:lnTo>
                  <a:pt x="2493" y="1796"/>
                </a:lnTo>
                <a:lnTo>
                  <a:pt x="2494" y="1795"/>
                </a:lnTo>
                <a:lnTo>
                  <a:pt x="2495" y="1794"/>
                </a:lnTo>
                <a:lnTo>
                  <a:pt x="2495" y="1793"/>
                </a:lnTo>
                <a:lnTo>
                  <a:pt x="2496" y="1791"/>
                </a:lnTo>
                <a:lnTo>
                  <a:pt x="2496" y="1782"/>
                </a:lnTo>
                <a:lnTo>
                  <a:pt x="2493" y="1779"/>
                </a:lnTo>
                <a:lnTo>
                  <a:pt x="2492" y="1776"/>
                </a:lnTo>
                <a:lnTo>
                  <a:pt x="2490" y="1772"/>
                </a:lnTo>
                <a:lnTo>
                  <a:pt x="2486" y="1769"/>
                </a:lnTo>
                <a:lnTo>
                  <a:pt x="2479" y="1752"/>
                </a:lnTo>
                <a:lnTo>
                  <a:pt x="2473" y="1737"/>
                </a:lnTo>
                <a:lnTo>
                  <a:pt x="2465" y="1721"/>
                </a:lnTo>
                <a:lnTo>
                  <a:pt x="2455" y="1709"/>
                </a:lnTo>
                <a:lnTo>
                  <a:pt x="2442" y="1701"/>
                </a:lnTo>
                <a:lnTo>
                  <a:pt x="2427" y="1696"/>
                </a:lnTo>
                <a:lnTo>
                  <a:pt x="2410" y="1691"/>
                </a:lnTo>
                <a:lnTo>
                  <a:pt x="2393" y="1690"/>
                </a:lnTo>
                <a:lnTo>
                  <a:pt x="2376" y="1689"/>
                </a:lnTo>
                <a:close/>
                <a:moveTo>
                  <a:pt x="2679" y="1688"/>
                </a:moveTo>
                <a:lnTo>
                  <a:pt x="2661" y="1689"/>
                </a:lnTo>
                <a:lnTo>
                  <a:pt x="2645" y="1689"/>
                </a:lnTo>
                <a:lnTo>
                  <a:pt x="2606" y="1689"/>
                </a:lnTo>
                <a:lnTo>
                  <a:pt x="2598" y="1689"/>
                </a:lnTo>
                <a:lnTo>
                  <a:pt x="2591" y="1690"/>
                </a:lnTo>
                <a:lnTo>
                  <a:pt x="2584" y="1693"/>
                </a:lnTo>
                <a:lnTo>
                  <a:pt x="2581" y="1693"/>
                </a:lnTo>
                <a:lnTo>
                  <a:pt x="2577" y="1694"/>
                </a:lnTo>
                <a:lnTo>
                  <a:pt x="2574" y="1696"/>
                </a:lnTo>
                <a:lnTo>
                  <a:pt x="2570" y="1699"/>
                </a:lnTo>
                <a:lnTo>
                  <a:pt x="2569" y="1700"/>
                </a:lnTo>
                <a:lnTo>
                  <a:pt x="2567" y="1702"/>
                </a:lnTo>
                <a:lnTo>
                  <a:pt x="2567" y="1703"/>
                </a:lnTo>
                <a:lnTo>
                  <a:pt x="2566" y="1704"/>
                </a:lnTo>
                <a:lnTo>
                  <a:pt x="2566" y="1705"/>
                </a:lnTo>
                <a:lnTo>
                  <a:pt x="2566" y="1707"/>
                </a:lnTo>
                <a:lnTo>
                  <a:pt x="2566" y="1721"/>
                </a:lnTo>
                <a:lnTo>
                  <a:pt x="2566" y="1721"/>
                </a:lnTo>
                <a:lnTo>
                  <a:pt x="2566" y="1721"/>
                </a:lnTo>
                <a:lnTo>
                  <a:pt x="2567" y="1721"/>
                </a:lnTo>
                <a:lnTo>
                  <a:pt x="2567" y="1722"/>
                </a:lnTo>
                <a:lnTo>
                  <a:pt x="2569" y="1723"/>
                </a:lnTo>
                <a:lnTo>
                  <a:pt x="2570" y="1725"/>
                </a:lnTo>
                <a:lnTo>
                  <a:pt x="2584" y="1751"/>
                </a:lnTo>
                <a:lnTo>
                  <a:pt x="2597" y="1774"/>
                </a:lnTo>
                <a:lnTo>
                  <a:pt x="2597" y="1774"/>
                </a:lnTo>
                <a:lnTo>
                  <a:pt x="2597" y="1774"/>
                </a:lnTo>
                <a:lnTo>
                  <a:pt x="2597" y="1774"/>
                </a:lnTo>
                <a:lnTo>
                  <a:pt x="2598" y="1775"/>
                </a:lnTo>
                <a:lnTo>
                  <a:pt x="2599" y="1776"/>
                </a:lnTo>
                <a:lnTo>
                  <a:pt x="2602" y="1778"/>
                </a:lnTo>
                <a:lnTo>
                  <a:pt x="2603" y="1781"/>
                </a:lnTo>
                <a:lnTo>
                  <a:pt x="2605" y="1784"/>
                </a:lnTo>
                <a:lnTo>
                  <a:pt x="2607" y="1788"/>
                </a:lnTo>
                <a:lnTo>
                  <a:pt x="2610" y="1791"/>
                </a:lnTo>
                <a:lnTo>
                  <a:pt x="2612" y="1792"/>
                </a:lnTo>
                <a:lnTo>
                  <a:pt x="2613" y="1793"/>
                </a:lnTo>
                <a:lnTo>
                  <a:pt x="2615" y="1794"/>
                </a:lnTo>
                <a:lnTo>
                  <a:pt x="2616" y="1795"/>
                </a:lnTo>
                <a:lnTo>
                  <a:pt x="2617" y="1795"/>
                </a:lnTo>
                <a:lnTo>
                  <a:pt x="2619" y="1796"/>
                </a:lnTo>
                <a:lnTo>
                  <a:pt x="2632" y="1802"/>
                </a:lnTo>
                <a:lnTo>
                  <a:pt x="2647" y="1807"/>
                </a:lnTo>
                <a:lnTo>
                  <a:pt x="2660" y="1812"/>
                </a:lnTo>
                <a:lnTo>
                  <a:pt x="2677" y="1814"/>
                </a:lnTo>
                <a:lnTo>
                  <a:pt x="2739" y="1814"/>
                </a:lnTo>
                <a:lnTo>
                  <a:pt x="2753" y="1814"/>
                </a:lnTo>
                <a:lnTo>
                  <a:pt x="2769" y="1813"/>
                </a:lnTo>
                <a:lnTo>
                  <a:pt x="2786" y="1812"/>
                </a:lnTo>
                <a:lnTo>
                  <a:pt x="2800" y="1809"/>
                </a:lnTo>
                <a:lnTo>
                  <a:pt x="2804" y="1804"/>
                </a:lnTo>
                <a:lnTo>
                  <a:pt x="2809" y="1804"/>
                </a:lnTo>
                <a:lnTo>
                  <a:pt x="2811" y="1804"/>
                </a:lnTo>
                <a:lnTo>
                  <a:pt x="2813" y="1804"/>
                </a:lnTo>
                <a:lnTo>
                  <a:pt x="2813" y="1802"/>
                </a:lnTo>
                <a:lnTo>
                  <a:pt x="2813" y="1800"/>
                </a:lnTo>
                <a:lnTo>
                  <a:pt x="2814" y="1800"/>
                </a:lnTo>
                <a:lnTo>
                  <a:pt x="2814" y="1800"/>
                </a:lnTo>
                <a:lnTo>
                  <a:pt x="2815" y="1799"/>
                </a:lnTo>
                <a:lnTo>
                  <a:pt x="2816" y="1799"/>
                </a:lnTo>
                <a:lnTo>
                  <a:pt x="2817" y="1797"/>
                </a:lnTo>
                <a:lnTo>
                  <a:pt x="2817" y="1796"/>
                </a:lnTo>
                <a:lnTo>
                  <a:pt x="2817" y="1791"/>
                </a:lnTo>
                <a:lnTo>
                  <a:pt x="2817" y="1788"/>
                </a:lnTo>
                <a:lnTo>
                  <a:pt x="2817" y="1784"/>
                </a:lnTo>
                <a:lnTo>
                  <a:pt x="2816" y="1781"/>
                </a:lnTo>
                <a:lnTo>
                  <a:pt x="2813" y="1778"/>
                </a:lnTo>
                <a:lnTo>
                  <a:pt x="2807" y="1769"/>
                </a:lnTo>
                <a:lnTo>
                  <a:pt x="2800" y="1756"/>
                </a:lnTo>
                <a:lnTo>
                  <a:pt x="2787" y="1738"/>
                </a:lnTo>
                <a:lnTo>
                  <a:pt x="2773" y="1721"/>
                </a:lnTo>
                <a:lnTo>
                  <a:pt x="2762" y="1708"/>
                </a:lnTo>
                <a:lnTo>
                  <a:pt x="2748" y="1699"/>
                </a:lnTo>
                <a:lnTo>
                  <a:pt x="2731" y="1693"/>
                </a:lnTo>
                <a:lnTo>
                  <a:pt x="2715" y="1690"/>
                </a:lnTo>
                <a:lnTo>
                  <a:pt x="2697" y="1689"/>
                </a:lnTo>
                <a:lnTo>
                  <a:pt x="2679" y="1688"/>
                </a:lnTo>
                <a:close/>
                <a:moveTo>
                  <a:pt x="1120" y="1687"/>
                </a:moveTo>
                <a:lnTo>
                  <a:pt x="1104" y="1688"/>
                </a:lnTo>
                <a:lnTo>
                  <a:pt x="1090" y="1689"/>
                </a:lnTo>
                <a:lnTo>
                  <a:pt x="1081" y="1689"/>
                </a:lnTo>
                <a:lnTo>
                  <a:pt x="1068" y="1689"/>
                </a:lnTo>
                <a:lnTo>
                  <a:pt x="1053" y="1688"/>
                </a:lnTo>
                <a:lnTo>
                  <a:pt x="1039" y="1688"/>
                </a:lnTo>
                <a:lnTo>
                  <a:pt x="1024" y="1689"/>
                </a:lnTo>
                <a:lnTo>
                  <a:pt x="1009" y="1691"/>
                </a:lnTo>
                <a:lnTo>
                  <a:pt x="996" y="1696"/>
                </a:lnTo>
                <a:lnTo>
                  <a:pt x="984" y="1702"/>
                </a:lnTo>
                <a:lnTo>
                  <a:pt x="975" y="1711"/>
                </a:lnTo>
                <a:lnTo>
                  <a:pt x="970" y="1711"/>
                </a:lnTo>
                <a:lnTo>
                  <a:pt x="970" y="1716"/>
                </a:lnTo>
                <a:lnTo>
                  <a:pt x="970" y="1716"/>
                </a:lnTo>
                <a:lnTo>
                  <a:pt x="970" y="1716"/>
                </a:lnTo>
                <a:lnTo>
                  <a:pt x="970" y="1716"/>
                </a:lnTo>
                <a:lnTo>
                  <a:pt x="969" y="1718"/>
                </a:lnTo>
                <a:lnTo>
                  <a:pt x="968" y="1719"/>
                </a:lnTo>
                <a:lnTo>
                  <a:pt x="966" y="1721"/>
                </a:lnTo>
                <a:lnTo>
                  <a:pt x="958" y="1737"/>
                </a:lnTo>
                <a:lnTo>
                  <a:pt x="951" y="1752"/>
                </a:lnTo>
                <a:lnTo>
                  <a:pt x="944" y="1769"/>
                </a:lnTo>
                <a:lnTo>
                  <a:pt x="944" y="1771"/>
                </a:lnTo>
                <a:lnTo>
                  <a:pt x="943" y="1772"/>
                </a:lnTo>
                <a:lnTo>
                  <a:pt x="941" y="1774"/>
                </a:lnTo>
                <a:lnTo>
                  <a:pt x="940" y="1775"/>
                </a:lnTo>
                <a:lnTo>
                  <a:pt x="939" y="1776"/>
                </a:lnTo>
                <a:lnTo>
                  <a:pt x="939" y="1778"/>
                </a:lnTo>
                <a:lnTo>
                  <a:pt x="939" y="1778"/>
                </a:lnTo>
                <a:lnTo>
                  <a:pt x="939" y="1779"/>
                </a:lnTo>
                <a:lnTo>
                  <a:pt x="938" y="1780"/>
                </a:lnTo>
                <a:lnTo>
                  <a:pt x="938" y="1781"/>
                </a:lnTo>
                <a:lnTo>
                  <a:pt x="936" y="1782"/>
                </a:lnTo>
                <a:lnTo>
                  <a:pt x="935" y="1782"/>
                </a:lnTo>
                <a:lnTo>
                  <a:pt x="935" y="1791"/>
                </a:lnTo>
                <a:lnTo>
                  <a:pt x="937" y="1792"/>
                </a:lnTo>
                <a:lnTo>
                  <a:pt x="938" y="1792"/>
                </a:lnTo>
                <a:lnTo>
                  <a:pt x="939" y="1793"/>
                </a:lnTo>
                <a:lnTo>
                  <a:pt x="939" y="1796"/>
                </a:lnTo>
                <a:lnTo>
                  <a:pt x="948" y="1804"/>
                </a:lnTo>
                <a:lnTo>
                  <a:pt x="957" y="1810"/>
                </a:lnTo>
                <a:lnTo>
                  <a:pt x="969" y="1813"/>
                </a:lnTo>
                <a:lnTo>
                  <a:pt x="979" y="1814"/>
                </a:lnTo>
                <a:lnTo>
                  <a:pt x="1000" y="1812"/>
                </a:lnTo>
                <a:lnTo>
                  <a:pt x="1019" y="1810"/>
                </a:lnTo>
                <a:lnTo>
                  <a:pt x="1037" y="1809"/>
                </a:lnTo>
                <a:lnTo>
                  <a:pt x="1057" y="1810"/>
                </a:lnTo>
                <a:lnTo>
                  <a:pt x="1075" y="1811"/>
                </a:lnTo>
                <a:lnTo>
                  <a:pt x="1093" y="1809"/>
                </a:lnTo>
                <a:lnTo>
                  <a:pt x="1103" y="1809"/>
                </a:lnTo>
                <a:lnTo>
                  <a:pt x="1115" y="1806"/>
                </a:lnTo>
                <a:lnTo>
                  <a:pt x="1129" y="1800"/>
                </a:lnTo>
                <a:lnTo>
                  <a:pt x="1136" y="1799"/>
                </a:lnTo>
                <a:lnTo>
                  <a:pt x="1142" y="1796"/>
                </a:lnTo>
                <a:lnTo>
                  <a:pt x="1146" y="1791"/>
                </a:lnTo>
                <a:lnTo>
                  <a:pt x="1150" y="1788"/>
                </a:lnTo>
                <a:lnTo>
                  <a:pt x="1153" y="1784"/>
                </a:lnTo>
                <a:lnTo>
                  <a:pt x="1155" y="1781"/>
                </a:lnTo>
                <a:lnTo>
                  <a:pt x="1155" y="1778"/>
                </a:lnTo>
                <a:lnTo>
                  <a:pt x="1155" y="1778"/>
                </a:lnTo>
                <a:lnTo>
                  <a:pt x="1156" y="1777"/>
                </a:lnTo>
                <a:lnTo>
                  <a:pt x="1156" y="1775"/>
                </a:lnTo>
                <a:lnTo>
                  <a:pt x="1158" y="1770"/>
                </a:lnTo>
                <a:lnTo>
                  <a:pt x="1160" y="1762"/>
                </a:lnTo>
                <a:lnTo>
                  <a:pt x="1164" y="1752"/>
                </a:lnTo>
                <a:lnTo>
                  <a:pt x="1169" y="1736"/>
                </a:lnTo>
                <a:lnTo>
                  <a:pt x="1177" y="1716"/>
                </a:lnTo>
                <a:lnTo>
                  <a:pt x="1177" y="1711"/>
                </a:lnTo>
                <a:lnTo>
                  <a:pt x="1176" y="1704"/>
                </a:lnTo>
                <a:lnTo>
                  <a:pt x="1172" y="1699"/>
                </a:lnTo>
                <a:lnTo>
                  <a:pt x="1164" y="1693"/>
                </a:lnTo>
                <a:lnTo>
                  <a:pt x="1163" y="1693"/>
                </a:lnTo>
                <a:lnTo>
                  <a:pt x="1163" y="1692"/>
                </a:lnTo>
                <a:lnTo>
                  <a:pt x="1161" y="1691"/>
                </a:lnTo>
                <a:lnTo>
                  <a:pt x="1159" y="1690"/>
                </a:lnTo>
                <a:lnTo>
                  <a:pt x="1157" y="1690"/>
                </a:lnTo>
                <a:lnTo>
                  <a:pt x="1155" y="1689"/>
                </a:lnTo>
                <a:lnTo>
                  <a:pt x="1137" y="1689"/>
                </a:lnTo>
                <a:lnTo>
                  <a:pt x="1120" y="1687"/>
                </a:lnTo>
                <a:close/>
                <a:moveTo>
                  <a:pt x="1372" y="1685"/>
                </a:moveTo>
                <a:lnTo>
                  <a:pt x="1359" y="1685"/>
                </a:lnTo>
                <a:lnTo>
                  <a:pt x="1343" y="1686"/>
                </a:lnTo>
                <a:lnTo>
                  <a:pt x="1328" y="1688"/>
                </a:lnTo>
                <a:lnTo>
                  <a:pt x="1315" y="1692"/>
                </a:lnTo>
                <a:lnTo>
                  <a:pt x="1303" y="1698"/>
                </a:lnTo>
                <a:lnTo>
                  <a:pt x="1294" y="1706"/>
                </a:lnTo>
                <a:lnTo>
                  <a:pt x="1288" y="1716"/>
                </a:lnTo>
                <a:lnTo>
                  <a:pt x="1284" y="1716"/>
                </a:lnTo>
                <a:lnTo>
                  <a:pt x="1284" y="1716"/>
                </a:lnTo>
                <a:lnTo>
                  <a:pt x="1282" y="1718"/>
                </a:lnTo>
                <a:lnTo>
                  <a:pt x="1282" y="1720"/>
                </a:lnTo>
                <a:lnTo>
                  <a:pt x="1280" y="1725"/>
                </a:lnTo>
                <a:lnTo>
                  <a:pt x="1278" y="1734"/>
                </a:lnTo>
                <a:lnTo>
                  <a:pt x="1275" y="1747"/>
                </a:lnTo>
                <a:lnTo>
                  <a:pt x="1270" y="1765"/>
                </a:lnTo>
                <a:lnTo>
                  <a:pt x="1270" y="1769"/>
                </a:lnTo>
                <a:lnTo>
                  <a:pt x="1269" y="1771"/>
                </a:lnTo>
                <a:lnTo>
                  <a:pt x="1268" y="1772"/>
                </a:lnTo>
                <a:lnTo>
                  <a:pt x="1266" y="1778"/>
                </a:lnTo>
                <a:lnTo>
                  <a:pt x="1266" y="1791"/>
                </a:lnTo>
                <a:lnTo>
                  <a:pt x="1267" y="1792"/>
                </a:lnTo>
                <a:lnTo>
                  <a:pt x="1269" y="1793"/>
                </a:lnTo>
                <a:lnTo>
                  <a:pt x="1269" y="1794"/>
                </a:lnTo>
                <a:lnTo>
                  <a:pt x="1270" y="1795"/>
                </a:lnTo>
                <a:lnTo>
                  <a:pt x="1270" y="1795"/>
                </a:lnTo>
                <a:lnTo>
                  <a:pt x="1270" y="1796"/>
                </a:lnTo>
                <a:lnTo>
                  <a:pt x="1272" y="1797"/>
                </a:lnTo>
                <a:lnTo>
                  <a:pt x="1273" y="1799"/>
                </a:lnTo>
                <a:lnTo>
                  <a:pt x="1274" y="1799"/>
                </a:lnTo>
                <a:lnTo>
                  <a:pt x="1274" y="1800"/>
                </a:lnTo>
                <a:lnTo>
                  <a:pt x="1274" y="1800"/>
                </a:lnTo>
                <a:lnTo>
                  <a:pt x="1274" y="1800"/>
                </a:lnTo>
                <a:lnTo>
                  <a:pt x="1288" y="1806"/>
                </a:lnTo>
                <a:lnTo>
                  <a:pt x="1300" y="1809"/>
                </a:lnTo>
                <a:lnTo>
                  <a:pt x="1314" y="1809"/>
                </a:lnTo>
                <a:lnTo>
                  <a:pt x="1314" y="1809"/>
                </a:lnTo>
                <a:lnTo>
                  <a:pt x="1315" y="1809"/>
                </a:lnTo>
                <a:lnTo>
                  <a:pt x="1318" y="1809"/>
                </a:lnTo>
                <a:lnTo>
                  <a:pt x="1441" y="1809"/>
                </a:lnTo>
                <a:lnTo>
                  <a:pt x="1457" y="1802"/>
                </a:lnTo>
                <a:lnTo>
                  <a:pt x="1473" y="1796"/>
                </a:lnTo>
                <a:lnTo>
                  <a:pt x="1473" y="1791"/>
                </a:lnTo>
                <a:lnTo>
                  <a:pt x="1477" y="1791"/>
                </a:lnTo>
                <a:lnTo>
                  <a:pt x="1477" y="1787"/>
                </a:lnTo>
                <a:lnTo>
                  <a:pt x="1479" y="1787"/>
                </a:lnTo>
                <a:lnTo>
                  <a:pt x="1480" y="1786"/>
                </a:lnTo>
                <a:lnTo>
                  <a:pt x="1481" y="1784"/>
                </a:lnTo>
                <a:lnTo>
                  <a:pt x="1481" y="1782"/>
                </a:lnTo>
                <a:lnTo>
                  <a:pt x="1481" y="1780"/>
                </a:lnTo>
                <a:lnTo>
                  <a:pt x="1481" y="1778"/>
                </a:lnTo>
                <a:lnTo>
                  <a:pt x="1481" y="1778"/>
                </a:lnTo>
                <a:lnTo>
                  <a:pt x="1482" y="1777"/>
                </a:lnTo>
                <a:lnTo>
                  <a:pt x="1482" y="1774"/>
                </a:lnTo>
                <a:lnTo>
                  <a:pt x="1484" y="1769"/>
                </a:lnTo>
                <a:lnTo>
                  <a:pt x="1486" y="1760"/>
                </a:lnTo>
                <a:lnTo>
                  <a:pt x="1491" y="1747"/>
                </a:lnTo>
                <a:lnTo>
                  <a:pt x="1491" y="1733"/>
                </a:lnTo>
                <a:lnTo>
                  <a:pt x="1495" y="1721"/>
                </a:lnTo>
                <a:lnTo>
                  <a:pt x="1495" y="1716"/>
                </a:lnTo>
                <a:lnTo>
                  <a:pt x="1495" y="1715"/>
                </a:lnTo>
                <a:lnTo>
                  <a:pt x="1494" y="1713"/>
                </a:lnTo>
                <a:lnTo>
                  <a:pt x="1493" y="1710"/>
                </a:lnTo>
                <a:lnTo>
                  <a:pt x="1491" y="1707"/>
                </a:lnTo>
                <a:lnTo>
                  <a:pt x="1491" y="1703"/>
                </a:lnTo>
                <a:lnTo>
                  <a:pt x="1481" y="1697"/>
                </a:lnTo>
                <a:lnTo>
                  <a:pt x="1469" y="1689"/>
                </a:lnTo>
                <a:lnTo>
                  <a:pt x="1464" y="1689"/>
                </a:lnTo>
                <a:lnTo>
                  <a:pt x="1461" y="1689"/>
                </a:lnTo>
                <a:lnTo>
                  <a:pt x="1458" y="1687"/>
                </a:lnTo>
                <a:lnTo>
                  <a:pt x="1455" y="1685"/>
                </a:lnTo>
                <a:lnTo>
                  <a:pt x="1398" y="1685"/>
                </a:lnTo>
                <a:lnTo>
                  <a:pt x="1386" y="1685"/>
                </a:lnTo>
                <a:lnTo>
                  <a:pt x="1372" y="1685"/>
                </a:lnTo>
                <a:close/>
                <a:moveTo>
                  <a:pt x="1673" y="1684"/>
                </a:moveTo>
                <a:lnTo>
                  <a:pt x="1659" y="1684"/>
                </a:lnTo>
                <a:lnTo>
                  <a:pt x="1645" y="1685"/>
                </a:lnTo>
                <a:lnTo>
                  <a:pt x="1632" y="1688"/>
                </a:lnTo>
                <a:lnTo>
                  <a:pt x="1620" y="1691"/>
                </a:lnTo>
                <a:lnTo>
                  <a:pt x="1611" y="1698"/>
                </a:lnTo>
                <a:lnTo>
                  <a:pt x="1604" y="1705"/>
                </a:lnTo>
                <a:lnTo>
                  <a:pt x="1600" y="1716"/>
                </a:lnTo>
                <a:lnTo>
                  <a:pt x="1596" y="1743"/>
                </a:lnTo>
                <a:lnTo>
                  <a:pt x="1596" y="1769"/>
                </a:lnTo>
                <a:lnTo>
                  <a:pt x="1596" y="1769"/>
                </a:lnTo>
                <a:lnTo>
                  <a:pt x="1596" y="1769"/>
                </a:lnTo>
                <a:lnTo>
                  <a:pt x="1596" y="1770"/>
                </a:lnTo>
                <a:lnTo>
                  <a:pt x="1595" y="1771"/>
                </a:lnTo>
                <a:lnTo>
                  <a:pt x="1594" y="1772"/>
                </a:lnTo>
                <a:lnTo>
                  <a:pt x="1593" y="1775"/>
                </a:lnTo>
                <a:lnTo>
                  <a:pt x="1592" y="1778"/>
                </a:lnTo>
                <a:lnTo>
                  <a:pt x="1592" y="1780"/>
                </a:lnTo>
                <a:lnTo>
                  <a:pt x="1593" y="1782"/>
                </a:lnTo>
                <a:lnTo>
                  <a:pt x="1594" y="1784"/>
                </a:lnTo>
                <a:lnTo>
                  <a:pt x="1595" y="1786"/>
                </a:lnTo>
                <a:lnTo>
                  <a:pt x="1596" y="1787"/>
                </a:lnTo>
                <a:lnTo>
                  <a:pt x="1596" y="1787"/>
                </a:lnTo>
                <a:lnTo>
                  <a:pt x="1596" y="1791"/>
                </a:lnTo>
                <a:lnTo>
                  <a:pt x="1600" y="1796"/>
                </a:lnTo>
                <a:lnTo>
                  <a:pt x="1603" y="1796"/>
                </a:lnTo>
                <a:lnTo>
                  <a:pt x="1604" y="1797"/>
                </a:lnTo>
                <a:lnTo>
                  <a:pt x="1605" y="1798"/>
                </a:lnTo>
                <a:lnTo>
                  <a:pt x="1605" y="1799"/>
                </a:lnTo>
                <a:lnTo>
                  <a:pt x="1605" y="1800"/>
                </a:lnTo>
                <a:lnTo>
                  <a:pt x="1605" y="1800"/>
                </a:lnTo>
                <a:lnTo>
                  <a:pt x="1615" y="1805"/>
                </a:lnTo>
                <a:lnTo>
                  <a:pt x="1627" y="1807"/>
                </a:lnTo>
                <a:lnTo>
                  <a:pt x="1637" y="1809"/>
                </a:lnTo>
                <a:lnTo>
                  <a:pt x="1644" y="1809"/>
                </a:lnTo>
                <a:lnTo>
                  <a:pt x="1644" y="1809"/>
                </a:lnTo>
                <a:lnTo>
                  <a:pt x="1645" y="1809"/>
                </a:lnTo>
                <a:lnTo>
                  <a:pt x="1649" y="1809"/>
                </a:lnTo>
                <a:lnTo>
                  <a:pt x="1777" y="1809"/>
                </a:lnTo>
                <a:lnTo>
                  <a:pt x="1803" y="1796"/>
                </a:lnTo>
                <a:lnTo>
                  <a:pt x="1803" y="1791"/>
                </a:lnTo>
                <a:lnTo>
                  <a:pt x="1803" y="1791"/>
                </a:lnTo>
                <a:lnTo>
                  <a:pt x="1803" y="1791"/>
                </a:lnTo>
                <a:lnTo>
                  <a:pt x="1803" y="1791"/>
                </a:lnTo>
                <a:lnTo>
                  <a:pt x="1804" y="1790"/>
                </a:lnTo>
                <a:lnTo>
                  <a:pt x="1806" y="1789"/>
                </a:lnTo>
                <a:lnTo>
                  <a:pt x="1808" y="1787"/>
                </a:lnTo>
                <a:lnTo>
                  <a:pt x="1812" y="1778"/>
                </a:lnTo>
                <a:lnTo>
                  <a:pt x="1812" y="1747"/>
                </a:lnTo>
                <a:lnTo>
                  <a:pt x="1812" y="1747"/>
                </a:lnTo>
                <a:lnTo>
                  <a:pt x="1812" y="1745"/>
                </a:lnTo>
                <a:lnTo>
                  <a:pt x="1812" y="1741"/>
                </a:lnTo>
                <a:lnTo>
                  <a:pt x="1812" y="1731"/>
                </a:lnTo>
                <a:lnTo>
                  <a:pt x="1812" y="1716"/>
                </a:lnTo>
                <a:lnTo>
                  <a:pt x="1812" y="1714"/>
                </a:lnTo>
                <a:lnTo>
                  <a:pt x="1811" y="1712"/>
                </a:lnTo>
                <a:lnTo>
                  <a:pt x="1810" y="1711"/>
                </a:lnTo>
                <a:lnTo>
                  <a:pt x="1809" y="1710"/>
                </a:lnTo>
                <a:lnTo>
                  <a:pt x="1808" y="1709"/>
                </a:lnTo>
                <a:lnTo>
                  <a:pt x="1808" y="1707"/>
                </a:lnTo>
                <a:lnTo>
                  <a:pt x="1800" y="1699"/>
                </a:lnTo>
                <a:lnTo>
                  <a:pt x="1790" y="1692"/>
                </a:lnTo>
                <a:lnTo>
                  <a:pt x="1777" y="1688"/>
                </a:lnTo>
                <a:lnTo>
                  <a:pt x="1762" y="1686"/>
                </a:lnTo>
                <a:lnTo>
                  <a:pt x="1747" y="1685"/>
                </a:lnTo>
                <a:lnTo>
                  <a:pt x="1731" y="1685"/>
                </a:lnTo>
                <a:lnTo>
                  <a:pt x="1718" y="1685"/>
                </a:lnTo>
                <a:lnTo>
                  <a:pt x="1706" y="1685"/>
                </a:lnTo>
                <a:lnTo>
                  <a:pt x="1697" y="1685"/>
                </a:lnTo>
                <a:lnTo>
                  <a:pt x="1685" y="1684"/>
                </a:lnTo>
                <a:lnTo>
                  <a:pt x="1673" y="1684"/>
                </a:lnTo>
                <a:close/>
                <a:moveTo>
                  <a:pt x="1988" y="1684"/>
                </a:moveTo>
                <a:lnTo>
                  <a:pt x="1974" y="1684"/>
                </a:lnTo>
                <a:lnTo>
                  <a:pt x="1960" y="1685"/>
                </a:lnTo>
                <a:lnTo>
                  <a:pt x="1947" y="1687"/>
                </a:lnTo>
                <a:lnTo>
                  <a:pt x="1934" y="1690"/>
                </a:lnTo>
                <a:lnTo>
                  <a:pt x="1924" y="1696"/>
                </a:lnTo>
                <a:lnTo>
                  <a:pt x="1917" y="1702"/>
                </a:lnTo>
                <a:lnTo>
                  <a:pt x="1913" y="1711"/>
                </a:lnTo>
                <a:lnTo>
                  <a:pt x="1913" y="1716"/>
                </a:lnTo>
                <a:lnTo>
                  <a:pt x="1917" y="1743"/>
                </a:lnTo>
                <a:lnTo>
                  <a:pt x="1918" y="1769"/>
                </a:lnTo>
                <a:lnTo>
                  <a:pt x="1918" y="1778"/>
                </a:lnTo>
                <a:lnTo>
                  <a:pt x="1920" y="1778"/>
                </a:lnTo>
                <a:lnTo>
                  <a:pt x="1922" y="1779"/>
                </a:lnTo>
                <a:lnTo>
                  <a:pt x="1923" y="1780"/>
                </a:lnTo>
                <a:lnTo>
                  <a:pt x="1924" y="1782"/>
                </a:lnTo>
                <a:lnTo>
                  <a:pt x="1925" y="1784"/>
                </a:lnTo>
                <a:lnTo>
                  <a:pt x="1927" y="1787"/>
                </a:lnTo>
                <a:lnTo>
                  <a:pt x="1928" y="1789"/>
                </a:lnTo>
                <a:lnTo>
                  <a:pt x="1929" y="1791"/>
                </a:lnTo>
                <a:lnTo>
                  <a:pt x="1932" y="1794"/>
                </a:lnTo>
                <a:lnTo>
                  <a:pt x="1934" y="1796"/>
                </a:lnTo>
                <a:lnTo>
                  <a:pt x="1937" y="1798"/>
                </a:lnTo>
                <a:lnTo>
                  <a:pt x="1940" y="1800"/>
                </a:lnTo>
                <a:lnTo>
                  <a:pt x="1945" y="1800"/>
                </a:lnTo>
                <a:lnTo>
                  <a:pt x="1945" y="1800"/>
                </a:lnTo>
                <a:lnTo>
                  <a:pt x="1945" y="1801"/>
                </a:lnTo>
                <a:lnTo>
                  <a:pt x="1945" y="1802"/>
                </a:lnTo>
                <a:lnTo>
                  <a:pt x="1946" y="1803"/>
                </a:lnTo>
                <a:lnTo>
                  <a:pt x="1947" y="1804"/>
                </a:lnTo>
                <a:lnTo>
                  <a:pt x="1949" y="1804"/>
                </a:lnTo>
                <a:lnTo>
                  <a:pt x="1957" y="1804"/>
                </a:lnTo>
                <a:lnTo>
                  <a:pt x="1957" y="1809"/>
                </a:lnTo>
                <a:lnTo>
                  <a:pt x="2104" y="1809"/>
                </a:lnTo>
                <a:lnTo>
                  <a:pt x="2105" y="1809"/>
                </a:lnTo>
                <a:lnTo>
                  <a:pt x="2107" y="1807"/>
                </a:lnTo>
                <a:lnTo>
                  <a:pt x="2107" y="1806"/>
                </a:lnTo>
                <a:lnTo>
                  <a:pt x="2108" y="1805"/>
                </a:lnTo>
                <a:lnTo>
                  <a:pt x="2108" y="1804"/>
                </a:lnTo>
                <a:lnTo>
                  <a:pt x="2108" y="1804"/>
                </a:lnTo>
                <a:lnTo>
                  <a:pt x="2116" y="1804"/>
                </a:lnTo>
                <a:lnTo>
                  <a:pt x="2116" y="1804"/>
                </a:lnTo>
                <a:lnTo>
                  <a:pt x="2116" y="1804"/>
                </a:lnTo>
                <a:lnTo>
                  <a:pt x="2117" y="1804"/>
                </a:lnTo>
                <a:lnTo>
                  <a:pt x="2117" y="1803"/>
                </a:lnTo>
                <a:lnTo>
                  <a:pt x="2119" y="1802"/>
                </a:lnTo>
                <a:lnTo>
                  <a:pt x="2120" y="1800"/>
                </a:lnTo>
                <a:lnTo>
                  <a:pt x="2126" y="1800"/>
                </a:lnTo>
                <a:lnTo>
                  <a:pt x="2127" y="1798"/>
                </a:lnTo>
                <a:lnTo>
                  <a:pt x="2129" y="1797"/>
                </a:lnTo>
                <a:lnTo>
                  <a:pt x="2129" y="1796"/>
                </a:lnTo>
                <a:lnTo>
                  <a:pt x="2130" y="1796"/>
                </a:lnTo>
                <a:lnTo>
                  <a:pt x="2130" y="1796"/>
                </a:lnTo>
                <a:lnTo>
                  <a:pt x="2130" y="1796"/>
                </a:lnTo>
                <a:lnTo>
                  <a:pt x="2132" y="1794"/>
                </a:lnTo>
                <a:lnTo>
                  <a:pt x="2133" y="1793"/>
                </a:lnTo>
                <a:lnTo>
                  <a:pt x="2134" y="1791"/>
                </a:lnTo>
                <a:lnTo>
                  <a:pt x="2134" y="1790"/>
                </a:lnTo>
                <a:lnTo>
                  <a:pt x="2134" y="1789"/>
                </a:lnTo>
                <a:lnTo>
                  <a:pt x="2134" y="1787"/>
                </a:lnTo>
                <a:lnTo>
                  <a:pt x="2137" y="1783"/>
                </a:lnTo>
                <a:lnTo>
                  <a:pt x="2138" y="1780"/>
                </a:lnTo>
                <a:lnTo>
                  <a:pt x="2138" y="1777"/>
                </a:lnTo>
                <a:lnTo>
                  <a:pt x="2138" y="1774"/>
                </a:lnTo>
                <a:lnTo>
                  <a:pt x="2138" y="1773"/>
                </a:lnTo>
                <a:lnTo>
                  <a:pt x="2138" y="1772"/>
                </a:lnTo>
                <a:lnTo>
                  <a:pt x="2137" y="1768"/>
                </a:lnTo>
                <a:lnTo>
                  <a:pt x="2136" y="1760"/>
                </a:lnTo>
                <a:lnTo>
                  <a:pt x="2134" y="1747"/>
                </a:lnTo>
                <a:lnTo>
                  <a:pt x="2132" y="1738"/>
                </a:lnTo>
                <a:lnTo>
                  <a:pt x="2130" y="1732"/>
                </a:lnTo>
                <a:lnTo>
                  <a:pt x="2128" y="1727"/>
                </a:lnTo>
                <a:lnTo>
                  <a:pt x="2126" y="1721"/>
                </a:lnTo>
                <a:lnTo>
                  <a:pt x="2126" y="1716"/>
                </a:lnTo>
                <a:lnTo>
                  <a:pt x="2125" y="1714"/>
                </a:lnTo>
                <a:lnTo>
                  <a:pt x="2125" y="1712"/>
                </a:lnTo>
                <a:lnTo>
                  <a:pt x="2124" y="1711"/>
                </a:lnTo>
                <a:lnTo>
                  <a:pt x="2122" y="1710"/>
                </a:lnTo>
                <a:lnTo>
                  <a:pt x="2121" y="1709"/>
                </a:lnTo>
                <a:lnTo>
                  <a:pt x="2120" y="1707"/>
                </a:lnTo>
                <a:lnTo>
                  <a:pt x="2111" y="1698"/>
                </a:lnTo>
                <a:lnTo>
                  <a:pt x="2098" y="1691"/>
                </a:lnTo>
                <a:lnTo>
                  <a:pt x="2083" y="1687"/>
                </a:lnTo>
                <a:lnTo>
                  <a:pt x="2067" y="1685"/>
                </a:lnTo>
                <a:lnTo>
                  <a:pt x="2050" y="1685"/>
                </a:lnTo>
                <a:lnTo>
                  <a:pt x="2034" y="1685"/>
                </a:lnTo>
                <a:lnTo>
                  <a:pt x="2019" y="1685"/>
                </a:lnTo>
                <a:lnTo>
                  <a:pt x="2012" y="1685"/>
                </a:lnTo>
                <a:lnTo>
                  <a:pt x="2000" y="1684"/>
                </a:lnTo>
                <a:lnTo>
                  <a:pt x="1988" y="1684"/>
                </a:lnTo>
                <a:close/>
                <a:moveTo>
                  <a:pt x="2253" y="1539"/>
                </a:moveTo>
                <a:lnTo>
                  <a:pt x="2245" y="1540"/>
                </a:lnTo>
                <a:lnTo>
                  <a:pt x="2235" y="1540"/>
                </a:lnTo>
                <a:lnTo>
                  <a:pt x="2225" y="1542"/>
                </a:lnTo>
                <a:lnTo>
                  <a:pt x="2215" y="1544"/>
                </a:lnTo>
                <a:lnTo>
                  <a:pt x="2206" y="1549"/>
                </a:lnTo>
                <a:lnTo>
                  <a:pt x="2200" y="1556"/>
                </a:lnTo>
                <a:lnTo>
                  <a:pt x="2200" y="1562"/>
                </a:lnTo>
                <a:lnTo>
                  <a:pt x="2201" y="1569"/>
                </a:lnTo>
                <a:lnTo>
                  <a:pt x="2203" y="1574"/>
                </a:lnTo>
                <a:lnTo>
                  <a:pt x="2205" y="1578"/>
                </a:lnTo>
                <a:lnTo>
                  <a:pt x="2210" y="1592"/>
                </a:lnTo>
                <a:lnTo>
                  <a:pt x="2213" y="1606"/>
                </a:lnTo>
                <a:lnTo>
                  <a:pt x="2213" y="1606"/>
                </a:lnTo>
                <a:lnTo>
                  <a:pt x="2213" y="1606"/>
                </a:lnTo>
                <a:lnTo>
                  <a:pt x="2213" y="1607"/>
                </a:lnTo>
                <a:lnTo>
                  <a:pt x="2215" y="1607"/>
                </a:lnTo>
                <a:lnTo>
                  <a:pt x="2215" y="1609"/>
                </a:lnTo>
                <a:lnTo>
                  <a:pt x="2217" y="1611"/>
                </a:lnTo>
                <a:lnTo>
                  <a:pt x="2218" y="1614"/>
                </a:lnTo>
                <a:lnTo>
                  <a:pt x="2218" y="1615"/>
                </a:lnTo>
                <a:lnTo>
                  <a:pt x="2219" y="1616"/>
                </a:lnTo>
                <a:lnTo>
                  <a:pt x="2221" y="1617"/>
                </a:lnTo>
                <a:lnTo>
                  <a:pt x="2223" y="1619"/>
                </a:lnTo>
                <a:lnTo>
                  <a:pt x="2224" y="1621"/>
                </a:lnTo>
                <a:lnTo>
                  <a:pt x="2227" y="1623"/>
                </a:lnTo>
                <a:lnTo>
                  <a:pt x="2227" y="1624"/>
                </a:lnTo>
                <a:lnTo>
                  <a:pt x="2228" y="1626"/>
                </a:lnTo>
                <a:lnTo>
                  <a:pt x="2230" y="1628"/>
                </a:lnTo>
                <a:lnTo>
                  <a:pt x="2232" y="1628"/>
                </a:lnTo>
                <a:lnTo>
                  <a:pt x="2235" y="1629"/>
                </a:lnTo>
                <a:lnTo>
                  <a:pt x="2238" y="1631"/>
                </a:lnTo>
                <a:lnTo>
                  <a:pt x="2240" y="1632"/>
                </a:lnTo>
                <a:lnTo>
                  <a:pt x="2259" y="1638"/>
                </a:lnTo>
                <a:lnTo>
                  <a:pt x="2279" y="1641"/>
                </a:lnTo>
                <a:lnTo>
                  <a:pt x="2385" y="1641"/>
                </a:lnTo>
                <a:lnTo>
                  <a:pt x="2386" y="1639"/>
                </a:lnTo>
                <a:lnTo>
                  <a:pt x="2386" y="1638"/>
                </a:lnTo>
                <a:lnTo>
                  <a:pt x="2387" y="1637"/>
                </a:lnTo>
                <a:lnTo>
                  <a:pt x="2388" y="1637"/>
                </a:lnTo>
                <a:lnTo>
                  <a:pt x="2389" y="1636"/>
                </a:lnTo>
                <a:lnTo>
                  <a:pt x="2390" y="1636"/>
                </a:lnTo>
                <a:lnTo>
                  <a:pt x="2394" y="1636"/>
                </a:lnTo>
                <a:lnTo>
                  <a:pt x="2401" y="1633"/>
                </a:lnTo>
                <a:lnTo>
                  <a:pt x="2406" y="1630"/>
                </a:lnTo>
                <a:lnTo>
                  <a:pt x="2410" y="1624"/>
                </a:lnTo>
                <a:lnTo>
                  <a:pt x="2412" y="1619"/>
                </a:lnTo>
                <a:lnTo>
                  <a:pt x="2412" y="1614"/>
                </a:lnTo>
                <a:lnTo>
                  <a:pt x="2409" y="1607"/>
                </a:lnTo>
                <a:lnTo>
                  <a:pt x="2403" y="1596"/>
                </a:lnTo>
                <a:lnTo>
                  <a:pt x="2399" y="1587"/>
                </a:lnTo>
                <a:lnTo>
                  <a:pt x="2393" y="1575"/>
                </a:lnTo>
                <a:lnTo>
                  <a:pt x="2385" y="1566"/>
                </a:lnTo>
                <a:lnTo>
                  <a:pt x="2385" y="1563"/>
                </a:lnTo>
                <a:lnTo>
                  <a:pt x="2383" y="1560"/>
                </a:lnTo>
                <a:lnTo>
                  <a:pt x="2380" y="1557"/>
                </a:lnTo>
                <a:lnTo>
                  <a:pt x="2377" y="1556"/>
                </a:lnTo>
                <a:lnTo>
                  <a:pt x="2377" y="1552"/>
                </a:lnTo>
                <a:lnTo>
                  <a:pt x="2372" y="1552"/>
                </a:lnTo>
                <a:lnTo>
                  <a:pt x="2372" y="1548"/>
                </a:lnTo>
                <a:lnTo>
                  <a:pt x="2363" y="1548"/>
                </a:lnTo>
                <a:lnTo>
                  <a:pt x="2363" y="1548"/>
                </a:lnTo>
                <a:lnTo>
                  <a:pt x="2362" y="1547"/>
                </a:lnTo>
                <a:lnTo>
                  <a:pt x="2361" y="1546"/>
                </a:lnTo>
                <a:lnTo>
                  <a:pt x="2359" y="1545"/>
                </a:lnTo>
                <a:lnTo>
                  <a:pt x="2357" y="1544"/>
                </a:lnTo>
                <a:lnTo>
                  <a:pt x="2355" y="1544"/>
                </a:lnTo>
                <a:lnTo>
                  <a:pt x="2345" y="1544"/>
                </a:lnTo>
                <a:lnTo>
                  <a:pt x="2340" y="1541"/>
                </a:lnTo>
                <a:lnTo>
                  <a:pt x="2334" y="1540"/>
                </a:lnTo>
                <a:lnTo>
                  <a:pt x="2329" y="1539"/>
                </a:lnTo>
                <a:lnTo>
                  <a:pt x="2253" y="1539"/>
                </a:lnTo>
                <a:close/>
                <a:moveTo>
                  <a:pt x="2522" y="1539"/>
                </a:moveTo>
                <a:lnTo>
                  <a:pt x="2518" y="1539"/>
                </a:lnTo>
                <a:lnTo>
                  <a:pt x="2514" y="1539"/>
                </a:lnTo>
                <a:lnTo>
                  <a:pt x="2507" y="1540"/>
                </a:lnTo>
                <a:lnTo>
                  <a:pt x="2501" y="1541"/>
                </a:lnTo>
                <a:lnTo>
                  <a:pt x="2496" y="1544"/>
                </a:lnTo>
                <a:lnTo>
                  <a:pt x="2492" y="1544"/>
                </a:lnTo>
                <a:lnTo>
                  <a:pt x="2486" y="1546"/>
                </a:lnTo>
                <a:lnTo>
                  <a:pt x="2481" y="1549"/>
                </a:lnTo>
                <a:lnTo>
                  <a:pt x="2479" y="1553"/>
                </a:lnTo>
                <a:lnTo>
                  <a:pt x="2479" y="1558"/>
                </a:lnTo>
                <a:lnTo>
                  <a:pt x="2482" y="1566"/>
                </a:lnTo>
                <a:lnTo>
                  <a:pt x="2492" y="1586"/>
                </a:lnTo>
                <a:lnTo>
                  <a:pt x="2504" y="1606"/>
                </a:lnTo>
                <a:lnTo>
                  <a:pt x="2504" y="1606"/>
                </a:lnTo>
                <a:lnTo>
                  <a:pt x="2504" y="1606"/>
                </a:lnTo>
                <a:lnTo>
                  <a:pt x="2504" y="1607"/>
                </a:lnTo>
                <a:lnTo>
                  <a:pt x="2505" y="1607"/>
                </a:lnTo>
                <a:lnTo>
                  <a:pt x="2506" y="1609"/>
                </a:lnTo>
                <a:lnTo>
                  <a:pt x="2507" y="1611"/>
                </a:lnTo>
                <a:lnTo>
                  <a:pt x="2508" y="1614"/>
                </a:lnTo>
                <a:lnTo>
                  <a:pt x="2509" y="1615"/>
                </a:lnTo>
                <a:lnTo>
                  <a:pt x="2511" y="1616"/>
                </a:lnTo>
                <a:lnTo>
                  <a:pt x="2512" y="1617"/>
                </a:lnTo>
                <a:lnTo>
                  <a:pt x="2514" y="1619"/>
                </a:lnTo>
                <a:lnTo>
                  <a:pt x="2516" y="1621"/>
                </a:lnTo>
                <a:lnTo>
                  <a:pt x="2518" y="1623"/>
                </a:lnTo>
                <a:lnTo>
                  <a:pt x="2521" y="1624"/>
                </a:lnTo>
                <a:lnTo>
                  <a:pt x="2524" y="1625"/>
                </a:lnTo>
                <a:lnTo>
                  <a:pt x="2527" y="1629"/>
                </a:lnTo>
                <a:lnTo>
                  <a:pt x="2530" y="1632"/>
                </a:lnTo>
                <a:lnTo>
                  <a:pt x="2544" y="1636"/>
                </a:lnTo>
                <a:lnTo>
                  <a:pt x="2559" y="1639"/>
                </a:lnTo>
                <a:lnTo>
                  <a:pt x="2575" y="1641"/>
                </a:lnTo>
                <a:lnTo>
                  <a:pt x="2645" y="1641"/>
                </a:lnTo>
                <a:lnTo>
                  <a:pt x="2659" y="1641"/>
                </a:lnTo>
                <a:lnTo>
                  <a:pt x="2671" y="1640"/>
                </a:lnTo>
                <a:lnTo>
                  <a:pt x="2681" y="1637"/>
                </a:lnTo>
                <a:lnTo>
                  <a:pt x="2689" y="1632"/>
                </a:lnTo>
                <a:lnTo>
                  <a:pt x="2699" y="1632"/>
                </a:lnTo>
                <a:lnTo>
                  <a:pt x="2701" y="1629"/>
                </a:lnTo>
                <a:lnTo>
                  <a:pt x="2702" y="1625"/>
                </a:lnTo>
                <a:lnTo>
                  <a:pt x="2703" y="1624"/>
                </a:lnTo>
                <a:lnTo>
                  <a:pt x="2703" y="1623"/>
                </a:lnTo>
                <a:lnTo>
                  <a:pt x="2703" y="1620"/>
                </a:lnTo>
                <a:lnTo>
                  <a:pt x="2702" y="1616"/>
                </a:lnTo>
                <a:lnTo>
                  <a:pt x="2701" y="1613"/>
                </a:lnTo>
                <a:lnTo>
                  <a:pt x="2699" y="1610"/>
                </a:lnTo>
                <a:lnTo>
                  <a:pt x="2693" y="1601"/>
                </a:lnTo>
                <a:lnTo>
                  <a:pt x="2686" y="1593"/>
                </a:lnTo>
                <a:lnTo>
                  <a:pt x="2681" y="1588"/>
                </a:lnTo>
                <a:lnTo>
                  <a:pt x="2681" y="1588"/>
                </a:lnTo>
                <a:lnTo>
                  <a:pt x="2680" y="1587"/>
                </a:lnTo>
                <a:lnTo>
                  <a:pt x="2679" y="1585"/>
                </a:lnTo>
                <a:lnTo>
                  <a:pt x="2677" y="1581"/>
                </a:lnTo>
                <a:lnTo>
                  <a:pt x="2673" y="1575"/>
                </a:lnTo>
                <a:lnTo>
                  <a:pt x="2667" y="1566"/>
                </a:lnTo>
                <a:lnTo>
                  <a:pt x="2665" y="1563"/>
                </a:lnTo>
                <a:lnTo>
                  <a:pt x="2663" y="1558"/>
                </a:lnTo>
                <a:lnTo>
                  <a:pt x="2661" y="1555"/>
                </a:lnTo>
                <a:lnTo>
                  <a:pt x="2659" y="1552"/>
                </a:lnTo>
                <a:lnTo>
                  <a:pt x="2653" y="1551"/>
                </a:lnTo>
                <a:lnTo>
                  <a:pt x="2647" y="1549"/>
                </a:lnTo>
                <a:lnTo>
                  <a:pt x="2641" y="1548"/>
                </a:lnTo>
                <a:lnTo>
                  <a:pt x="2638" y="1548"/>
                </a:lnTo>
                <a:lnTo>
                  <a:pt x="2637" y="1547"/>
                </a:lnTo>
                <a:lnTo>
                  <a:pt x="2637" y="1546"/>
                </a:lnTo>
                <a:lnTo>
                  <a:pt x="2637" y="1544"/>
                </a:lnTo>
                <a:lnTo>
                  <a:pt x="2633" y="1544"/>
                </a:lnTo>
                <a:lnTo>
                  <a:pt x="2630" y="1543"/>
                </a:lnTo>
                <a:lnTo>
                  <a:pt x="2627" y="1542"/>
                </a:lnTo>
                <a:lnTo>
                  <a:pt x="2624" y="1539"/>
                </a:lnTo>
                <a:lnTo>
                  <a:pt x="2526" y="1539"/>
                </a:lnTo>
                <a:lnTo>
                  <a:pt x="2526" y="1539"/>
                </a:lnTo>
                <a:lnTo>
                  <a:pt x="2525" y="1539"/>
                </a:lnTo>
                <a:lnTo>
                  <a:pt x="2524" y="1539"/>
                </a:lnTo>
                <a:lnTo>
                  <a:pt x="2522" y="1539"/>
                </a:lnTo>
                <a:close/>
                <a:moveTo>
                  <a:pt x="1649" y="1534"/>
                </a:moveTo>
                <a:lnTo>
                  <a:pt x="1646" y="1534"/>
                </a:lnTo>
                <a:lnTo>
                  <a:pt x="1645" y="1535"/>
                </a:lnTo>
                <a:lnTo>
                  <a:pt x="1644" y="1537"/>
                </a:lnTo>
                <a:lnTo>
                  <a:pt x="1644" y="1539"/>
                </a:lnTo>
                <a:lnTo>
                  <a:pt x="1632" y="1539"/>
                </a:lnTo>
                <a:lnTo>
                  <a:pt x="1632" y="1544"/>
                </a:lnTo>
                <a:lnTo>
                  <a:pt x="1630" y="1544"/>
                </a:lnTo>
                <a:lnTo>
                  <a:pt x="1628" y="1545"/>
                </a:lnTo>
                <a:lnTo>
                  <a:pt x="1627" y="1546"/>
                </a:lnTo>
                <a:lnTo>
                  <a:pt x="1626" y="1547"/>
                </a:lnTo>
                <a:lnTo>
                  <a:pt x="1625" y="1548"/>
                </a:lnTo>
                <a:lnTo>
                  <a:pt x="1622" y="1548"/>
                </a:lnTo>
                <a:lnTo>
                  <a:pt x="1620" y="1551"/>
                </a:lnTo>
                <a:lnTo>
                  <a:pt x="1618" y="1554"/>
                </a:lnTo>
                <a:lnTo>
                  <a:pt x="1618" y="1556"/>
                </a:lnTo>
                <a:lnTo>
                  <a:pt x="1618" y="1556"/>
                </a:lnTo>
                <a:lnTo>
                  <a:pt x="1618" y="1562"/>
                </a:lnTo>
                <a:lnTo>
                  <a:pt x="1615" y="1571"/>
                </a:lnTo>
                <a:lnTo>
                  <a:pt x="1614" y="1583"/>
                </a:lnTo>
                <a:lnTo>
                  <a:pt x="1614" y="1592"/>
                </a:lnTo>
                <a:lnTo>
                  <a:pt x="1614" y="1619"/>
                </a:lnTo>
                <a:lnTo>
                  <a:pt x="1618" y="1619"/>
                </a:lnTo>
                <a:lnTo>
                  <a:pt x="1618" y="1623"/>
                </a:lnTo>
                <a:lnTo>
                  <a:pt x="1629" y="1629"/>
                </a:lnTo>
                <a:lnTo>
                  <a:pt x="1640" y="1631"/>
                </a:lnTo>
                <a:lnTo>
                  <a:pt x="1652" y="1632"/>
                </a:lnTo>
                <a:lnTo>
                  <a:pt x="1662" y="1632"/>
                </a:lnTo>
                <a:lnTo>
                  <a:pt x="1702" y="1632"/>
                </a:lnTo>
                <a:lnTo>
                  <a:pt x="1713" y="1633"/>
                </a:lnTo>
                <a:lnTo>
                  <a:pt x="1727" y="1633"/>
                </a:lnTo>
                <a:lnTo>
                  <a:pt x="1743" y="1634"/>
                </a:lnTo>
                <a:lnTo>
                  <a:pt x="1758" y="1633"/>
                </a:lnTo>
                <a:lnTo>
                  <a:pt x="1773" y="1632"/>
                </a:lnTo>
                <a:lnTo>
                  <a:pt x="1788" y="1629"/>
                </a:lnTo>
                <a:lnTo>
                  <a:pt x="1799" y="1622"/>
                </a:lnTo>
                <a:lnTo>
                  <a:pt x="1808" y="1614"/>
                </a:lnTo>
                <a:lnTo>
                  <a:pt x="1808" y="1601"/>
                </a:lnTo>
                <a:lnTo>
                  <a:pt x="1809" y="1587"/>
                </a:lnTo>
                <a:lnTo>
                  <a:pt x="1810" y="1570"/>
                </a:lnTo>
                <a:lnTo>
                  <a:pt x="1808" y="1552"/>
                </a:lnTo>
                <a:lnTo>
                  <a:pt x="1803" y="1552"/>
                </a:lnTo>
                <a:lnTo>
                  <a:pt x="1798" y="1544"/>
                </a:lnTo>
                <a:lnTo>
                  <a:pt x="1791" y="1539"/>
                </a:lnTo>
                <a:lnTo>
                  <a:pt x="1782" y="1535"/>
                </a:lnTo>
                <a:lnTo>
                  <a:pt x="1772" y="1534"/>
                </a:lnTo>
                <a:lnTo>
                  <a:pt x="1649" y="1534"/>
                </a:lnTo>
                <a:close/>
                <a:moveTo>
                  <a:pt x="1367" y="1534"/>
                </a:moveTo>
                <a:lnTo>
                  <a:pt x="1358" y="1538"/>
                </a:lnTo>
                <a:lnTo>
                  <a:pt x="1350" y="1541"/>
                </a:lnTo>
                <a:lnTo>
                  <a:pt x="1345" y="1544"/>
                </a:lnTo>
                <a:lnTo>
                  <a:pt x="1343" y="1545"/>
                </a:lnTo>
                <a:lnTo>
                  <a:pt x="1341" y="1547"/>
                </a:lnTo>
                <a:lnTo>
                  <a:pt x="1340" y="1547"/>
                </a:lnTo>
                <a:lnTo>
                  <a:pt x="1339" y="1548"/>
                </a:lnTo>
                <a:lnTo>
                  <a:pt x="1338" y="1548"/>
                </a:lnTo>
                <a:lnTo>
                  <a:pt x="1336" y="1548"/>
                </a:lnTo>
                <a:lnTo>
                  <a:pt x="1336" y="1551"/>
                </a:lnTo>
                <a:lnTo>
                  <a:pt x="1334" y="1554"/>
                </a:lnTo>
                <a:lnTo>
                  <a:pt x="1333" y="1557"/>
                </a:lnTo>
                <a:lnTo>
                  <a:pt x="1332" y="1562"/>
                </a:lnTo>
                <a:lnTo>
                  <a:pt x="1325" y="1577"/>
                </a:lnTo>
                <a:lnTo>
                  <a:pt x="1323" y="1596"/>
                </a:lnTo>
                <a:lnTo>
                  <a:pt x="1321" y="1597"/>
                </a:lnTo>
                <a:lnTo>
                  <a:pt x="1320" y="1598"/>
                </a:lnTo>
                <a:lnTo>
                  <a:pt x="1319" y="1599"/>
                </a:lnTo>
                <a:lnTo>
                  <a:pt x="1318" y="1601"/>
                </a:lnTo>
                <a:lnTo>
                  <a:pt x="1318" y="1603"/>
                </a:lnTo>
                <a:lnTo>
                  <a:pt x="1318" y="1606"/>
                </a:lnTo>
                <a:lnTo>
                  <a:pt x="1318" y="1619"/>
                </a:lnTo>
                <a:lnTo>
                  <a:pt x="1325" y="1625"/>
                </a:lnTo>
                <a:lnTo>
                  <a:pt x="1334" y="1629"/>
                </a:lnTo>
                <a:lnTo>
                  <a:pt x="1344" y="1631"/>
                </a:lnTo>
                <a:lnTo>
                  <a:pt x="1354" y="1632"/>
                </a:lnTo>
                <a:lnTo>
                  <a:pt x="1362" y="1632"/>
                </a:lnTo>
                <a:lnTo>
                  <a:pt x="1411" y="1632"/>
                </a:lnTo>
                <a:lnTo>
                  <a:pt x="1422" y="1633"/>
                </a:lnTo>
                <a:lnTo>
                  <a:pt x="1436" y="1633"/>
                </a:lnTo>
                <a:lnTo>
                  <a:pt x="1452" y="1634"/>
                </a:lnTo>
                <a:lnTo>
                  <a:pt x="1468" y="1633"/>
                </a:lnTo>
                <a:lnTo>
                  <a:pt x="1483" y="1631"/>
                </a:lnTo>
                <a:lnTo>
                  <a:pt x="1497" y="1626"/>
                </a:lnTo>
                <a:lnTo>
                  <a:pt x="1508" y="1619"/>
                </a:lnTo>
                <a:lnTo>
                  <a:pt x="1508" y="1614"/>
                </a:lnTo>
                <a:lnTo>
                  <a:pt x="1509" y="1613"/>
                </a:lnTo>
                <a:lnTo>
                  <a:pt x="1512" y="1611"/>
                </a:lnTo>
                <a:lnTo>
                  <a:pt x="1512" y="1610"/>
                </a:lnTo>
                <a:lnTo>
                  <a:pt x="1513" y="1609"/>
                </a:lnTo>
                <a:lnTo>
                  <a:pt x="1513" y="1608"/>
                </a:lnTo>
                <a:lnTo>
                  <a:pt x="1513" y="1606"/>
                </a:lnTo>
                <a:lnTo>
                  <a:pt x="1513" y="1601"/>
                </a:lnTo>
                <a:lnTo>
                  <a:pt x="1517" y="1587"/>
                </a:lnTo>
                <a:lnTo>
                  <a:pt x="1520" y="1571"/>
                </a:lnTo>
                <a:lnTo>
                  <a:pt x="1521" y="1556"/>
                </a:lnTo>
                <a:lnTo>
                  <a:pt x="1521" y="1552"/>
                </a:lnTo>
                <a:lnTo>
                  <a:pt x="1519" y="1545"/>
                </a:lnTo>
                <a:lnTo>
                  <a:pt x="1514" y="1541"/>
                </a:lnTo>
                <a:lnTo>
                  <a:pt x="1506" y="1537"/>
                </a:lnTo>
                <a:lnTo>
                  <a:pt x="1496" y="1535"/>
                </a:lnTo>
                <a:lnTo>
                  <a:pt x="1485" y="1534"/>
                </a:lnTo>
                <a:lnTo>
                  <a:pt x="1398" y="1534"/>
                </a:lnTo>
                <a:lnTo>
                  <a:pt x="1398" y="1534"/>
                </a:lnTo>
                <a:lnTo>
                  <a:pt x="1398" y="1534"/>
                </a:lnTo>
                <a:lnTo>
                  <a:pt x="1395" y="1534"/>
                </a:lnTo>
                <a:lnTo>
                  <a:pt x="1392" y="1534"/>
                </a:lnTo>
                <a:lnTo>
                  <a:pt x="1389" y="1534"/>
                </a:lnTo>
                <a:lnTo>
                  <a:pt x="1367" y="1534"/>
                </a:lnTo>
                <a:close/>
                <a:moveTo>
                  <a:pt x="1200" y="1534"/>
                </a:moveTo>
                <a:lnTo>
                  <a:pt x="1188" y="1534"/>
                </a:lnTo>
                <a:lnTo>
                  <a:pt x="1177" y="1534"/>
                </a:lnTo>
                <a:lnTo>
                  <a:pt x="1142" y="1534"/>
                </a:lnTo>
                <a:lnTo>
                  <a:pt x="1142" y="1534"/>
                </a:lnTo>
                <a:lnTo>
                  <a:pt x="1140" y="1534"/>
                </a:lnTo>
                <a:lnTo>
                  <a:pt x="1132" y="1534"/>
                </a:lnTo>
                <a:lnTo>
                  <a:pt x="1121" y="1534"/>
                </a:lnTo>
                <a:lnTo>
                  <a:pt x="1107" y="1534"/>
                </a:lnTo>
                <a:lnTo>
                  <a:pt x="1089" y="1534"/>
                </a:lnTo>
                <a:lnTo>
                  <a:pt x="1087" y="1535"/>
                </a:lnTo>
                <a:lnTo>
                  <a:pt x="1086" y="1535"/>
                </a:lnTo>
                <a:lnTo>
                  <a:pt x="1085" y="1537"/>
                </a:lnTo>
                <a:lnTo>
                  <a:pt x="1085" y="1538"/>
                </a:lnTo>
                <a:lnTo>
                  <a:pt x="1085" y="1539"/>
                </a:lnTo>
                <a:lnTo>
                  <a:pt x="1085" y="1539"/>
                </a:lnTo>
                <a:lnTo>
                  <a:pt x="1074" y="1541"/>
                </a:lnTo>
                <a:lnTo>
                  <a:pt x="1064" y="1544"/>
                </a:lnTo>
                <a:lnTo>
                  <a:pt x="1053" y="1548"/>
                </a:lnTo>
                <a:lnTo>
                  <a:pt x="1053" y="1552"/>
                </a:lnTo>
                <a:lnTo>
                  <a:pt x="1049" y="1552"/>
                </a:lnTo>
                <a:lnTo>
                  <a:pt x="1049" y="1556"/>
                </a:lnTo>
                <a:lnTo>
                  <a:pt x="1041" y="1565"/>
                </a:lnTo>
                <a:lnTo>
                  <a:pt x="1035" y="1575"/>
                </a:lnTo>
                <a:lnTo>
                  <a:pt x="1030" y="1586"/>
                </a:lnTo>
                <a:lnTo>
                  <a:pt x="1027" y="1596"/>
                </a:lnTo>
                <a:lnTo>
                  <a:pt x="1026" y="1600"/>
                </a:lnTo>
                <a:lnTo>
                  <a:pt x="1024" y="1603"/>
                </a:lnTo>
                <a:lnTo>
                  <a:pt x="1022" y="1607"/>
                </a:lnTo>
                <a:lnTo>
                  <a:pt x="1019" y="1610"/>
                </a:lnTo>
                <a:lnTo>
                  <a:pt x="1019" y="1619"/>
                </a:lnTo>
                <a:lnTo>
                  <a:pt x="1027" y="1628"/>
                </a:lnTo>
                <a:lnTo>
                  <a:pt x="1039" y="1633"/>
                </a:lnTo>
                <a:lnTo>
                  <a:pt x="1049" y="1636"/>
                </a:lnTo>
                <a:lnTo>
                  <a:pt x="1059" y="1636"/>
                </a:lnTo>
                <a:lnTo>
                  <a:pt x="1059" y="1636"/>
                </a:lnTo>
                <a:lnTo>
                  <a:pt x="1060" y="1636"/>
                </a:lnTo>
                <a:lnTo>
                  <a:pt x="1063" y="1636"/>
                </a:lnTo>
                <a:lnTo>
                  <a:pt x="1070" y="1636"/>
                </a:lnTo>
                <a:lnTo>
                  <a:pt x="1081" y="1636"/>
                </a:lnTo>
                <a:lnTo>
                  <a:pt x="1097" y="1636"/>
                </a:lnTo>
                <a:lnTo>
                  <a:pt x="1164" y="1636"/>
                </a:lnTo>
                <a:lnTo>
                  <a:pt x="1164" y="1632"/>
                </a:lnTo>
                <a:lnTo>
                  <a:pt x="1173" y="1632"/>
                </a:lnTo>
                <a:lnTo>
                  <a:pt x="1181" y="1632"/>
                </a:lnTo>
                <a:lnTo>
                  <a:pt x="1187" y="1631"/>
                </a:lnTo>
                <a:lnTo>
                  <a:pt x="1195" y="1628"/>
                </a:lnTo>
                <a:lnTo>
                  <a:pt x="1199" y="1628"/>
                </a:lnTo>
                <a:lnTo>
                  <a:pt x="1200" y="1625"/>
                </a:lnTo>
                <a:lnTo>
                  <a:pt x="1201" y="1624"/>
                </a:lnTo>
                <a:lnTo>
                  <a:pt x="1202" y="1623"/>
                </a:lnTo>
                <a:lnTo>
                  <a:pt x="1203" y="1623"/>
                </a:lnTo>
                <a:lnTo>
                  <a:pt x="1203" y="1623"/>
                </a:lnTo>
                <a:lnTo>
                  <a:pt x="1204" y="1623"/>
                </a:lnTo>
                <a:lnTo>
                  <a:pt x="1205" y="1622"/>
                </a:lnTo>
                <a:lnTo>
                  <a:pt x="1207" y="1622"/>
                </a:lnTo>
                <a:lnTo>
                  <a:pt x="1208" y="1621"/>
                </a:lnTo>
                <a:lnTo>
                  <a:pt x="1209" y="1620"/>
                </a:lnTo>
                <a:lnTo>
                  <a:pt x="1210" y="1619"/>
                </a:lnTo>
                <a:lnTo>
                  <a:pt x="1212" y="1619"/>
                </a:lnTo>
                <a:lnTo>
                  <a:pt x="1212" y="1614"/>
                </a:lnTo>
                <a:lnTo>
                  <a:pt x="1217" y="1610"/>
                </a:lnTo>
                <a:lnTo>
                  <a:pt x="1217" y="1606"/>
                </a:lnTo>
                <a:lnTo>
                  <a:pt x="1219" y="1603"/>
                </a:lnTo>
                <a:lnTo>
                  <a:pt x="1220" y="1602"/>
                </a:lnTo>
                <a:lnTo>
                  <a:pt x="1221" y="1601"/>
                </a:lnTo>
                <a:lnTo>
                  <a:pt x="1221" y="1600"/>
                </a:lnTo>
                <a:lnTo>
                  <a:pt x="1222" y="1598"/>
                </a:lnTo>
                <a:lnTo>
                  <a:pt x="1222" y="1596"/>
                </a:lnTo>
                <a:lnTo>
                  <a:pt x="1225" y="1589"/>
                </a:lnTo>
                <a:lnTo>
                  <a:pt x="1229" y="1578"/>
                </a:lnTo>
                <a:lnTo>
                  <a:pt x="1233" y="1567"/>
                </a:lnTo>
                <a:lnTo>
                  <a:pt x="1234" y="1556"/>
                </a:lnTo>
                <a:lnTo>
                  <a:pt x="1234" y="1548"/>
                </a:lnTo>
                <a:lnTo>
                  <a:pt x="1234" y="1546"/>
                </a:lnTo>
                <a:lnTo>
                  <a:pt x="1233" y="1545"/>
                </a:lnTo>
                <a:lnTo>
                  <a:pt x="1232" y="1544"/>
                </a:lnTo>
                <a:lnTo>
                  <a:pt x="1231" y="1544"/>
                </a:lnTo>
                <a:lnTo>
                  <a:pt x="1230" y="1544"/>
                </a:lnTo>
                <a:lnTo>
                  <a:pt x="1230" y="1544"/>
                </a:lnTo>
                <a:lnTo>
                  <a:pt x="1221" y="1538"/>
                </a:lnTo>
                <a:lnTo>
                  <a:pt x="1211" y="1534"/>
                </a:lnTo>
                <a:lnTo>
                  <a:pt x="1200" y="1534"/>
                </a:lnTo>
                <a:close/>
                <a:moveTo>
                  <a:pt x="914" y="1533"/>
                </a:moveTo>
                <a:lnTo>
                  <a:pt x="900" y="1534"/>
                </a:lnTo>
                <a:lnTo>
                  <a:pt x="886" y="1534"/>
                </a:lnTo>
                <a:lnTo>
                  <a:pt x="870" y="1534"/>
                </a:lnTo>
                <a:lnTo>
                  <a:pt x="851" y="1533"/>
                </a:lnTo>
                <a:lnTo>
                  <a:pt x="833" y="1533"/>
                </a:lnTo>
                <a:lnTo>
                  <a:pt x="813" y="1535"/>
                </a:lnTo>
                <a:lnTo>
                  <a:pt x="795" y="1539"/>
                </a:lnTo>
                <a:lnTo>
                  <a:pt x="777" y="1546"/>
                </a:lnTo>
                <a:lnTo>
                  <a:pt x="763" y="1556"/>
                </a:lnTo>
                <a:lnTo>
                  <a:pt x="746" y="1577"/>
                </a:lnTo>
                <a:lnTo>
                  <a:pt x="732" y="1601"/>
                </a:lnTo>
                <a:lnTo>
                  <a:pt x="731" y="1601"/>
                </a:lnTo>
                <a:lnTo>
                  <a:pt x="731" y="1602"/>
                </a:lnTo>
                <a:lnTo>
                  <a:pt x="730" y="1605"/>
                </a:lnTo>
                <a:lnTo>
                  <a:pt x="728" y="1608"/>
                </a:lnTo>
                <a:lnTo>
                  <a:pt x="727" y="1610"/>
                </a:lnTo>
                <a:lnTo>
                  <a:pt x="725" y="1612"/>
                </a:lnTo>
                <a:lnTo>
                  <a:pt x="723" y="1614"/>
                </a:lnTo>
                <a:lnTo>
                  <a:pt x="723" y="1619"/>
                </a:lnTo>
                <a:lnTo>
                  <a:pt x="728" y="1625"/>
                </a:lnTo>
                <a:lnTo>
                  <a:pt x="735" y="1631"/>
                </a:lnTo>
                <a:lnTo>
                  <a:pt x="744" y="1634"/>
                </a:lnTo>
                <a:lnTo>
                  <a:pt x="752" y="1636"/>
                </a:lnTo>
                <a:lnTo>
                  <a:pt x="758" y="1636"/>
                </a:lnTo>
                <a:lnTo>
                  <a:pt x="856" y="1636"/>
                </a:lnTo>
                <a:lnTo>
                  <a:pt x="863" y="1636"/>
                </a:lnTo>
                <a:lnTo>
                  <a:pt x="869" y="1635"/>
                </a:lnTo>
                <a:lnTo>
                  <a:pt x="878" y="1632"/>
                </a:lnTo>
                <a:lnTo>
                  <a:pt x="890" y="1632"/>
                </a:lnTo>
                <a:lnTo>
                  <a:pt x="890" y="1628"/>
                </a:lnTo>
                <a:lnTo>
                  <a:pt x="895" y="1628"/>
                </a:lnTo>
                <a:lnTo>
                  <a:pt x="903" y="1624"/>
                </a:lnTo>
                <a:lnTo>
                  <a:pt x="908" y="1622"/>
                </a:lnTo>
                <a:lnTo>
                  <a:pt x="913" y="1619"/>
                </a:lnTo>
                <a:lnTo>
                  <a:pt x="915" y="1616"/>
                </a:lnTo>
                <a:lnTo>
                  <a:pt x="917" y="1614"/>
                </a:lnTo>
                <a:lnTo>
                  <a:pt x="918" y="1613"/>
                </a:lnTo>
                <a:lnTo>
                  <a:pt x="921" y="1611"/>
                </a:lnTo>
                <a:lnTo>
                  <a:pt x="922" y="1610"/>
                </a:lnTo>
                <a:lnTo>
                  <a:pt x="922" y="1610"/>
                </a:lnTo>
                <a:lnTo>
                  <a:pt x="922" y="1610"/>
                </a:lnTo>
                <a:lnTo>
                  <a:pt x="922" y="1609"/>
                </a:lnTo>
                <a:lnTo>
                  <a:pt x="924" y="1607"/>
                </a:lnTo>
                <a:lnTo>
                  <a:pt x="926" y="1603"/>
                </a:lnTo>
                <a:lnTo>
                  <a:pt x="929" y="1597"/>
                </a:lnTo>
                <a:lnTo>
                  <a:pt x="935" y="1588"/>
                </a:lnTo>
                <a:lnTo>
                  <a:pt x="948" y="1562"/>
                </a:lnTo>
                <a:lnTo>
                  <a:pt x="951" y="1557"/>
                </a:lnTo>
                <a:lnTo>
                  <a:pt x="952" y="1554"/>
                </a:lnTo>
                <a:lnTo>
                  <a:pt x="952" y="1551"/>
                </a:lnTo>
                <a:lnTo>
                  <a:pt x="952" y="1548"/>
                </a:lnTo>
                <a:lnTo>
                  <a:pt x="952" y="1548"/>
                </a:lnTo>
                <a:lnTo>
                  <a:pt x="951" y="1547"/>
                </a:lnTo>
                <a:lnTo>
                  <a:pt x="950" y="1546"/>
                </a:lnTo>
                <a:lnTo>
                  <a:pt x="948" y="1545"/>
                </a:lnTo>
                <a:lnTo>
                  <a:pt x="946" y="1544"/>
                </a:lnTo>
                <a:lnTo>
                  <a:pt x="944" y="1544"/>
                </a:lnTo>
                <a:lnTo>
                  <a:pt x="944" y="1539"/>
                </a:lnTo>
                <a:lnTo>
                  <a:pt x="939" y="1539"/>
                </a:lnTo>
                <a:lnTo>
                  <a:pt x="928" y="1534"/>
                </a:lnTo>
                <a:lnTo>
                  <a:pt x="914" y="1533"/>
                </a:lnTo>
                <a:close/>
                <a:moveTo>
                  <a:pt x="1971" y="1530"/>
                </a:moveTo>
                <a:lnTo>
                  <a:pt x="1957" y="1531"/>
                </a:lnTo>
                <a:lnTo>
                  <a:pt x="1945" y="1534"/>
                </a:lnTo>
                <a:lnTo>
                  <a:pt x="1931" y="1534"/>
                </a:lnTo>
                <a:lnTo>
                  <a:pt x="1928" y="1535"/>
                </a:lnTo>
                <a:lnTo>
                  <a:pt x="1925" y="1537"/>
                </a:lnTo>
                <a:lnTo>
                  <a:pt x="1922" y="1539"/>
                </a:lnTo>
                <a:lnTo>
                  <a:pt x="1918" y="1539"/>
                </a:lnTo>
                <a:lnTo>
                  <a:pt x="1914" y="1542"/>
                </a:lnTo>
                <a:lnTo>
                  <a:pt x="1911" y="1544"/>
                </a:lnTo>
                <a:lnTo>
                  <a:pt x="1908" y="1545"/>
                </a:lnTo>
                <a:lnTo>
                  <a:pt x="1905" y="1548"/>
                </a:lnTo>
                <a:lnTo>
                  <a:pt x="1905" y="1606"/>
                </a:lnTo>
                <a:lnTo>
                  <a:pt x="1907" y="1608"/>
                </a:lnTo>
                <a:lnTo>
                  <a:pt x="1908" y="1610"/>
                </a:lnTo>
                <a:lnTo>
                  <a:pt x="1909" y="1612"/>
                </a:lnTo>
                <a:lnTo>
                  <a:pt x="1910" y="1613"/>
                </a:lnTo>
                <a:lnTo>
                  <a:pt x="1912" y="1614"/>
                </a:lnTo>
                <a:lnTo>
                  <a:pt x="1913" y="1614"/>
                </a:lnTo>
                <a:lnTo>
                  <a:pt x="1913" y="1619"/>
                </a:lnTo>
                <a:lnTo>
                  <a:pt x="1916" y="1621"/>
                </a:lnTo>
                <a:lnTo>
                  <a:pt x="1920" y="1622"/>
                </a:lnTo>
                <a:lnTo>
                  <a:pt x="1922" y="1623"/>
                </a:lnTo>
                <a:lnTo>
                  <a:pt x="1923" y="1623"/>
                </a:lnTo>
                <a:lnTo>
                  <a:pt x="1925" y="1625"/>
                </a:lnTo>
                <a:lnTo>
                  <a:pt x="1926" y="1626"/>
                </a:lnTo>
                <a:lnTo>
                  <a:pt x="1927" y="1626"/>
                </a:lnTo>
                <a:lnTo>
                  <a:pt x="1928" y="1628"/>
                </a:lnTo>
                <a:lnTo>
                  <a:pt x="1929" y="1628"/>
                </a:lnTo>
                <a:lnTo>
                  <a:pt x="1931" y="1628"/>
                </a:lnTo>
                <a:lnTo>
                  <a:pt x="1933" y="1630"/>
                </a:lnTo>
                <a:lnTo>
                  <a:pt x="1934" y="1631"/>
                </a:lnTo>
                <a:lnTo>
                  <a:pt x="1935" y="1632"/>
                </a:lnTo>
                <a:lnTo>
                  <a:pt x="1937" y="1632"/>
                </a:lnTo>
                <a:lnTo>
                  <a:pt x="1938" y="1632"/>
                </a:lnTo>
                <a:lnTo>
                  <a:pt x="1940" y="1632"/>
                </a:lnTo>
                <a:lnTo>
                  <a:pt x="1962" y="1632"/>
                </a:lnTo>
                <a:lnTo>
                  <a:pt x="1962" y="1632"/>
                </a:lnTo>
                <a:lnTo>
                  <a:pt x="1963" y="1632"/>
                </a:lnTo>
                <a:lnTo>
                  <a:pt x="1968" y="1632"/>
                </a:lnTo>
                <a:lnTo>
                  <a:pt x="1975" y="1632"/>
                </a:lnTo>
                <a:lnTo>
                  <a:pt x="1988" y="1632"/>
                </a:lnTo>
                <a:lnTo>
                  <a:pt x="2006" y="1632"/>
                </a:lnTo>
                <a:lnTo>
                  <a:pt x="2016" y="1633"/>
                </a:lnTo>
                <a:lnTo>
                  <a:pt x="2030" y="1634"/>
                </a:lnTo>
                <a:lnTo>
                  <a:pt x="2048" y="1634"/>
                </a:lnTo>
                <a:lnTo>
                  <a:pt x="2068" y="1632"/>
                </a:lnTo>
                <a:lnTo>
                  <a:pt x="2081" y="1632"/>
                </a:lnTo>
                <a:lnTo>
                  <a:pt x="2090" y="1628"/>
                </a:lnTo>
                <a:lnTo>
                  <a:pt x="2097" y="1622"/>
                </a:lnTo>
                <a:lnTo>
                  <a:pt x="2104" y="1614"/>
                </a:lnTo>
                <a:lnTo>
                  <a:pt x="2104" y="1601"/>
                </a:lnTo>
                <a:lnTo>
                  <a:pt x="2099" y="1587"/>
                </a:lnTo>
                <a:lnTo>
                  <a:pt x="2097" y="1571"/>
                </a:lnTo>
                <a:lnTo>
                  <a:pt x="2094" y="1556"/>
                </a:lnTo>
                <a:lnTo>
                  <a:pt x="2090" y="1548"/>
                </a:lnTo>
                <a:lnTo>
                  <a:pt x="2082" y="1542"/>
                </a:lnTo>
                <a:lnTo>
                  <a:pt x="2072" y="1538"/>
                </a:lnTo>
                <a:lnTo>
                  <a:pt x="2061" y="1535"/>
                </a:lnTo>
                <a:lnTo>
                  <a:pt x="2050" y="1534"/>
                </a:lnTo>
                <a:lnTo>
                  <a:pt x="2050" y="1532"/>
                </a:lnTo>
                <a:lnTo>
                  <a:pt x="2049" y="1531"/>
                </a:lnTo>
                <a:lnTo>
                  <a:pt x="2047" y="1531"/>
                </a:lnTo>
                <a:lnTo>
                  <a:pt x="2046" y="1530"/>
                </a:lnTo>
                <a:lnTo>
                  <a:pt x="2044" y="1530"/>
                </a:lnTo>
                <a:lnTo>
                  <a:pt x="2042" y="1530"/>
                </a:lnTo>
                <a:lnTo>
                  <a:pt x="1971" y="1530"/>
                </a:lnTo>
                <a:close/>
                <a:moveTo>
                  <a:pt x="2958" y="593"/>
                </a:moveTo>
                <a:lnTo>
                  <a:pt x="2981" y="598"/>
                </a:lnTo>
                <a:lnTo>
                  <a:pt x="3003" y="610"/>
                </a:lnTo>
                <a:lnTo>
                  <a:pt x="3023" y="624"/>
                </a:lnTo>
                <a:lnTo>
                  <a:pt x="3041" y="644"/>
                </a:lnTo>
                <a:lnTo>
                  <a:pt x="3057" y="667"/>
                </a:lnTo>
                <a:lnTo>
                  <a:pt x="3068" y="692"/>
                </a:lnTo>
                <a:lnTo>
                  <a:pt x="3075" y="721"/>
                </a:lnTo>
                <a:lnTo>
                  <a:pt x="3078" y="752"/>
                </a:lnTo>
                <a:lnTo>
                  <a:pt x="3075" y="781"/>
                </a:lnTo>
                <a:lnTo>
                  <a:pt x="3068" y="808"/>
                </a:lnTo>
                <a:lnTo>
                  <a:pt x="3057" y="833"/>
                </a:lnTo>
                <a:lnTo>
                  <a:pt x="3041" y="856"/>
                </a:lnTo>
                <a:lnTo>
                  <a:pt x="3023" y="875"/>
                </a:lnTo>
                <a:lnTo>
                  <a:pt x="3003" y="892"/>
                </a:lnTo>
                <a:lnTo>
                  <a:pt x="2981" y="904"/>
                </a:lnTo>
                <a:lnTo>
                  <a:pt x="2958" y="911"/>
                </a:lnTo>
                <a:lnTo>
                  <a:pt x="2980" y="887"/>
                </a:lnTo>
                <a:lnTo>
                  <a:pt x="2998" y="859"/>
                </a:lnTo>
                <a:lnTo>
                  <a:pt x="3011" y="829"/>
                </a:lnTo>
                <a:lnTo>
                  <a:pt x="3020" y="798"/>
                </a:lnTo>
                <a:lnTo>
                  <a:pt x="3024" y="766"/>
                </a:lnTo>
                <a:lnTo>
                  <a:pt x="3024" y="734"/>
                </a:lnTo>
                <a:lnTo>
                  <a:pt x="3020" y="702"/>
                </a:lnTo>
                <a:lnTo>
                  <a:pt x="3011" y="671"/>
                </a:lnTo>
                <a:lnTo>
                  <a:pt x="2998" y="642"/>
                </a:lnTo>
                <a:lnTo>
                  <a:pt x="2980" y="616"/>
                </a:lnTo>
                <a:lnTo>
                  <a:pt x="2958" y="593"/>
                </a:lnTo>
                <a:close/>
                <a:moveTo>
                  <a:pt x="490" y="593"/>
                </a:moveTo>
                <a:lnTo>
                  <a:pt x="468" y="616"/>
                </a:lnTo>
                <a:lnTo>
                  <a:pt x="450" y="642"/>
                </a:lnTo>
                <a:lnTo>
                  <a:pt x="437" y="671"/>
                </a:lnTo>
                <a:lnTo>
                  <a:pt x="428" y="702"/>
                </a:lnTo>
                <a:lnTo>
                  <a:pt x="424" y="734"/>
                </a:lnTo>
                <a:lnTo>
                  <a:pt x="424" y="766"/>
                </a:lnTo>
                <a:lnTo>
                  <a:pt x="428" y="798"/>
                </a:lnTo>
                <a:lnTo>
                  <a:pt x="437" y="829"/>
                </a:lnTo>
                <a:lnTo>
                  <a:pt x="450" y="859"/>
                </a:lnTo>
                <a:lnTo>
                  <a:pt x="468" y="887"/>
                </a:lnTo>
                <a:lnTo>
                  <a:pt x="490" y="911"/>
                </a:lnTo>
                <a:lnTo>
                  <a:pt x="467" y="904"/>
                </a:lnTo>
                <a:lnTo>
                  <a:pt x="445" y="892"/>
                </a:lnTo>
                <a:lnTo>
                  <a:pt x="425" y="875"/>
                </a:lnTo>
                <a:lnTo>
                  <a:pt x="407" y="856"/>
                </a:lnTo>
                <a:lnTo>
                  <a:pt x="392" y="833"/>
                </a:lnTo>
                <a:lnTo>
                  <a:pt x="381" y="808"/>
                </a:lnTo>
                <a:lnTo>
                  <a:pt x="373" y="781"/>
                </a:lnTo>
                <a:lnTo>
                  <a:pt x="370" y="752"/>
                </a:lnTo>
                <a:lnTo>
                  <a:pt x="373" y="721"/>
                </a:lnTo>
                <a:lnTo>
                  <a:pt x="381" y="692"/>
                </a:lnTo>
                <a:lnTo>
                  <a:pt x="392" y="667"/>
                </a:lnTo>
                <a:lnTo>
                  <a:pt x="407" y="644"/>
                </a:lnTo>
                <a:lnTo>
                  <a:pt x="425" y="624"/>
                </a:lnTo>
                <a:lnTo>
                  <a:pt x="445" y="610"/>
                </a:lnTo>
                <a:lnTo>
                  <a:pt x="467" y="598"/>
                </a:lnTo>
                <a:lnTo>
                  <a:pt x="490" y="593"/>
                </a:lnTo>
                <a:close/>
                <a:moveTo>
                  <a:pt x="3069" y="478"/>
                </a:moveTo>
                <a:lnTo>
                  <a:pt x="3095" y="489"/>
                </a:lnTo>
                <a:lnTo>
                  <a:pt x="3121" y="505"/>
                </a:lnTo>
                <a:lnTo>
                  <a:pt x="3147" y="525"/>
                </a:lnTo>
                <a:lnTo>
                  <a:pt x="3171" y="548"/>
                </a:lnTo>
                <a:lnTo>
                  <a:pt x="3193" y="575"/>
                </a:lnTo>
                <a:lnTo>
                  <a:pt x="3211" y="604"/>
                </a:lnTo>
                <a:lnTo>
                  <a:pt x="3227" y="638"/>
                </a:lnTo>
                <a:lnTo>
                  <a:pt x="3240" y="673"/>
                </a:lnTo>
                <a:lnTo>
                  <a:pt x="3247" y="711"/>
                </a:lnTo>
                <a:lnTo>
                  <a:pt x="3250" y="752"/>
                </a:lnTo>
                <a:lnTo>
                  <a:pt x="3247" y="791"/>
                </a:lnTo>
                <a:lnTo>
                  <a:pt x="3240" y="828"/>
                </a:lnTo>
                <a:lnTo>
                  <a:pt x="3227" y="863"/>
                </a:lnTo>
                <a:lnTo>
                  <a:pt x="3211" y="895"/>
                </a:lnTo>
                <a:lnTo>
                  <a:pt x="3193" y="925"/>
                </a:lnTo>
                <a:lnTo>
                  <a:pt x="3171" y="953"/>
                </a:lnTo>
                <a:lnTo>
                  <a:pt x="3147" y="976"/>
                </a:lnTo>
                <a:lnTo>
                  <a:pt x="3121" y="997"/>
                </a:lnTo>
                <a:lnTo>
                  <a:pt x="3095" y="1013"/>
                </a:lnTo>
                <a:lnTo>
                  <a:pt x="3069" y="1026"/>
                </a:lnTo>
                <a:lnTo>
                  <a:pt x="3097" y="992"/>
                </a:lnTo>
                <a:lnTo>
                  <a:pt x="3124" y="957"/>
                </a:lnTo>
                <a:lnTo>
                  <a:pt x="3146" y="918"/>
                </a:lnTo>
                <a:lnTo>
                  <a:pt x="3163" y="878"/>
                </a:lnTo>
                <a:lnTo>
                  <a:pt x="3177" y="838"/>
                </a:lnTo>
                <a:lnTo>
                  <a:pt x="3185" y="795"/>
                </a:lnTo>
                <a:lnTo>
                  <a:pt x="3187" y="752"/>
                </a:lnTo>
                <a:lnTo>
                  <a:pt x="3185" y="708"/>
                </a:lnTo>
                <a:lnTo>
                  <a:pt x="3177" y="665"/>
                </a:lnTo>
                <a:lnTo>
                  <a:pt x="3163" y="623"/>
                </a:lnTo>
                <a:lnTo>
                  <a:pt x="3146" y="583"/>
                </a:lnTo>
                <a:lnTo>
                  <a:pt x="3124" y="545"/>
                </a:lnTo>
                <a:lnTo>
                  <a:pt x="3097" y="509"/>
                </a:lnTo>
                <a:lnTo>
                  <a:pt x="3069" y="478"/>
                </a:lnTo>
                <a:close/>
                <a:moveTo>
                  <a:pt x="384" y="478"/>
                </a:moveTo>
                <a:lnTo>
                  <a:pt x="354" y="509"/>
                </a:lnTo>
                <a:lnTo>
                  <a:pt x="326" y="545"/>
                </a:lnTo>
                <a:lnTo>
                  <a:pt x="303" y="583"/>
                </a:lnTo>
                <a:lnTo>
                  <a:pt x="286" y="623"/>
                </a:lnTo>
                <a:lnTo>
                  <a:pt x="272" y="665"/>
                </a:lnTo>
                <a:lnTo>
                  <a:pt x="263" y="708"/>
                </a:lnTo>
                <a:lnTo>
                  <a:pt x="260" y="752"/>
                </a:lnTo>
                <a:lnTo>
                  <a:pt x="263" y="795"/>
                </a:lnTo>
                <a:lnTo>
                  <a:pt x="272" y="838"/>
                </a:lnTo>
                <a:lnTo>
                  <a:pt x="286" y="878"/>
                </a:lnTo>
                <a:lnTo>
                  <a:pt x="303" y="918"/>
                </a:lnTo>
                <a:lnTo>
                  <a:pt x="326" y="957"/>
                </a:lnTo>
                <a:lnTo>
                  <a:pt x="354" y="992"/>
                </a:lnTo>
                <a:lnTo>
                  <a:pt x="384" y="1026"/>
                </a:lnTo>
                <a:lnTo>
                  <a:pt x="356" y="1013"/>
                </a:lnTo>
                <a:lnTo>
                  <a:pt x="328" y="997"/>
                </a:lnTo>
                <a:lnTo>
                  <a:pt x="303" y="976"/>
                </a:lnTo>
                <a:lnTo>
                  <a:pt x="278" y="953"/>
                </a:lnTo>
                <a:lnTo>
                  <a:pt x="257" y="925"/>
                </a:lnTo>
                <a:lnTo>
                  <a:pt x="237" y="895"/>
                </a:lnTo>
                <a:lnTo>
                  <a:pt x="223" y="863"/>
                </a:lnTo>
                <a:lnTo>
                  <a:pt x="211" y="828"/>
                </a:lnTo>
                <a:lnTo>
                  <a:pt x="204" y="791"/>
                </a:lnTo>
                <a:lnTo>
                  <a:pt x="203" y="752"/>
                </a:lnTo>
                <a:lnTo>
                  <a:pt x="204" y="711"/>
                </a:lnTo>
                <a:lnTo>
                  <a:pt x="211" y="673"/>
                </a:lnTo>
                <a:lnTo>
                  <a:pt x="223" y="638"/>
                </a:lnTo>
                <a:lnTo>
                  <a:pt x="237" y="604"/>
                </a:lnTo>
                <a:lnTo>
                  <a:pt x="257" y="575"/>
                </a:lnTo>
                <a:lnTo>
                  <a:pt x="278" y="548"/>
                </a:lnTo>
                <a:lnTo>
                  <a:pt x="303" y="525"/>
                </a:lnTo>
                <a:lnTo>
                  <a:pt x="328" y="505"/>
                </a:lnTo>
                <a:lnTo>
                  <a:pt x="356" y="489"/>
                </a:lnTo>
                <a:lnTo>
                  <a:pt x="384" y="478"/>
                </a:lnTo>
                <a:close/>
                <a:moveTo>
                  <a:pt x="3215" y="349"/>
                </a:moveTo>
                <a:lnTo>
                  <a:pt x="3248" y="367"/>
                </a:lnTo>
                <a:lnTo>
                  <a:pt x="3279" y="390"/>
                </a:lnTo>
                <a:lnTo>
                  <a:pt x="3311" y="417"/>
                </a:lnTo>
                <a:lnTo>
                  <a:pt x="3339" y="447"/>
                </a:lnTo>
                <a:lnTo>
                  <a:pt x="3365" y="482"/>
                </a:lnTo>
                <a:lnTo>
                  <a:pt x="3389" y="520"/>
                </a:lnTo>
                <a:lnTo>
                  <a:pt x="3409" y="561"/>
                </a:lnTo>
                <a:lnTo>
                  <a:pt x="3426" y="605"/>
                </a:lnTo>
                <a:lnTo>
                  <a:pt x="3437" y="651"/>
                </a:lnTo>
                <a:lnTo>
                  <a:pt x="3446" y="701"/>
                </a:lnTo>
                <a:lnTo>
                  <a:pt x="3448" y="752"/>
                </a:lnTo>
                <a:lnTo>
                  <a:pt x="3445" y="806"/>
                </a:lnTo>
                <a:lnTo>
                  <a:pt x="3435" y="860"/>
                </a:lnTo>
                <a:lnTo>
                  <a:pt x="3421" y="910"/>
                </a:lnTo>
                <a:lnTo>
                  <a:pt x="3402" y="957"/>
                </a:lnTo>
                <a:lnTo>
                  <a:pt x="3378" y="1001"/>
                </a:lnTo>
                <a:lnTo>
                  <a:pt x="3349" y="1042"/>
                </a:lnTo>
                <a:lnTo>
                  <a:pt x="3319" y="1077"/>
                </a:lnTo>
                <a:lnTo>
                  <a:pt x="3286" y="1108"/>
                </a:lnTo>
                <a:lnTo>
                  <a:pt x="3251" y="1134"/>
                </a:lnTo>
                <a:lnTo>
                  <a:pt x="3215" y="1155"/>
                </a:lnTo>
                <a:lnTo>
                  <a:pt x="3251" y="1113"/>
                </a:lnTo>
                <a:lnTo>
                  <a:pt x="3285" y="1068"/>
                </a:lnTo>
                <a:lnTo>
                  <a:pt x="3313" y="1020"/>
                </a:lnTo>
                <a:lnTo>
                  <a:pt x="3336" y="969"/>
                </a:lnTo>
                <a:lnTo>
                  <a:pt x="3354" y="917"/>
                </a:lnTo>
                <a:lnTo>
                  <a:pt x="3367" y="863"/>
                </a:lnTo>
                <a:lnTo>
                  <a:pt x="3375" y="807"/>
                </a:lnTo>
                <a:lnTo>
                  <a:pt x="3378" y="752"/>
                </a:lnTo>
                <a:lnTo>
                  <a:pt x="3375" y="695"/>
                </a:lnTo>
                <a:lnTo>
                  <a:pt x="3367" y="640"/>
                </a:lnTo>
                <a:lnTo>
                  <a:pt x="3354" y="587"/>
                </a:lnTo>
                <a:lnTo>
                  <a:pt x="3336" y="534"/>
                </a:lnTo>
                <a:lnTo>
                  <a:pt x="3313" y="483"/>
                </a:lnTo>
                <a:lnTo>
                  <a:pt x="3285" y="436"/>
                </a:lnTo>
                <a:lnTo>
                  <a:pt x="3251" y="391"/>
                </a:lnTo>
                <a:lnTo>
                  <a:pt x="3215" y="349"/>
                </a:lnTo>
                <a:close/>
                <a:moveTo>
                  <a:pt x="233" y="349"/>
                </a:moveTo>
                <a:lnTo>
                  <a:pt x="198" y="391"/>
                </a:lnTo>
                <a:lnTo>
                  <a:pt x="165" y="436"/>
                </a:lnTo>
                <a:lnTo>
                  <a:pt x="137" y="483"/>
                </a:lnTo>
                <a:lnTo>
                  <a:pt x="114" y="534"/>
                </a:lnTo>
                <a:lnTo>
                  <a:pt x="95" y="587"/>
                </a:lnTo>
                <a:lnTo>
                  <a:pt x="82" y="640"/>
                </a:lnTo>
                <a:lnTo>
                  <a:pt x="73" y="695"/>
                </a:lnTo>
                <a:lnTo>
                  <a:pt x="70" y="752"/>
                </a:lnTo>
                <a:lnTo>
                  <a:pt x="73" y="807"/>
                </a:lnTo>
                <a:lnTo>
                  <a:pt x="82" y="863"/>
                </a:lnTo>
                <a:lnTo>
                  <a:pt x="95" y="917"/>
                </a:lnTo>
                <a:lnTo>
                  <a:pt x="114" y="969"/>
                </a:lnTo>
                <a:lnTo>
                  <a:pt x="137" y="1020"/>
                </a:lnTo>
                <a:lnTo>
                  <a:pt x="165" y="1068"/>
                </a:lnTo>
                <a:lnTo>
                  <a:pt x="198" y="1113"/>
                </a:lnTo>
                <a:lnTo>
                  <a:pt x="233" y="1155"/>
                </a:lnTo>
                <a:lnTo>
                  <a:pt x="202" y="1136"/>
                </a:lnTo>
                <a:lnTo>
                  <a:pt x="169" y="1113"/>
                </a:lnTo>
                <a:lnTo>
                  <a:pt x="139" y="1086"/>
                </a:lnTo>
                <a:lnTo>
                  <a:pt x="111" y="1054"/>
                </a:lnTo>
                <a:lnTo>
                  <a:pt x="85" y="1020"/>
                </a:lnTo>
                <a:lnTo>
                  <a:pt x="61" y="981"/>
                </a:lnTo>
                <a:lnTo>
                  <a:pt x="40" y="940"/>
                </a:lnTo>
                <a:lnTo>
                  <a:pt x="23" y="896"/>
                </a:lnTo>
                <a:lnTo>
                  <a:pt x="10" y="850"/>
                </a:lnTo>
                <a:lnTo>
                  <a:pt x="3" y="802"/>
                </a:lnTo>
                <a:lnTo>
                  <a:pt x="0" y="752"/>
                </a:lnTo>
                <a:lnTo>
                  <a:pt x="3" y="701"/>
                </a:lnTo>
                <a:lnTo>
                  <a:pt x="10" y="651"/>
                </a:lnTo>
                <a:lnTo>
                  <a:pt x="23" y="605"/>
                </a:lnTo>
                <a:lnTo>
                  <a:pt x="40" y="561"/>
                </a:lnTo>
                <a:lnTo>
                  <a:pt x="61" y="520"/>
                </a:lnTo>
                <a:lnTo>
                  <a:pt x="85" y="482"/>
                </a:lnTo>
                <a:lnTo>
                  <a:pt x="111" y="447"/>
                </a:lnTo>
                <a:lnTo>
                  <a:pt x="139" y="417"/>
                </a:lnTo>
                <a:lnTo>
                  <a:pt x="169" y="390"/>
                </a:lnTo>
                <a:lnTo>
                  <a:pt x="202" y="367"/>
                </a:lnTo>
                <a:lnTo>
                  <a:pt x="233" y="349"/>
                </a:lnTo>
                <a:close/>
                <a:moveTo>
                  <a:pt x="1114" y="71"/>
                </a:moveTo>
                <a:lnTo>
                  <a:pt x="977" y="71"/>
                </a:lnTo>
                <a:lnTo>
                  <a:pt x="834" y="71"/>
                </a:lnTo>
                <a:lnTo>
                  <a:pt x="815" y="73"/>
                </a:lnTo>
                <a:lnTo>
                  <a:pt x="798" y="81"/>
                </a:lnTo>
                <a:lnTo>
                  <a:pt x="782" y="94"/>
                </a:lnTo>
                <a:lnTo>
                  <a:pt x="768" y="110"/>
                </a:lnTo>
                <a:lnTo>
                  <a:pt x="755" y="129"/>
                </a:lnTo>
                <a:lnTo>
                  <a:pt x="744" y="149"/>
                </a:lnTo>
                <a:lnTo>
                  <a:pt x="735" y="171"/>
                </a:lnTo>
                <a:lnTo>
                  <a:pt x="729" y="193"/>
                </a:lnTo>
                <a:lnTo>
                  <a:pt x="725" y="214"/>
                </a:lnTo>
                <a:lnTo>
                  <a:pt x="723" y="234"/>
                </a:lnTo>
                <a:lnTo>
                  <a:pt x="723" y="234"/>
                </a:lnTo>
                <a:lnTo>
                  <a:pt x="723" y="235"/>
                </a:lnTo>
                <a:lnTo>
                  <a:pt x="723" y="237"/>
                </a:lnTo>
                <a:lnTo>
                  <a:pt x="723" y="240"/>
                </a:lnTo>
                <a:lnTo>
                  <a:pt x="723" y="245"/>
                </a:lnTo>
                <a:lnTo>
                  <a:pt x="723" y="252"/>
                </a:lnTo>
                <a:lnTo>
                  <a:pt x="723" y="260"/>
                </a:lnTo>
                <a:lnTo>
                  <a:pt x="723" y="285"/>
                </a:lnTo>
                <a:lnTo>
                  <a:pt x="723" y="302"/>
                </a:lnTo>
                <a:lnTo>
                  <a:pt x="723" y="322"/>
                </a:lnTo>
                <a:lnTo>
                  <a:pt x="723" y="404"/>
                </a:lnTo>
                <a:lnTo>
                  <a:pt x="723" y="441"/>
                </a:lnTo>
                <a:lnTo>
                  <a:pt x="723" y="481"/>
                </a:lnTo>
                <a:lnTo>
                  <a:pt x="723" y="527"/>
                </a:lnTo>
                <a:lnTo>
                  <a:pt x="723" y="578"/>
                </a:lnTo>
                <a:lnTo>
                  <a:pt x="723" y="635"/>
                </a:lnTo>
                <a:lnTo>
                  <a:pt x="723" y="697"/>
                </a:lnTo>
                <a:lnTo>
                  <a:pt x="723" y="765"/>
                </a:lnTo>
                <a:lnTo>
                  <a:pt x="723" y="841"/>
                </a:lnTo>
                <a:lnTo>
                  <a:pt x="723" y="922"/>
                </a:lnTo>
                <a:lnTo>
                  <a:pt x="723" y="1011"/>
                </a:lnTo>
                <a:lnTo>
                  <a:pt x="723" y="1108"/>
                </a:lnTo>
                <a:lnTo>
                  <a:pt x="723" y="1211"/>
                </a:lnTo>
                <a:lnTo>
                  <a:pt x="723" y="1270"/>
                </a:lnTo>
                <a:lnTo>
                  <a:pt x="723" y="1270"/>
                </a:lnTo>
                <a:lnTo>
                  <a:pt x="723" y="1322"/>
                </a:lnTo>
                <a:lnTo>
                  <a:pt x="723" y="1270"/>
                </a:lnTo>
                <a:lnTo>
                  <a:pt x="725" y="1290"/>
                </a:lnTo>
                <a:lnTo>
                  <a:pt x="729" y="1313"/>
                </a:lnTo>
                <a:lnTo>
                  <a:pt x="735" y="1335"/>
                </a:lnTo>
                <a:lnTo>
                  <a:pt x="744" y="1357"/>
                </a:lnTo>
                <a:lnTo>
                  <a:pt x="755" y="1379"/>
                </a:lnTo>
                <a:lnTo>
                  <a:pt x="768" y="1397"/>
                </a:lnTo>
                <a:lnTo>
                  <a:pt x="782" y="1413"/>
                </a:lnTo>
                <a:lnTo>
                  <a:pt x="798" y="1427"/>
                </a:lnTo>
                <a:lnTo>
                  <a:pt x="815" y="1434"/>
                </a:lnTo>
                <a:lnTo>
                  <a:pt x="834" y="1437"/>
                </a:lnTo>
                <a:lnTo>
                  <a:pt x="834" y="1437"/>
                </a:lnTo>
                <a:lnTo>
                  <a:pt x="835" y="1437"/>
                </a:lnTo>
                <a:lnTo>
                  <a:pt x="837" y="1437"/>
                </a:lnTo>
                <a:lnTo>
                  <a:pt x="840" y="1437"/>
                </a:lnTo>
                <a:lnTo>
                  <a:pt x="844" y="1437"/>
                </a:lnTo>
                <a:lnTo>
                  <a:pt x="850" y="1437"/>
                </a:lnTo>
                <a:lnTo>
                  <a:pt x="859" y="1437"/>
                </a:lnTo>
                <a:lnTo>
                  <a:pt x="869" y="1437"/>
                </a:lnTo>
                <a:lnTo>
                  <a:pt x="882" y="1437"/>
                </a:lnTo>
                <a:lnTo>
                  <a:pt x="898" y="1437"/>
                </a:lnTo>
                <a:lnTo>
                  <a:pt x="1094" y="1437"/>
                </a:lnTo>
                <a:lnTo>
                  <a:pt x="1138" y="1437"/>
                </a:lnTo>
                <a:lnTo>
                  <a:pt x="1186" y="1437"/>
                </a:lnTo>
                <a:lnTo>
                  <a:pt x="1430" y="1437"/>
                </a:lnTo>
                <a:lnTo>
                  <a:pt x="1504" y="1437"/>
                </a:lnTo>
                <a:lnTo>
                  <a:pt x="1585" y="1437"/>
                </a:lnTo>
                <a:lnTo>
                  <a:pt x="1672" y="1437"/>
                </a:lnTo>
                <a:lnTo>
                  <a:pt x="1765" y="1437"/>
                </a:lnTo>
                <a:lnTo>
                  <a:pt x="1865" y="1437"/>
                </a:lnTo>
                <a:lnTo>
                  <a:pt x="1971" y="1437"/>
                </a:lnTo>
                <a:lnTo>
                  <a:pt x="2085" y="1437"/>
                </a:lnTo>
                <a:lnTo>
                  <a:pt x="2206" y="1437"/>
                </a:lnTo>
                <a:lnTo>
                  <a:pt x="2335" y="1437"/>
                </a:lnTo>
                <a:lnTo>
                  <a:pt x="2471" y="1437"/>
                </a:lnTo>
                <a:lnTo>
                  <a:pt x="2615" y="1437"/>
                </a:lnTo>
                <a:lnTo>
                  <a:pt x="2640" y="1434"/>
                </a:lnTo>
                <a:lnTo>
                  <a:pt x="2663" y="1426"/>
                </a:lnTo>
                <a:lnTo>
                  <a:pt x="2684" y="1412"/>
                </a:lnTo>
                <a:lnTo>
                  <a:pt x="2701" y="1393"/>
                </a:lnTo>
                <a:lnTo>
                  <a:pt x="2713" y="1372"/>
                </a:lnTo>
                <a:lnTo>
                  <a:pt x="2722" y="1348"/>
                </a:lnTo>
                <a:lnTo>
                  <a:pt x="2725" y="1322"/>
                </a:lnTo>
                <a:lnTo>
                  <a:pt x="2725" y="1322"/>
                </a:lnTo>
                <a:lnTo>
                  <a:pt x="2725" y="1319"/>
                </a:lnTo>
                <a:lnTo>
                  <a:pt x="2725" y="1315"/>
                </a:lnTo>
                <a:lnTo>
                  <a:pt x="2725" y="1309"/>
                </a:lnTo>
                <a:lnTo>
                  <a:pt x="2725" y="1300"/>
                </a:lnTo>
                <a:lnTo>
                  <a:pt x="2725" y="1290"/>
                </a:lnTo>
                <a:lnTo>
                  <a:pt x="2725" y="787"/>
                </a:lnTo>
                <a:lnTo>
                  <a:pt x="2725" y="712"/>
                </a:lnTo>
                <a:lnTo>
                  <a:pt x="2725" y="630"/>
                </a:lnTo>
                <a:lnTo>
                  <a:pt x="2725" y="543"/>
                </a:lnTo>
                <a:lnTo>
                  <a:pt x="2725" y="447"/>
                </a:lnTo>
                <a:lnTo>
                  <a:pt x="2725" y="344"/>
                </a:lnTo>
                <a:lnTo>
                  <a:pt x="2725" y="234"/>
                </a:lnTo>
                <a:lnTo>
                  <a:pt x="2724" y="214"/>
                </a:lnTo>
                <a:lnTo>
                  <a:pt x="2720" y="193"/>
                </a:lnTo>
                <a:lnTo>
                  <a:pt x="2712" y="171"/>
                </a:lnTo>
                <a:lnTo>
                  <a:pt x="2704" y="149"/>
                </a:lnTo>
                <a:lnTo>
                  <a:pt x="2693" y="129"/>
                </a:lnTo>
                <a:lnTo>
                  <a:pt x="2680" y="110"/>
                </a:lnTo>
                <a:lnTo>
                  <a:pt x="2665" y="94"/>
                </a:lnTo>
                <a:lnTo>
                  <a:pt x="2650" y="81"/>
                </a:lnTo>
                <a:lnTo>
                  <a:pt x="2633" y="73"/>
                </a:lnTo>
                <a:lnTo>
                  <a:pt x="2615" y="71"/>
                </a:lnTo>
                <a:lnTo>
                  <a:pt x="2614" y="71"/>
                </a:lnTo>
                <a:lnTo>
                  <a:pt x="2613" y="71"/>
                </a:lnTo>
                <a:lnTo>
                  <a:pt x="2611" y="71"/>
                </a:lnTo>
                <a:lnTo>
                  <a:pt x="1683" y="71"/>
                </a:lnTo>
                <a:lnTo>
                  <a:pt x="1584" y="71"/>
                </a:lnTo>
                <a:lnTo>
                  <a:pt x="1477" y="71"/>
                </a:lnTo>
                <a:lnTo>
                  <a:pt x="1363" y="71"/>
                </a:lnTo>
                <a:lnTo>
                  <a:pt x="1242" y="71"/>
                </a:lnTo>
                <a:lnTo>
                  <a:pt x="1114" y="71"/>
                </a:lnTo>
                <a:close/>
                <a:moveTo>
                  <a:pt x="860" y="0"/>
                </a:moveTo>
                <a:lnTo>
                  <a:pt x="861" y="0"/>
                </a:lnTo>
                <a:lnTo>
                  <a:pt x="864" y="0"/>
                </a:lnTo>
                <a:lnTo>
                  <a:pt x="868" y="0"/>
                </a:lnTo>
                <a:lnTo>
                  <a:pt x="872" y="0"/>
                </a:lnTo>
                <a:lnTo>
                  <a:pt x="879" y="0"/>
                </a:lnTo>
                <a:lnTo>
                  <a:pt x="887" y="0"/>
                </a:lnTo>
                <a:lnTo>
                  <a:pt x="896" y="0"/>
                </a:lnTo>
                <a:lnTo>
                  <a:pt x="909" y="0"/>
                </a:lnTo>
                <a:lnTo>
                  <a:pt x="1156" y="0"/>
                </a:lnTo>
                <a:lnTo>
                  <a:pt x="1203" y="0"/>
                </a:lnTo>
                <a:lnTo>
                  <a:pt x="1254" y="0"/>
                </a:lnTo>
                <a:lnTo>
                  <a:pt x="1438" y="0"/>
                </a:lnTo>
                <a:lnTo>
                  <a:pt x="1511" y="0"/>
                </a:lnTo>
                <a:lnTo>
                  <a:pt x="1589" y="0"/>
                </a:lnTo>
                <a:lnTo>
                  <a:pt x="1673" y="0"/>
                </a:lnTo>
                <a:lnTo>
                  <a:pt x="1764" y="0"/>
                </a:lnTo>
                <a:lnTo>
                  <a:pt x="1860" y="0"/>
                </a:lnTo>
                <a:lnTo>
                  <a:pt x="2191" y="0"/>
                </a:lnTo>
                <a:lnTo>
                  <a:pt x="2316" y="0"/>
                </a:lnTo>
                <a:lnTo>
                  <a:pt x="2448" y="0"/>
                </a:lnTo>
                <a:lnTo>
                  <a:pt x="2588" y="0"/>
                </a:lnTo>
                <a:lnTo>
                  <a:pt x="2624" y="3"/>
                </a:lnTo>
                <a:lnTo>
                  <a:pt x="2657" y="11"/>
                </a:lnTo>
                <a:lnTo>
                  <a:pt x="2688" y="24"/>
                </a:lnTo>
                <a:lnTo>
                  <a:pt x="2718" y="41"/>
                </a:lnTo>
                <a:lnTo>
                  <a:pt x="2743" y="63"/>
                </a:lnTo>
                <a:lnTo>
                  <a:pt x="2766" y="90"/>
                </a:lnTo>
                <a:lnTo>
                  <a:pt x="2784" y="119"/>
                </a:lnTo>
                <a:lnTo>
                  <a:pt x="2797" y="150"/>
                </a:lnTo>
                <a:lnTo>
                  <a:pt x="2806" y="185"/>
                </a:lnTo>
                <a:lnTo>
                  <a:pt x="2809" y="220"/>
                </a:lnTo>
                <a:lnTo>
                  <a:pt x="2809" y="220"/>
                </a:lnTo>
                <a:lnTo>
                  <a:pt x="2809" y="221"/>
                </a:lnTo>
                <a:lnTo>
                  <a:pt x="2809" y="237"/>
                </a:lnTo>
                <a:lnTo>
                  <a:pt x="2809" y="245"/>
                </a:lnTo>
                <a:lnTo>
                  <a:pt x="2809" y="256"/>
                </a:lnTo>
                <a:lnTo>
                  <a:pt x="2809" y="1074"/>
                </a:lnTo>
                <a:lnTo>
                  <a:pt x="2809" y="1177"/>
                </a:lnTo>
                <a:lnTo>
                  <a:pt x="2809" y="1286"/>
                </a:lnTo>
                <a:lnTo>
                  <a:pt x="2806" y="1324"/>
                </a:lnTo>
                <a:lnTo>
                  <a:pt x="2796" y="1360"/>
                </a:lnTo>
                <a:lnTo>
                  <a:pt x="2781" y="1392"/>
                </a:lnTo>
                <a:lnTo>
                  <a:pt x="2762" y="1421"/>
                </a:lnTo>
                <a:lnTo>
                  <a:pt x="2736" y="1448"/>
                </a:lnTo>
                <a:lnTo>
                  <a:pt x="2708" y="1470"/>
                </a:lnTo>
                <a:lnTo>
                  <a:pt x="2676" y="1486"/>
                </a:lnTo>
                <a:lnTo>
                  <a:pt x="2641" y="1499"/>
                </a:lnTo>
                <a:lnTo>
                  <a:pt x="2663" y="1501"/>
                </a:lnTo>
                <a:lnTo>
                  <a:pt x="2684" y="1505"/>
                </a:lnTo>
                <a:lnTo>
                  <a:pt x="2703" y="1510"/>
                </a:lnTo>
                <a:lnTo>
                  <a:pt x="2721" y="1517"/>
                </a:lnTo>
                <a:lnTo>
                  <a:pt x="2736" y="1522"/>
                </a:lnTo>
                <a:lnTo>
                  <a:pt x="2751" y="1528"/>
                </a:lnTo>
                <a:lnTo>
                  <a:pt x="2765" y="1535"/>
                </a:lnTo>
                <a:lnTo>
                  <a:pt x="2777" y="1545"/>
                </a:lnTo>
                <a:lnTo>
                  <a:pt x="2787" y="1556"/>
                </a:lnTo>
                <a:lnTo>
                  <a:pt x="2800" y="1570"/>
                </a:lnTo>
                <a:lnTo>
                  <a:pt x="2919" y="1710"/>
                </a:lnTo>
                <a:lnTo>
                  <a:pt x="3038" y="1854"/>
                </a:lnTo>
                <a:lnTo>
                  <a:pt x="3074" y="1894"/>
                </a:lnTo>
                <a:lnTo>
                  <a:pt x="3112" y="1937"/>
                </a:lnTo>
                <a:lnTo>
                  <a:pt x="3149" y="1981"/>
                </a:lnTo>
                <a:lnTo>
                  <a:pt x="3154" y="1987"/>
                </a:lnTo>
                <a:lnTo>
                  <a:pt x="3160" y="1995"/>
                </a:lnTo>
                <a:lnTo>
                  <a:pt x="3165" y="2003"/>
                </a:lnTo>
                <a:lnTo>
                  <a:pt x="3178" y="2018"/>
                </a:lnTo>
                <a:lnTo>
                  <a:pt x="3187" y="2032"/>
                </a:lnTo>
                <a:lnTo>
                  <a:pt x="3193" y="2049"/>
                </a:lnTo>
                <a:lnTo>
                  <a:pt x="3193" y="2066"/>
                </a:lnTo>
                <a:lnTo>
                  <a:pt x="3193" y="2064"/>
                </a:lnTo>
                <a:lnTo>
                  <a:pt x="3193" y="2058"/>
                </a:lnTo>
                <a:lnTo>
                  <a:pt x="3193" y="2054"/>
                </a:lnTo>
                <a:lnTo>
                  <a:pt x="3193" y="2054"/>
                </a:lnTo>
                <a:lnTo>
                  <a:pt x="3193" y="2058"/>
                </a:lnTo>
                <a:lnTo>
                  <a:pt x="3193" y="2062"/>
                </a:lnTo>
                <a:lnTo>
                  <a:pt x="3193" y="2064"/>
                </a:lnTo>
                <a:lnTo>
                  <a:pt x="3193" y="2065"/>
                </a:lnTo>
                <a:lnTo>
                  <a:pt x="3193" y="2066"/>
                </a:lnTo>
                <a:lnTo>
                  <a:pt x="3193" y="2066"/>
                </a:lnTo>
                <a:lnTo>
                  <a:pt x="3193" y="2076"/>
                </a:lnTo>
                <a:lnTo>
                  <a:pt x="3193" y="2094"/>
                </a:lnTo>
                <a:lnTo>
                  <a:pt x="3193" y="2118"/>
                </a:lnTo>
                <a:lnTo>
                  <a:pt x="3188" y="2133"/>
                </a:lnTo>
                <a:lnTo>
                  <a:pt x="3180" y="2144"/>
                </a:lnTo>
                <a:lnTo>
                  <a:pt x="3171" y="2153"/>
                </a:lnTo>
                <a:lnTo>
                  <a:pt x="3159" y="2159"/>
                </a:lnTo>
                <a:lnTo>
                  <a:pt x="3147" y="2164"/>
                </a:lnTo>
                <a:lnTo>
                  <a:pt x="3135" y="2167"/>
                </a:lnTo>
                <a:lnTo>
                  <a:pt x="3075" y="2177"/>
                </a:lnTo>
                <a:lnTo>
                  <a:pt x="3016" y="2181"/>
                </a:lnTo>
                <a:lnTo>
                  <a:pt x="2976" y="2181"/>
                </a:lnTo>
                <a:lnTo>
                  <a:pt x="2966" y="2181"/>
                </a:lnTo>
                <a:lnTo>
                  <a:pt x="2954" y="2181"/>
                </a:lnTo>
                <a:lnTo>
                  <a:pt x="1112" y="2181"/>
                </a:lnTo>
                <a:lnTo>
                  <a:pt x="1031" y="2181"/>
                </a:lnTo>
                <a:lnTo>
                  <a:pt x="953" y="2181"/>
                </a:lnTo>
                <a:lnTo>
                  <a:pt x="423" y="2181"/>
                </a:lnTo>
                <a:lnTo>
                  <a:pt x="411" y="2181"/>
                </a:lnTo>
                <a:lnTo>
                  <a:pt x="402" y="2181"/>
                </a:lnTo>
                <a:lnTo>
                  <a:pt x="366" y="2181"/>
                </a:lnTo>
                <a:lnTo>
                  <a:pt x="347" y="2180"/>
                </a:lnTo>
                <a:lnTo>
                  <a:pt x="328" y="2178"/>
                </a:lnTo>
                <a:lnTo>
                  <a:pt x="311" y="2175"/>
                </a:lnTo>
                <a:lnTo>
                  <a:pt x="293" y="2168"/>
                </a:lnTo>
                <a:lnTo>
                  <a:pt x="277" y="2158"/>
                </a:lnTo>
                <a:lnTo>
                  <a:pt x="265" y="2145"/>
                </a:lnTo>
                <a:lnTo>
                  <a:pt x="260" y="2136"/>
                </a:lnTo>
                <a:lnTo>
                  <a:pt x="257" y="2127"/>
                </a:lnTo>
                <a:lnTo>
                  <a:pt x="255" y="2114"/>
                </a:lnTo>
                <a:lnTo>
                  <a:pt x="255" y="2115"/>
                </a:lnTo>
                <a:lnTo>
                  <a:pt x="255" y="2106"/>
                </a:lnTo>
                <a:lnTo>
                  <a:pt x="255" y="2089"/>
                </a:lnTo>
                <a:lnTo>
                  <a:pt x="255" y="2066"/>
                </a:lnTo>
                <a:lnTo>
                  <a:pt x="258" y="2048"/>
                </a:lnTo>
                <a:lnTo>
                  <a:pt x="267" y="2030"/>
                </a:lnTo>
                <a:lnTo>
                  <a:pt x="278" y="2014"/>
                </a:lnTo>
                <a:lnTo>
                  <a:pt x="292" y="1999"/>
                </a:lnTo>
                <a:lnTo>
                  <a:pt x="305" y="1984"/>
                </a:lnTo>
                <a:lnTo>
                  <a:pt x="317" y="1973"/>
                </a:lnTo>
                <a:lnTo>
                  <a:pt x="403" y="1868"/>
                </a:lnTo>
                <a:lnTo>
                  <a:pt x="489" y="1766"/>
                </a:lnTo>
                <a:lnTo>
                  <a:pt x="573" y="1667"/>
                </a:lnTo>
                <a:lnTo>
                  <a:pt x="600" y="1632"/>
                </a:lnTo>
                <a:lnTo>
                  <a:pt x="630" y="1598"/>
                </a:lnTo>
                <a:lnTo>
                  <a:pt x="657" y="1566"/>
                </a:lnTo>
                <a:lnTo>
                  <a:pt x="674" y="1548"/>
                </a:lnTo>
                <a:lnTo>
                  <a:pt x="692" y="1533"/>
                </a:lnTo>
                <a:lnTo>
                  <a:pt x="714" y="1522"/>
                </a:lnTo>
                <a:lnTo>
                  <a:pt x="736" y="1513"/>
                </a:lnTo>
                <a:lnTo>
                  <a:pt x="760" y="1506"/>
                </a:lnTo>
                <a:lnTo>
                  <a:pt x="783" y="1502"/>
                </a:lnTo>
                <a:lnTo>
                  <a:pt x="807" y="1499"/>
                </a:lnTo>
                <a:lnTo>
                  <a:pt x="775" y="1489"/>
                </a:lnTo>
                <a:lnTo>
                  <a:pt x="747" y="1475"/>
                </a:lnTo>
                <a:lnTo>
                  <a:pt x="721" y="1457"/>
                </a:lnTo>
                <a:lnTo>
                  <a:pt x="697" y="1435"/>
                </a:lnTo>
                <a:lnTo>
                  <a:pt x="677" y="1410"/>
                </a:lnTo>
                <a:lnTo>
                  <a:pt x="661" y="1383"/>
                </a:lnTo>
                <a:lnTo>
                  <a:pt x="650" y="1352"/>
                </a:lnTo>
                <a:lnTo>
                  <a:pt x="642" y="1320"/>
                </a:lnTo>
                <a:lnTo>
                  <a:pt x="639" y="1286"/>
                </a:lnTo>
                <a:lnTo>
                  <a:pt x="639" y="1286"/>
                </a:lnTo>
                <a:lnTo>
                  <a:pt x="639" y="1286"/>
                </a:lnTo>
                <a:lnTo>
                  <a:pt x="639" y="1271"/>
                </a:lnTo>
                <a:lnTo>
                  <a:pt x="639" y="1262"/>
                </a:lnTo>
                <a:lnTo>
                  <a:pt x="639" y="1252"/>
                </a:lnTo>
                <a:lnTo>
                  <a:pt x="639" y="434"/>
                </a:lnTo>
                <a:lnTo>
                  <a:pt x="639" y="331"/>
                </a:lnTo>
                <a:lnTo>
                  <a:pt x="639" y="220"/>
                </a:lnTo>
                <a:lnTo>
                  <a:pt x="642" y="185"/>
                </a:lnTo>
                <a:lnTo>
                  <a:pt x="651" y="150"/>
                </a:lnTo>
                <a:lnTo>
                  <a:pt x="664" y="119"/>
                </a:lnTo>
                <a:lnTo>
                  <a:pt x="683" y="90"/>
                </a:lnTo>
                <a:lnTo>
                  <a:pt x="705" y="63"/>
                </a:lnTo>
                <a:lnTo>
                  <a:pt x="731" y="41"/>
                </a:lnTo>
                <a:lnTo>
                  <a:pt x="759" y="24"/>
                </a:lnTo>
                <a:lnTo>
                  <a:pt x="791" y="11"/>
                </a:lnTo>
                <a:lnTo>
                  <a:pt x="824" y="3"/>
                </a:lnTo>
                <a:lnTo>
                  <a:pt x="860" y="0"/>
                </a:lnTo>
                <a:lnTo>
                  <a:pt x="860" y="0"/>
                </a:lnTo>
                <a:lnTo>
                  <a:pt x="86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9" name="Group 4"/>
          <p:cNvGrpSpPr>
            <a:grpSpLocks noChangeAspect="1"/>
          </p:cNvGrpSpPr>
          <p:nvPr/>
        </p:nvGrpSpPr>
        <p:grpSpPr bwMode="auto">
          <a:xfrm>
            <a:off x="2418797" y="2282665"/>
            <a:ext cx="1616197" cy="1254836"/>
            <a:chOff x="1601" y="1580"/>
            <a:chExt cx="814" cy="632"/>
          </a:xfrm>
        </p:grpSpPr>
        <p:sp>
          <p:nvSpPr>
            <p:cNvPr id="11" name="Freeform 5"/>
            <p:cNvSpPr>
              <a:spLocks noEditPoints="1"/>
            </p:cNvSpPr>
            <p:nvPr/>
          </p:nvSpPr>
          <p:spPr bwMode="auto">
            <a:xfrm>
              <a:off x="1601" y="1684"/>
              <a:ext cx="814" cy="528"/>
            </a:xfrm>
            <a:custGeom>
              <a:avLst/>
              <a:gdLst>
                <a:gd name="T0" fmla="*/ 1080 w 1136"/>
                <a:gd name="T1" fmla="*/ 0 h 737"/>
                <a:gd name="T2" fmla="*/ 56 w 1136"/>
                <a:gd name="T3" fmla="*/ 0 h 737"/>
                <a:gd name="T4" fmla="*/ 0 w 1136"/>
                <a:gd name="T5" fmla="*/ 56 h 737"/>
                <a:gd name="T6" fmla="*/ 0 w 1136"/>
                <a:gd name="T7" fmla="*/ 681 h 737"/>
                <a:gd name="T8" fmla="*/ 56 w 1136"/>
                <a:gd name="T9" fmla="*/ 737 h 737"/>
                <a:gd name="T10" fmla="*/ 1080 w 1136"/>
                <a:gd name="T11" fmla="*/ 737 h 737"/>
                <a:gd name="T12" fmla="*/ 1136 w 1136"/>
                <a:gd name="T13" fmla="*/ 681 h 737"/>
                <a:gd name="T14" fmla="*/ 1136 w 1136"/>
                <a:gd name="T15" fmla="*/ 56 h 737"/>
                <a:gd name="T16" fmla="*/ 1080 w 1136"/>
                <a:gd name="T17" fmla="*/ 0 h 737"/>
                <a:gd name="T18" fmla="*/ 1080 w 1136"/>
                <a:gd name="T19" fmla="*/ 681 h 737"/>
                <a:gd name="T20" fmla="*/ 1080 w 1136"/>
                <a:gd name="T21" fmla="*/ 681 h 737"/>
                <a:gd name="T22" fmla="*/ 56 w 1136"/>
                <a:gd name="T23" fmla="*/ 681 h 737"/>
                <a:gd name="T24" fmla="*/ 56 w 1136"/>
                <a:gd name="T25" fmla="*/ 681 h 737"/>
                <a:gd name="T26" fmla="*/ 56 w 1136"/>
                <a:gd name="T27" fmla="*/ 56 h 737"/>
                <a:gd name="T28" fmla="*/ 56 w 1136"/>
                <a:gd name="T29" fmla="*/ 56 h 737"/>
                <a:gd name="T30" fmla="*/ 1080 w 1136"/>
                <a:gd name="T31" fmla="*/ 56 h 737"/>
                <a:gd name="T32" fmla="*/ 1080 w 1136"/>
                <a:gd name="T33" fmla="*/ 56 h 737"/>
                <a:gd name="T34" fmla="*/ 1080 w 1136"/>
                <a:gd name="T35" fmla="*/ 681 h 737"/>
                <a:gd name="T36" fmla="*/ 1080 w 1136"/>
                <a:gd name="T37" fmla="*/ 68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6" h="737">
                  <a:moveTo>
                    <a:pt x="1080" y="0"/>
                  </a:moveTo>
                  <a:cubicBezTo>
                    <a:pt x="56" y="0"/>
                    <a:pt x="56" y="0"/>
                    <a:pt x="56" y="0"/>
                  </a:cubicBezTo>
                  <a:cubicBezTo>
                    <a:pt x="25" y="0"/>
                    <a:pt x="0" y="25"/>
                    <a:pt x="0" y="56"/>
                  </a:cubicBezTo>
                  <a:cubicBezTo>
                    <a:pt x="0" y="681"/>
                    <a:pt x="0" y="681"/>
                    <a:pt x="0" y="681"/>
                  </a:cubicBezTo>
                  <a:cubicBezTo>
                    <a:pt x="0" y="712"/>
                    <a:pt x="25" y="737"/>
                    <a:pt x="56" y="737"/>
                  </a:cubicBezTo>
                  <a:cubicBezTo>
                    <a:pt x="1080" y="737"/>
                    <a:pt x="1080" y="737"/>
                    <a:pt x="1080" y="737"/>
                  </a:cubicBezTo>
                  <a:cubicBezTo>
                    <a:pt x="1111" y="737"/>
                    <a:pt x="1136" y="712"/>
                    <a:pt x="1136" y="681"/>
                  </a:cubicBezTo>
                  <a:cubicBezTo>
                    <a:pt x="1136" y="56"/>
                    <a:pt x="1136" y="56"/>
                    <a:pt x="1136" y="56"/>
                  </a:cubicBezTo>
                  <a:cubicBezTo>
                    <a:pt x="1136" y="25"/>
                    <a:pt x="1111" y="0"/>
                    <a:pt x="1080" y="0"/>
                  </a:cubicBezTo>
                  <a:close/>
                  <a:moveTo>
                    <a:pt x="1080" y="681"/>
                  </a:moveTo>
                  <a:cubicBezTo>
                    <a:pt x="1080" y="681"/>
                    <a:pt x="1080" y="681"/>
                    <a:pt x="1080" y="681"/>
                  </a:cubicBezTo>
                  <a:cubicBezTo>
                    <a:pt x="56" y="681"/>
                    <a:pt x="56" y="681"/>
                    <a:pt x="56" y="681"/>
                  </a:cubicBezTo>
                  <a:cubicBezTo>
                    <a:pt x="56" y="681"/>
                    <a:pt x="56" y="681"/>
                    <a:pt x="56" y="681"/>
                  </a:cubicBezTo>
                  <a:cubicBezTo>
                    <a:pt x="56" y="56"/>
                    <a:pt x="56" y="56"/>
                    <a:pt x="56" y="56"/>
                  </a:cubicBezTo>
                  <a:cubicBezTo>
                    <a:pt x="56" y="56"/>
                    <a:pt x="56" y="56"/>
                    <a:pt x="56" y="56"/>
                  </a:cubicBezTo>
                  <a:cubicBezTo>
                    <a:pt x="1080" y="56"/>
                    <a:pt x="1080" y="56"/>
                    <a:pt x="1080" y="56"/>
                  </a:cubicBezTo>
                  <a:cubicBezTo>
                    <a:pt x="1080" y="56"/>
                    <a:pt x="1080" y="56"/>
                    <a:pt x="1080" y="56"/>
                  </a:cubicBezTo>
                  <a:cubicBezTo>
                    <a:pt x="1080" y="681"/>
                    <a:pt x="1080" y="681"/>
                    <a:pt x="1080" y="681"/>
                  </a:cubicBezTo>
                  <a:cubicBezTo>
                    <a:pt x="1080" y="681"/>
                    <a:pt x="1080" y="681"/>
                    <a:pt x="1080" y="681"/>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noEditPoints="1"/>
            </p:cNvSpPr>
            <p:nvPr/>
          </p:nvSpPr>
          <p:spPr bwMode="auto">
            <a:xfrm>
              <a:off x="1601" y="1580"/>
              <a:ext cx="814" cy="95"/>
            </a:xfrm>
            <a:custGeom>
              <a:avLst/>
              <a:gdLst>
                <a:gd name="T0" fmla="*/ 1080 w 1136"/>
                <a:gd name="T1" fmla="*/ 0 h 132"/>
                <a:gd name="T2" fmla="*/ 56 w 1136"/>
                <a:gd name="T3" fmla="*/ 0 h 132"/>
                <a:gd name="T4" fmla="*/ 0 w 1136"/>
                <a:gd name="T5" fmla="*/ 56 h 132"/>
                <a:gd name="T6" fmla="*/ 0 w 1136"/>
                <a:gd name="T7" fmla="*/ 127 h 132"/>
                <a:gd name="T8" fmla="*/ 39 w 1136"/>
                <a:gd name="T9" fmla="*/ 112 h 132"/>
                <a:gd name="T10" fmla="*/ 1092 w 1136"/>
                <a:gd name="T11" fmla="*/ 112 h 132"/>
                <a:gd name="T12" fmla="*/ 1136 w 1136"/>
                <a:gd name="T13" fmla="*/ 132 h 132"/>
                <a:gd name="T14" fmla="*/ 1136 w 1136"/>
                <a:gd name="T15" fmla="*/ 56 h 132"/>
                <a:gd name="T16" fmla="*/ 1080 w 1136"/>
                <a:gd name="T17" fmla="*/ 0 h 132"/>
                <a:gd name="T18" fmla="*/ 909 w 1136"/>
                <a:gd name="T19" fmla="*/ 79 h 132"/>
                <a:gd name="T20" fmla="*/ 859 w 1136"/>
                <a:gd name="T21" fmla="*/ 79 h 132"/>
                <a:gd name="T22" fmla="*/ 859 w 1136"/>
                <a:gd name="T23" fmla="*/ 69 h 132"/>
                <a:gd name="T24" fmla="*/ 909 w 1136"/>
                <a:gd name="T25" fmla="*/ 69 h 132"/>
                <a:gd name="T26" fmla="*/ 909 w 1136"/>
                <a:gd name="T27" fmla="*/ 79 h 132"/>
                <a:gd name="T28" fmla="*/ 979 w 1136"/>
                <a:gd name="T29" fmla="*/ 78 h 132"/>
                <a:gd name="T30" fmla="*/ 938 w 1136"/>
                <a:gd name="T31" fmla="*/ 78 h 132"/>
                <a:gd name="T32" fmla="*/ 938 w 1136"/>
                <a:gd name="T33" fmla="*/ 37 h 132"/>
                <a:gd name="T34" fmla="*/ 979 w 1136"/>
                <a:gd name="T35" fmla="*/ 37 h 132"/>
                <a:gd name="T36" fmla="*/ 979 w 1136"/>
                <a:gd name="T37" fmla="*/ 78 h 132"/>
                <a:gd name="T38" fmla="*/ 1069 w 1136"/>
                <a:gd name="T39" fmla="*/ 78 h 132"/>
                <a:gd name="T40" fmla="*/ 1055 w 1136"/>
                <a:gd name="T41" fmla="*/ 78 h 132"/>
                <a:gd name="T42" fmla="*/ 1047 w 1136"/>
                <a:gd name="T43" fmla="*/ 70 h 132"/>
                <a:gd name="T44" fmla="*/ 1041 w 1136"/>
                <a:gd name="T45" fmla="*/ 64 h 132"/>
                <a:gd name="T46" fmla="*/ 1028 w 1136"/>
                <a:gd name="T47" fmla="*/ 77 h 132"/>
                <a:gd name="T48" fmla="*/ 1027 w 1136"/>
                <a:gd name="T49" fmla="*/ 78 h 132"/>
                <a:gd name="T50" fmla="*/ 1014 w 1136"/>
                <a:gd name="T51" fmla="*/ 78 h 132"/>
                <a:gd name="T52" fmla="*/ 1035 w 1136"/>
                <a:gd name="T53" fmla="*/ 57 h 132"/>
                <a:gd name="T54" fmla="*/ 1014 w 1136"/>
                <a:gd name="T55" fmla="*/ 36 h 132"/>
                <a:gd name="T56" fmla="*/ 1027 w 1136"/>
                <a:gd name="T57" fmla="*/ 37 h 132"/>
                <a:gd name="T58" fmla="*/ 1041 w 1136"/>
                <a:gd name="T59" fmla="*/ 51 h 132"/>
                <a:gd name="T60" fmla="*/ 1055 w 1136"/>
                <a:gd name="T61" fmla="*/ 37 h 132"/>
                <a:gd name="T62" fmla="*/ 1069 w 1136"/>
                <a:gd name="T63" fmla="*/ 37 h 132"/>
                <a:gd name="T64" fmla="*/ 1048 w 1136"/>
                <a:gd name="T65" fmla="*/ 57 h 132"/>
                <a:gd name="T66" fmla="*/ 1069 w 1136"/>
                <a:gd name="T67" fmla="*/ 78 h 132"/>
                <a:gd name="T68" fmla="*/ 973 w 1136"/>
                <a:gd name="T69" fmla="*/ 44 h 132"/>
                <a:gd name="T70" fmla="*/ 945 w 1136"/>
                <a:gd name="T71" fmla="*/ 44 h 132"/>
                <a:gd name="T72" fmla="*/ 945 w 1136"/>
                <a:gd name="T73" fmla="*/ 72 h 132"/>
                <a:gd name="T74" fmla="*/ 973 w 1136"/>
                <a:gd name="T75" fmla="*/ 72 h 132"/>
                <a:gd name="T76" fmla="*/ 973 w 1136"/>
                <a:gd name="T77"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6" h="132">
                  <a:moveTo>
                    <a:pt x="1080" y="0"/>
                  </a:moveTo>
                  <a:cubicBezTo>
                    <a:pt x="56" y="0"/>
                    <a:pt x="56" y="0"/>
                    <a:pt x="56" y="0"/>
                  </a:cubicBezTo>
                  <a:cubicBezTo>
                    <a:pt x="25" y="0"/>
                    <a:pt x="0" y="25"/>
                    <a:pt x="0" y="56"/>
                  </a:cubicBezTo>
                  <a:cubicBezTo>
                    <a:pt x="0" y="127"/>
                    <a:pt x="0" y="127"/>
                    <a:pt x="0" y="127"/>
                  </a:cubicBezTo>
                  <a:cubicBezTo>
                    <a:pt x="10" y="118"/>
                    <a:pt x="24" y="112"/>
                    <a:pt x="39" y="112"/>
                  </a:cubicBezTo>
                  <a:cubicBezTo>
                    <a:pt x="1092" y="112"/>
                    <a:pt x="1092" y="112"/>
                    <a:pt x="1092" y="112"/>
                  </a:cubicBezTo>
                  <a:cubicBezTo>
                    <a:pt x="1110" y="112"/>
                    <a:pt x="1126" y="120"/>
                    <a:pt x="1136" y="132"/>
                  </a:cubicBezTo>
                  <a:cubicBezTo>
                    <a:pt x="1136" y="56"/>
                    <a:pt x="1136" y="56"/>
                    <a:pt x="1136" y="56"/>
                  </a:cubicBezTo>
                  <a:cubicBezTo>
                    <a:pt x="1136" y="25"/>
                    <a:pt x="1111" y="0"/>
                    <a:pt x="1080" y="0"/>
                  </a:cubicBezTo>
                  <a:close/>
                  <a:moveTo>
                    <a:pt x="909" y="79"/>
                  </a:moveTo>
                  <a:cubicBezTo>
                    <a:pt x="859" y="79"/>
                    <a:pt x="859" y="79"/>
                    <a:pt x="859" y="79"/>
                  </a:cubicBezTo>
                  <a:cubicBezTo>
                    <a:pt x="859" y="69"/>
                    <a:pt x="859" y="69"/>
                    <a:pt x="859" y="69"/>
                  </a:cubicBezTo>
                  <a:cubicBezTo>
                    <a:pt x="909" y="69"/>
                    <a:pt x="909" y="69"/>
                    <a:pt x="909" y="69"/>
                  </a:cubicBezTo>
                  <a:lnTo>
                    <a:pt x="909" y="79"/>
                  </a:lnTo>
                  <a:close/>
                  <a:moveTo>
                    <a:pt x="979" y="78"/>
                  </a:moveTo>
                  <a:cubicBezTo>
                    <a:pt x="938" y="78"/>
                    <a:pt x="938" y="78"/>
                    <a:pt x="938" y="78"/>
                  </a:cubicBezTo>
                  <a:cubicBezTo>
                    <a:pt x="938" y="37"/>
                    <a:pt x="938" y="37"/>
                    <a:pt x="938" y="37"/>
                  </a:cubicBezTo>
                  <a:cubicBezTo>
                    <a:pt x="979" y="37"/>
                    <a:pt x="979" y="37"/>
                    <a:pt x="979" y="37"/>
                  </a:cubicBezTo>
                  <a:lnTo>
                    <a:pt x="979" y="78"/>
                  </a:lnTo>
                  <a:close/>
                  <a:moveTo>
                    <a:pt x="1069" y="78"/>
                  </a:moveTo>
                  <a:cubicBezTo>
                    <a:pt x="1055" y="78"/>
                    <a:pt x="1055" y="78"/>
                    <a:pt x="1055" y="78"/>
                  </a:cubicBezTo>
                  <a:cubicBezTo>
                    <a:pt x="1047" y="70"/>
                    <a:pt x="1047" y="70"/>
                    <a:pt x="1047" y="70"/>
                  </a:cubicBezTo>
                  <a:cubicBezTo>
                    <a:pt x="1041" y="64"/>
                    <a:pt x="1041" y="64"/>
                    <a:pt x="1041" y="64"/>
                  </a:cubicBezTo>
                  <a:cubicBezTo>
                    <a:pt x="1028" y="77"/>
                    <a:pt x="1028" y="77"/>
                    <a:pt x="1028" y="77"/>
                  </a:cubicBezTo>
                  <a:cubicBezTo>
                    <a:pt x="1027" y="78"/>
                    <a:pt x="1027" y="78"/>
                    <a:pt x="1027" y="78"/>
                  </a:cubicBezTo>
                  <a:cubicBezTo>
                    <a:pt x="1014" y="78"/>
                    <a:pt x="1014" y="78"/>
                    <a:pt x="1014" y="78"/>
                  </a:cubicBezTo>
                  <a:cubicBezTo>
                    <a:pt x="1035" y="57"/>
                    <a:pt x="1035" y="57"/>
                    <a:pt x="1035" y="57"/>
                  </a:cubicBezTo>
                  <a:cubicBezTo>
                    <a:pt x="1014" y="36"/>
                    <a:pt x="1014" y="36"/>
                    <a:pt x="1014" y="36"/>
                  </a:cubicBezTo>
                  <a:cubicBezTo>
                    <a:pt x="1027" y="37"/>
                    <a:pt x="1027" y="37"/>
                    <a:pt x="1027" y="37"/>
                  </a:cubicBezTo>
                  <a:cubicBezTo>
                    <a:pt x="1041" y="51"/>
                    <a:pt x="1041" y="51"/>
                    <a:pt x="1041" y="51"/>
                  </a:cubicBezTo>
                  <a:cubicBezTo>
                    <a:pt x="1055" y="37"/>
                    <a:pt x="1055" y="37"/>
                    <a:pt x="1055" y="37"/>
                  </a:cubicBezTo>
                  <a:cubicBezTo>
                    <a:pt x="1069" y="37"/>
                    <a:pt x="1069" y="37"/>
                    <a:pt x="1069" y="37"/>
                  </a:cubicBezTo>
                  <a:cubicBezTo>
                    <a:pt x="1048" y="57"/>
                    <a:pt x="1048" y="57"/>
                    <a:pt x="1048" y="57"/>
                  </a:cubicBezTo>
                  <a:lnTo>
                    <a:pt x="1069" y="78"/>
                  </a:lnTo>
                  <a:close/>
                  <a:moveTo>
                    <a:pt x="973" y="44"/>
                  </a:moveTo>
                  <a:cubicBezTo>
                    <a:pt x="945" y="44"/>
                    <a:pt x="945" y="44"/>
                    <a:pt x="945" y="44"/>
                  </a:cubicBezTo>
                  <a:cubicBezTo>
                    <a:pt x="945" y="72"/>
                    <a:pt x="945" y="72"/>
                    <a:pt x="945" y="72"/>
                  </a:cubicBezTo>
                  <a:cubicBezTo>
                    <a:pt x="973" y="72"/>
                    <a:pt x="973" y="72"/>
                    <a:pt x="973" y="72"/>
                  </a:cubicBezTo>
                  <a:lnTo>
                    <a:pt x="973" y="4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noEditPoints="1"/>
            </p:cNvSpPr>
            <p:nvPr/>
          </p:nvSpPr>
          <p:spPr bwMode="auto">
            <a:xfrm>
              <a:off x="1961" y="1850"/>
              <a:ext cx="250" cy="251"/>
            </a:xfrm>
            <a:custGeom>
              <a:avLst/>
              <a:gdLst>
                <a:gd name="T0" fmla="*/ 306 w 349"/>
                <a:gd name="T1" fmla="*/ 229 h 350"/>
                <a:gd name="T2" fmla="*/ 347 w 349"/>
                <a:gd name="T3" fmla="*/ 198 h 350"/>
                <a:gd name="T4" fmla="*/ 347 w 349"/>
                <a:gd name="T5" fmla="*/ 152 h 350"/>
                <a:gd name="T6" fmla="*/ 306 w 349"/>
                <a:gd name="T7" fmla="*/ 121 h 350"/>
                <a:gd name="T8" fmla="*/ 314 w 349"/>
                <a:gd name="T9" fmla="*/ 70 h 350"/>
                <a:gd name="T10" fmla="*/ 281 w 349"/>
                <a:gd name="T11" fmla="*/ 37 h 350"/>
                <a:gd name="T12" fmla="*/ 230 w 349"/>
                <a:gd name="T13" fmla="*/ 44 h 350"/>
                <a:gd name="T14" fmla="*/ 200 w 349"/>
                <a:gd name="T15" fmla="*/ 2 h 350"/>
                <a:gd name="T16" fmla="*/ 149 w 349"/>
                <a:gd name="T17" fmla="*/ 2 h 350"/>
                <a:gd name="T18" fmla="*/ 119 w 349"/>
                <a:gd name="T19" fmla="*/ 44 h 350"/>
                <a:gd name="T20" fmla="*/ 68 w 349"/>
                <a:gd name="T21" fmla="*/ 37 h 350"/>
                <a:gd name="T22" fmla="*/ 35 w 349"/>
                <a:gd name="T23" fmla="*/ 70 h 350"/>
                <a:gd name="T24" fmla="*/ 43 w 349"/>
                <a:gd name="T25" fmla="*/ 121 h 350"/>
                <a:gd name="T26" fmla="*/ 2 w 349"/>
                <a:gd name="T27" fmla="*/ 152 h 350"/>
                <a:gd name="T28" fmla="*/ 2 w 349"/>
                <a:gd name="T29" fmla="*/ 198 h 350"/>
                <a:gd name="T30" fmla="*/ 43 w 349"/>
                <a:gd name="T31" fmla="*/ 229 h 350"/>
                <a:gd name="T32" fmla="*/ 35 w 349"/>
                <a:gd name="T33" fmla="*/ 279 h 350"/>
                <a:gd name="T34" fmla="*/ 68 w 349"/>
                <a:gd name="T35" fmla="*/ 313 h 350"/>
                <a:gd name="T36" fmla="*/ 119 w 349"/>
                <a:gd name="T37" fmla="*/ 306 h 350"/>
                <a:gd name="T38" fmla="*/ 149 w 349"/>
                <a:gd name="T39" fmla="*/ 347 h 350"/>
                <a:gd name="T40" fmla="*/ 200 w 349"/>
                <a:gd name="T41" fmla="*/ 347 h 350"/>
                <a:gd name="T42" fmla="*/ 230 w 349"/>
                <a:gd name="T43" fmla="*/ 306 h 350"/>
                <a:gd name="T44" fmla="*/ 281 w 349"/>
                <a:gd name="T45" fmla="*/ 313 h 350"/>
                <a:gd name="T46" fmla="*/ 314 w 349"/>
                <a:gd name="T47" fmla="*/ 280 h 350"/>
                <a:gd name="T48" fmla="*/ 306 w 349"/>
                <a:gd name="T49" fmla="*/ 229 h 350"/>
                <a:gd name="T50" fmla="*/ 133 w 349"/>
                <a:gd name="T51" fmla="*/ 272 h 350"/>
                <a:gd name="T52" fmla="*/ 77 w 349"/>
                <a:gd name="T53" fmla="*/ 133 h 350"/>
                <a:gd name="T54" fmla="*/ 216 w 349"/>
                <a:gd name="T55" fmla="*/ 77 h 350"/>
                <a:gd name="T56" fmla="*/ 272 w 349"/>
                <a:gd name="T57" fmla="*/ 216 h 350"/>
                <a:gd name="T58" fmla="*/ 133 w 349"/>
                <a:gd name="T59" fmla="*/ 27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9" h="350">
                  <a:moveTo>
                    <a:pt x="306" y="229"/>
                  </a:moveTo>
                  <a:cubicBezTo>
                    <a:pt x="313" y="211"/>
                    <a:pt x="329" y="200"/>
                    <a:pt x="347" y="198"/>
                  </a:cubicBezTo>
                  <a:cubicBezTo>
                    <a:pt x="349" y="182"/>
                    <a:pt x="349" y="167"/>
                    <a:pt x="347" y="152"/>
                  </a:cubicBezTo>
                  <a:cubicBezTo>
                    <a:pt x="330" y="150"/>
                    <a:pt x="313" y="139"/>
                    <a:pt x="306" y="121"/>
                  </a:cubicBezTo>
                  <a:cubicBezTo>
                    <a:pt x="299" y="103"/>
                    <a:pt x="302" y="84"/>
                    <a:pt x="314" y="70"/>
                  </a:cubicBezTo>
                  <a:cubicBezTo>
                    <a:pt x="305" y="58"/>
                    <a:pt x="294" y="47"/>
                    <a:pt x="281" y="37"/>
                  </a:cubicBezTo>
                  <a:cubicBezTo>
                    <a:pt x="267" y="48"/>
                    <a:pt x="248" y="51"/>
                    <a:pt x="230" y="44"/>
                  </a:cubicBezTo>
                  <a:cubicBezTo>
                    <a:pt x="212" y="36"/>
                    <a:pt x="201" y="20"/>
                    <a:pt x="200" y="2"/>
                  </a:cubicBezTo>
                  <a:cubicBezTo>
                    <a:pt x="183" y="0"/>
                    <a:pt x="166" y="0"/>
                    <a:pt x="149" y="2"/>
                  </a:cubicBezTo>
                  <a:cubicBezTo>
                    <a:pt x="148" y="20"/>
                    <a:pt x="136" y="36"/>
                    <a:pt x="119" y="44"/>
                  </a:cubicBezTo>
                  <a:cubicBezTo>
                    <a:pt x="101" y="51"/>
                    <a:pt x="82" y="48"/>
                    <a:pt x="68" y="37"/>
                  </a:cubicBezTo>
                  <a:cubicBezTo>
                    <a:pt x="56" y="46"/>
                    <a:pt x="45" y="57"/>
                    <a:pt x="35" y="70"/>
                  </a:cubicBezTo>
                  <a:cubicBezTo>
                    <a:pt x="47" y="84"/>
                    <a:pt x="50" y="103"/>
                    <a:pt x="43" y="121"/>
                  </a:cubicBezTo>
                  <a:cubicBezTo>
                    <a:pt x="36" y="139"/>
                    <a:pt x="19" y="150"/>
                    <a:pt x="2" y="152"/>
                  </a:cubicBezTo>
                  <a:cubicBezTo>
                    <a:pt x="0" y="167"/>
                    <a:pt x="0" y="183"/>
                    <a:pt x="2" y="198"/>
                  </a:cubicBezTo>
                  <a:cubicBezTo>
                    <a:pt x="19" y="200"/>
                    <a:pt x="36" y="211"/>
                    <a:pt x="43" y="229"/>
                  </a:cubicBezTo>
                  <a:cubicBezTo>
                    <a:pt x="50" y="246"/>
                    <a:pt x="46" y="266"/>
                    <a:pt x="35" y="279"/>
                  </a:cubicBezTo>
                  <a:cubicBezTo>
                    <a:pt x="44" y="292"/>
                    <a:pt x="55" y="303"/>
                    <a:pt x="68" y="313"/>
                  </a:cubicBezTo>
                  <a:cubicBezTo>
                    <a:pt x="82" y="302"/>
                    <a:pt x="101" y="298"/>
                    <a:pt x="119" y="306"/>
                  </a:cubicBezTo>
                  <a:cubicBezTo>
                    <a:pt x="137" y="313"/>
                    <a:pt x="148" y="329"/>
                    <a:pt x="149" y="347"/>
                  </a:cubicBezTo>
                  <a:cubicBezTo>
                    <a:pt x="166" y="350"/>
                    <a:pt x="183" y="350"/>
                    <a:pt x="200" y="347"/>
                  </a:cubicBezTo>
                  <a:cubicBezTo>
                    <a:pt x="201" y="329"/>
                    <a:pt x="213" y="313"/>
                    <a:pt x="230" y="306"/>
                  </a:cubicBezTo>
                  <a:cubicBezTo>
                    <a:pt x="248" y="298"/>
                    <a:pt x="267" y="301"/>
                    <a:pt x="281" y="313"/>
                  </a:cubicBezTo>
                  <a:cubicBezTo>
                    <a:pt x="293" y="303"/>
                    <a:pt x="304" y="292"/>
                    <a:pt x="314" y="280"/>
                  </a:cubicBezTo>
                  <a:cubicBezTo>
                    <a:pt x="302" y="266"/>
                    <a:pt x="299" y="246"/>
                    <a:pt x="306" y="229"/>
                  </a:cubicBezTo>
                  <a:close/>
                  <a:moveTo>
                    <a:pt x="133" y="272"/>
                  </a:moveTo>
                  <a:cubicBezTo>
                    <a:pt x="79" y="249"/>
                    <a:pt x="54" y="187"/>
                    <a:pt x="77" y="133"/>
                  </a:cubicBezTo>
                  <a:cubicBezTo>
                    <a:pt x="100" y="80"/>
                    <a:pt x="162" y="55"/>
                    <a:pt x="216" y="77"/>
                  </a:cubicBezTo>
                  <a:cubicBezTo>
                    <a:pt x="270" y="100"/>
                    <a:pt x="295" y="162"/>
                    <a:pt x="272" y="216"/>
                  </a:cubicBezTo>
                  <a:cubicBezTo>
                    <a:pt x="249" y="270"/>
                    <a:pt x="187" y="295"/>
                    <a:pt x="133" y="272"/>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noEditPoints="1"/>
            </p:cNvSpPr>
            <p:nvPr/>
          </p:nvSpPr>
          <p:spPr bwMode="auto">
            <a:xfrm>
              <a:off x="2027" y="1917"/>
              <a:ext cx="119" cy="117"/>
            </a:xfrm>
            <a:custGeom>
              <a:avLst/>
              <a:gdLst>
                <a:gd name="T0" fmla="*/ 111 w 165"/>
                <a:gd name="T1" fmla="*/ 15 h 164"/>
                <a:gd name="T2" fmla="*/ 16 w 165"/>
                <a:gd name="T3" fmla="*/ 54 h 164"/>
                <a:gd name="T4" fmla="*/ 54 w 165"/>
                <a:gd name="T5" fmla="*/ 148 h 164"/>
                <a:gd name="T6" fmla="*/ 149 w 165"/>
                <a:gd name="T7" fmla="*/ 110 h 164"/>
                <a:gd name="T8" fmla="*/ 111 w 165"/>
                <a:gd name="T9" fmla="*/ 15 h 164"/>
                <a:gd name="T10" fmla="*/ 68 w 165"/>
                <a:gd name="T11" fmla="*/ 116 h 164"/>
                <a:gd name="T12" fmla="*/ 48 w 165"/>
                <a:gd name="T13" fmla="*/ 67 h 164"/>
                <a:gd name="T14" fmla="*/ 97 w 165"/>
                <a:gd name="T15" fmla="*/ 48 h 164"/>
                <a:gd name="T16" fmla="*/ 117 w 165"/>
                <a:gd name="T17" fmla="*/ 96 h 164"/>
                <a:gd name="T18" fmla="*/ 68 w 165"/>
                <a:gd name="T19" fmla="*/ 1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111" y="15"/>
                  </a:moveTo>
                  <a:cubicBezTo>
                    <a:pt x="74" y="0"/>
                    <a:pt x="31" y="17"/>
                    <a:pt x="16" y="54"/>
                  </a:cubicBezTo>
                  <a:cubicBezTo>
                    <a:pt x="0" y="90"/>
                    <a:pt x="17" y="133"/>
                    <a:pt x="54" y="148"/>
                  </a:cubicBezTo>
                  <a:cubicBezTo>
                    <a:pt x="91" y="164"/>
                    <a:pt x="133" y="147"/>
                    <a:pt x="149" y="110"/>
                  </a:cubicBezTo>
                  <a:cubicBezTo>
                    <a:pt x="165" y="73"/>
                    <a:pt x="148" y="31"/>
                    <a:pt x="111" y="15"/>
                  </a:cubicBezTo>
                  <a:close/>
                  <a:moveTo>
                    <a:pt x="68" y="116"/>
                  </a:moveTo>
                  <a:cubicBezTo>
                    <a:pt x="49" y="108"/>
                    <a:pt x="40" y="86"/>
                    <a:pt x="48" y="67"/>
                  </a:cubicBezTo>
                  <a:cubicBezTo>
                    <a:pt x="56" y="48"/>
                    <a:pt x="78" y="39"/>
                    <a:pt x="97" y="48"/>
                  </a:cubicBezTo>
                  <a:cubicBezTo>
                    <a:pt x="116" y="56"/>
                    <a:pt x="125" y="77"/>
                    <a:pt x="117" y="96"/>
                  </a:cubicBezTo>
                  <a:cubicBezTo>
                    <a:pt x="109" y="115"/>
                    <a:pt x="87" y="124"/>
                    <a:pt x="68" y="116"/>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noEditPoints="1"/>
            </p:cNvSpPr>
            <p:nvPr/>
          </p:nvSpPr>
          <p:spPr bwMode="auto">
            <a:xfrm>
              <a:off x="1815" y="1784"/>
              <a:ext cx="165" cy="164"/>
            </a:xfrm>
            <a:custGeom>
              <a:avLst/>
              <a:gdLst>
                <a:gd name="T0" fmla="*/ 201 w 230"/>
                <a:gd name="T1" fmla="*/ 150 h 230"/>
                <a:gd name="T2" fmla="*/ 228 w 230"/>
                <a:gd name="T3" fmla="*/ 130 h 230"/>
                <a:gd name="T4" fmla="*/ 228 w 230"/>
                <a:gd name="T5" fmla="*/ 100 h 230"/>
                <a:gd name="T6" fmla="*/ 201 w 230"/>
                <a:gd name="T7" fmla="*/ 80 h 230"/>
                <a:gd name="T8" fmla="*/ 206 w 230"/>
                <a:gd name="T9" fmla="*/ 46 h 230"/>
                <a:gd name="T10" fmla="*/ 185 w 230"/>
                <a:gd name="T11" fmla="*/ 24 h 230"/>
                <a:gd name="T12" fmla="*/ 151 w 230"/>
                <a:gd name="T13" fmla="*/ 29 h 230"/>
                <a:gd name="T14" fmla="*/ 132 w 230"/>
                <a:gd name="T15" fmla="*/ 2 h 230"/>
                <a:gd name="T16" fmla="*/ 98 w 230"/>
                <a:gd name="T17" fmla="*/ 2 h 230"/>
                <a:gd name="T18" fmla="*/ 79 w 230"/>
                <a:gd name="T19" fmla="*/ 29 h 230"/>
                <a:gd name="T20" fmla="*/ 45 w 230"/>
                <a:gd name="T21" fmla="*/ 24 h 230"/>
                <a:gd name="T22" fmla="*/ 24 w 230"/>
                <a:gd name="T23" fmla="*/ 46 h 230"/>
                <a:gd name="T24" fmla="*/ 29 w 230"/>
                <a:gd name="T25" fmla="*/ 79 h 230"/>
                <a:gd name="T26" fmla="*/ 2 w 230"/>
                <a:gd name="T27" fmla="*/ 100 h 230"/>
                <a:gd name="T28" fmla="*/ 2 w 230"/>
                <a:gd name="T29" fmla="*/ 130 h 230"/>
                <a:gd name="T30" fmla="*/ 29 w 230"/>
                <a:gd name="T31" fmla="*/ 150 h 230"/>
                <a:gd name="T32" fmla="*/ 24 w 230"/>
                <a:gd name="T33" fmla="*/ 183 h 230"/>
                <a:gd name="T34" fmla="*/ 45 w 230"/>
                <a:gd name="T35" fmla="*/ 205 h 230"/>
                <a:gd name="T36" fmla="*/ 79 w 230"/>
                <a:gd name="T37" fmla="*/ 201 h 230"/>
                <a:gd name="T38" fmla="*/ 98 w 230"/>
                <a:gd name="T39" fmla="*/ 228 h 230"/>
                <a:gd name="T40" fmla="*/ 132 w 230"/>
                <a:gd name="T41" fmla="*/ 228 h 230"/>
                <a:gd name="T42" fmla="*/ 152 w 230"/>
                <a:gd name="T43" fmla="*/ 201 h 230"/>
                <a:gd name="T44" fmla="*/ 185 w 230"/>
                <a:gd name="T45" fmla="*/ 205 h 230"/>
                <a:gd name="T46" fmla="*/ 206 w 230"/>
                <a:gd name="T47" fmla="*/ 184 h 230"/>
                <a:gd name="T48" fmla="*/ 201 w 230"/>
                <a:gd name="T49" fmla="*/ 150 h 230"/>
                <a:gd name="T50" fmla="*/ 88 w 230"/>
                <a:gd name="T51" fmla="*/ 179 h 230"/>
                <a:gd name="T52" fmla="*/ 51 w 230"/>
                <a:gd name="T53" fmla="*/ 88 h 230"/>
                <a:gd name="T54" fmla="*/ 142 w 230"/>
                <a:gd name="T55" fmla="*/ 51 h 230"/>
                <a:gd name="T56" fmla="*/ 179 w 230"/>
                <a:gd name="T57" fmla="*/ 142 h 230"/>
                <a:gd name="T58" fmla="*/ 88 w 230"/>
                <a:gd name="T59" fmla="*/ 17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0" h="230">
                  <a:moveTo>
                    <a:pt x="201" y="150"/>
                  </a:moveTo>
                  <a:cubicBezTo>
                    <a:pt x="206" y="139"/>
                    <a:pt x="217" y="131"/>
                    <a:pt x="228" y="130"/>
                  </a:cubicBezTo>
                  <a:cubicBezTo>
                    <a:pt x="230" y="120"/>
                    <a:pt x="230" y="110"/>
                    <a:pt x="228" y="100"/>
                  </a:cubicBezTo>
                  <a:cubicBezTo>
                    <a:pt x="217" y="99"/>
                    <a:pt x="206" y="91"/>
                    <a:pt x="201" y="80"/>
                  </a:cubicBezTo>
                  <a:cubicBezTo>
                    <a:pt x="197" y="68"/>
                    <a:pt x="199" y="55"/>
                    <a:pt x="206" y="46"/>
                  </a:cubicBezTo>
                  <a:cubicBezTo>
                    <a:pt x="200" y="38"/>
                    <a:pt x="193" y="31"/>
                    <a:pt x="185" y="24"/>
                  </a:cubicBezTo>
                  <a:cubicBezTo>
                    <a:pt x="176" y="32"/>
                    <a:pt x="163" y="34"/>
                    <a:pt x="151" y="29"/>
                  </a:cubicBezTo>
                  <a:cubicBezTo>
                    <a:pt x="140" y="24"/>
                    <a:pt x="133" y="13"/>
                    <a:pt x="132" y="2"/>
                  </a:cubicBezTo>
                  <a:cubicBezTo>
                    <a:pt x="120" y="0"/>
                    <a:pt x="109" y="0"/>
                    <a:pt x="98" y="2"/>
                  </a:cubicBezTo>
                  <a:cubicBezTo>
                    <a:pt x="97" y="13"/>
                    <a:pt x="90" y="24"/>
                    <a:pt x="79" y="29"/>
                  </a:cubicBezTo>
                  <a:cubicBezTo>
                    <a:pt x="67" y="34"/>
                    <a:pt x="54" y="32"/>
                    <a:pt x="45" y="24"/>
                  </a:cubicBezTo>
                  <a:cubicBezTo>
                    <a:pt x="37" y="31"/>
                    <a:pt x="30" y="38"/>
                    <a:pt x="24" y="46"/>
                  </a:cubicBezTo>
                  <a:cubicBezTo>
                    <a:pt x="31" y="55"/>
                    <a:pt x="33" y="68"/>
                    <a:pt x="29" y="79"/>
                  </a:cubicBezTo>
                  <a:cubicBezTo>
                    <a:pt x="24" y="91"/>
                    <a:pt x="13" y="98"/>
                    <a:pt x="2" y="100"/>
                  </a:cubicBezTo>
                  <a:cubicBezTo>
                    <a:pt x="0" y="110"/>
                    <a:pt x="0" y="120"/>
                    <a:pt x="2" y="130"/>
                  </a:cubicBezTo>
                  <a:cubicBezTo>
                    <a:pt x="13" y="131"/>
                    <a:pt x="24" y="138"/>
                    <a:pt x="29" y="150"/>
                  </a:cubicBezTo>
                  <a:cubicBezTo>
                    <a:pt x="33" y="162"/>
                    <a:pt x="31" y="174"/>
                    <a:pt x="24" y="183"/>
                  </a:cubicBezTo>
                  <a:cubicBezTo>
                    <a:pt x="30" y="192"/>
                    <a:pt x="37" y="199"/>
                    <a:pt x="45" y="205"/>
                  </a:cubicBezTo>
                  <a:cubicBezTo>
                    <a:pt x="54" y="198"/>
                    <a:pt x="67" y="196"/>
                    <a:pt x="79" y="201"/>
                  </a:cubicBezTo>
                  <a:cubicBezTo>
                    <a:pt x="90" y="206"/>
                    <a:pt x="97" y="216"/>
                    <a:pt x="98" y="228"/>
                  </a:cubicBezTo>
                  <a:cubicBezTo>
                    <a:pt x="110" y="230"/>
                    <a:pt x="121" y="230"/>
                    <a:pt x="132" y="228"/>
                  </a:cubicBezTo>
                  <a:cubicBezTo>
                    <a:pt x="133" y="216"/>
                    <a:pt x="140" y="206"/>
                    <a:pt x="152" y="201"/>
                  </a:cubicBezTo>
                  <a:cubicBezTo>
                    <a:pt x="163" y="196"/>
                    <a:pt x="176" y="198"/>
                    <a:pt x="185" y="205"/>
                  </a:cubicBezTo>
                  <a:cubicBezTo>
                    <a:pt x="193" y="199"/>
                    <a:pt x="200" y="192"/>
                    <a:pt x="206" y="184"/>
                  </a:cubicBezTo>
                  <a:cubicBezTo>
                    <a:pt x="199" y="175"/>
                    <a:pt x="197" y="162"/>
                    <a:pt x="201" y="150"/>
                  </a:cubicBezTo>
                  <a:close/>
                  <a:moveTo>
                    <a:pt x="88" y="179"/>
                  </a:moveTo>
                  <a:cubicBezTo>
                    <a:pt x="53" y="164"/>
                    <a:pt x="36" y="123"/>
                    <a:pt x="51" y="88"/>
                  </a:cubicBezTo>
                  <a:cubicBezTo>
                    <a:pt x="66" y="52"/>
                    <a:pt x="107" y="36"/>
                    <a:pt x="142" y="51"/>
                  </a:cubicBezTo>
                  <a:cubicBezTo>
                    <a:pt x="177" y="66"/>
                    <a:pt x="194" y="107"/>
                    <a:pt x="179" y="142"/>
                  </a:cubicBezTo>
                  <a:cubicBezTo>
                    <a:pt x="164" y="177"/>
                    <a:pt x="123" y="194"/>
                    <a:pt x="88" y="179"/>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noEditPoints="1"/>
            </p:cNvSpPr>
            <p:nvPr/>
          </p:nvSpPr>
          <p:spPr bwMode="auto">
            <a:xfrm>
              <a:off x="1859" y="1827"/>
              <a:ext cx="77" cy="78"/>
            </a:xfrm>
            <a:custGeom>
              <a:avLst/>
              <a:gdLst>
                <a:gd name="T0" fmla="*/ 73 w 108"/>
                <a:gd name="T1" fmla="*/ 10 h 108"/>
                <a:gd name="T2" fmla="*/ 10 w 108"/>
                <a:gd name="T3" fmla="*/ 35 h 108"/>
                <a:gd name="T4" fmla="*/ 35 w 108"/>
                <a:gd name="T5" fmla="*/ 97 h 108"/>
                <a:gd name="T6" fmla="*/ 98 w 108"/>
                <a:gd name="T7" fmla="*/ 72 h 108"/>
                <a:gd name="T8" fmla="*/ 73 w 108"/>
                <a:gd name="T9" fmla="*/ 10 h 108"/>
                <a:gd name="T10" fmla="*/ 44 w 108"/>
                <a:gd name="T11" fmla="*/ 76 h 108"/>
                <a:gd name="T12" fmla="*/ 32 w 108"/>
                <a:gd name="T13" fmla="*/ 44 h 108"/>
                <a:gd name="T14" fmla="*/ 64 w 108"/>
                <a:gd name="T15" fmla="*/ 31 h 108"/>
                <a:gd name="T16" fmla="*/ 77 w 108"/>
                <a:gd name="T17" fmla="*/ 63 h 108"/>
                <a:gd name="T18" fmla="*/ 44 w 108"/>
                <a:gd name="T19"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73" y="10"/>
                  </a:moveTo>
                  <a:cubicBezTo>
                    <a:pt x="48" y="0"/>
                    <a:pt x="21" y="11"/>
                    <a:pt x="10" y="35"/>
                  </a:cubicBezTo>
                  <a:cubicBezTo>
                    <a:pt x="0" y="59"/>
                    <a:pt x="11" y="87"/>
                    <a:pt x="35" y="97"/>
                  </a:cubicBezTo>
                  <a:cubicBezTo>
                    <a:pt x="60" y="108"/>
                    <a:pt x="87" y="96"/>
                    <a:pt x="98" y="72"/>
                  </a:cubicBezTo>
                  <a:cubicBezTo>
                    <a:pt x="108" y="48"/>
                    <a:pt x="97" y="20"/>
                    <a:pt x="73" y="10"/>
                  </a:cubicBezTo>
                  <a:close/>
                  <a:moveTo>
                    <a:pt x="44" y="76"/>
                  </a:moveTo>
                  <a:cubicBezTo>
                    <a:pt x="32" y="71"/>
                    <a:pt x="26" y="57"/>
                    <a:pt x="32" y="44"/>
                  </a:cubicBezTo>
                  <a:cubicBezTo>
                    <a:pt x="37" y="32"/>
                    <a:pt x="51" y="26"/>
                    <a:pt x="64" y="31"/>
                  </a:cubicBezTo>
                  <a:cubicBezTo>
                    <a:pt x="76" y="37"/>
                    <a:pt x="82" y="51"/>
                    <a:pt x="77" y="63"/>
                  </a:cubicBezTo>
                  <a:cubicBezTo>
                    <a:pt x="71" y="76"/>
                    <a:pt x="57" y="82"/>
                    <a:pt x="44" y="76"/>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3" name="Group 52"/>
          <p:cNvGrpSpPr/>
          <p:nvPr/>
        </p:nvGrpSpPr>
        <p:grpSpPr>
          <a:xfrm>
            <a:off x="8193144" y="1723504"/>
            <a:ext cx="2354763" cy="3045864"/>
            <a:chOff x="9030467" y="2672341"/>
            <a:chExt cx="1086107" cy="1404869"/>
          </a:xfrm>
        </p:grpSpPr>
        <p:sp>
          <p:nvSpPr>
            <p:cNvPr id="19" name="Freeform 6"/>
            <p:cNvSpPr>
              <a:spLocks noEditPoints="1"/>
            </p:cNvSpPr>
            <p:nvPr/>
          </p:nvSpPr>
          <p:spPr bwMode="auto">
            <a:xfrm>
              <a:off x="9030467" y="2672341"/>
              <a:ext cx="713671" cy="1078248"/>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52" name="Group 51"/>
            <p:cNvGrpSpPr/>
            <p:nvPr/>
          </p:nvGrpSpPr>
          <p:grpSpPr>
            <a:xfrm>
              <a:off x="9272863" y="3381377"/>
              <a:ext cx="843711" cy="695833"/>
              <a:chOff x="9272863" y="3381377"/>
              <a:chExt cx="843711" cy="695833"/>
            </a:xfrm>
          </p:grpSpPr>
          <p:grpSp>
            <p:nvGrpSpPr>
              <p:cNvPr id="40" name="Group 39"/>
              <p:cNvGrpSpPr/>
              <p:nvPr/>
            </p:nvGrpSpPr>
            <p:grpSpPr>
              <a:xfrm>
                <a:off x="9272863" y="3381377"/>
                <a:ext cx="647887" cy="421944"/>
                <a:chOff x="9186252" y="3211465"/>
                <a:chExt cx="951523" cy="619691"/>
              </a:xfrm>
            </p:grpSpPr>
            <p:sp>
              <p:nvSpPr>
                <p:cNvPr id="33" name="Freeform 22"/>
                <p:cNvSpPr>
                  <a:spLocks/>
                </p:cNvSpPr>
                <p:nvPr/>
              </p:nvSpPr>
              <p:spPr bwMode="auto">
                <a:xfrm>
                  <a:off x="9210651" y="3237607"/>
                  <a:ext cx="831312" cy="557693"/>
                </a:xfrm>
                <a:custGeom>
                  <a:avLst/>
                  <a:gdLst>
                    <a:gd name="T0" fmla="*/ 477 w 477"/>
                    <a:gd name="T1" fmla="*/ 320 h 320"/>
                    <a:gd name="T2" fmla="*/ 0 w 477"/>
                    <a:gd name="T3" fmla="*/ 320 h 320"/>
                    <a:gd name="T4" fmla="*/ 0 w 477"/>
                    <a:gd name="T5" fmla="*/ 59 h 320"/>
                    <a:gd name="T6" fmla="*/ 66 w 477"/>
                    <a:gd name="T7" fmla="*/ 0 h 320"/>
                    <a:gd name="T8" fmla="*/ 477 w 477"/>
                    <a:gd name="T9" fmla="*/ 0 h 320"/>
                    <a:gd name="T10" fmla="*/ 477 w 477"/>
                    <a:gd name="T11" fmla="*/ 320 h 320"/>
                  </a:gdLst>
                  <a:ahLst/>
                  <a:cxnLst>
                    <a:cxn ang="0">
                      <a:pos x="T0" y="T1"/>
                    </a:cxn>
                    <a:cxn ang="0">
                      <a:pos x="T2" y="T3"/>
                    </a:cxn>
                    <a:cxn ang="0">
                      <a:pos x="T4" y="T5"/>
                    </a:cxn>
                    <a:cxn ang="0">
                      <a:pos x="T6" y="T7"/>
                    </a:cxn>
                    <a:cxn ang="0">
                      <a:pos x="T8" y="T9"/>
                    </a:cxn>
                    <a:cxn ang="0">
                      <a:pos x="T10" y="T11"/>
                    </a:cxn>
                  </a:cxnLst>
                  <a:rect l="0" t="0" r="r" b="b"/>
                  <a:pathLst>
                    <a:path w="477" h="320">
                      <a:moveTo>
                        <a:pt x="477" y="320"/>
                      </a:moveTo>
                      <a:lnTo>
                        <a:pt x="0" y="320"/>
                      </a:lnTo>
                      <a:lnTo>
                        <a:pt x="0" y="59"/>
                      </a:lnTo>
                      <a:lnTo>
                        <a:pt x="66" y="0"/>
                      </a:lnTo>
                      <a:lnTo>
                        <a:pt x="477" y="0"/>
                      </a:lnTo>
                      <a:lnTo>
                        <a:pt x="477" y="3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3"/>
                <p:cNvSpPr>
                  <a:spLocks noEditPoints="1"/>
                </p:cNvSpPr>
                <p:nvPr/>
              </p:nvSpPr>
              <p:spPr bwMode="auto">
                <a:xfrm>
                  <a:off x="9186252" y="3211465"/>
                  <a:ext cx="867910" cy="576864"/>
                </a:xfrm>
                <a:custGeom>
                  <a:avLst/>
                  <a:gdLst>
                    <a:gd name="T0" fmla="*/ 354 w 354"/>
                    <a:gd name="T1" fmla="*/ 235 h 235"/>
                    <a:gd name="T2" fmla="*/ 336 w 354"/>
                    <a:gd name="T3" fmla="*/ 0 h 235"/>
                    <a:gd name="T4" fmla="*/ 0 w 354"/>
                    <a:gd name="T5" fmla="*/ 48 h 235"/>
                    <a:gd name="T6" fmla="*/ 17 w 354"/>
                    <a:gd name="T7" fmla="*/ 235 h 235"/>
                    <a:gd name="T8" fmla="*/ 22 w 354"/>
                    <a:gd name="T9" fmla="*/ 224 h 235"/>
                    <a:gd name="T10" fmla="*/ 10 w 354"/>
                    <a:gd name="T11" fmla="*/ 55 h 235"/>
                    <a:gd name="T12" fmla="*/ 52 w 354"/>
                    <a:gd name="T13" fmla="*/ 53 h 235"/>
                    <a:gd name="T14" fmla="*/ 56 w 354"/>
                    <a:gd name="T15" fmla="*/ 12 h 235"/>
                    <a:gd name="T16" fmla="*/ 344 w 354"/>
                    <a:gd name="T17" fmla="*/ 24 h 235"/>
                    <a:gd name="T18" fmla="*/ 22 w 354"/>
                    <a:gd name="T19" fmla="*/ 224 h 235"/>
                    <a:gd name="T20" fmla="*/ 107 w 354"/>
                    <a:gd name="T21" fmla="*/ 60 h 235"/>
                    <a:gd name="T22" fmla="*/ 107 w 354"/>
                    <a:gd name="T23" fmla="*/ 71 h 235"/>
                    <a:gd name="T24" fmla="*/ 71 w 354"/>
                    <a:gd name="T25" fmla="*/ 66 h 235"/>
                    <a:gd name="T26" fmla="*/ 107 w 354"/>
                    <a:gd name="T27" fmla="*/ 60 h 235"/>
                    <a:gd name="T28" fmla="*/ 39 w 354"/>
                    <a:gd name="T29" fmla="*/ 89 h 235"/>
                    <a:gd name="T30" fmla="*/ 39 w 354"/>
                    <a:gd name="T31" fmla="*/ 100 h 235"/>
                    <a:gd name="T32" fmla="*/ 112 w 354"/>
                    <a:gd name="T33" fmla="*/ 94 h 235"/>
                    <a:gd name="T34" fmla="*/ 107 w 354"/>
                    <a:gd name="T35" fmla="*/ 117 h 235"/>
                    <a:gd name="T36" fmla="*/ 33 w 354"/>
                    <a:gd name="T37" fmla="*/ 123 h 235"/>
                    <a:gd name="T38" fmla="*/ 107 w 354"/>
                    <a:gd name="T39" fmla="*/ 128 h 235"/>
                    <a:gd name="T40" fmla="*/ 107 w 354"/>
                    <a:gd name="T41" fmla="*/ 117 h 235"/>
                    <a:gd name="T42" fmla="*/ 39 w 354"/>
                    <a:gd name="T43" fmla="*/ 145 h 235"/>
                    <a:gd name="T44" fmla="*/ 39 w 354"/>
                    <a:gd name="T45" fmla="*/ 157 h 235"/>
                    <a:gd name="T46" fmla="*/ 112 w 354"/>
                    <a:gd name="T47" fmla="*/ 151 h 235"/>
                    <a:gd name="T48" fmla="*/ 107 w 354"/>
                    <a:gd name="T49" fmla="*/ 174 h 235"/>
                    <a:gd name="T50" fmla="*/ 33 w 354"/>
                    <a:gd name="T51" fmla="*/ 180 h 235"/>
                    <a:gd name="T52" fmla="*/ 107 w 354"/>
                    <a:gd name="T53" fmla="*/ 186 h 235"/>
                    <a:gd name="T54" fmla="*/ 107 w 354"/>
                    <a:gd name="T55" fmla="*/ 174 h 235"/>
                    <a:gd name="T56" fmla="*/ 144 w 354"/>
                    <a:gd name="T57" fmla="*/ 89 h 235"/>
                    <a:gd name="T58" fmla="*/ 144 w 354"/>
                    <a:gd name="T59" fmla="*/ 100 h 235"/>
                    <a:gd name="T60" fmla="*/ 217 w 354"/>
                    <a:gd name="T61" fmla="*/ 94 h 235"/>
                    <a:gd name="T62" fmla="*/ 211 w 354"/>
                    <a:gd name="T63" fmla="*/ 117 h 235"/>
                    <a:gd name="T64" fmla="*/ 138 w 354"/>
                    <a:gd name="T65" fmla="*/ 123 h 235"/>
                    <a:gd name="T66" fmla="*/ 211 w 354"/>
                    <a:gd name="T67" fmla="*/ 128 h 235"/>
                    <a:gd name="T68" fmla="*/ 211 w 354"/>
                    <a:gd name="T69" fmla="*/ 117 h 235"/>
                    <a:gd name="T70" fmla="*/ 144 w 354"/>
                    <a:gd name="T71" fmla="*/ 145 h 235"/>
                    <a:gd name="T72" fmla="*/ 144 w 354"/>
                    <a:gd name="T73" fmla="*/ 157 h 235"/>
                    <a:gd name="T74" fmla="*/ 217 w 354"/>
                    <a:gd name="T75" fmla="*/ 151 h 235"/>
                    <a:gd name="T76" fmla="*/ 211 w 354"/>
                    <a:gd name="T77" fmla="*/ 174 h 235"/>
                    <a:gd name="T78" fmla="*/ 138 w 354"/>
                    <a:gd name="T79" fmla="*/ 180 h 235"/>
                    <a:gd name="T80" fmla="*/ 211 w 354"/>
                    <a:gd name="T81" fmla="*/ 186 h 235"/>
                    <a:gd name="T82" fmla="*/ 211 w 354"/>
                    <a:gd name="T83" fmla="*/ 174 h 235"/>
                    <a:gd name="T84" fmla="*/ 144 w 354"/>
                    <a:gd name="T85" fmla="*/ 60 h 235"/>
                    <a:gd name="T86" fmla="*/ 144 w 354"/>
                    <a:gd name="T87" fmla="*/ 71 h 235"/>
                    <a:gd name="T88" fmla="*/ 217 w 354"/>
                    <a:gd name="T89" fmla="*/ 66 h 235"/>
                    <a:gd name="T90" fmla="*/ 316 w 354"/>
                    <a:gd name="T91" fmla="*/ 89 h 235"/>
                    <a:gd name="T92" fmla="*/ 243 w 354"/>
                    <a:gd name="T93" fmla="*/ 94 h 235"/>
                    <a:gd name="T94" fmla="*/ 316 w 354"/>
                    <a:gd name="T95" fmla="*/ 100 h 235"/>
                    <a:gd name="T96" fmla="*/ 316 w 354"/>
                    <a:gd name="T97" fmla="*/ 89 h 235"/>
                    <a:gd name="T98" fmla="*/ 248 w 354"/>
                    <a:gd name="T99" fmla="*/ 117 h 235"/>
                    <a:gd name="T100" fmla="*/ 248 w 354"/>
                    <a:gd name="T101" fmla="*/ 128 h 235"/>
                    <a:gd name="T102" fmla="*/ 322 w 354"/>
                    <a:gd name="T103" fmla="*/ 123 h 235"/>
                    <a:gd name="T104" fmla="*/ 316 w 354"/>
                    <a:gd name="T105" fmla="*/ 145 h 235"/>
                    <a:gd name="T106" fmla="*/ 243 w 354"/>
                    <a:gd name="T107" fmla="*/ 151 h 235"/>
                    <a:gd name="T108" fmla="*/ 316 w 354"/>
                    <a:gd name="T109" fmla="*/ 157 h 235"/>
                    <a:gd name="T110" fmla="*/ 316 w 354"/>
                    <a:gd name="T111" fmla="*/ 145 h 235"/>
                    <a:gd name="T112" fmla="*/ 248 w 354"/>
                    <a:gd name="T113" fmla="*/ 174 h 235"/>
                    <a:gd name="T114" fmla="*/ 248 w 354"/>
                    <a:gd name="T115" fmla="*/ 186 h 235"/>
                    <a:gd name="T116" fmla="*/ 322 w 354"/>
                    <a:gd name="T117" fmla="*/ 180 h 235"/>
                    <a:gd name="T118" fmla="*/ 316 w 354"/>
                    <a:gd name="T119" fmla="*/ 60 h 235"/>
                    <a:gd name="T120" fmla="*/ 243 w 354"/>
                    <a:gd name="T121" fmla="*/ 66 h 235"/>
                    <a:gd name="T122" fmla="*/ 316 w 354"/>
                    <a:gd name="T123" fmla="*/ 71 h 235"/>
                    <a:gd name="T124" fmla="*/ 316 w 354"/>
                    <a:gd name="T125" fmla="*/ 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4" h="235">
                      <a:moveTo>
                        <a:pt x="344" y="235"/>
                      </a:moveTo>
                      <a:cubicBezTo>
                        <a:pt x="354" y="235"/>
                        <a:pt x="354" y="235"/>
                        <a:pt x="354" y="235"/>
                      </a:cubicBezTo>
                      <a:cubicBezTo>
                        <a:pt x="354" y="18"/>
                        <a:pt x="354" y="18"/>
                        <a:pt x="354" y="18"/>
                      </a:cubicBezTo>
                      <a:cubicBezTo>
                        <a:pt x="354" y="7"/>
                        <a:pt x="344" y="0"/>
                        <a:pt x="336" y="0"/>
                      </a:cubicBezTo>
                      <a:cubicBezTo>
                        <a:pt x="50" y="0"/>
                        <a:pt x="44" y="0"/>
                        <a:pt x="44" y="0"/>
                      </a:cubicBezTo>
                      <a:cubicBezTo>
                        <a:pt x="30" y="15"/>
                        <a:pt x="0" y="48"/>
                        <a:pt x="0" y="48"/>
                      </a:cubicBezTo>
                      <a:cubicBezTo>
                        <a:pt x="0" y="109"/>
                        <a:pt x="0" y="216"/>
                        <a:pt x="0" y="216"/>
                      </a:cubicBezTo>
                      <a:cubicBezTo>
                        <a:pt x="0" y="228"/>
                        <a:pt x="9" y="235"/>
                        <a:pt x="17" y="235"/>
                      </a:cubicBezTo>
                      <a:cubicBezTo>
                        <a:pt x="344" y="235"/>
                        <a:pt x="344" y="235"/>
                        <a:pt x="344" y="235"/>
                      </a:cubicBezTo>
                      <a:close/>
                      <a:moveTo>
                        <a:pt x="22" y="224"/>
                      </a:moveTo>
                      <a:cubicBezTo>
                        <a:pt x="16" y="224"/>
                        <a:pt x="10" y="218"/>
                        <a:pt x="10" y="211"/>
                      </a:cubicBezTo>
                      <a:cubicBezTo>
                        <a:pt x="10" y="55"/>
                        <a:pt x="10" y="55"/>
                        <a:pt x="10" y="55"/>
                      </a:cubicBezTo>
                      <a:cubicBezTo>
                        <a:pt x="41" y="55"/>
                        <a:pt x="41" y="55"/>
                        <a:pt x="41" y="55"/>
                      </a:cubicBezTo>
                      <a:cubicBezTo>
                        <a:pt x="41" y="55"/>
                        <a:pt x="48" y="55"/>
                        <a:pt x="52" y="53"/>
                      </a:cubicBezTo>
                      <a:cubicBezTo>
                        <a:pt x="56" y="50"/>
                        <a:pt x="56" y="43"/>
                        <a:pt x="56" y="43"/>
                      </a:cubicBezTo>
                      <a:cubicBezTo>
                        <a:pt x="56" y="12"/>
                        <a:pt x="56" y="12"/>
                        <a:pt x="56" y="12"/>
                      </a:cubicBezTo>
                      <a:cubicBezTo>
                        <a:pt x="332" y="12"/>
                        <a:pt x="332" y="12"/>
                        <a:pt x="332" y="12"/>
                      </a:cubicBezTo>
                      <a:cubicBezTo>
                        <a:pt x="338" y="12"/>
                        <a:pt x="344" y="17"/>
                        <a:pt x="344" y="24"/>
                      </a:cubicBezTo>
                      <a:cubicBezTo>
                        <a:pt x="344" y="224"/>
                        <a:pt x="344" y="224"/>
                        <a:pt x="344" y="224"/>
                      </a:cubicBezTo>
                      <a:cubicBezTo>
                        <a:pt x="22" y="224"/>
                        <a:pt x="22" y="224"/>
                        <a:pt x="22" y="224"/>
                      </a:cubicBezTo>
                      <a:cubicBezTo>
                        <a:pt x="22" y="224"/>
                        <a:pt x="22" y="224"/>
                        <a:pt x="22" y="224"/>
                      </a:cubicBezTo>
                      <a:close/>
                      <a:moveTo>
                        <a:pt x="107" y="60"/>
                      </a:moveTo>
                      <a:cubicBezTo>
                        <a:pt x="110" y="60"/>
                        <a:pt x="112" y="62"/>
                        <a:pt x="112" y="66"/>
                      </a:cubicBezTo>
                      <a:cubicBezTo>
                        <a:pt x="112" y="69"/>
                        <a:pt x="110" y="71"/>
                        <a:pt x="107" y="71"/>
                      </a:cubicBezTo>
                      <a:cubicBezTo>
                        <a:pt x="107" y="71"/>
                        <a:pt x="107" y="71"/>
                        <a:pt x="76" y="71"/>
                      </a:cubicBezTo>
                      <a:cubicBezTo>
                        <a:pt x="73" y="71"/>
                        <a:pt x="71" y="69"/>
                        <a:pt x="71" y="66"/>
                      </a:cubicBezTo>
                      <a:cubicBezTo>
                        <a:pt x="71" y="62"/>
                        <a:pt x="73" y="60"/>
                        <a:pt x="76" y="60"/>
                      </a:cubicBezTo>
                      <a:cubicBezTo>
                        <a:pt x="76" y="60"/>
                        <a:pt x="76" y="60"/>
                        <a:pt x="107" y="60"/>
                      </a:cubicBezTo>
                      <a:close/>
                      <a:moveTo>
                        <a:pt x="107" y="89"/>
                      </a:moveTo>
                      <a:cubicBezTo>
                        <a:pt x="39" y="89"/>
                        <a:pt x="39" y="89"/>
                        <a:pt x="39" y="89"/>
                      </a:cubicBezTo>
                      <a:cubicBezTo>
                        <a:pt x="36" y="89"/>
                        <a:pt x="33" y="91"/>
                        <a:pt x="33" y="94"/>
                      </a:cubicBezTo>
                      <a:cubicBezTo>
                        <a:pt x="33" y="97"/>
                        <a:pt x="36" y="100"/>
                        <a:pt x="39" y="100"/>
                      </a:cubicBezTo>
                      <a:cubicBezTo>
                        <a:pt x="107" y="100"/>
                        <a:pt x="107" y="100"/>
                        <a:pt x="107" y="100"/>
                      </a:cubicBezTo>
                      <a:cubicBezTo>
                        <a:pt x="110" y="100"/>
                        <a:pt x="112" y="97"/>
                        <a:pt x="112" y="94"/>
                      </a:cubicBezTo>
                      <a:cubicBezTo>
                        <a:pt x="112" y="91"/>
                        <a:pt x="110" y="89"/>
                        <a:pt x="107" y="89"/>
                      </a:cubicBezTo>
                      <a:close/>
                      <a:moveTo>
                        <a:pt x="107" y="117"/>
                      </a:moveTo>
                      <a:cubicBezTo>
                        <a:pt x="39" y="117"/>
                        <a:pt x="39" y="117"/>
                        <a:pt x="39" y="117"/>
                      </a:cubicBezTo>
                      <a:cubicBezTo>
                        <a:pt x="36" y="117"/>
                        <a:pt x="33" y="119"/>
                        <a:pt x="33" y="123"/>
                      </a:cubicBezTo>
                      <a:cubicBezTo>
                        <a:pt x="33" y="126"/>
                        <a:pt x="36" y="128"/>
                        <a:pt x="39" y="128"/>
                      </a:cubicBezTo>
                      <a:cubicBezTo>
                        <a:pt x="107" y="128"/>
                        <a:pt x="107" y="128"/>
                        <a:pt x="107" y="128"/>
                      </a:cubicBezTo>
                      <a:cubicBezTo>
                        <a:pt x="110" y="128"/>
                        <a:pt x="112" y="126"/>
                        <a:pt x="112" y="123"/>
                      </a:cubicBezTo>
                      <a:cubicBezTo>
                        <a:pt x="112" y="119"/>
                        <a:pt x="110" y="117"/>
                        <a:pt x="107" y="117"/>
                      </a:cubicBezTo>
                      <a:close/>
                      <a:moveTo>
                        <a:pt x="107" y="145"/>
                      </a:moveTo>
                      <a:cubicBezTo>
                        <a:pt x="39" y="145"/>
                        <a:pt x="39" y="145"/>
                        <a:pt x="39" y="145"/>
                      </a:cubicBezTo>
                      <a:cubicBezTo>
                        <a:pt x="36" y="145"/>
                        <a:pt x="33" y="148"/>
                        <a:pt x="33" y="151"/>
                      </a:cubicBezTo>
                      <a:cubicBezTo>
                        <a:pt x="33" y="155"/>
                        <a:pt x="36" y="157"/>
                        <a:pt x="39" y="157"/>
                      </a:cubicBezTo>
                      <a:cubicBezTo>
                        <a:pt x="107" y="157"/>
                        <a:pt x="107" y="157"/>
                        <a:pt x="107" y="157"/>
                      </a:cubicBezTo>
                      <a:cubicBezTo>
                        <a:pt x="110" y="157"/>
                        <a:pt x="112" y="155"/>
                        <a:pt x="112" y="151"/>
                      </a:cubicBezTo>
                      <a:cubicBezTo>
                        <a:pt x="112" y="148"/>
                        <a:pt x="110" y="145"/>
                        <a:pt x="107" y="145"/>
                      </a:cubicBezTo>
                      <a:close/>
                      <a:moveTo>
                        <a:pt x="107" y="174"/>
                      </a:moveTo>
                      <a:cubicBezTo>
                        <a:pt x="39" y="174"/>
                        <a:pt x="39" y="174"/>
                        <a:pt x="39" y="174"/>
                      </a:cubicBezTo>
                      <a:cubicBezTo>
                        <a:pt x="36" y="174"/>
                        <a:pt x="33" y="177"/>
                        <a:pt x="33" y="180"/>
                      </a:cubicBezTo>
                      <a:cubicBezTo>
                        <a:pt x="33" y="183"/>
                        <a:pt x="36" y="186"/>
                        <a:pt x="39" y="186"/>
                      </a:cubicBezTo>
                      <a:cubicBezTo>
                        <a:pt x="107" y="186"/>
                        <a:pt x="107" y="186"/>
                        <a:pt x="107" y="186"/>
                      </a:cubicBezTo>
                      <a:cubicBezTo>
                        <a:pt x="110" y="186"/>
                        <a:pt x="112" y="183"/>
                        <a:pt x="112" y="180"/>
                      </a:cubicBezTo>
                      <a:cubicBezTo>
                        <a:pt x="112" y="177"/>
                        <a:pt x="110" y="174"/>
                        <a:pt x="107" y="174"/>
                      </a:cubicBezTo>
                      <a:close/>
                      <a:moveTo>
                        <a:pt x="211" y="89"/>
                      </a:moveTo>
                      <a:cubicBezTo>
                        <a:pt x="144" y="89"/>
                        <a:pt x="144" y="89"/>
                        <a:pt x="144" y="89"/>
                      </a:cubicBezTo>
                      <a:cubicBezTo>
                        <a:pt x="141" y="89"/>
                        <a:pt x="138" y="91"/>
                        <a:pt x="138" y="94"/>
                      </a:cubicBezTo>
                      <a:cubicBezTo>
                        <a:pt x="138" y="97"/>
                        <a:pt x="141" y="100"/>
                        <a:pt x="144" y="100"/>
                      </a:cubicBezTo>
                      <a:cubicBezTo>
                        <a:pt x="211" y="100"/>
                        <a:pt x="211" y="100"/>
                        <a:pt x="211" y="100"/>
                      </a:cubicBezTo>
                      <a:cubicBezTo>
                        <a:pt x="214" y="100"/>
                        <a:pt x="217" y="97"/>
                        <a:pt x="217" y="94"/>
                      </a:cubicBezTo>
                      <a:cubicBezTo>
                        <a:pt x="217" y="91"/>
                        <a:pt x="214" y="89"/>
                        <a:pt x="211" y="89"/>
                      </a:cubicBezTo>
                      <a:close/>
                      <a:moveTo>
                        <a:pt x="211" y="117"/>
                      </a:moveTo>
                      <a:cubicBezTo>
                        <a:pt x="144" y="117"/>
                        <a:pt x="144" y="117"/>
                        <a:pt x="144" y="117"/>
                      </a:cubicBezTo>
                      <a:cubicBezTo>
                        <a:pt x="141" y="117"/>
                        <a:pt x="138" y="119"/>
                        <a:pt x="138" y="123"/>
                      </a:cubicBezTo>
                      <a:cubicBezTo>
                        <a:pt x="138" y="126"/>
                        <a:pt x="141" y="128"/>
                        <a:pt x="144" y="128"/>
                      </a:cubicBezTo>
                      <a:cubicBezTo>
                        <a:pt x="211" y="128"/>
                        <a:pt x="211" y="128"/>
                        <a:pt x="211" y="128"/>
                      </a:cubicBezTo>
                      <a:cubicBezTo>
                        <a:pt x="214" y="128"/>
                        <a:pt x="217" y="126"/>
                        <a:pt x="217" y="123"/>
                      </a:cubicBezTo>
                      <a:cubicBezTo>
                        <a:pt x="217" y="119"/>
                        <a:pt x="214" y="117"/>
                        <a:pt x="211" y="117"/>
                      </a:cubicBezTo>
                      <a:close/>
                      <a:moveTo>
                        <a:pt x="211" y="145"/>
                      </a:moveTo>
                      <a:cubicBezTo>
                        <a:pt x="144" y="145"/>
                        <a:pt x="144" y="145"/>
                        <a:pt x="144" y="145"/>
                      </a:cubicBezTo>
                      <a:cubicBezTo>
                        <a:pt x="141" y="145"/>
                        <a:pt x="138" y="148"/>
                        <a:pt x="138" y="151"/>
                      </a:cubicBezTo>
                      <a:cubicBezTo>
                        <a:pt x="138" y="155"/>
                        <a:pt x="141" y="157"/>
                        <a:pt x="144" y="157"/>
                      </a:cubicBezTo>
                      <a:cubicBezTo>
                        <a:pt x="211" y="157"/>
                        <a:pt x="211" y="157"/>
                        <a:pt x="211" y="157"/>
                      </a:cubicBezTo>
                      <a:cubicBezTo>
                        <a:pt x="214" y="157"/>
                        <a:pt x="217" y="155"/>
                        <a:pt x="217" y="151"/>
                      </a:cubicBezTo>
                      <a:cubicBezTo>
                        <a:pt x="217" y="148"/>
                        <a:pt x="214" y="145"/>
                        <a:pt x="211" y="145"/>
                      </a:cubicBezTo>
                      <a:close/>
                      <a:moveTo>
                        <a:pt x="211" y="174"/>
                      </a:moveTo>
                      <a:cubicBezTo>
                        <a:pt x="144" y="174"/>
                        <a:pt x="144" y="174"/>
                        <a:pt x="144" y="174"/>
                      </a:cubicBezTo>
                      <a:cubicBezTo>
                        <a:pt x="141" y="174"/>
                        <a:pt x="138" y="177"/>
                        <a:pt x="138" y="180"/>
                      </a:cubicBezTo>
                      <a:cubicBezTo>
                        <a:pt x="138" y="183"/>
                        <a:pt x="141" y="186"/>
                        <a:pt x="144" y="186"/>
                      </a:cubicBezTo>
                      <a:cubicBezTo>
                        <a:pt x="211" y="186"/>
                        <a:pt x="211" y="186"/>
                        <a:pt x="211" y="186"/>
                      </a:cubicBezTo>
                      <a:cubicBezTo>
                        <a:pt x="214" y="186"/>
                        <a:pt x="217" y="183"/>
                        <a:pt x="217" y="180"/>
                      </a:cubicBezTo>
                      <a:cubicBezTo>
                        <a:pt x="217" y="177"/>
                        <a:pt x="214" y="174"/>
                        <a:pt x="211" y="174"/>
                      </a:cubicBezTo>
                      <a:close/>
                      <a:moveTo>
                        <a:pt x="211" y="60"/>
                      </a:moveTo>
                      <a:cubicBezTo>
                        <a:pt x="144" y="60"/>
                        <a:pt x="144" y="60"/>
                        <a:pt x="144" y="60"/>
                      </a:cubicBezTo>
                      <a:cubicBezTo>
                        <a:pt x="141" y="60"/>
                        <a:pt x="138" y="62"/>
                        <a:pt x="138" y="66"/>
                      </a:cubicBezTo>
                      <a:cubicBezTo>
                        <a:pt x="138" y="69"/>
                        <a:pt x="141" y="71"/>
                        <a:pt x="144" y="71"/>
                      </a:cubicBezTo>
                      <a:cubicBezTo>
                        <a:pt x="211" y="71"/>
                        <a:pt x="211" y="71"/>
                        <a:pt x="211" y="71"/>
                      </a:cubicBezTo>
                      <a:cubicBezTo>
                        <a:pt x="214" y="71"/>
                        <a:pt x="217" y="69"/>
                        <a:pt x="217" y="66"/>
                      </a:cubicBezTo>
                      <a:cubicBezTo>
                        <a:pt x="217" y="62"/>
                        <a:pt x="214" y="60"/>
                        <a:pt x="211" y="60"/>
                      </a:cubicBezTo>
                      <a:close/>
                      <a:moveTo>
                        <a:pt x="316" y="89"/>
                      </a:moveTo>
                      <a:cubicBezTo>
                        <a:pt x="248" y="89"/>
                        <a:pt x="248" y="89"/>
                        <a:pt x="248" y="89"/>
                      </a:cubicBezTo>
                      <a:cubicBezTo>
                        <a:pt x="245" y="89"/>
                        <a:pt x="243" y="91"/>
                        <a:pt x="243" y="94"/>
                      </a:cubicBezTo>
                      <a:cubicBezTo>
                        <a:pt x="243" y="97"/>
                        <a:pt x="245" y="100"/>
                        <a:pt x="248" y="100"/>
                      </a:cubicBezTo>
                      <a:cubicBezTo>
                        <a:pt x="316" y="100"/>
                        <a:pt x="316" y="100"/>
                        <a:pt x="316" y="100"/>
                      </a:cubicBezTo>
                      <a:cubicBezTo>
                        <a:pt x="319" y="100"/>
                        <a:pt x="322" y="97"/>
                        <a:pt x="322" y="94"/>
                      </a:cubicBezTo>
                      <a:cubicBezTo>
                        <a:pt x="322" y="91"/>
                        <a:pt x="319" y="89"/>
                        <a:pt x="316" y="89"/>
                      </a:cubicBezTo>
                      <a:close/>
                      <a:moveTo>
                        <a:pt x="316" y="117"/>
                      </a:moveTo>
                      <a:cubicBezTo>
                        <a:pt x="248" y="117"/>
                        <a:pt x="248" y="117"/>
                        <a:pt x="248" y="117"/>
                      </a:cubicBezTo>
                      <a:cubicBezTo>
                        <a:pt x="245" y="117"/>
                        <a:pt x="243" y="119"/>
                        <a:pt x="243" y="123"/>
                      </a:cubicBezTo>
                      <a:cubicBezTo>
                        <a:pt x="243" y="126"/>
                        <a:pt x="245" y="128"/>
                        <a:pt x="248" y="128"/>
                      </a:cubicBezTo>
                      <a:cubicBezTo>
                        <a:pt x="316" y="128"/>
                        <a:pt x="316" y="128"/>
                        <a:pt x="316" y="128"/>
                      </a:cubicBezTo>
                      <a:cubicBezTo>
                        <a:pt x="319" y="128"/>
                        <a:pt x="322" y="126"/>
                        <a:pt x="322" y="123"/>
                      </a:cubicBezTo>
                      <a:cubicBezTo>
                        <a:pt x="322" y="119"/>
                        <a:pt x="319" y="117"/>
                        <a:pt x="316" y="117"/>
                      </a:cubicBezTo>
                      <a:close/>
                      <a:moveTo>
                        <a:pt x="316" y="145"/>
                      </a:moveTo>
                      <a:cubicBezTo>
                        <a:pt x="248" y="145"/>
                        <a:pt x="248" y="145"/>
                        <a:pt x="248" y="145"/>
                      </a:cubicBezTo>
                      <a:cubicBezTo>
                        <a:pt x="245" y="145"/>
                        <a:pt x="243" y="148"/>
                        <a:pt x="243" y="151"/>
                      </a:cubicBezTo>
                      <a:cubicBezTo>
                        <a:pt x="243" y="155"/>
                        <a:pt x="245" y="157"/>
                        <a:pt x="248" y="157"/>
                      </a:cubicBezTo>
                      <a:cubicBezTo>
                        <a:pt x="316" y="157"/>
                        <a:pt x="316" y="157"/>
                        <a:pt x="316" y="157"/>
                      </a:cubicBezTo>
                      <a:cubicBezTo>
                        <a:pt x="319" y="157"/>
                        <a:pt x="322" y="155"/>
                        <a:pt x="322" y="151"/>
                      </a:cubicBezTo>
                      <a:cubicBezTo>
                        <a:pt x="322" y="148"/>
                        <a:pt x="319" y="145"/>
                        <a:pt x="316" y="145"/>
                      </a:cubicBezTo>
                      <a:close/>
                      <a:moveTo>
                        <a:pt x="316" y="174"/>
                      </a:moveTo>
                      <a:cubicBezTo>
                        <a:pt x="248" y="174"/>
                        <a:pt x="248" y="174"/>
                        <a:pt x="248" y="174"/>
                      </a:cubicBezTo>
                      <a:cubicBezTo>
                        <a:pt x="245" y="174"/>
                        <a:pt x="243" y="177"/>
                        <a:pt x="243" y="180"/>
                      </a:cubicBezTo>
                      <a:cubicBezTo>
                        <a:pt x="243" y="183"/>
                        <a:pt x="245" y="186"/>
                        <a:pt x="248" y="186"/>
                      </a:cubicBezTo>
                      <a:cubicBezTo>
                        <a:pt x="316" y="186"/>
                        <a:pt x="316" y="186"/>
                        <a:pt x="316" y="186"/>
                      </a:cubicBezTo>
                      <a:cubicBezTo>
                        <a:pt x="319" y="186"/>
                        <a:pt x="322" y="183"/>
                        <a:pt x="322" y="180"/>
                      </a:cubicBezTo>
                      <a:cubicBezTo>
                        <a:pt x="322" y="177"/>
                        <a:pt x="319" y="174"/>
                        <a:pt x="316" y="174"/>
                      </a:cubicBezTo>
                      <a:close/>
                      <a:moveTo>
                        <a:pt x="316" y="60"/>
                      </a:moveTo>
                      <a:cubicBezTo>
                        <a:pt x="248" y="60"/>
                        <a:pt x="248" y="60"/>
                        <a:pt x="248" y="60"/>
                      </a:cubicBezTo>
                      <a:cubicBezTo>
                        <a:pt x="245" y="60"/>
                        <a:pt x="243" y="62"/>
                        <a:pt x="243" y="66"/>
                      </a:cubicBezTo>
                      <a:cubicBezTo>
                        <a:pt x="243" y="69"/>
                        <a:pt x="245" y="71"/>
                        <a:pt x="248" y="71"/>
                      </a:cubicBezTo>
                      <a:cubicBezTo>
                        <a:pt x="316" y="71"/>
                        <a:pt x="316" y="71"/>
                        <a:pt x="316" y="71"/>
                      </a:cubicBezTo>
                      <a:cubicBezTo>
                        <a:pt x="319" y="71"/>
                        <a:pt x="322" y="69"/>
                        <a:pt x="322" y="66"/>
                      </a:cubicBezTo>
                      <a:cubicBezTo>
                        <a:pt x="322" y="62"/>
                        <a:pt x="319" y="60"/>
                        <a:pt x="316" y="6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Oval 36"/>
                <p:cNvSpPr/>
                <p:nvPr/>
              </p:nvSpPr>
              <p:spPr bwMode="auto">
                <a:xfrm>
                  <a:off x="9894205" y="3587586"/>
                  <a:ext cx="243570" cy="243570"/>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nvGrpSpPr>
              <p:cNvPr id="41" name="Group 40"/>
              <p:cNvGrpSpPr/>
              <p:nvPr/>
            </p:nvGrpSpPr>
            <p:grpSpPr>
              <a:xfrm>
                <a:off x="9364450" y="3439465"/>
                <a:ext cx="647887" cy="421944"/>
                <a:chOff x="9186252" y="3211465"/>
                <a:chExt cx="951523" cy="619691"/>
              </a:xfrm>
            </p:grpSpPr>
            <p:sp>
              <p:nvSpPr>
                <p:cNvPr id="42" name="Freeform 22"/>
                <p:cNvSpPr>
                  <a:spLocks/>
                </p:cNvSpPr>
                <p:nvPr/>
              </p:nvSpPr>
              <p:spPr bwMode="auto">
                <a:xfrm>
                  <a:off x="9210651" y="3237607"/>
                  <a:ext cx="831312" cy="557693"/>
                </a:xfrm>
                <a:custGeom>
                  <a:avLst/>
                  <a:gdLst>
                    <a:gd name="T0" fmla="*/ 477 w 477"/>
                    <a:gd name="T1" fmla="*/ 320 h 320"/>
                    <a:gd name="T2" fmla="*/ 0 w 477"/>
                    <a:gd name="T3" fmla="*/ 320 h 320"/>
                    <a:gd name="T4" fmla="*/ 0 w 477"/>
                    <a:gd name="T5" fmla="*/ 59 h 320"/>
                    <a:gd name="T6" fmla="*/ 66 w 477"/>
                    <a:gd name="T7" fmla="*/ 0 h 320"/>
                    <a:gd name="T8" fmla="*/ 477 w 477"/>
                    <a:gd name="T9" fmla="*/ 0 h 320"/>
                    <a:gd name="T10" fmla="*/ 477 w 477"/>
                    <a:gd name="T11" fmla="*/ 320 h 320"/>
                  </a:gdLst>
                  <a:ahLst/>
                  <a:cxnLst>
                    <a:cxn ang="0">
                      <a:pos x="T0" y="T1"/>
                    </a:cxn>
                    <a:cxn ang="0">
                      <a:pos x="T2" y="T3"/>
                    </a:cxn>
                    <a:cxn ang="0">
                      <a:pos x="T4" y="T5"/>
                    </a:cxn>
                    <a:cxn ang="0">
                      <a:pos x="T6" y="T7"/>
                    </a:cxn>
                    <a:cxn ang="0">
                      <a:pos x="T8" y="T9"/>
                    </a:cxn>
                    <a:cxn ang="0">
                      <a:pos x="T10" y="T11"/>
                    </a:cxn>
                  </a:cxnLst>
                  <a:rect l="0" t="0" r="r" b="b"/>
                  <a:pathLst>
                    <a:path w="477" h="320">
                      <a:moveTo>
                        <a:pt x="477" y="320"/>
                      </a:moveTo>
                      <a:lnTo>
                        <a:pt x="0" y="320"/>
                      </a:lnTo>
                      <a:lnTo>
                        <a:pt x="0" y="59"/>
                      </a:lnTo>
                      <a:lnTo>
                        <a:pt x="66" y="0"/>
                      </a:lnTo>
                      <a:lnTo>
                        <a:pt x="477" y="0"/>
                      </a:lnTo>
                      <a:lnTo>
                        <a:pt x="477" y="3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3"/>
                <p:cNvSpPr>
                  <a:spLocks noEditPoints="1"/>
                </p:cNvSpPr>
                <p:nvPr/>
              </p:nvSpPr>
              <p:spPr bwMode="auto">
                <a:xfrm>
                  <a:off x="9186252" y="3211465"/>
                  <a:ext cx="867910" cy="576864"/>
                </a:xfrm>
                <a:custGeom>
                  <a:avLst/>
                  <a:gdLst>
                    <a:gd name="T0" fmla="*/ 354 w 354"/>
                    <a:gd name="T1" fmla="*/ 235 h 235"/>
                    <a:gd name="T2" fmla="*/ 336 w 354"/>
                    <a:gd name="T3" fmla="*/ 0 h 235"/>
                    <a:gd name="T4" fmla="*/ 0 w 354"/>
                    <a:gd name="T5" fmla="*/ 48 h 235"/>
                    <a:gd name="T6" fmla="*/ 17 w 354"/>
                    <a:gd name="T7" fmla="*/ 235 h 235"/>
                    <a:gd name="T8" fmla="*/ 22 w 354"/>
                    <a:gd name="T9" fmla="*/ 224 h 235"/>
                    <a:gd name="T10" fmla="*/ 10 w 354"/>
                    <a:gd name="T11" fmla="*/ 55 h 235"/>
                    <a:gd name="T12" fmla="*/ 52 w 354"/>
                    <a:gd name="T13" fmla="*/ 53 h 235"/>
                    <a:gd name="T14" fmla="*/ 56 w 354"/>
                    <a:gd name="T15" fmla="*/ 12 h 235"/>
                    <a:gd name="T16" fmla="*/ 344 w 354"/>
                    <a:gd name="T17" fmla="*/ 24 h 235"/>
                    <a:gd name="T18" fmla="*/ 22 w 354"/>
                    <a:gd name="T19" fmla="*/ 224 h 235"/>
                    <a:gd name="T20" fmla="*/ 107 w 354"/>
                    <a:gd name="T21" fmla="*/ 60 h 235"/>
                    <a:gd name="T22" fmla="*/ 107 w 354"/>
                    <a:gd name="T23" fmla="*/ 71 h 235"/>
                    <a:gd name="T24" fmla="*/ 71 w 354"/>
                    <a:gd name="T25" fmla="*/ 66 h 235"/>
                    <a:gd name="T26" fmla="*/ 107 w 354"/>
                    <a:gd name="T27" fmla="*/ 60 h 235"/>
                    <a:gd name="T28" fmla="*/ 39 w 354"/>
                    <a:gd name="T29" fmla="*/ 89 h 235"/>
                    <a:gd name="T30" fmla="*/ 39 w 354"/>
                    <a:gd name="T31" fmla="*/ 100 h 235"/>
                    <a:gd name="T32" fmla="*/ 112 w 354"/>
                    <a:gd name="T33" fmla="*/ 94 h 235"/>
                    <a:gd name="T34" fmla="*/ 107 w 354"/>
                    <a:gd name="T35" fmla="*/ 117 h 235"/>
                    <a:gd name="T36" fmla="*/ 33 w 354"/>
                    <a:gd name="T37" fmla="*/ 123 h 235"/>
                    <a:gd name="T38" fmla="*/ 107 w 354"/>
                    <a:gd name="T39" fmla="*/ 128 h 235"/>
                    <a:gd name="T40" fmla="*/ 107 w 354"/>
                    <a:gd name="T41" fmla="*/ 117 h 235"/>
                    <a:gd name="T42" fmla="*/ 39 w 354"/>
                    <a:gd name="T43" fmla="*/ 145 h 235"/>
                    <a:gd name="T44" fmla="*/ 39 w 354"/>
                    <a:gd name="T45" fmla="*/ 157 h 235"/>
                    <a:gd name="T46" fmla="*/ 112 w 354"/>
                    <a:gd name="T47" fmla="*/ 151 h 235"/>
                    <a:gd name="T48" fmla="*/ 107 w 354"/>
                    <a:gd name="T49" fmla="*/ 174 h 235"/>
                    <a:gd name="T50" fmla="*/ 33 w 354"/>
                    <a:gd name="T51" fmla="*/ 180 h 235"/>
                    <a:gd name="T52" fmla="*/ 107 w 354"/>
                    <a:gd name="T53" fmla="*/ 186 h 235"/>
                    <a:gd name="T54" fmla="*/ 107 w 354"/>
                    <a:gd name="T55" fmla="*/ 174 h 235"/>
                    <a:gd name="T56" fmla="*/ 144 w 354"/>
                    <a:gd name="T57" fmla="*/ 89 h 235"/>
                    <a:gd name="T58" fmla="*/ 144 w 354"/>
                    <a:gd name="T59" fmla="*/ 100 h 235"/>
                    <a:gd name="T60" fmla="*/ 217 w 354"/>
                    <a:gd name="T61" fmla="*/ 94 h 235"/>
                    <a:gd name="T62" fmla="*/ 211 w 354"/>
                    <a:gd name="T63" fmla="*/ 117 h 235"/>
                    <a:gd name="T64" fmla="*/ 138 w 354"/>
                    <a:gd name="T65" fmla="*/ 123 h 235"/>
                    <a:gd name="T66" fmla="*/ 211 w 354"/>
                    <a:gd name="T67" fmla="*/ 128 h 235"/>
                    <a:gd name="T68" fmla="*/ 211 w 354"/>
                    <a:gd name="T69" fmla="*/ 117 h 235"/>
                    <a:gd name="T70" fmla="*/ 144 w 354"/>
                    <a:gd name="T71" fmla="*/ 145 h 235"/>
                    <a:gd name="T72" fmla="*/ 144 w 354"/>
                    <a:gd name="T73" fmla="*/ 157 h 235"/>
                    <a:gd name="T74" fmla="*/ 217 w 354"/>
                    <a:gd name="T75" fmla="*/ 151 h 235"/>
                    <a:gd name="T76" fmla="*/ 211 w 354"/>
                    <a:gd name="T77" fmla="*/ 174 h 235"/>
                    <a:gd name="T78" fmla="*/ 138 w 354"/>
                    <a:gd name="T79" fmla="*/ 180 h 235"/>
                    <a:gd name="T80" fmla="*/ 211 w 354"/>
                    <a:gd name="T81" fmla="*/ 186 h 235"/>
                    <a:gd name="T82" fmla="*/ 211 w 354"/>
                    <a:gd name="T83" fmla="*/ 174 h 235"/>
                    <a:gd name="T84" fmla="*/ 144 w 354"/>
                    <a:gd name="T85" fmla="*/ 60 h 235"/>
                    <a:gd name="T86" fmla="*/ 144 w 354"/>
                    <a:gd name="T87" fmla="*/ 71 h 235"/>
                    <a:gd name="T88" fmla="*/ 217 w 354"/>
                    <a:gd name="T89" fmla="*/ 66 h 235"/>
                    <a:gd name="T90" fmla="*/ 316 w 354"/>
                    <a:gd name="T91" fmla="*/ 89 h 235"/>
                    <a:gd name="T92" fmla="*/ 243 w 354"/>
                    <a:gd name="T93" fmla="*/ 94 h 235"/>
                    <a:gd name="T94" fmla="*/ 316 w 354"/>
                    <a:gd name="T95" fmla="*/ 100 h 235"/>
                    <a:gd name="T96" fmla="*/ 316 w 354"/>
                    <a:gd name="T97" fmla="*/ 89 h 235"/>
                    <a:gd name="T98" fmla="*/ 248 w 354"/>
                    <a:gd name="T99" fmla="*/ 117 h 235"/>
                    <a:gd name="T100" fmla="*/ 248 w 354"/>
                    <a:gd name="T101" fmla="*/ 128 h 235"/>
                    <a:gd name="T102" fmla="*/ 322 w 354"/>
                    <a:gd name="T103" fmla="*/ 123 h 235"/>
                    <a:gd name="T104" fmla="*/ 316 w 354"/>
                    <a:gd name="T105" fmla="*/ 145 h 235"/>
                    <a:gd name="T106" fmla="*/ 243 w 354"/>
                    <a:gd name="T107" fmla="*/ 151 h 235"/>
                    <a:gd name="T108" fmla="*/ 316 w 354"/>
                    <a:gd name="T109" fmla="*/ 157 h 235"/>
                    <a:gd name="T110" fmla="*/ 316 w 354"/>
                    <a:gd name="T111" fmla="*/ 145 h 235"/>
                    <a:gd name="T112" fmla="*/ 248 w 354"/>
                    <a:gd name="T113" fmla="*/ 174 h 235"/>
                    <a:gd name="T114" fmla="*/ 248 w 354"/>
                    <a:gd name="T115" fmla="*/ 186 h 235"/>
                    <a:gd name="T116" fmla="*/ 322 w 354"/>
                    <a:gd name="T117" fmla="*/ 180 h 235"/>
                    <a:gd name="T118" fmla="*/ 316 w 354"/>
                    <a:gd name="T119" fmla="*/ 60 h 235"/>
                    <a:gd name="T120" fmla="*/ 243 w 354"/>
                    <a:gd name="T121" fmla="*/ 66 h 235"/>
                    <a:gd name="T122" fmla="*/ 316 w 354"/>
                    <a:gd name="T123" fmla="*/ 71 h 235"/>
                    <a:gd name="T124" fmla="*/ 316 w 354"/>
                    <a:gd name="T125" fmla="*/ 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4" h="235">
                      <a:moveTo>
                        <a:pt x="344" y="235"/>
                      </a:moveTo>
                      <a:cubicBezTo>
                        <a:pt x="354" y="235"/>
                        <a:pt x="354" y="235"/>
                        <a:pt x="354" y="235"/>
                      </a:cubicBezTo>
                      <a:cubicBezTo>
                        <a:pt x="354" y="18"/>
                        <a:pt x="354" y="18"/>
                        <a:pt x="354" y="18"/>
                      </a:cubicBezTo>
                      <a:cubicBezTo>
                        <a:pt x="354" y="7"/>
                        <a:pt x="344" y="0"/>
                        <a:pt x="336" y="0"/>
                      </a:cubicBezTo>
                      <a:cubicBezTo>
                        <a:pt x="50" y="0"/>
                        <a:pt x="44" y="0"/>
                        <a:pt x="44" y="0"/>
                      </a:cubicBezTo>
                      <a:cubicBezTo>
                        <a:pt x="30" y="15"/>
                        <a:pt x="0" y="48"/>
                        <a:pt x="0" y="48"/>
                      </a:cubicBezTo>
                      <a:cubicBezTo>
                        <a:pt x="0" y="109"/>
                        <a:pt x="0" y="216"/>
                        <a:pt x="0" y="216"/>
                      </a:cubicBezTo>
                      <a:cubicBezTo>
                        <a:pt x="0" y="228"/>
                        <a:pt x="9" y="235"/>
                        <a:pt x="17" y="235"/>
                      </a:cubicBezTo>
                      <a:cubicBezTo>
                        <a:pt x="344" y="235"/>
                        <a:pt x="344" y="235"/>
                        <a:pt x="344" y="235"/>
                      </a:cubicBezTo>
                      <a:close/>
                      <a:moveTo>
                        <a:pt x="22" y="224"/>
                      </a:moveTo>
                      <a:cubicBezTo>
                        <a:pt x="16" y="224"/>
                        <a:pt x="10" y="218"/>
                        <a:pt x="10" y="211"/>
                      </a:cubicBezTo>
                      <a:cubicBezTo>
                        <a:pt x="10" y="55"/>
                        <a:pt x="10" y="55"/>
                        <a:pt x="10" y="55"/>
                      </a:cubicBezTo>
                      <a:cubicBezTo>
                        <a:pt x="41" y="55"/>
                        <a:pt x="41" y="55"/>
                        <a:pt x="41" y="55"/>
                      </a:cubicBezTo>
                      <a:cubicBezTo>
                        <a:pt x="41" y="55"/>
                        <a:pt x="48" y="55"/>
                        <a:pt x="52" y="53"/>
                      </a:cubicBezTo>
                      <a:cubicBezTo>
                        <a:pt x="56" y="50"/>
                        <a:pt x="56" y="43"/>
                        <a:pt x="56" y="43"/>
                      </a:cubicBezTo>
                      <a:cubicBezTo>
                        <a:pt x="56" y="12"/>
                        <a:pt x="56" y="12"/>
                        <a:pt x="56" y="12"/>
                      </a:cubicBezTo>
                      <a:cubicBezTo>
                        <a:pt x="332" y="12"/>
                        <a:pt x="332" y="12"/>
                        <a:pt x="332" y="12"/>
                      </a:cubicBezTo>
                      <a:cubicBezTo>
                        <a:pt x="338" y="12"/>
                        <a:pt x="344" y="17"/>
                        <a:pt x="344" y="24"/>
                      </a:cubicBezTo>
                      <a:cubicBezTo>
                        <a:pt x="344" y="224"/>
                        <a:pt x="344" y="224"/>
                        <a:pt x="344" y="224"/>
                      </a:cubicBezTo>
                      <a:cubicBezTo>
                        <a:pt x="22" y="224"/>
                        <a:pt x="22" y="224"/>
                        <a:pt x="22" y="224"/>
                      </a:cubicBezTo>
                      <a:cubicBezTo>
                        <a:pt x="22" y="224"/>
                        <a:pt x="22" y="224"/>
                        <a:pt x="22" y="224"/>
                      </a:cubicBezTo>
                      <a:close/>
                      <a:moveTo>
                        <a:pt x="107" y="60"/>
                      </a:moveTo>
                      <a:cubicBezTo>
                        <a:pt x="110" y="60"/>
                        <a:pt x="112" y="62"/>
                        <a:pt x="112" y="66"/>
                      </a:cubicBezTo>
                      <a:cubicBezTo>
                        <a:pt x="112" y="69"/>
                        <a:pt x="110" y="71"/>
                        <a:pt x="107" y="71"/>
                      </a:cubicBezTo>
                      <a:cubicBezTo>
                        <a:pt x="107" y="71"/>
                        <a:pt x="107" y="71"/>
                        <a:pt x="76" y="71"/>
                      </a:cubicBezTo>
                      <a:cubicBezTo>
                        <a:pt x="73" y="71"/>
                        <a:pt x="71" y="69"/>
                        <a:pt x="71" y="66"/>
                      </a:cubicBezTo>
                      <a:cubicBezTo>
                        <a:pt x="71" y="62"/>
                        <a:pt x="73" y="60"/>
                        <a:pt x="76" y="60"/>
                      </a:cubicBezTo>
                      <a:cubicBezTo>
                        <a:pt x="76" y="60"/>
                        <a:pt x="76" y="60"/>
                        <a:pt x="107" y="60"/>
                      </a:cubicBezTo>
                      <a:close/>
                      <a:moveTo>
                        <a:pt x="107" y="89"/>
                      </a:moveTo>
                      <a:cubicBezTo>
                        <a:pt x="39" y="89"/>
                        <a:pt x="39" y="89"/>
                        <a:pt x="39" y="89"/>
                      </a:cubicBezTo>
                      <a:cubicBezTo>
                        <a:pt x="36" y="89"/>
                        <a:pt x="33" y="91"/>
                        <a:pt x="33" y="94"/>
                      </a:cubicBezTo>
                      <a:cubicBezTo>
                        <a:pt x="33" y="97"/>
                        <a:pt x="36" y="100"/>
                        <a:pt x="39" y="100"/>
                      </a:cubicBezTo>
                      <a:cubicBezTo>
                        <a:pt x="107" y="100"/>
                        <a:pt x="107" y="100"/>
                        <a:pt x="107" y="100"/>
                      </a:cubicBezTo>
                      <a:cubicBezTo>
                        <a:pt x="110" y="100"/>
                        <a:pt x="112" y="97"/>
                        <a:pt x="112" y="94"/>
                      </a:cubicBezTo>
                      <a:cubicBezTo>
                        <a:pt x="112" y="91"/>
                        <a:pt x="110" y="89"/>
                        <a:pt x="107" y="89"/>
                      </a:cubicBezTo>
                      <a:close/>
                      <a:moveTo>
                        <a:pt x="107" y="117"/>
                      </a:moveTo>
                      <a:cubicBezTo>
                        <a:pt x="39" y="117"/>
                        <a:pt x="39" y="117"/>
                        <a:pt x="39" y="117"/>
                      </a:cubicBezTo>
                      <a:cubicBezTo>
                        <a:pt x="36" y="117"/>
                        <a:pt x="33" y="119"/>
                        <a:pt x="33" y="123"/>
                      </a:cubicBezTo>
                      <a:cubicBezTo>
                        <a:pt x="33" y="126"/>
                        <a:pt x="36" y="128"/>
                        <a:pt x="39" y="128"/>
                      </a:cubicBezTo>
                      <a:cubicBezTo>
                        <a:pt x="107" y="128"/>
                        <a:pt x="107" y="128"/>
                        <a:pt x="107" y="128"/>
                      </a:cubicBezTo>
                      <a:cubicBezTo>
                        <a:pt x="110" y="128"/>
                        <a:pt x="112" y="126"/>
                        <a:pt x="112" y="123"/>
                      </a:cubicBezTo>
                      <a:cubicBezTo>
                        <a:pt x="112" y="119"/>
                        <a:pt x="110" y="117"/>
                        <a:pt x="107" y="117"/>
                      </a:cubicBezTo>
                      <a:close/>
                      <a:moveTo>
                        <a:pt x="107" y="145"/>
                      </a:moveTo>
                      <a:cubicBezTo>
                        <a:pt x="39" y="145"/>
                        <a:pt x="39" y="145"/>
                        <a:pt x="39" y="145"/>
                      </a:cubicBezTo>
                      <a:cubicBezTo>
                        <a:pt x="36" y="145"/>
                        <a:pt x="33" y="148"/>
                        <a:pt x="33" y="151"/>
                      </a:cubicBezTo>
                      <a:cubicBezTo>
                        <a:pt x="33" y="155"/>
                        <a:pt x="36" y="157"/>
                        <a:pt x="39" y="157"/>
                      </a:cubicBezTo>
                      <a:cubicBezTo>
                        <a:pt x="107" y="157"/>
                        <a:pt x="107" y="157"/>
                        <a:pt x="107" y="157"/>
                      </a:cubicBezTo>
                      <a:cubicBezTo>
                        <a:pt x="110" y="157"/>
                        <a:pt x="112" y="155"/>
                        <a:pt x="112" y="151"/>
                      </a:cubicBezTo>
                      <a:cubicBezTo>
                        <a:pt x="112" y="148"/>
                        <a:pt x="110" y="145"/>
                        <a:pt x="107" y="145"/>
                      </a:cubicBezTo>
                      <a:close/>
                      <a:moveTo>
                        <a:pt x="107" y="174"/>
                      </a:moveTo>
                      <a:cubicBezTo>
                        <a:pt x="39" y="174"/>
                        <a:pt x="39" y="174"/>
                        <a:pt x="39" y="174"/>
                      </a:cubicBezTo>
                      <a:cubicBezTo>
                        <a:pt x="36" y="174"/>
                        <a:pt x="33" y="177"/>
                        <a:pt x="33" y="180"/>
                      </a:cubicBezTo>
                      <a:cubicBezTo>
                        <a:pt x="33" y="183"/>
                        <a:pt x="36" y="186"/>
                        <a:pt x="39" y="186"/>
                      </a:cubicBezTo>
                      <a:cubicBezTo>
                        <a:pt x="107" y="186"/>
                        <a:pt x="107" y="186"/>
                        <a:pt x="107" y="186"/>
                      </a:cubicBezTo>
                      <a:cubicBezTo>
                        <a:pt x="110" y="186"/>
                        <a:pt x="112" y="183"/>
                        <a:pt x="112" y="180"/>
                      </a:cubicBezTo>
                      <a:cubicBezTo>
                        <a:pt x="112" y="177"/>
                        <a:pt x="110" y="174"/>
                        <a:pt x="107" y="174"/>
                      </a:cubicBezTo>
                      <a:close/>
                      <a:moveTo>
                        <a:pt x="211" y="89"/>
                      </a:moveTo>
                      <a:cubicBezTo>
                        <a:pt x="144" y="89"/>
                        <a:pt x="144" y="89"/>
                        <a:pt x="144" y="89"/>
                      </a:cubicBezTo>
                      <a:cubicBezTo>
                        <a:pt x="141" y="89"/>
                        <a:pt x="138" y="91"/>
                        <a:pt x="138" y="94"/>
                      </a:cubicBezTo>
                      <a:cubicBezTo>
                        <a:pt x="138" y="97"/>
                        <a:pt x="141" y="100"/>
                        <a:pt x="144" y="100"/>
                      </a:cubicBezTo>
                      <a:cubicBezTo>
                        <a:pt x="211" y="100"/>
                        <a:pt x="211" y="100"/>
                        <a:pt x="211" y="100"/>
                      </a:cubicBezTo>
                      <a:cubicBezTo>
                        <a:pt x="214" y="100"/>
                        <a:pt x="217" y="97"/>
                        <a:pt x="217" y="94"/>
                      </a:cubicBezTo>
                      <a:cubicBezTo>
                        <a:pt x="217" y="91"/>
                        <a:pt x="214" y="89"/>
                        <a:pt x="211" y="89"/>
                      </a:cubicBezTo>
                      <a:close/>
                      <a:moveTo>
                        <a:pt x="211" y="117"/>
                      </a:moveTo>
                      <a:cubicBezTo>
                        <a:pt x="144" y="117"/>
                        <a:pt x="144" y="117"/>
                        <a:pt x="144" y="117"/>
                      </a:cubicBezTo>
                      <a:cubicBezTo>
                        <a:pt x="141" y="117"/>
                        <a:pt x="138" y="119"/>
                        <a:pt x="138" y="123"/>
                      </a:cubicBezTo>
                      <a:cubicBezTo>
                        <a:pt x="138" y="126"/>
                        <a:pt x="141" y="128"/>
                        <a:pt x="144" y="128"/>
                      </a:cubicBezTo>
                      <a:cubicBezTo>
                        <a:pt x="211" y="128"/>
                        <a:pt x="211" y="128"/>
                        <a:pt x="211" y="128"/>
                      </a:cubicBezTo>
                      <a:cubicBezTo>
                        <a:pt x="214" y="128"/>
                        <a:pt x="217" y="126"/>
                        <a:pt x="217" y="123"/>
                      </a:cubicBezTo>
                      <a:cubicBezTo>
                        <a:pt x="217" y="119"/>
                        <a:pt x="214" y="117"/>
                        <a:pt x="211" y="117"/>
                      </a:cubicBezTo>
                      <a:close/>
                      <a:moveTo>
                        <a:pt x="211" y="145"/>
                      </a:moveTo>
                      <a:cubicBezTo>
                        <a:pt x="144" y="145"/>
                        <a:pt x="144" y="145"/>
                        <a:pt x="144" y="145"/>
                      </a:cubicBezTo>
                      <a:cubicBezTo>
                        <a:pt x="141" y="145"/>
                        <a:pt x="138" y="148"/>
                        <a:pt x="138" y="151"/>
                      </a:cubicBezTo>
                      <a:cubicBezTo>
                        <a:pt x="138" y="155"/>
                        <a:pt x="141" y="157"/>
                        <a:pt x="144" y="157"/>
                      </a:cubicBezTo>
                      <a:cubicBezTo>
                        <a:pt x="211" y="157"/>
                        <a:pt x="211" y="157"/>
                        <a:pt x="211" y="157"/>
                      </a:cubicBezTo>
                      <a:cubicBezTo>
                        <a:pt x="214" y="157"/>
                        <a:pt x="217" y="155"/>
                        <a:pt x="217" y="151"/>
                      </a:cubicBezTo>
                      <a:cubicBezTo>
                        <a:pt x="217" y="148"/>
                        <a:pt x="214" y="145"/>
                        <a:pt x="211" y="145"/>
                      </a:cubicBezTo>
                      <a:close/>
                      <a:moveTo>
                        <a:pt x="211" y="174"/>
                      </a:moveTo>
                      <a:cubicBezTo>
                        <a:pt x="144" y="174"/>
                        <a:pt x="144" y="174"/>
                        <a:pt x="144" y="174"/>
                      </a:cubicBezTo>
                      <a:cubicBezTo>
                        <a:pt x="141" y="174"/>
                        <a:pt x="138" y="177"/>
                        <a:pt x="138" y="180"/>
                      </a:cubicBezTo>
                      <a:cubicBezTo>
                        <a:pt x="138" y="183"/>
                        <a:pt x="141" y="186"/>
                        <a:pt x="144" y="186"/>
                      </a:cubicBezTo>
                      <a:cubicBezTo>
                        <a:pt x="211" y="186"/>
                        <a:pt x="211" y="186"/>
                        <a:pt x="211" y="186"/>
                      </a:cubicBezTo>
                      <a:cubicBezTo>
                        <a:pt x="214" y="186"/>
                        <a:pt x="217" y="183"/>
                        <a:pt x="217" y="180"/>
                      </a:cubicBezTo>
                      <a:cubicBezTo>
                        <a:pt x="217" y="177"/>
                        <a:pt x="214" y="174"/>
                        <a:pt x="211" y="174"/>
                      </a:cubicBezTo>
                      <a:close/>
                      <a:moveTo>
                        <a:pt x="211" y="60"/>
                      </a:moveTo>
                      <a:cubicBezTo>
                        <a:pt x="144" y="60"/>
                        <a:pt x="144" y="60"/>
                        <a:pt x="144" y="60"/>
                      </a:cubicBezTo>
                      <a:cubicBezTo>
                        <a:pt x="141" y="60"/>
                        <a:pt x="138" y="62"/>
                        <a:pt x="138" y="66"/>
                      </a:cubicBezTo>
                      <a:cubicBezTo>
                        <a:pt x="138" y="69"/>
                        <a:pt x="141" y="71"/>
                        <a:pt x="144" y="71"/>
                      </a:cubicBezTo>
                      <a:cubicBezTo>
                        <a:pt x="211" y="71"/>
                        <a:pt x="211" y="71"/>
                        <a:pt x="211" y="71"/>
                      </a:cubicBezTo>
                      <a:cubicBezTo>
                        <a:pt x="214" y="71"/>
                        <a:pt x="217" y="69"/>
                        <a:pt x="217" y="66"/>
                      </a:cubicBezTo>
                      <a:cubicBezTo>
                        <a:pt x="217" y="62"/>
                        <a:pt x="214" y="60"/>
                        <a:pt x="211" y="60"/>
                      </a:cubicBezTo>
                      <a:close/>
                      <a:moveTo>
                        <a:pt x="316" y="89"/>
                      </a:moveTo>
                      <a:cubicBezTo>
                        <a:pt x="248" y="89"/>
                        <a:pt x="248" y="89"/>
                        <a:pt x="248" y="89"/>
                      </a:cubicBezTo>
                      <a:cubicBezTo>
                        <a:pt x="245" y="89"/>
                        <a:pt x="243" y="91"/>
                        <a:pt x="243" y="94"/>
                      </a:cubicBezTo>
                      <a:cubicBezTo>
                        <a:pt x="243" y="97"/>
                        <a:pt x="245" y="100"/>
                        <a:pt x="248" y="100"/>
                      </a:cubicBezTo>
                      <a:cubicBezTo>
                        <a:pt x="316" y="100"/>
                        <a:pt x="316" y="100"/>
                        <a:pt x="316" y="100"/>
                      </a:cubicBezTo>
                      <a:cubicBezTo>
                        <a:pt x="319" y="100"/>
                        <a:pt x="322" y="97"/>
                        <a:pt x="322" y="94"/>
                      </a:cubicBezTo>
                      <a:cubicBezTo>
                        <a:pt x="322" y="91"/>
                        <a:pt x="319" y="89"/>
                        <a:pt x="316" y="89"/>
                      </a:cubicBezTo>
                      <a:close/>
                      <a:moveTo>
                        <a:pt x="316" y="117"/>
                      </a:moveTo>
                      <a:cubicBezTo>
                        <a:pt x="248" y="117"/>
                        <a:pt x="248" y="117"/>
                        <a:pt x="248" y="117"/>
                      </a:cubicBezTo>
                      <a:cubicBezTo>
                        <a:pt x="245" y="117"/>
                        <a:pt x="243" y="119"/>
                        <a:pt x="243" y="123"/>
                      </a:cubicBezTo>
                      <a:cubicBezTo>
                        <a:pt x="243" y="126"/>
                        <a:pt x="245" y="128"/>
                        <a:pt x="248" y="128"/>
                      </a:cubicBezTo>
                      <a:cubicBezTo>
                        <a:pt x="316" y="128"/>
                        <a:pt x="316" y="128"/>
                        <a:pt x="316" y="128"/>
                      </a:cubicBezTo>
                      <a:cubicBezTo>
                        <a:pt x="319" y="128"/>
                        <a:pt x="322" y="126"/>
                        <a:pt x="322" y="123"/>
                      </a:cubicBezTo>
                      <a:cubicBezTo>
                        <a:pt x="322" y="119"/>
                        <a:pt x="319" y="117"/>
                        <a:pt x="316" y="117"/>
                      </a:cubicBezTo>
                      <a:close/>
                      <a:moveTo>
                        <a:pt x="316" y="145"/>
                      </a:moveTo>
                      <a:cubicBezTo>
                        <a:pt x="248" y="145"/>
                        <a:pt x="248" y="145"/>
                        <a:pt x="248" y="145"/>
                      </a:cubicBezTo>
                      <a:cubicBezTo>
                        <a:pt x="245" y="145"/>
                        <a:pt x="243" y="148"/>
                        <a:pt x="243" y="151"/>
                      </a:cubicBezTo>
                      <a:cubicBezTo>
                        <a:pt x="243" y="155"/>
                        <a:pt x="245" y="157"/>
                        <a:pt x="248" y="157"/>
                      </a:cubicBezTo>
                      <a:cubicBezTo>
                        <a:pt x="316" y="157"/>
                        <a:pt x="316" y="157"/>
                        <a:pt x="316" y="157"/>
                      </a:cubicBezTo>
                      <a:cubicBezTo>
                        <a:pt x="319" y="157"/>
                        <a:pt x="322" y="155"/>
                        <a:pt x="322" y="151"/>
                      </a:cubicBezTo>
                      <a:cubicBezTo>
                        <a:pt x="322" y="148"/>
                        <a:pt x="319" y="145"/>
                        <a:pt x="316" y="145"/>
                      </a:cubicBezTo>
                      <a:close/>
                      <a:moveTo>
                        <a:pt x="316" y="174"/>
                      </a:moveTo>
                      <a:cubicBezTo>
                        <a:pt x="248" y="174"/>
                        <a:pt x="248" y="174"/>
                        <a:pt x="248" y="174"/>
                      </a:cubicBezTo>
                      <a:cubicBezTo>
                        <a:pt x="245" y="174"/>
                        <a:pt x="243" y="177"/>
                        <a:pt x="243" y="180"/>
                      </a:cubicBezTo>
                      <a:cubicBezTo>
                        <a:pt x="243" y="183"/>
                        <a:pt x="245" y="186"/>
                        <a:pt x="248" y="186"/>
                      </a:cubicBezTo>
                      <a:cubicBezTo>
                        <a:pt x="316" y="186"/>
                        <a:pt x="316" y="186"/>
                        <a:pt x="316" y="186"/>
                      </a:cubicBezTo>
                      <a:cubicBezTo>
                        <a:pt x="319" y="186"/>
                        <a:pt x="322" y="183"/>
                        <a:pt x="322" y="180"/>
                      </a:cubicBezTo>
                      <a:cubicBezTo>
                        <a:pt x="322" y="177"/>
                        <a:pt x="319" y="174"/>
                        <a:pt x="316" y="174"/>
                      </a:cubicBezTo>
                      <a:close/>
                      <a:moveTo>
                        <a:pt x="316" y="60"/>
                      </a:moveTo>
                      <a:cubicBezTo>
                        <a:pt x="248" y="60"/>
                        <a:pt x="248" y="60"/>
                        <a:pt x="248" y="60"/>
                      </a:cubicBezTo>
                      <a:cubicBezTo>
                        <a:pt x="245" y="60"/>
                        <a:pt x="243" y="62"/>
                        <a:pt x="243" y="66"/>
                      </a:cubicBezTo>
                      <a:cubicBezTo>
                        <a:pt x="243" y="69"/>
                        <a:pt x="245" y="71"/>
                        <a:pt x="248" y="71"/>
                      </a:cubicBezTo>
                      <a:cubicBezTo>
                        <a:pt x="316" y="71"/>
                        <a:pt x="316" y="71"/>
                        <a:pt x="316" y="71"/>
                      </a:cubicBezTo>
                      <a:cubicBezTo>
                        <a:pt x="319" y="71"/>
                        <a:pt x="322" y="69"/>
                        <a:pt x="322" y="66"/>
                      </a:cubicBezTo>
                      <a:cubicBezTo>
                        <a:pt x="322" y="62"/>
                        <a:pt x="319" y="60"/>
                        <a:pt x="316" y="6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Oval 43"/>
                <p:cNvSpPr/>
                <p:nvPr/>
              </p:nvSpPr>
              <p:spPr bwMode="auto">
                <a:xfrm>
                  <a:off x="9894205" y="3587586"/>
                  <a:ext cx="243570" cy="243570"/>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grpSp>
          <p:grpSp>
            <p:nvGrpSpPr>
              <p:cNvPr id="46" name="Group 45"/>
              <p:cNvGrpSpPr/>
              <p:nvPr/>
            </p:nvGrpSpPr>
            <p:grpSpPr>
              <a:xfrm>
                <a:off x="9438992" y="3499308"/>
                <a:ext cx="677582" cy="577902"/>
                <a:chOff x="9186252" y="3211465"/>
                <a:chExt cx="995134" cy="848739"/>
              </a:xfrm>
            </p:grpSpPr>
            <p:sp>
              <p:nvSpPr>
                <p:cNvPr id="47" name="Freeform 22"/>
                <p:cNvSpPr>
                  <a:spLocks/>
                </p:cNvSpPr>
                <p:nvPr/>
              </p:nvSpPr>
              <p:spPr bwMode="auto">
                <a:xfrm>
                  <a:off x="9210651" y="3237607"/>
                  <a:ext cx="831312" cy="557693"/>
                </a:xfrm>
                <a:custGeom>
                  <a:avLst/>
                  <a:gdLst>
                    <a:gd name="T0" fmla="*/ 477 w 477"/>
                    <a:gd name="T1" fmla="*/ 320 h 320"/>
                    <a:gd name="T2" fmla="*/ 0 w 477"/>
                    <a:gd name="T3" fmla="*/ 320 h 320"/>
                    <a:gd name="T4" fmla="*/ 0 w 477"/>
                    <a:gd name="T5" fmla="*/ 59 h 320"/>
                    <a:gd name="T6" fmla="*/ 66 w 477"/>
                    <a:gd name="T7" fmla="*/ 0 h 320"/>
                    <a:gd name="T8" fmla="*/ 477 w 477"/>
                    <a:gd name="T9" fmla="*/ 0 h 320"/>
                    <a:gd name="T10" fmla="*/ 477 w 477"/>
                    <a:gd name="T11" fmla="*/ 320 h 320"/>
                  </a:gdLst>
                  <a:ahLst/>
                  <a:cxnLst>
                    <a:cxn ang="0">
                      <a:pos x="T0" y="T1"/>
                    </a:cxn>
                    <a:cxn ang="0">
                      <a:pos x="T2" y="T3"/>
                    </a:cxn>
                    <a:cxn ang="0">
                      <a:pos x="T4" y="T5"/>
                    </a:cxn>
                    <a:cxn ang="0">
                      <a:pos x="T6" y="T7"/>
                    </a:cxn>
                    <a:cxn ang="0">
                      <a:pos x="T8" y="T9"/>
                    </a:cxn>
                    <a:cxn ang="0">
                      <a:pos x="T10" y="T11"/>
                    </a:cxn>
                  </a:cxnLst>
                  <a:rect l="0" t="0" r="r" b="b"/>
                  <a:pathLst>
                    <a:path w="477" h="320">
                      <a:moveTo>
                        <a:pt x="477" y="320"/>
                      </a:moveTo>
                      <a:lnTo>
                        <a:pt x="0" y="320"/>
                      </a:lnTo>
                      <a:lnTo>
                        <a:pt x="0" y="59"/>
                      </a:lnTo>
                      <a:lnTo>
                        <a:pt x="66" y="0"/>
                      </a:lnTo>
                      <a:lnTo>
                        <a:pt x="477" y="0"/>
                      </a:lnTo>
                      <a:lnTo>
                        <a:pt x="477" y="3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3"/>
                <p:cNvSpPr>
                  <a:spLocks noEditPoints="1"/>
                </p:cNvSpPr>
                <p:nvPr/>
              </p:nvSpPr>
              <p:spPr bwMode="auto">
                <a:xfrm>
                  <a:off x="9186252" y="3211465"/>
                  <a:ext cx="867910" cy="576864"/>
                </a:xfrm>
                <a:custGeom>
                  <a:avLst/>
                  <a:gdLst>
                    <a:gd name="T0" fmla="*/ 354 w 354"/>
                    <a:gd name="T1" fmla="*/ 235 h 235"/>
                    <a:gd name="T2" fmla="*/ 336 w 354"/>
                    <a:gd name="T3" fmla="*/ 0 h 235"/>
                    <a:gd name="T4" fmla="*/ 0 w 354"/>
                    <a:gd name="T5" fmla="*/ 48 h 235"/>
                    <a:gd name="T6" fmla="*/ 17 w 354"/>
                    <a:gd name="T7" fmla="*/ 235 h 235"/>
                    <a:gd name="T8" fmla="*/ 22 w 354"/>
                    <a:gd name="T9" fmla="*/ 224 h 235"/>
                    <a:gd name="T10" fmla="*/ 10 w 354"/>
                    <a:gd name="T11" fmla="*/ 55 h 235"/>
                    <a:gd name="T12" fmla="*/ 52 w 354"/>
                    <a:gd name="T13" fmla="*/ 53 h 235"/>
                    <a:gd name="T14" fmla="*/ 56 w 354"/>
                    <a:gd name="T15" fmla="*/ 12 h 235"/>
                    <a:gd name="T16" fmla="*/ 344 w 354"/>
                    <a:gd name="T17" fmla="*/ 24 h 235"/>
                    <a:gd name="T18" fmla="*/ 22 w 354"/>
                    <a:gd name="T19" fmla="*/ 224 h 235"/>
                    <a:gd name="T20" fmla="*/ 107 w 354"/>
                    <a:gd name="T21" fmla="*/ 60 h 235"/>
                    <a:gd name="T22" fmla="*/ 107 w 354"/>
                    <a:gd name="T23" fmla="*/ 71 h 235"/>
                    <a:gd name="T24" fmla="*/ 71 w 354"/>
                    <a:gd name="T25" fmla="*/ 66 h 235"/>
                    <a:gd name="T26" fmla="*/ 107 w 354"/>
                    <a:gd name="T27" fmla="*/ 60 h 235"/>
                    <a:gd name="T28" fmla="*/ 39 w 354"/>
                    <a:gd name="T29" fmla="*/ 89 h 235"/>
                    <a:gd name="T30" fmla="*/ 39 w 354"/>
                    <a:gd name="T31" fmla="*/ 100 h 235"/>
                    <a:gd name="T32" fmla="*/ 112 w 354"/>
                    <a:gd name="T33" fmla="*/ 94 h 235"/>
                    <a:gd name="T34" fmla="*/ 107 w 354"/>
                    <a:gd name="T35" fmla="*/ 117 h 235"/>
                    <a:gd name="T36" fmla="*/ 33 w 354"/>
                    <a:gd name="T37" fmla="*/ 123 h 235"/>
                    <a:gd name="T38" fmla="*/ 107 w 354"/>
                    <a:gd name="T39" fmla="*/ 128 h 235"/>
                    <a:gd name="T40" fmla="*/ 107 w 354"/>
                    <a:gd name="T41" fmla="*/ 117 h 235"/>
                    <a:gd name="T42" fmla="*/ 39 w 354"/>
                    <a:gd name="T43" fmla="*/ 145 h 235"/>
                    <a:gd name="T44" fmla="*/ 39 w 354"/>
                    <a:gd name="T45" fmla="*/ 157 h 235"/>
                    <a:gd name="T46" fmla="*/ 112 w 354"/>
                    <a:gd name="T47" fmla="*/ 151 h 235"/>
                    <a:gd name="T48" fmla="*/ 107 w 354"/>
                    <a:gd name="T49" fmla="*/ 174 h 235"/>
                    <a:gd name="T50" fmla="*/ 33 w 354"/>
                    <a:gd name="T51" fmla="*/ 180 h 235"/>
                    <a:gd name="T52" fmla="*/ 107 w 354"/>
                    <a:gd name="T53" fmla="*/ 186 h 235"/>
                    <a:gd name="T54" fmla="*/ 107 w 354"/>
                    <a:gd name="T55" fmla="*/ 174 h 235"/>
                    <a:gd name="T56" fmla="*/ 144 w 354"/>
                    <a:gd name="T57" fmla="*/ 89 h 235"/>
                    <a:gd name="T58" fmla="*/ 144 w 354"/>
                    <a:gd name="T59" fmla="*/ 100 h 235"/>
                    <a:gd name="T60" fmla="*/ 217 w 354"/>
                    <a:gd name="T61" fmla="*/ 94 h 235"/>
                    <a:gd name="T62" fmla="*/ 211 w 354"/>
                    <a:gd name="T63" fmla="*/ 117 h 235"/>
                    <a:gd name="T64" fmla="*/ 138 w 354"/>
                    <a:gd name="T65" fmla="*/ 123 h 235"/>
                    <a:gd name="T66" fmla="*/ 211 w 354"/>
                    <a:gd name="T67" fmla="*/ 128 h 235"/>
                    <a:gd name="T68" fmla="*/ 211 w 354"/>
                    <a:gd name="T69" fmla="*/ 117 h 235"/>
                    <a:gd name="T70" fmla="*/ 144 w 354"/>
                    <a:gd name="T71" fmla="*/ 145 h 235"/>
                    <a:gd name="T72" fmla="*/ 144 w 354"/>
                    <a:gd name="T73" fmla="*/ 157 h 235"/>
                    <a:gd name="T74" fmla="*/ 217 w 354"/>
                    <a:gd name="T75" fmla="*/ 151 h 235"/>
                    <a:gd name="T76" fmla="*/ 211 w 354"/>
                    <a:gd name="T77" fmla="*/ 174 h 235"/>
                    <a:gd name="T78" fmla="*/ 138 w 354"/>
                    <a:gd name="T79" fmla="*/ 180 h 235"/>
                    <a:gd name="T80" fmla="*/ 211 w 354"/>
                    <a:gd name="T81" fmla="*/ 186 h 235"/>
                    <a:gd name="T82" fmla="*/ 211 w 354"/>
                    <a:gd name="T83" fmla="*/ 174 h 235"/>
                    <a:gd name="T84" fmla="*/ 144 w 354"/>
                    <a:gd name="T85" fmla="*/ 60 h 235"/>
                    <a:gd name="T86" fmla="*/ 144 w 354"/>
                    <a:gd name="T87" fmla="*/ 71 h 235"/>
                    <a:gd name="T88" fmla="*/ 217 w 354"/>
                    <a:gd name="T89" fmla="*/ 66 h 235"/>
                    <a:gd name="T90" fmla="*/ 316 w 354"/>
                    <a:gd name="T91" fmla="*/ 89 h 235"/>
                    <a:gd name="T92" fmla="*/ 243 w 354"/>
                    <a:gd name="T93" fmla="*/ 94 h 235"/>
                    <a:gd name="T94" fmla="*/ 316 w 354"/>
                    <a:gd name="T95" fmla="*/ 100 h 235"/>
                    <a:gd name="T96" fmla="*/ 316 w 354"/>
                    <a:gd name="T97" fmla="*/ 89 h 235"/>
                    <a:gd name="T98" fmla="*/ 248 w 354"/>
                    <a:gd name="T99" fmla="*/ 117 h 235"/>
                    <a:gd name="T100" fmla="*/ 248 w 354"/>
                    <a:gd name="T101" fmla="*/ 128 h 235"/>
                    <a:gd name="T102" fmla="*/ 322 w 354"/>
                    <a:gd name="T103" fmla="*/ 123 h 235"/>
                    <a:gd name="T104" fmla="*/ 316 w 354"/>
                    <a:gd name="T105" fmla="*/ 145 h 235"/>
                    <a:gd name="T106" fmla="*/ 243 w 354"/>
                    <a:gd name="T107" fmla="*/ 151 h 235"/>
                    <a:gd name="T108" fmla="*/ 316 w 354"/>
                    <a:gd name="T109" fmla="*/ 157 h 235"/>
                    <a:gd name="T110" fmla="*/ 316 w 354"/>
                    <a:gd name="T111" fmla="*/ 145 h 235"/>
                    <a:gd name="T112" fmla="*/ 248 w 354"/>
                    <a:gd name="T113" fmla="*/ 174 h 235"/>
                    <a:gd name="T114" fmla="*/ 248 w 354"/>
                    <a:gd name="T115" fmla="*/ 186 h 235"/>
                    <a:gd name="T116" fmla="*/ 322 w 354"/>
                    <a:gd name="T117" fmla="*/ 180 h 235"/>
                    <a:gd name="T118" fmla="*/ 316 w 354"/>
                    <a:gd name="T119" fmla="*/ 60 h 235"/>
                    <a:gd name="T120" fmla="*/ 243 w 354"/>
                    <a:gd name="T121" fmla="*/ 66 h 235"/>
                    <a:gd name="T122" fmla="*/ 316 w 354"/>
                    <a:gd name="T123" fmla="*/ 71 h 235"/>
                    <a:gd name="T124" fmla="*/ 316 w 354"/>
                    <a:gd name="T125" fmla="*/ 6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4" h="235">
                      <a:moveTo>
                        <a:pt x="344" y="235"/>
                      </a:moveTo>
                      <a:cubicBezTo>
                        <a:pt x="354" y="235"/>
                        <a:pt x="354" y="235"/>
                        <a:pt x="354" y="235"/>
                      </a:cubicBezTo>
                      <a:cubicBezTo>
                        <a:pt x="354" y="18"/>
                        <a:pt x="354" y="18"/>
                        <a:pt x="354" y="18"/>
                      </a:cubicBezTo>
                      <a:cubicBezTo>
                        <a:pt x="354" y="7"/>
                        <a:pt x="344" y="0"/>
                        <a:pt x="336" y="0"/>
                      </a:cubicBezTo>
                      <a:cubicBezTo>
                        <a:pt x="50" y="0"/>
                        <a:pt x="44" y="0"/>
                        <a:pt x="44" y="0"/>
                      </a:cubicBezTo>
                      <a:cubicBezTo>
                        <a:pt x="30" y="15"/>
                        <a:pt x="0" y="48"/>
                        <a:pt x="0" y="48"/>
                      </a:cubicBezTo>
                      <a:cubicBezTo>
                        <a:pt x="0" y="109"/>
                        <a:pt x="0" y="216"/>
                        <a:pt x="0" y="216"/>
                      </a:cubicBezTo>
                      <a:cubicBezTo>
                        <a:pt x="0" y="228"/>
                        <a:pt x="9" y="235"/>
                        <a:pt x="17" y="235"/>
                      </a:cubicBezTo>
                      <a:cubicBezTo>
                        <a:pt x="344" y="235"/>
                        <a:pt x="344" y="235"/>
                        <a:pt x="344" y="235"/>
                      </a:cubicBezTo>
                      <a:close/>
                      <a:moveTo>
                        <a:pt x="22" y="224"/>
                      </a:moveTo>
                      <a:cubicBezTo>
                        <a:pt x="16" y="224"/>
                        <a:pt x="10" y="218"/>
                        <a:pt x="10" y="211"/>
                      </a:cubicBezTo>
                      <a:cubicBezTo>
                        <a:pt x="10" y="55"/>
                        <a:pt x="10" y="55"/>
                        <a:pt x="10" y="55"/>
                      </a:cubicBezTo>
                      <a:cubicBezTo>
                        <a:pt x="41" y="55"/>
                        <a:pt x="41" y="55"/>
                        <a:pt x="41" y="55"/>
                      </a:cubicBezTo>
                      <a:cubicBezTo>
                        <a:pt x="41" y="55"/>
                        <a:pt x="48" y="55"/>
                        <a:pt x="52" y="53"/>
                      </a:cubicBezTo>
                      <a:cubicBezTo>
                        <a:pt x="56" y="50"/>
                        <a:pt x="56" y="43"/>
                        <a:pt x="56" y="43"/>
                      </a:cubicBezTo>
                      <a:cubicBezTo>
                        <a:pt x="56" y="12"/>
                        <a:pt x="56" y="12"/>
                        <a:pt x="56" y="12"/>
                      </a:cubicBezTo>
                      <a:cubicBezTo>
                        <a:pt x="332" y="12"/>
                        <a:pt x="332" y="12"/>
                        <a:pt x="332" y="12"/>
                      </a:cubicBezTo>
                      <a:cubicBezTo>
                        <a:pt x="338" y="12"/>
                        <a:pt x="344" y="17"/>
                        <a:pt x="344" y="24"/>
                      </a:cubicBezTo>
                      <a:cubicBezTo>
                        <a:pt x="344" y="224"/>
                        <a:pt x="344" y="224"/>
                        <a:pt x="344" y="224"/>
                      </a:cubicBezTo>
                      <a:cubicBezTo>
                        <a:pt x="22" y="224"/>
                        <a:pt x="22" y="224"/>
                        <a:pt x="22" y="224"/>
                      </a:cubicBezTo>
                      <a:cubicBezTo>
                        <a:pt x="22" y="224"/>
                        <a:pt x="22" y="224"/>
                        <a:pt x="22" y="224"/>
                      </a:cubicBezTo>
                      <a:close/>
                      <a:moveTo>
                        <a:pt x="107" y="60"/>
                      </a:moveTo>
                      <a:cubicBezTo>
                        <a:pt x="110" y="60"/>
                        <a:pt x="112" y="62"/>
                        <a:pt x="112" y="66"/>
                      </a:cubicBezTo>
                      <a:cubicBezTo>
                        <a:pt x="112" y="69"/>
                        <a:pt x="110" y="71"/>
                        <a:pt x="107" y="71"/>
                      </a:cubicBezTo>
                      <a:cubicBezTo>
                        <a:pt x="107" y="71"/>
                        <a:pt x="107" y="71"/>
                        <a:pt x="76" y="71"/>
                      </a:cubicBezTo>
                      <a:cubicBezTo>
                        <a:pt x="73" y="71"/>
                        <a:pt x="71" y="69"/>
                        <a:pt x="71" y="66"/>
                      </a:cubicBezTo>
                      <a:cubicBezTo>
                        <a:pt x="71" y="62"/>
                        <a:pt x="73" y="60"/>
                        <a:pt x="76" y="60"/>
                      </a:cubicBezTo>
                      <a:cubicBezTo>
                        <a:pt x="76" y="60"/>
                        <a:pt x="76" y="60"/>
                        <a:pt x="107" y="60"/>
                      </a:cubicBezTo>
                      <a:close/>
                      <a:moveTo>
                        <a:pt x="107" y="89"/>
                      </a:moveTo>
                      <a:cubicBezTo>
                        <a:pt x="39" y="89"/>
                        <a:pt x="39" y="89"/>
                        <a:pt x="39" y="89"/>
                      </a:cubicBezTo>
                      <a:cubicBezTo>
                        <a:pt x="36" y="89"/>
                        <a:pt x="33" y="91"/>
                        <a:pt x="33" y="94"/>
                      </a:cubicBezTo>
                      <a:cubicBezTo>
                        <a:pt x="33" y="97"/>
                        <a:pt x="36" y="100"/>
                        <a:pt x="39" y="100"/>
                      </a:cubicBezTo>
                      <a:cubicBezTo>
                        <a:pt x="107" y="100"/>
                        <a:pt x="107" y="100"/>
                        <a:pt x="107" y="100"/>
                      </a:cubicBezTo>
                      <a:cubicBezTo>
                        <a:pt x="110" y="100"/>
                        <a:pt x="112" y="97"/>
                        <a:pt x="112" y="94"/>
                      </a:cubicBezTo>
                      <a:cubicBezTo>
                        <a:pt x="112" y="91"/>
                        <a:pt x="110" y="89"/>
                        <a:pt x="107" y="89"/>
                      </a:cubicBezTo>
                      <a:close/>
                      <a:moveTo>
                        <a:pt x="107" y="117"/>
                      </a:moveTo>
                      <a:cubicBezTo>
                        <a:pt x="39" y="117"/>
                        <a:pt x="39" y="117"/>
                        <a:pt x="39" y="117"/>
                      </a:cubicBezTo>
                      <a:cubicBezTo>
                        <a:pt x="36" y="117"/>
                        <a:pt x="33" y="119"/>
                        <a:pt x="33" y="123"/>
                      </a:cubicBezTo>
                      <a:cubicBezTo>
                        <a:pt x="33" y="126"/>
                        <a:pt x="36" y="128"/>
                        <a:pt x="39" y="128"/>
                      </a:cubicBezTo>
                      <a:cubicBezTo>
                        <a:pt x="107" y="128"/>
                        <a:pt x="107" y="128"/>
                        <a:pt x="107" y="128"/>
                      </a:cubicBezTo>
                      <a:cubicBezTo>
                        <a:pt x="110" y="128"/>
                        <a:pt x="112" y="126"/>
                        <a:pt x="112" y="123"/>
                      </a:cubicBezTo>
                      <a:cubicBezTo>
                        <a:pt x="112" y="119"/>
                        <a:pt x="110" y="117"/>
                        <a:pt x="107" y="117"/>
                      </a:cubicBezTo>
                      <a:close/>
                      <a:moveTo>
                        <a:pt x="107" y="145"/>
                      </a:moveTo>
                      <a:cubicBezTo>
                        <a:pt x="39" y="145"/>
                        <a:pt x="39" y="145"/>
                        <a:pt x="39" y="145"/>
                      </a:cubicBezTo>
                      <a:cubicBezTo>
                        <a:pt x="36" y="145"/>
                        <a:pt x="33" y="148"/>
                        <a:pt x="33" y="151"/>
                      </a:cubicBezTo>
                      <a:cubicBezTo>
                        <a:pt x="33" y="155"/>
                        <a:pt x="36" y="157"/>
                        <a:pt x="39" y="157"/>
                      </a:cubicBezTo>
                      <a:cubicBezTo>
                        <a:pt x="107" y="157"/>
                        <a:pt x="107" y="157"/>
                        <a:pt x="107" y="157"/>
                      </a:cubicBezTo>
                      <a:cubicBezTo>
                        <a:pt x="110" y="157"/>
                        <a:pt x="112" y="155"/>
                        <a:pt x="112" y="151"/>
                      </a:cubicBezTo>
                      <a:cubicBezTo>
                        <a:pt x="112" y="148"/>
                        <a:pt x="110" y="145"/>
                        <a:pt x="107" y="145"/>
                      </a:cubicBezTo>
                      <a:close/>
                      <a:moveTo>
                        <a:pt x="107" y="174"/>
                      </a:moveTo>
                      <a:cubicBezTo>
                        <a:pt x="39" y="174"/>
                        <a:pt x="39" y="174"/>
                        <a:pt x="39" y="174"/>
                      </a:cubicBezTo>
                      <a:cubicBezTo>
                        <a:pt x="36" y="174"/>
                        <a:pt x="33" y="177"/>
                        <a:pt x="33" y="180"/>
                      </a:cubicBezTo>
                      <a:cubicBezTo>
                        <a:pt x="33" y="183"/>
                        <a:pt x="36" y="186"/>
                        <a:pt x="39" y="186"/>
                      </a:cubicBezTo>
                      <a:cubicBezTo>
                        <a:pt x="107" y="186"/>
                        <a:pt x="107" y="186"/>
                        <a:pt x="107" y="186"/>
                      </a:cubicBezTo>
                      <a:cubicBezTo>
                        <a:pt x="110" y="186"/>
                        <a:pt x="112" y="183"/>
                        <a:pt x="112" y="180"/>
                      </a:cubicBezTo>
                      <a:cubicBezTo>
                        <a:pt x="112" y="177"/>
                        <a:pt x="110" y="174"/>
                        <a:pt x="107" y="174"/>
                      </a:cubicBezTo>
                      <a:close/>
                      <a:moveTo>
                        <a:pt x="211" y="89"/>
                      </a:moveTo>
                      <a:cubicBezTo>
                        <a:pt x="144" y="89"/>
                        <a:pt x="144" y="89"/>
                        <a:pt x="144" y="89"/>
                      </a:cubicBezTo>
                      <a:cubicBezTo>
                        <a:pt x="141" y="89"/>
                        <a:pt x="138" y="91"/>
                        <a:pt x="138" y="94"/>
                      </a:cubicBezTo>
                      <a:cubicBezTo>
                        <a:pt x="138" y="97"/>
                        <a:pt x="141" y="100"/>
                        <a:pt x="144" y="100"/>
                      </a:cubicBezTo>
                      <a:cubicBezTo>
                        <a:pt x="211" y="100"/>
                        <a:pt x="211" y="100"/>
                        <a:pt x="211" y="100"/>
                      </a:cubicBezTo>
                      <a:cubicBezTo>
                        <a:pt x="214" y="100"/>
                        <a:pt x="217" y="97"/>
                        <a:pt x="217" y="94"/>
                      </a:cubicBezTo>
                      <a:cubicBezTo>
                        <a:pt x="217" y="91"/>
                        <a:pt x="214" y="89"/>
                        <a:pt x="211" y="89"/>
                      </a:cubicBezTo>
                      <a:close/>
                      <a:moveTo>
                        <a:pt x="211" y="117"/>
                      </a:moveTo>
                      <a:cubicBezTo>
                        <a:pt x="144" y="117"/>
                        <a:pt x="144" y="117"/>
                        <a:pt x="144" y="117"/>
                      </a:cubicBezTo>
                      <a:cubicBezTo>
                        <a:pt x="141" y="117"/>
                        <a:pt x="138" y="119"/>
                        <a:pt x="138" y="123"/>
                      </a:cubicBezTo>
                      <a:cubicBezTo>
                        <a:pt x="138" y="126"/>
                        <a:pt x="141" y="128"/>
                        <a:pt x="144" y="128"/>
                      </a:cubicBezTo>
                      <a:cubicBezTo>
                        <a:pt x="211" y="128"/>
                        <a:pt x="211" y="128"/>
                        <a:pt x="211" y="128"/>
                      </a:cubicBezTo>
                      <a:cubicBezTo>
                        <a:pt x="214" y="128"/>
                        <a:pt x="217" y="126"/>
                        <a:pt x="217" y="123"/>
                      </a:cubicBezTo>
                      <a:cubicBezTo>
                        <a:pt x="217" y="119"/>
                        <a:pt x="214" y="117"/>
                        <a:pt x="211" y="117"/>
                      </a:cubicBezTo>
                      <a:close/>
                      <a:moveTo>
                        <a:pt x="211" y="145"/>
                      </a:moveTo>
                      <a:cubicBezTo>
                        <a:pt x="144" y="145"/>
                        <a:pt x="144" y="145"/>
                        <a:pt x="144" y="145"/>
                      </a:cubicBezTo>
                      <a:cubicBezTo>
                        <a:pt x="141" y="145"/>
                        <a:pt x="138" y="148"/>
                        <a:pt x="138" y="151"/>
                      </a:cubicBezTo>
                      <a:cubicBezTo>
                        <a:pt x="138" y="155"/>
                        <a:pt x="141" y="157"/>
                        <a:pt x="144" y="157"/>
                      </a:cubicBezTo>
                      <a:cubicBezTo>
                        <a:pt x="211" y="157"/>
                        <a:pt x="211" y="157"/>
                        <a:pt x="211" y="157"/>
                      </a:cubicBezTo>
                      <a:cubicBezTo>
                        <a:pt x="214" y="157"/>
                        <a:pt x="217" y="155"/>
                        <a:pt x="217" y="151"/>
                      </a:cubicBezTo>
                      <a:cubicBezTo>
                        <a:pt x="217" y="148"/>
                        <a:pt x="214" y="145"/>
                        <a:pt x="211" y="145"/>
                      </a:cubicBezTo>
                      <a:close/>
                      <a:moveTo>
                        <a:pt x="211" y="174"/>
                      </a:moveTo>
                      <a:cubicBezTo>
                        <a:pt x="144" y="174"/>
                        <a:pt x="144" y="174"/>
                        <a:pt x="144" y="174"/>
                      </a:cubicBezTo>
                      <a:cubicBezTo>
                        <a:pt x="141" y="174"/>
                        <a:pt x="138" y="177"/>
                        <a:pt x="138" y="180"/>
                      </a:cubicBezTo>
                      <a:cubicBezTo>
                        <a:pt x="138" y="183"/>
                        <a:pt x="141" y="186"/>
                        <a:pt x="144" y="186"/>
                      </a:cubicBezTo>
                      <a:cubicBezTo>
                        <a:pt x="211" y="186"/>
                        <a:pt x="211" y="186"/>
                        <a:pt x="211" y="186"/>
                      </a:cubicBezTo>
                      <a:cubicBezTo>
                        <a:pt x="214" y="186"/>
                        <a:pt x="217" y="183"/>
                        <a:pt x="217" y="180"/>
                      </a:cubicBezTo>
                      <a:cubicBezTo>
                        <a:pt x="217" y="177"/>
                        <a:pt x="214" y="174"/>
                        <a:pt x="211" y="174"/>
                      </a:cubicBezTo>
                      <a:close/>
                      <a:moveTo>
                        <a:pt x="211" y="60"/>
                      </a:moveTo>
                      <a:cubicBezTo>
                        <a:pt x="144" y="60"/>
                        <a:pt x="144" y="60"/>
                        <a:pt x="144" y="60"/>
                      </a:cubicBezTo>
                      <a:cubicBezTo>
                        <a:pt x="141" y="60"/>
                        <a:pt x="138" y="62"/>
                        <a:pt x="138" y="66"/>
                      </a:cubicBezTo>
                      <a:cubicBezTo>
                        <a:pt x="138" y="69"/>
                        <a:pt x="141" y="71"/>
                        <a:pt x="144" y="71"/>
                      </a:cubicBezTo>
                      <a:cubicBezTo>
                        <a:pt x="211" y="71"/>
                        <a:pt x="211" y="71"/>
                        <a:pt x="211" y="71"/>
                      </a:cubicBezTo>
                      <a:cubicBezTo>
                        <a:pt x="214" y="71"/>
                        <a:pt x="217" y="69"/>
                        <a:pt x="217" y="66"/>
                      </a:cubicBezTo>
                      <a:cubicBezTo>
                        <a:pt x="217" y="62"/>
                        <a:pt x="214" y="60"/>
                        <a:pt x="211" y="60"/>
                      </a:cubicBezTo>
                      <a:close/>
                      <a:moveTo>
                        <a:pt x="316" y="89"/>
                      </a:moveTo>
                      <a:cubicBezTo>
                        <a:pt x="248" y="89"/>
                        <a:pt x="248" y="89"/>
                        <a:pt x="248" y="89"/>
                      </a:cubicBezTo>
                      <a:cubicBezTo>
                        <a:pt x="245" y="89"/>
                        <a:pt x="243" y="91"/>
                        <a:pt x="243" y="94"/>
                      </a:cubicBezTo>
                      <a:cubicBezTo>
                        <a:pt x="243" y="97"/>
                        <a:pt x="245" y="100"/>
                        <a:pt x="248" y="100"/>
                      </a:cubicBezTo>
                      <a:cubicBezTo>
                        <a:pt x="316" y="100"/>
                        <a:pt x="316" y="100"/>
                        <a:pt x="316" y="100"/>
                      </a:cubicBezTo>
                      <a:cubicBezTo>
                        <a:pt x="319" y="100"/>
                        <a:pt x="322" y="97"/>
                        <a:pt x="322" y="94"/>
                      </a:cubicBezTo>
                      <a:cubicBezTo>
                        <a:pt x="322" y="91"/>
                        <a:pt x="319" y="89"/>
                        <a:pt x="316" y="89"/>
                      </a:cubicBezTo>
                      <a:close/>
                      <a:moveTo>
                        <a:pt x="316" y="117"/>
                      </a:moveTo>
                      <a:cubicBezTo>
                        <a:pt x="248" y="117"/>
                        <a:pt x="248" y="117"/>
                        <a:pt x="248" y="117"/>
                      </a:cubicBezTo>
                      <a:cubicBezTo>
                        <a:pt x="245" y="117"/>
                        <a:pt x="243" y="119"/>
                        <a:pt x="243" y="123"/>
                      </a:cubicBezTo>
                      <a:cubicBezTo>
                        <a:pt x="243" y="126"/>
                        <a:pt x="245" y="128"/>
                        <a:pt x="248" y="128"/>
                      </a:cubicBezTo>
                      <a:cubicBezTo>
                        <a:pt x="316" y="128"/>
                        <a:pt x="316" y="128"/>
                        <a:pt x="316" y="128"/>
                      </a:cubicBezTo>
                      <a:cubicBezTo>
                        <a:pt x="319" y="128"/>
                        <a:pt x="322" y="126"/>
                        <a:pt x="322" y="123"/>
                      </a:cubicBezTo>
                      <a:cubicBezTo>
                        <a:pt x="322" y="119"/>
                        <a:pt x="319" y="117"/>
                        <a:pt x="316" y="117"/>
                      </a:cubicBezTo>
                      <a:close/>
                      <a:moveTo>
                        <a:pt x="316" y="145"/>
                      </a:moveTo>
                      <a:cubicBezTo>
                        <a:pt x="248" y="145"/>
                        <a:pt x="248" y="145"/>
                        <a:pt x="248" y="145"/>
                      </a:cubicBezTo>
                      <a:cubicBezTo>
                        <a:pt x="245" y="145"/>
                        <a:pt x="243" y="148"/>
                        <a:pt x="243" y="151"/>
                      </a:cubicBezTo>
                      <a:cubicBezTo>
                        <a:pt x="243" y="155"/>
                        <a:pt x="245" y="157"/>
                        <a:pt x="248" y="157"/>
                      </a:cubicBezTo>
                      <a:cubicBezTo>
                        <a:pt x="316" y="157"/>
                        <a:pt x="316" y="157"/>
                        <a:pt x="316" y="157"/>
                      </a:cubicBezTo>
                      <a:cubicBezTo>
                        <a:pt x="319" y="157"/>
                        <a:pt x="322" y="155"/>
                        <a:pt x="322" y="151"/>
                      </a:cubicBezTo>
                      <a:cubicBezTo>
                        <a:pt x="322" y="148"/>
                        <a:pt x="319" y="145"/>
                        <a:pt x="316" y="145"/>
                      </a:cubicBezTo>
                      <a:close/>
                      <a:moveTo>
                        <a:pt x="316" y="174"/>
                      </a:moveTo>
                      <a:cubicBezTo>
                        <a:pt x="248" y="174"/>
                        <a:pt x="248" y="174"/>
                        <a:pt x="248" y="174"/>
                      </a:cubicBezTo>
                      <a:cubicBezTo>
                        <a:pt x="245" y="174"/>
                        <a:pt x="243" y="177"/>
                        <a:pt x="243" y="180"/>
                      </a:cubicBezTo>
                      <a:cubicBezTo>
                        <a:pt x="243" y="183"/>
                        <a:pt x="245" y="186"/>
                        <a:pt x="248" y="186"/>
                      </a:cubicBezTo>
                      <a:cubicBezTo>
                        <a:pt x="316" y="186"/>
                        <a:pt x="316" y="186"/>
                        <a:pt x="316" y="186"/>
                      </a:cubicBezTo>
                      <a:cubicBezTo>
                        <a:pt x="319" y="186"/>
                        <a:pt x="322" y="183"/>
                        <a:pt x="322" y="180"/>
                      </a:cubicBezTo>
                      <a:cubicBezTo>
                        <a:pt x="322" y="177"/>
                        <a:pt x="319" y="174"/>
                        <a:pt x="316" y="174"/>
                      </a:cubicBezTo>
                      <a:close/>
                      <a:moveTo>
                        <a:pt x="316" y="60"/>
                      </a:moveTo>
                      <a:cubicBezTo>
                        <a:pt x="248" y="60"/>
                        <a:pt x="248" y="60"/>
                        <a:pt x="248" y="60"/>
                      </a:cubicBezTo>
                      <a:cubicBezTo>
                        <a:pt x="245" y="60"/>
                        <a:pt x="243" y="62"/>
                        <a:pt x="243" y="66"/>
                      </a:cubicBezTo>
                      <a:cubicBezTo>
                        <a:pt x="243" y="69"/>
                        <a:pt x="245" y="71"/>
                        <a:pt x="248" y="71"/>
                      </a:cubicBezTo>
                      <a:cubicBezTo>
                        <a:pt x="316" y="71"/>
                        <a:pt x="316" y="71"/>
                        <a:pt x="316" y="71"/>
                      </a:cubicBezTo>
                      <a:cubicBezTo>
                        <a:pt x="319" y="71"/>
                        <a:pt x="322" y="69"/>
                        <a:pt x="322" y="66"/>
                      </a:cubicBezTo>
                      <a:cubicBezTo>
                        <a:pt x="322" y="62"/>
                        <a:pt x="319" y="60"/>
                        <a:pt x="316" y="6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Oval 48"/>
                <p:cNvSpPr/>
                <p:nvPr/>
              </p:nvSpPr>
              <p:spPr bwMode="auto">
                <a:xfrm>
                  <a:off x="9894205" y="3587586"/>
                  <a:ext cx="243570" cy="243570"/>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50" name="Freeform 25"/>
                <p:cNvSpPr>
                  <a:spLocks noEditPoints="1"/>
                </p:cNvSpPr>
                <p:nvPr/>
              </p:nvSpPr>
              <p:spPr bwMode="auto">
                <a:xfrm>
                  <a:off x="9862455" y="3551309"/>
                  <a:ext cx="318931" cy="508895"/>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spTree>
    <p:extLst>
      <p:ext uri="{BB962C8B-B14F-4D97-AF65-F5344CB8AC3E}">
        <p14:creationId xmlns:p14="http://schemas.microsoft.com/office/powerpoint/2010/main" val="2233623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2453" y="289904"/>
            <a:ext cx="11370961" cy="738664"/>
          </a:xfrm>
        </p:spPr>
        <p:txBody>
          <a:bodyPr vert="horz" wrap="square" lIns="146304" tIns="91440" rIns="146304" bIns="91440" rtlCol="0" anchor="t">
            <a:spAutoFit/>
          </a:bodyPr>
          <a:lstStyle/>
          <a:p>
            <a:r>
              <a:rPr lang="en-US" sz="4000" dirty="0"/>
              <a:t>Work Folders</a:t>
            </a:r>
          </a:p>
        </p:txBody>
      </p:sp>
      <p:sp>
        <p:nvSpPr>
          <p:cNvPr id="3" name="Text Placeholder 2"/>
          <p:cNvSpPr>
            <a:spLocks noGrp="1"/>
          </p:cNvSpPr>
          <p:nvPr>
            <p:ph type="body" sz="quarter" idx="10"/>
          </p:nvPr>
        </p:nvSpPr>
        <p:spPr>
          <a:xfrm>
            <a:off x="84137" y="4437902"/>
            <a:ext cx="5686425" cy="627864"/>
          </a:xfrm>
        </p:spPr>
        <p:txBody>
          <a:bodyPr/>
          <a:lstStyle/>
          <a:p>
            <a:pPr marL="0" indent="0" algn="ctr">
              <a:buNone/>
            </a:pPr>
            <a:r>
              <a:rPr lang="en-US" sz="2400" dirty="0" smtClean="0">
                <a:solidFill>
                  <a:schemeClr val="accent1"/>
                </a:solidFill>
                <a:latin typeface="+mn-lt"/>
              </a:rPr>
              <a:t>Sync files and data across devices</a:t>
            </a:r>
          </a:p>
        </p:txBody>
      </p:sp>
      <p:sp>
        <p:nvSpPr>
          <p:cNvPr id="4" name="Rectangle 3"/>
          <p:cNvSpPr/>
          <p:nvPr/>
        </p:nvSpPr>
        <p:spPr>
          <a:xfrm>
            <a:off x="6247178" y="4510545"/>
            <a:ext cx="5914660" cy="830997"/>
          </a:xfrm>
          <a:prstGeom prst="rect">
            <a:avLst/>
          </a:prstGeom>
        </p:spPr>
        <p:txBody>
          <a:bodyPr wrap="square">
            <a:spAutoFit/>
          </a:bodyPr>
          <a:lstStyle/>
          <a:p>
            <a:pPr marL="0" lvl="1" indent="0" algn="ctr">
              <a:buNone/>
            </a:pPr>
            <a:r>
              <a:rPr lang="en-US" sz="2400" dirty="0">
                <a:solidFill>
                  <a:schemeClr val="accent1"/>
                </a:solidFill>
              </a:rPr>
              <a:t>Configuration Manager and Windows </a:t>
            </a:r>
            <a:r>
              <a:rPr lang="en-US" sz="2400" dirty="0" err="1">
                <a:solidFill>
                  <a:schemeClr val="accent1"/>
                </a:solidFill>
              </a:rPr>
              <a:t>Intune</a:t>
            </a:r>
            <a:r>
              <a:rPr lang="en-US" sz="2400" dirty="0">
                <a:solidFill>
                  <a:schemeClr val="accent1"/>
                </a:solidFill>
              </a:rPr>
              <a:t> </a:t>
            </a:r>
            <a:r>
              <a:rPr lang="en-US" sz="2400" dirty="0" smtClean="0">
                <a:solidFill>
                  <a:schemeClr val="accent1"/>
                </a:solidFill>
              </a:rPr>
              <a:t>support</a:t>
            </a:r>
          </a:p>
        </p:txBody>
      </p:sp>
      <p:sp>
        <p:nvSpPr>
          <p:cNvPr id="5" name="Rectangle 4"/>
          <p:cNvSpPr/>
          <p:nvPr/>
        </p:nvSpPr>
        <p:spPr>
          <a:xfrm>
            <a:off x="6262375" y="5410173"/>
            <a:ext cx="5899463" cy="830997"/>
          </a:xfrm>
          <a:prstGeom prst="rect">
            <a:avLst/>
          </a:prstGeom>
        </p:spPr>
        <p:txBody>
          <a:bodyPr wrap="square">
            <a:spAutoFit/>
          </a:bodyPr>
          <a:lstStyle/>
          <a:p>
            <a:pPr marL="289817" lvl="2" indent="0">
              <a:buNone/>
            </a:pPr>
            <a:r>
              <a:rPr lang="en-US" sz="1600" dirty="0"/>
              <a:t>New settings to help provision the </a:t>
            </a:r>
            <a:r>
              <a:rPr lang="en-US" sz="1600" dirty="0" smtClean="0"/>
              <a:t>Work Folder </a:t>
            </a:r>
            <a:r>
              <a:rPr lang="en-US" sz="1600" dirty="0"/>
              <a:t>discovery settings</a:t>
            </a:r>
          </a:p>
          <a:p>
            <a:pPr marL="289817" lvl="2" indent="0">
              <a:buNone/>
            </a:pPr>
            <a:r>
              <a:rPr lang="en-US" sz="1600" dirty="0" smtClean="0"/>
              <a:t>Company Portals have </a:t>
            </a:r>
            <a:r>
              <a:rPr lang="en-US" sz="1600" dirty="0"/>
              <a:t>links to </a:t>
            </a:r>
            <a:r>
              <a:rPr lang="en-US" sz="1600" dirty="0" smtClean="0"/>
              <a:t>Work Folders</a:t>
            </a:r>
            <a:endParaRPr lang="en-US" sz="1600" dirty="0"/>
          </a:p>
        </p:txBody>
      </p:sp>
      <p:sp>
        <p:nvSpPr>
          <p:cNvPr id="6" name="Rectangle 5"/>
          <p:cNvSpPr/>
          <p:nvPr/>
        </p:nvSpPr>
        <p:spPr>
          <a:xfrm>
            <a:off x="300298" y="5074243"/>
            <a:ext cx="5470263" cy="584775"/>
          </a:xfrm>
          <a:prstGeom prst="rect">
            <a:avLst/>
          </a:prstGeom>
        </p:spPr>
        <p:txBody>
          <a:bodyPr wrap="square">
            <a:spAutoFit/>
          </a:bodyPr>
          <a:lstStyle/>
          <a:p>
            <a:pPr marL="59861" lvl="1" indent="0">
              <a:buNone/>
            </a:pPr>
            <a:r>
              <a:rPr lang="en-US" sz="1600" dirty="0"/>
              <a:t>New feature in Windows 8.1 client and Windows Server 2012 R2 </a:t>
            </a:r>
          </a:p>
        </p:txBody>
      </p:sp>
      <p:sp>
        <p:nvSpPr>
          <p:cNvPr id="10" name="Freeform 1551"/>
          <p:cNvSpPr>
            <a:spLocks noEditPoints="1"/>
          </p:cNvSpPr>
          <p:nvPr/>
        </p:nvSpPr>
        <p:spPr bwMode="auto">
          <a:xfrm>
            <a:off x="1108608" y="2560745"/>
            <a:ext cx="1133740" cy="965184"/>
          </a:xfrm>
          <a:custGeom>
            <a:avLst/>
            <a:gdLst>
              <a:gd name="T0" fmla="*/ 11 w 283"/>
              <a:gd name="T1" fmla="*/ 238 h 241"/>
              <a:gd name="T2" fmla="*/ 11 w 283"/>
              <a:gd name="T3" fmla="*/ 241 h 241"/>
              <a:gd name="T4" fmla="*/ 0 w 283"/>
              <a:gd name="T5" fmla="*/ 226 h 241"/>
              <a:gd name="T6" fmla="*/ 0 w 283"/>
              <a:gd name="T7" fmla="*/ 47 h 241"/>
              <a:gd name="T8" fmla="*/ 13 w 283"/>
              <a:gd name="T9" fmla="*/ 32 h 241"/>
              <a:gd name="T10" fmla="*/ 127 w 283"/>
              <a:gd name="T11" fmla="*/ 32 h 241"/>
              <a:gd name="T12" fmla="*/ 140 w 283"/>
              <a:gd name="T13" fmla="*/ 18 h 241"/>
              <a:gd name="T14" fmla="*/ 140 w 283"/>
              <a:gd name="T15" fmla="*/ 15 h 241"/>
              <a:gd name="T16" fmla="*/ 152 w 283"/>
              <a:gd name="T17" fmla="*/ 0 h 241"/>
              <a:gd name="T18" fmla="*/ 256 w 283"/>
              <a:gd name="T19" fmla="*/ 0 h 241"/>
              <a:gd name="T20" fmla="*/ 268 w 283"/>
              <a:gd name="T21" fmla="*/ 15 h 241"/>
              <a:gd name="T22" fmla="*/ 268 w 283"/>
              <a:gd name="T23" fmla="*/ 18 h 241"/>
              <a:gd name="T24" fmla="*/ 275 w 283"/>
              <a:gd name="T25" fmla="*/ 32 h 241"/>
              <a:gd name="T26" fmla="*/ 282 w 283"/>
              <a:gd name="T27" fmla="*/ 47 h 241"/>
              <a:gd name="T28" fmla="*/ 282 w 283"/>
              <a:gd name="T29" fmla="*/ 69 h 241"/>
              <a:gd name="T30" fmla="*/ 34 w 283"/>
              <a:gd name="T31" fmla="*/ 49 h 241"/>
              <a:gd name="T32" fmla="*/ 21 w 283"/>
              <a:gd name="T33" fmla="*/ 59 h 241"/>
              <a:gd name="T34" fmla="*/ 11 w 283"/>
              <a:gd name="T35" fmla="*/ 238 h 241"/>
              <a:gd name="T36" fmla="*/ 265 w 283"/>
              <a:gd name="T37" fmla="*/ 241 h 241"/>
              <a:gd name="T38" fmla="*/ 274 w 283"/>
              <a:gd name="T39" fmla="*/ 230 h 241"/>
              <a:gd name="T40" fmla="*/ 274 w 283"/>
              <a:gd name="T41" fmla="*/ 230 h 241"/>
              <a:gd name="T42" fmla="*/ 274 w 283"/>
              <a:gd name="T43" fmla="*/ 230 h 241"/>
              <a:gd name="T44" fmla="*/ 282 w 283"/>
              <a:gd name="T45" fmla="*/ 79 h 241"/>
              <a:gd name="T46" fmla="*/ 277 w 283"/>
              <a:gd name="T47" fmla="*/ 68 h 241"/>
              <a:gd name="T48" fmla="*/ 29 w 283"/>
              <a:gd name="T49" fmla="*/ 47 h 241"/>
              <a:gd name="T50" fmla="*/ 28 w 283"/>
              <a:gd name="T51" fmla="*/ 47 h 241"/>
              <a:gd name="T52" fmla="*/ 19 w 283"/>
              <a:gd name="T53" fmla="*/ 58 h 241"/>
              <a:gd name="T54" fmla="*/ 9 w 283"/>
              <a:gd name="T55" fmla="*/ 241 h 241"/>
              <a:gd name="T56" fmla="*/ 265 w 283"/>
              <a:gd name="T57"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3" h="241">
                <a:moveTo>
                  <a:pt x="11" y="238"/>
                </a:moveTo>
                <a:cubicBezTo>
                  <a:pt x="11" y="239"/>
                  <a:pt x="11" y="240"/>
                  <a:pt x="11" y="241"/>
                </a:cubicBezTo>
                <a:cubicBezTo>
                  <a:pt x="5" y="240"/>
                  <a:pt x="0" y="234"/>
                  <a:pt x="0" y="226"/>
                </a:cubicBezTo>
                <a:cubicBezTo>
                  <a:pt x="0" y="47"/>
                  <a:pt x="0" y="227"/>
                  <a:pt x="0" y="47"/>
                </a:cubicBezTo>
                <a:cubicBezTo>
                  <a:pt x="0" y="39"/>
                  <a:pt x="6" y="32"/>
                  <a:pt x="13" y="32"/>
                </a:cubicBezTo>
                <a:cubicBezTo>
                  <a:pt x="13" y="32"/>
                  <a:pt x="13" y="32"/>
                  <a:pt x="127" y="32"/>
                </a:cubicBezTo>
                <a:cubicBezTo>
                  <a:pt x="134" y="32"/>
                  <a:pt x="140" y="26"/>
                  <a:pt x="140" y="18"/>
                </a:cubicBezTo>
                <a:cubicBezTo>
                  <a:pt x="140" y="18"/>
                  <a:pt x="140" y="18"/>
                  <a:pt x="140" y="15"/>
                </a:cubicBezTo>
                <a:cubicBezTo>
                  <a:pt x="140" y="7"/>
                  <a:pt x="145" y="0"/>
                  <a:pt x="152" y="0"/>
                </a:cubicBezTo>
                <a:cubicBezTo>
                  <a:pt x="152" y="0"/>
                  <a:pt x="152" y="0"/>
                  <a:pt x="256" y="0"/>
                </a:cubicBezTo>
                <a:cubicBezTo>
                  <a:pt x="263" y="0"/>
                  <a:pt x="268" y="7"/>
                  <a:pt x="268" y="15"/>
                </a:cubicBezTo>
                <a:cubicBezTo>
                  <a:pt x="268" y="15"/>
                  <a:pt x="268" y="15"/>
                  <a:pt x="268" y="18"/>
                </a:cubicBezTo>
                <a:cubicBezTo>
                  <a:pt x="268" y="26"/>
                  <a:pt x="271" y="32"/>
                  <a:pt x="275" y="32"/>
                </a:cubicBezTo>
                <a:cubicBezTo>
                  <a:pt x="279" y="32"/>
                  <a:pt x="282" y="39"/>
                  <a:pt x="282" y="47"/>
                </a:cubicBezTo>
                <a:cubicBezTo>
                  <a:pt x="282" y="47"/>
                  <a:pt x="282" y="51"/>
                  <a:pt x="282" y="69"/>
                </a:cubicBezTo>
                <a:cubicBezTo>
                  <a:pt x="282" y="69"/>
                  <a:pt x="282" y="69"/>
                  <a:pt x="34" y="49"/>
                </a:cubicBezTo>
                <a:cubicBezTo>
                  <a:pt x="28" y="48"/>
                  <a:pt x="22" y="51"/>
                  <a:pt x="21" y="59"/>
                </a:cubicBezTo>
                <a:cubicBezTo>
                  <a:pt x="21" y="59"/>
                  <a:pt x="21" y="59"/>
                  <a:pt x="11" y="238"/>
                </a:cubicBezTo>
                <a:close/>
                <a:moveTo>
                  <a:pt x="265" y="241"/>
                </a:moveTo>
                <a:cubicBezTo>
                  <a:pt x="270" y="241"/>
                  <a:pt x="274" y="236"/>
                  <a:pt x="274" y="230"/>
                </a:cubicBezTo>
                <a:cubicBezTo>
                  <a:pt x="274" y="230"/>
                  <a:pt x="274" y="230"/>
                  <a:pt x="274" y="230"/>
                </a:cubicBezTo>
                <a:cubicBezTo>
                  <a:pt x="274" y="230"/>
                  <a:pt x="274" y="230"/>
                  <a:pt x="274" y="230"/>
                </a:cubicBezTo>
                <a:cubicBezTo>
                  <a:pt x="274" y="230"/>
                  <a:pt x="274" y="230"/>
                  <a:pt x="282" y="79"/>
                </a:cubicBezTo>
                <a:cubicBezTo>
                  <a:pt x="283" y="74"/>
                  <a:pt x="280" y="70"/>
                  <a:pt x="277" y="68"/>
                </a:cubicBezTo>
                <a:cubicBezTo>
                  <a:pt x="277" y="68"/>
                  <a:pt x="277" y="68"/>
                  <a:pt x="29" y="47"/>
                </a:cubicBezTo>
                <a:cubicBezTo>
                  <a:pt x="29" y="47"/>
                  <a:pt x="28" y="47"/>
                  <a:pt x="28" y="47"/>
                </a:cubicBezTo>
                <a:cubicBezTo>
                  <a:pt x="24" y="47"/>
                  <a:pt x="19" y="52"/>
                  <a:pt x="19" y="58"/>
                </a:cubicBezTo>
                <a:cubicBezTo>
                  <a:pt x="19" y="58"/>
                  <a:pt x="19" y="58"/>
                  <a:pt x="9" y="241"/>
                </a:cubicBezTo>
                <a:cubicBezTo>
                  <a:pt x="9" y="241"/>
                  <a:pt x="9" y="241"/>
                  <a:pt x="265" y="241"/>
                </a:cubicBezTo>
                <a:close/>
              </a:path>
            </a:pathLst>
          </a:custGeom>
          <a:solidFill>
            <a:schemeClr val="accent3"/>
          </a:solidFill>
          <a:ln w="254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230113" y="3079265"/>
            <a:ext cx="1466225" cy="979113"/>
          </a:xfrm>
          <a:prstGeom prst="rect">
            <a:avLst/>
          </a:prstGeom>
        </p:spPr>
      </p:pic>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40062" y="1781909"/>
            <a:ext cx="634867" cy="1173234"/>
          </a:xfrm>
          <a:prstGeom prst="rect">
            <a:avLst/>
          </a:prstGeom>
        </p:spPr>
      </p:pic>
      <p:cxnSp>
        <p:nvCxnSpPr>
          <p:cNvPr id="14" name="Straight Arrow Connector 13"/>
          <p:cNvCxnSpPr/>
          <p:nvPr/>
        </p:nvCxnSpPr>
        <p:spPr>
          <a:xfrm flipV="1">
            <a:off x="2416027" y="2438400"/>
            <a:ext cx="827314" cy="285750"/>
          </a:xfrm>
          <a:prstGeom prst="straightConnector1">
            <a:avLst/>
          </a:prstGeom>
          <a:ln w="28575"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2416027" y="3339417"/>
            <a:ext cx="688716" cy="106413"/>
          </a:xfrm>
          <a:prstGeom prst="straightConnector1">
            <a:avLst/>
          </a:prstGeom>
          <a:ln w="28575" cap="rnd">
            <a:solidFill>
              <a:srgbClr val="0070C0"/>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7773726" y="1516063"/>
            <a:ext cx="2759981" cy="2671478"/>
            <a:chOff x="2836676" y="1239680"/>
            <a:chExt cx="1595466" cy="1544305"/>
          </a:xfrm>
        </p:grpSpPr>
        <p:sp>
          <p:nvSpPr>
            <p:cNvPr id="29" name="Freeform 6"/>
            <p:cNvSpPr>
              <a:spLocks noEditPoints="1"/>
            </p:cNvSpPr>
            <p:nvPr/>
          </p:nvSpPr>
          <p:spPr bwMode="auto">
            <a:xfrm>
              <a:off x="3217877" y="1288216"/>
              <a:ext cx="1214265" cy="1039537"/>
            </a:xfrm>
            <a:custGeom>
              <a:avLst/>
              <a:gdLst>
                <a:gd name="T0" fmla="*/ 1325 w 1369"/>
                <a:gd name="T1" fmla="*/ 0 h 1170"/>
                <a:gd name="T2" fmla="*/ 47 w 1369"/>
                <a:gd name="T3" fmla="*/ 0 h 1170"/>
                <a:gd name="T4" fmla="*/ 0 w 1369"/>
                <a:gd name="T5" fmla="*/ 42 h 1170"/>
                <a:gd name="T6" fmla="*/ 0 w 1369"/>
                <a:gd name="T7" fmla="*/ 957 h 1170"/>
                <a:gd name="T8" fmla="*/ 47 w 1369"/>
                <a:gd name="T9" fmla="*/ 1001 h 1170"/>
                <a:gd name="T10" fmla="*/ 467 w 1369"/>
                <a:gd name="T11" fmla="*/ 1001 h 1170"/>
                <a:gd name="T12" fmla="*/ 454 w 1369"/>
                <a:gd name="T13" fmla="*/ 1067 h 1170"/>
                <a:gd name="T14" fmla="*/ 382 w 1369"/>
                <a:gd name="T15" fmla="*/ 1092 h 1170"/>
                <a:gd name="T16" fmla="*/ 375 w 1369"/>
                <a:gd name="T17" fmla="*/ 1092 h 1170"/>
                <a:gd name="T18" fmla="*/ 346 w 1369"/>
                <a:gd name="T19" fmla="*/ 1123 h 1170"/>
                <a:gd name="T20" fmla="*/ 346 w 1369"/>
                <a:gd name="T21" fmla="*/ 1139 h 1170"/>
                <a:gd name="T22" fmla="*/ 375 w 1369"/>
                <a:gd name="T23" fmla="*/ 1170 h 1170"/>
                <a:gd name="T24" fmla="*/ 1011 w 1369"/>
                <a:gd name="T25" fmla="*/ 1170 h 1170"/>
                <a:gd name="T26" fmla="*/ 1040 w 1369"/>
                <a:gd name="T27" fmla="*/ 1139 h 1170"/>
                <a:gd name="T28" fmla="*/ 1040 w 1369"/>
                <a:gd name="T29" fmla="*/ 1123 h 1170"/>
                <a:gd name="T30" fmla="*/ 1011 w 1369"/>
                <a:gd name="T31" fmla="*/ 1092 h 1170"/>
                <a:gd name="T32" fmla="*/ 1008 w 1369"/>
                <a:gd name="T33" fmla="*/ 1092 h 1170"/>
                <a:gd name="T34" fmla="*/ 940 w 1369"/>
                <a:gd name="T35" fmla="*/ 1067 h 1170"/>
                <a:gd name="T36" fmla="*/ 929 w 1369"/>
                <a:gd name="T37" fmla="*/ 1001 h 1170"/>
                <a:gd name="T38" fmla="*/ 1325 w 1369"/>
                <a:gd name="T39" fmla="*/ 1001 h 1170"/>
                <a:gd name="T40" fmla="*/ 1369 w 1369"/>
                <a:gd name="T41" fmla="*/ 957 h 1170"/>
                <a:gd name="T42" fmla="*/ 1369 w 1369"/>
                <a:gd name="T43" fmla="*/ 42 h 1170"/>
                <a:gd name="T44" fmla="*/ 1325 w 1369"/>
                <a:gd name="T45" fmla="*/ 0 h 1170"/>
                <a:gd name="T46" fmla="*/ 1290 w 1369"/>
                <a:gd name="T47" fmla="*/ 889 h 1170"/>
                <a:gd name="T48" fmla="*/ 1254 w 1369"/>
                <a:gd name="T49" fmla="*/ 925 h 1170"/>
                <a:gd name="T50" fmla="*/ 118 w 1369"/>
                <a:gd name="T51" fmla="*/ 925 h 1170"/>
                <a:gd name="T52" fmla="*/ 80 w 1369"/>
                <a:gd name="T53" fmla="*/ 889 h 1170"/>
                <a:gd name="T54" fmla="*/ 80 w 1369"/>
                <a:gd name="T55" fmla="*/ 110 h 1170"/>
                <a:gd name="T56" fmla="*/ 118 w 1369"/>
                <a:gd name="T57" fmla="*/ 74 h 1170"/>
                <a:gd name="T58" fmla="*/ 1254 w 1369"/>
                <a:gd name="T59" fmla="*/ 74 h 1170"/>
                <a:gd name="T60" fmla="*/ 1290 w 1369"/>
                <a:gd name="T61" fmla="*/ 110 h 1170"/>
                <a:gd name="T62" fmla="*/ 1290 w 1369"/>
                <a:gd name="T63" fmla="*/ 889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9" h="1170">
                  <a:moveTo>
                    <a:pt x="1325" y="0"/>
                  </a:moveTo>
                  <a:cubicBezTo>
                    <a:pt x="47" y="0"/>
                    <a:pt x="47" y="0"/>
                    <a:pt x="47" y="0"/>
                  </a:cubicBezTo>
                  <a:cubicBezTo>
                    <a:pt x="21" y="0"/>
                    <a:pt x="0" y="18"/>
                    <a:pt x="0" y="42"/>
                  </a:cubicBezTo>
                  <a:cubicBezTo>
                    <a:pt x="0" y="957"/>
                    <a:pt x="0" y="957"/>
                    <a:pt x="0" y="957"/>
                  </a:cubicBezTo>
                  <a:cubicBezTo>
                    <a:pt x="0" y="981"/>
                    <a:pt x="21" y="1001"/>
                    <a:pt x="47" y="1001"/>
                  </a:cubicBezTo>
                  <a:cubicBezTo>
                    <a:pt x="467" y="1001"/>
                    <a:pt x="467" y="1001"/>
                    <a:pt x="467" y="1001"/>
                  </a:cubicBezTo>
                  <a:cubicBezTo>
                    <a:pt x="467" y="1001"/>
                    <a:pt x="464" y="1053"/>
                    <a:pt x="454" y="1067"/>
                  </a:cubicBezTo>
                  <a:cubicBezTo>
                    <a:pt x="437" y="1092"/>
                    <a:pt x="405" y="1085"/>
                    <a:pt x="382" y="1092"/>
                  </a:cubicBezTo>
                  <a:cubicBezTo>
                    <a:pt x="375" y="1092"/>
                    <a:pt x="375" y="1092"/>
                    <a:pt x="375" y="1092"/>
                  </a:cubicBezTo>
                  <a:cubicBezTo>
                    <a:pt x="359" y="1092"/>
                    <a:pt x="346" y="1106"/>
                    <a:pt x="346" y="1123"/>
                  </a:cubicBezTo>
                  <a:cubicBezTo>
                    <a:pt x="346" y="1139"/>
                    <a:pt x="346" y="1139"/>
                    <a:pt x="346" y="1139"/>
                  </a:cubicBezTo>
                  <a:cubicBezTo>
                    <a:pt x="346" y="1156"/>
                    <a:pt x="359" y="1170"/>
                    <a:pt x="375" y="1170"/>
                  </a:cubicBezTo>
                  <a:cubicBezTo>
                    <a:pt x="1011" y="1170"/>
                    <a:pt x="1011" y="1170"/>
                    <a:pt x="1011" y="1170"/>
                  </a:cubicBezTo>
                  <a:cubicBezTo>
                    <a:pt x="1026" y="1170"/>
                    <a:pt x="1040" y="1156"/>
                    <a:pt x="1040" y="1139"/>
                  </a:cubicBezTo>
                  <a:cubicBezTo>
                    <a:pt x="1040" y="1123"/>
                    <a:pt x="1040" y="1123"/>
                    <a:pt x="1040" y="1123"/>
                  </a:cubicBezTo>
                  <a:cubicBezTo>
                    <a:pt x="1040" y="1106"/>
                    <a:pt x="1026" y="1092"/>
                    <a:pt x="1011" y="1092"/>
                  </a:cubicBezTo>
                  <a:cubicBezTo>
                    <a:pt x="1008" y="1092"/>
                    <a:pt x="1008" y="1092"/>
                    <a:pt x="1008" y="1092"/>
                  </a:cubicBezTo>
                  <a:cubicBezTo>
                    <a:pt x="995" y="1090"/>
                    <a:pt x="957" y="1093"/>
                    <a:pt x="940" y="1067"/>
                  </a:cubicBezTo>
                  <a:cubicBezTo>
                    <a:pt x="932" y="1053"/>
                    <a:pt x="929" y="1001"/>
                    <a:pt x="929" y="1001"/>
                  </a:cubicBezTo>
                  <a:cubicBezTo>
                    <a:pt x="1325" y="1001"/>
                    <a:pt x="1325" y="1001"/>
                    <a:pt x="1325" y="1001"/>
                  </a:cubicBezTo>
                  <a:cubicBezTo>
                    <a:pt x="1349" y="1001"/>
                    <a:pt x="1369" y="981"/>
                    <a:pt x="1369" y="957"/>
                  </a:cubicBezTo>
                  <a:cubicBezTo>
                    <a:pt x="1369" y="42"/>
                    <a:pt x="1369" y="42"/>
                    <a:pt x="1369" y="42"/>
                  </a:cubicBezTo>
                  <a:cubicBezTo>
                    <a:pt x="1369" y="18"/>
                    <a:pt x="1349" y="0"/>
                    <a:pt x="1325" y="0"/>
                  </a:cubicBezTo>
                  <a:close/>
                  <a:moveTo>
                    <a:pt x="1290" y="889"/>
                  </a:moveTo>
                  <a:cubicBezTo>
                    <a:pt x="1290" y="910"/>
                    <a:pt x="1273" y="925"/>
                    <a:pt x="1254" y="925"/>
                  </a:cubicBezTo>
                  <a:cubicBezTo>
                    <a:pt x="118" y="925"/>
                    <a:pt x="118" y="925"/>
                    <a:pt x="118" y="925"/>
                  </a:cubicBezTo>
                  <a:cubicBezTo>
                    <a:pt x="97" y="925"/>
                    <a:pt x="80" y="910"/>
                    <a:pt x="80" y="889"/>
                  </a:cubicBezTo>
                  <a:cubicBezTo>
                    <a:pt x="80" y="110"/>
                    <a:pt x="80" y="110"/>
                    <a:pt x="80" y="110"/>
                  </a:cubicBezTo>
                  <a:cubicBezTo>
                    <a:pt x="80" y="89"/>
                    <a:pt x="97" y="74"/>
                    <a:pt x="118" y="74"/>
                  </a:cubicBezTo>
                  <a:cubicBezTo>
                    <a:pt x="1254" y="74"/>
                    <a:pt x="1254" y="74"/>
                    <a:pt x="1254" y="74"/>
                  </a:cubicBezTo>
                  <a:cubicBezTo>
                    <a:pt x="1273" y="74"/>
                    <a:pt x="1290" y="89"/>
                    <a:pt x="1290" y="110"/>
                  </a:cubicBezTo>
                  <a:cubicBezTo>
                    <a:pt x="1290" y="889"/>
                    <a:pt x="1290" y="889"/>
                    <a:pt x="1290" y="889"/>
                  </a:cubicBezTo>
                  <a:close/>
                </a:path>
              </a:pathLst>
            </a:custGeom>
            <a:solidFill>
              <a:srgbClr val="0071BC"/>
            </a:solidFill>
            <a:ln w="2"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21" name="Group 20"/>
            <p:cNvGrpSpPr/>
            <p:nvPr/>
          </p:nvGrpSpPr>
          <p:grpSpPr>
            <a:xfrm>
              <a:off x="2836676" y="1239680"/>
              <a:ext cx="1021860" cy="1544305"/>
              <a:chOff x="2967844" y="1151940"/>
              <a:chExt cx="919137" cy="1389063"/>
            </a:xfrm>
          </p:grpSpPr>
          <p:sp>
            <p:nvSpPr>
              <p:cNvPr id="22" name="Oval 21"/>
              <p:cNvSpPr/>
              <p:nvPr/>
            </p:nvSpPr>
            <p:spPr bwMode="auto">
              <a:xfrm>
                <a:off x="3194269" y="1421929"/>
                <a:ext cx="464706" cy="443199"/>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sp>
            <p:nvSpPr>
              <p:cNvPr id="23" name="Freeform 6"/>
              <p:cNvSpPr>
                <a:spLocks/>
              </p:cNvSpPr>
              <p:nvPr/>
            </p:nvSpPr>
            <p:spPr bwMode="auto">
              <a:xfrm>
                <a:off x="3157456" y="1151940"/>
                <a:ext cx="536342" cy="536343"/>
              </a:xfrm>
              <a:custGeom>
                <a:avLst/>
                <a:gdLst>
                  <a:gd name="T0" fmla="*/ 824 w 1502"/>
                  <a:gd name="T1" fmla="*/ 3 h 1502"/>
                  <a:gd name="T2" fmla="*/ 962 w 1502"/>
                  <a:gd name="T3" fmla="*/ 30 h 1502"/>
                  <a:gd name="T4" fmla="*/ 1090 w 1502"/>
                  <a:gd name="T5" fmla="*/ 81 h 1502"/>
                  <a:gd name="T6" fmla="*/ 1206 w 1502"/>
                  <a:gd name="T7" fmla="*/ 153 h 1502"/>
                  <a:gd name="T8" fmla="*/ 1306 w 1502"/>
                  <a:gd name="T9" fmla="*/ 244 h 1502"/>
                  <a:gd name="T10" fmla="*/ 1388 w 1502"/>
                  <a:gd name="T11" fmla="*/ 352 h 1502"/>
                  <a:gd name="T12" fmla="*/ 1450 w 1502"/>
                  <a:gd name="T13" fmla="*/ 475 h 1502"/>
                  <a:gd name="T14" fmla="*/ 1489 w 1502"/>
                  <a:gd name="T15" fmla="*/ 608 h 1502"/>
                  <a:gd name="T16" fmla="*/ 1502 w 1502"/>
                  <a:gd name="T17" fmla="*/ 751 h 1502"/>
                  <a:gd name="T18" fmla="*/ 1489 w 1502"/>
                  <a:gd name="T19" fmla="*/ 894 h 1502"/>
                  <a:gd name="T20" fmla="*/ 1450 w 1502"/>
                  <a:gd name="T21" fmla="*/ 1027 h 1502"/>
                  <a:gd name="T22" fmla="*/ 1388 w 1502"/>
                  <a:gd name="T23" fmla="*/ 1149 h 1502"/>
                  <a:gd name="T24" fmla="*/ 1306 w 1502"/>
                  <a:gd name="T25" fmla="*/ 1257 h 1502"/>
                  <a:gd name="T26" fmla="*/ 1206 w 1502"/>
                  <a:gd name="T27" fmla="*/ 1348 h 1502"/>
                  <a:gd name="T28" fmla="*/ 1090 w 1502"/>
                  <a:gd name="T29" fmla="*/ 1421 h 1502"/>
                  <a:gd name="T30" fmla="*/ 962 w 1502"/>
                  <a:gd name="T31" fmla="*/ 1472 h 1502"/>
                  <a:gd name="T32" fmla="*/ 824 w 1502"/>
                  <a:gd name="T33" fmla="*/ 1498 h 1502"/>
                  <a:gd name="T34" fmla="*/ 679 w 1502"/>
                  <a:gd name="T35" fmla="*/ 1498 h 1502"/>
                  <a:gd name="T36" fmla="*/ 540 w 1502"/>
                  <a:gd name="T37" fmla="*/ 1472 h 1502"/>
                  <a:gd name="T38" fmla="*/ 412 w 1502"/>
                  <a:gd name="T39" fmla="*/ 1421 h 1502"/>
                  <a:gd name="T40" fmla="*/ 297 w 1502"/>
                  <a:gd name="T41" fmla="*/ 1348 h 1502"/>
                  <a:gd name="T42" fmla="*/ 197 w 1502"/>
                  <a:gd name="T43" fmla="*/ 1257 h 1502"/>
                  <a:gd name="T44" fmla="*/ 114 w 1502"/>
                  <a:gd name="T45" fmla="*/ 1149 h 1502"/>
                  <a:gd name="T46" fmla="*/ 53 w 1502"/>
                  <a:gd name="T47" fmla="*/ 1027 h 1502"/>
                  <a:gd name="T48" fmla="*/ 14 w 1502"/>
                  <a:gd name="T49" fmla="*/ 894 h 1502"/>
                  <a:gd name="T50" fmla="*/ 0 w 1502"/>
                  <a:gd name="T51" fmla="*/ 751 h 1502"/>
                  <a:gd name="T52" fmla="*/ 14 w 1502"/>
                  <a:gd name="T53" fmla="*/ 608 h 1502"/>
                  <a:gd name="T54" fmla="*/ 53 w 1502"/>
                  <a:gd name="T55" fmla="*/ 475 h 1502"/>
                  <a:gd name="T56" fmla="*/ 114 w 1502"/>
                  <a:gd name="T57" fmla="*/ 352 h 1502"/>
                  <a:gd name="T58" fmla="*/ 197 w 1502"/>
                  <a:gd name="T59" fmla="*/ 244 h 1502"/>
                  <a:gd name="T60" fmla="*/ 297 w 1502"/>
                  <a:gd name="T61" fmla="*/ 153 h 1502"/>
                  <a:gd name="T62" fmla="*/ 412 w 1502"/>
                  <a:gd name="T63" fmla="*/ 81 h 1502"/>
                  <a:gd name="T64" fmla="*/ 540 w 1502"/>
                  <a:gd name="T65" fmla="*/ 30 h 1502"/>
                  <a:gd name="T66" fmla="*/ 679 w 1502"/>
                  <a:gd name="T67" fmla="*/ 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02" h="1502">
                    <a:moveTo>
                      <a:pt x="752" y="0"/>
                    </a:moveTo>
                    <a:lnTo>
                      <a:pt x="824" y="3"/>
                    </a:lnTo>
                    <a:lnTo>
                      <a:pt x="894" y="14"/>
                    </a:lnTo>
                    <a:lnTo>
                      <a:pt x="962" y="30"/>
                    </a:lnTo>
                    <a:lnTo>
                      <a:pt x="1028" y="53"/>
                    </a:lnTo>
                    <a:lnTo>
                      <a:pt x="1090" y="81"/>
                    </a:lnTo>
                    <a:lnTo>
                      <a:pt x="1149" y="114"/>
                    </a:lnTo>
                    <a:lnTo>
                      <a:pt x="1206" y="153"/>
                    </a:lnTo>
                    <a:lnTo>
                      <a:pt x="1258" y="197"/>
                    </a:lnTo>
                    <a:lnTo>
                      <a:pt x="1306" y="244"/>
                    </a:lnTo>
                    <a:lnTo>
                      <a:pt x="1349" y="297"/>
                    </a:lnTo>
                    <a:lnTo>
                      <a:pt x="1388" y="352"/>
                    </a:lnTo>
                    <a:lnTo>
                      <a:pt x="1422" y="411"/>
                    </a:lnTo>
                    <a:lnTo>
                      <a:pt x="1450" y="475"/>
                    </a:lnTo>
                    <a:lnTo>
                      <a:pt x="1473" y="540"/>
                    </a:lnTo>
                    <a:lnTo>
                      <a:pt x="1489" y="608"/>
                    </a:lnTo>
                    <a:lnTo>
                      <a:pt x="1499" y="678"/>
                    </a:lnTo>
                    <a:lnTo>
                      <a:pt x="1502" y="751"/>
                    </a:lnTo>
                    <a:lnTo>
                      <a:pt x="1499" y="823"/>
                    </a:lnTo>
                    <a:lnTo>
                      <a:pt x="1489" y="894"/>
                    </a:lnTo>
                    <a:lnTo>
                      <a:pt x="1473" y="961"/>
                    </a:lnTo>
                    <a:lnTo>
                      <a:pt x="1450" y="1027"/>
                    </a:lnTo>
                    <a:lnTo>
                      <a:pt x="1422" y="1090"/>
                    </a:lnTo>
                    <a:lnTo>
                      <a:pt x="1388" y="1149"/>
                    </a:lnTo>
                    <a:lnTo>
                      <a:pt x="1349" y="1206"/>
                    </a:lnTo>
                    <a:lnTo>
                      <a:pt x="1306" y="1257"/>
                    </a:lnTo>
                    <a:lnTo>
                      <a:pt x="1258" y="1306"/>
                    </a:lnTo>
                    <a:lnTo>
                      <a:pt x="1206" y="1348"/>
                    </a:lnTo>
                    <a:lnTo>
                      <a:pt x="1149" y="1387"/>
                    </a:lnTo>
                    <a:lnTo>
                      <a:pt x="1090" y="1421"/>
                    </a:lnTo>
                    <a:lnTo>
                      <a:pt x="1028" y="1450"/>
                    </a:lnTo>
                    <a:lnTo>
                      <a:pt x="962" y="1472"/>
                    </a:lnTo>
                    <a:lnTo>
                      <a:pt x="894" y="1489"/>
                    </a:lnTo>
                    <a:lnTo>
                      <a:pt x="824" y="1498"/>
                    </a:lnTo>
                    <a:lnTo>
                      <a:pt x="752" y="1502"/>
                    </a:lnTo>
                    <a:lnTo>
                      <a:pt x="679" y="1498"/>
                    </a:lnTo>
                    <a:lnTo>
                      <a:pt x="609" y="1489"/>
                    </a:lnTo>
                    <a:lnTo>
                      <a:pt x="540" y="1472"/>
                    </a:lnTo>
                    <a:lnTo>
                      <a:pt x="476" y="1450"/>
                    </a:lnTo>
                    <a:lnTo>
                      <a:pt x="412" y="1421"/>
                    </a:lnTo>
                    <a:lnTo>
                      <a:pt x="353" y="1387"/>
                    </a:lnTo>
                    <a:lnTo>
                      <a:pt x="297" y="1348"/>
                    </a:lnTo>
                    <a:lnTo>
                      <a:pt x="245" y="1306"/>
                    </a:lnTo>
                    <a:lnTo>
                      <a:pt x="197" y="1257"/>
                    </a:lnTo>
                    <a:lnTo>
                      <a:pt x="153" y="1206"/>
                    </a:lnTo>
                    <a:lnTo>
                      <a:pt x="114" y="1149"/>
                    </a:lnTo>
                    <a:lnTo>
                      <a:pt x="81" y="1090"/>
                    </a:lnTo>
                    <a:lnTo>
                      <a:pt x="53" y="1027"/>
                    </a:lnTo>
                    <a:lnTo>
                      <a:pt x="31" y="961"/>
                    </a:lnTo>
                    <a:lnTo>
                      <a:pt x="14" y="894"/>
                    </a:lnTo>
                    <a:lnTo>
                      <a:pt x="3" y="823"/>
                    </a:lnTo>
                    <a:lnTo>
                      <a:pt x="0" y="751"/>
                    </a:lnTo>
                    <a:lnTo>
                      <a:pt x="3" y="678"/>
                    </a:lnTo>
                    <a:lnTo>
                      <a:pt x="14" y="608"/>
                    </a:lnTo>
                    <a:lnTo>
                      <a:pt x="31" y="540"/>
                    </a:lnTo>
                    <a:lnTo>
                      <a:pt x="53" y="475"/>
                    </a:lnTo>
                    <a:lnTo>
                      <a:pt x="81" y="411"/>
                    </a:lnTo>
                    <a:lnTo>
                      <a:pt x="114" y="352"/>
                    </a:lnTo>
                    <a:lnTo>
                      <a:pt x="153" y="297"/>
                    </a:lnTo>
                    <a:lnTo>
                      <a:pt x="197" y="244"/>
                    </a:lnTo>
                    <a:lnTo>
                      <a:pt x="245" y="197"/>
                    </a:lnTo>
                    <a:lnTo>
                      <a:pt x="297" y="153"/>
                    </a:lnTo>
                    <a:lnTo>
                      <a:pt x="353" y="114"/>
                    </a:lnTo>
                    <a:lnTo>
                      <a:pt x="412" y="81"/>
                    </a:lnTo>
                    <a:lnTo>
                      <a:pt x="476" y="53"/>
                    </a:lnTo>
                    <a:lnTo>
                      <a:pt x="540" y="30"/>
                    </a:lnTo>
                    <a:lnTo>
                      <a:pt x="609" y="14"/>
                    </a:lnTo>
                    <a:lnTo>
                      <a:pt x="679" y="3"/>
                    </a:lnTo>
                    <a:lnTo>
                      <a:pt x="752" y="0"/>
                    </a:lnTo>
                    <a:close/>
                  </a:path>
                </a:pathLst>
              </a:custGeom>
              <a:solidFill>
                <a:srgbClr val="0070C0"/>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sp>
            <p:nvSpPr>
              <p:cNvPr id="24" name="Freeform 7"/>
              <p:cNvSpPr>
                <a:spLocks/>
              </p:cNvSpPr>
              <p:nvPr/>
            </p:nvSpPr>
            <p:spPr bwMode="auto">
              <a:xfrm>
                <a:off x="2967844" y="1628649"/>
                <a:ext cx="919137" cy="912354"/>
              </a:xfrm>
              <a:custGeom>
                <a:avLst/>
                <a:gdLst>
                  <a:gd name="T0" fmla="*/ 719 w 2574"/>
                  <a:gd name="T1" fmla="*/ 60 h 2555"/>
                  <a:gd name="T2" fmla="*/ 840 w 2574"/>
                  <a:gd name="T3" fmla="*/ 140 h 2555"/>
                  <a:gd name="T4" fmla="*/ 962 w 2574"/>
                  <a:gd name="T5" fmla="*/ 204 h 2555"/>
                  <a:gd name="T6" fmla="*/ 1067 w 2574"/>
                  <a:gd name="T7" fmla="*/ 253 h 2555"/>
                  <a:gd name="T8" fmla="*/ 1141 w 2574"/>
                  <a:gd name="T9" fmla="*/ 284 h 2555"/>
                  <a:gd name="T10" fmla="*/ 1169 w 2574"/>
                  <a:gd name="T11" fmla="*/ 294 h 2555"/>
                  <a:gd name="T12" fmla="*/ 1437 w 2574"/>
                  <a:gd name="T13" fmla="*/ 271 h 2555"/>
                  <a:gd name="T14" fmla="*/ 1578 w 2574"/>
                  <a:gd name="T15" fmla="*/ 226 h 2555"/>
                  <a:gd name="T16" fmla="*/ 1696 w 2574"/>
                  <a:gd name="T17" fmla="*/ 174 h 2555"/>
                  <a:gd name="T18" fmla="*/ 1807 w 2574"/>
                  <a:gd name="T19" fmla="*/ 103 h 2555"/>
                  <a:gd name="T20" fmla="*/ 1929 w 2574"/>
                  <a:gd name="T21" fmla="*/ 0 h 2555"/>
                  <a:gd name="T22" fmla="*/ 2092 w 2574"/>
                  <a:gd name="T23" fmla="*/ 273 h 2555"/>
                  <a:gd name="T24" fmla="*/ 2249 w 2574"/>
                  <a:gd name="T25" fmla="*/ 554 h 2555"/>
                  <a:gd name="T26" fmla="*/ 2387 w 2574"/>
                  <a:gd name="T27" fmla="*/ 845 h 2555"/>
                  <a:gd name="T28" fmla="*/ 2496 w 2574"/>
                  <a:gd name="T29" fmla="*/ 1145 h 2555"/>
                  <a:gd name="T30" fmla="*/ 2561 w 2574"/>
                  <a:gd name="T31" fmla="*/ 1456 h 2555"/>
                  <a:gd name="T32" fmla="*/ 2574 w 2574"/>
                  <a:gd name="T33" fmla="*/ 1718 h 2555"/>
                  <a:gd name="T34" fmla="*/ 2571 w 2574"/>
                  <a:gd name="T35" fmla="*/ 1864 h 2555"/>
                  <a:gd name="T36" fmla="*/ 2549 w 2574"/>
                  <a:gd name="T37" fmla="*/ 2007 h 2555"/>
                  <a:gd name="T38" fmla="*/ 2489 w 2574"/>
                  <a:gd name="T39" fmla="*/ 2138 h 2555"/>
                  <a:gd name="T40" fmla="*/ 2398 w 2574"/>
                  <a:gd name="T41" fmla="*/ 2239 h 2555"/>
                  <a:gd name="T42" fmla="*/ 2286 w 2574"/>
                  <a:gd name="T43" fmla="*/ 2313 h 2555"/>
                  <a:gd name="T44" fmla="*/ 2163 w 2574"/>
                  <a:gd name="T45" fmla="*/ 2378 h 2555"/>
                  <a:gd name="T46" fmla="*/ 1938 w 2574"/>
                  <a:gd name="T47" fmla="*/ 2465 h 2555"/>
                  <a:gd name="T48" fmla="*/ 1698 w 2574"/>
                  <a:gd name="T49" fmla="*/ 2515 h 2555"/>
                  <a:gd name="T50" fmla="*/ 1454 w 2574"/>
                  <a:gd name="T51" fmla="*/ 2542 h 2555"/>
                  <a:gd name="T52" fmla="*/ 1283 w 2574"/>
                  <a:gd name="T53" fmla="*/ 2555 h 2555"/>
                  <a:gd name="T54" fmla="*/ 1040 w 2574"/>
                  <a:gd name="T55" fmla="*/ 2534 h 2555"/>
                  <a:gd name="T56" fmla="*/ 795 w 2574"/>
                  <a:gd name="T57" fmla="*/ 2502 h 2555"/>
                  <a:gd name="T58" fmla="*/ 559 w 2574"/>
                  <a:gd name="T59" fmla="*/ 2441 h 2555"/>
                  <a:gd name="T60" fmla="*/ 369 w 2574"/>
                  <a:gd name="T61" fmla="*/ 2356 h 2555"/>
                  <a:gd name="T62" fmla="*/ 249 w 2574"/>
                  <a:gd name="T63" fmla="*/ 2291 h 2555"/>
                  <a:gd name="T64" fmla="*/ 144 w 2574"/>
                  <a:gd name="T65" fmla="*/ 2209 h 2555"/>
                  <a:gd name="T66" fmla="*/ 60 w 2574"/>
                  <a:gd name="T67" fmla="*/ 2097 h 2555"/>
                  <a:gd name="T68" fmla="*/ 15 w 2574"/>
                  <a:gd name="T69" fmla="*/ 1960 h 2555"/>
                  <a:gd name="T70" fmla="*/ 1 w 2574"/>
                  <a:gd name="T71" fmla="*/ 1815 h 2555"/>
                  <a:gd name="T72" fmla="*/ 0 w 2574"/>
                  <a:gd name="T73" fmla="*/ 1671 h 2555"/>
                  <a:gd name="T74" fmla="*/ 29 w 2574"/>
                  <a:gd name="T75" fmla="*/ 1351 h 2555"/>
                  <a:gd name="T76" fmla="*/ 111 w 2574"/>
                  <a:gd name="T77" fmla="*/ 1043 h 2555"/>
                  <a:gd name="T78" fmla="*/ 230 w 2574"/>
                  <a:gd name="T79" fmla="*/ 747 h 2555"/>
                  <a:gd name="T80" fmla="*/ 376 w 2574"/>
                  <a:gd name="T81" fmla="*/ 459 h 2555"/>
                  <a:gd name="T82" fmla="*/ 537 w 2574"/>
                  <a:gd name="T83" fmla="*/ 181 h 2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74" h="2555">
                    <a:moveTo>
                      <a:pt x="645" y="0"/>
                    </a:moveTo>
                    <a:lnTo>
                      <a:pt x="681" y="31"/>
                    </a:lnTo>
                    <a:lnTo>
                      <a:pt x="719" y="60"/>
                    </a:lnTo>
                    <a:lnTo>
                      <a:pt x="758" y="89"/>
                    </a:lnTo>
                    <a:lnTo>
                      <a:pt x="799" y="115"/>
                    </a:lnTo>
                    <a:lnTo>
                      <a:pt x="840" y="140"/>
                    </a:lnTo>
                    <a:lnTo>
                      <a:pt x="881" y="163"/>
                    </a:lnTo>
                    <a:lnTo>
                      <a:pt x="922" y="184"/>
                    </a:lnTo>
                    <a:lnTo>
                      <a:pt x="962" y="204"/>
                    </a:lnTo>
                    <a:lnTo>
                      <a:pt x="998" y="222"/>
                    </a:lnTo>
                    <a:lnTo>
                      <a:pt x="1034" y="239"/>
                    </a:lnTo>
                    <a:lnTo>
                      <a:pt x="1067" y="253"/>
                    </a:lnTo>
                    <a:lnTo>
                      <a:pt x="1096" y="266"/>
                    </a:lnTo>
                    <a:lnTo>
                      <a:pt x="1121" y="275"/>
                    </a:lnTo>
                    <a:lnTo>
                      <a:pt x="1141" y="284"/>
                    </a:lnTo>
                    <a:lnTo>
                      <a:pt x="1156" y="289"/>
                    </a:lnTo>
                    <a:lnTo>
                      <a:pt x="1166" y="293"/>
                    </a:lnTo>
                    <a:lnTo>
                      <a:pt x="1169" y="294"/>
                    </a:lnTo>
                    <a:lnTo>
                      <a:pt x="1283" y="508"/>
                    </a:lnTo>
                    <a:lnTo>
                      <a:pt x="1382" y="287"/>
                    </a:lnTo>
                    <a:lnTo>
                      <a:pt x="1437" y="271"/>
                    </a:lnTo>
                    <a:lnTo>
                      <a:pt x="1488" y="255"/>
                    </a:lnTo>
                    <a:lnTo>
                      <a:pt x="1535" y="240"/>
                    </a:lnTo>
                    <a:lnTo>
                      <a:pt x="1578" y="226"/>
                    </a:lnTo>
                    <a:lnTo>
                      <a:pt x="1619" y="209"/>
                    </a:lnTo>
                    <a:lnTo>
                      <a:pt x="1658" y="193"/>
                    </a:lnTo>
                    <a:lnTo>
                      <a:pt x="1696" y="174"/>
                    </a:lnTo>
                    <a:lnTo>
                      <a:pt x="1732" y="153"/>
                    </a:lnTo>
                    <a:lnTo>
                      <a:pt x="1769" y="129"/>
                    </a:lnTo>
                    <a:lnTo>
                      <a:pt x="1807" y="103"/>
                    </a:lnTo>
                    <a:lnTo>
                      <a:pt x="1846" y="73"/>
                    </a:lnTo>
                    <a:lnTo>
                      <a:pt x="1886" y="39"/>
                    </a:lnTo>
                    <a:lnTo>
                      <a:pt x="1929" y="0"/>
                    </a:lnTo>
                    <a:lnTo>
                      <a:pt x="1984" y="90"/>
                    </a:lnTo>
                    <a:lnTo>
                      <a:pt x="2038" y="181"/>
                    </a:lnTo>
                    <a:lnTo>
                      <a:pt x="2092" y="273"/>
                    </a:lnTo>
                    <a:lnTo>
                      <a:pt x="2145" y="366"/>
                    </a:lnTo>
                    <a:lnTo>
                      <a:pt x="2199" y="459"/>
                    </a:lnTo>
                    <a:lnTo>
                      <a:pt x="2249" y="554"/>
                    </a:lnTo>
                    <a:lnTo>
                      <a:pt x="2298" y="650"/>
                    </a:lnTo>
                    <a:lnTo>
                      <a:pt x="2344" y="747"/>
                    </a:lnTo>
                    <a:lnTo>
                      <a:pt x="2387" y="845"/>
                    </a:lnTo>
                    <a:lnTo>
                      <a:pt x="2427" y="943"/>
                    </a:lnTo>
                    <a:lnTo>
                      <a:pt x="2464" y="1043"/>
                    </a:lnTo>
                    <a:lnTo>
                      <a:pt x="2496" y="1145"/>
                    </a:lnTo>
                    <a:lnTo>
                      <a:pt x="2523" y="1248"/>
                    </a:lnTo>
                    <a:lnTo>
                      <a:pt x="2544" y="1351"/>
                    </a:lnTo>
                    <a:lnTo>
                      <a:pt x="2561" y="1456"/>
                    </a:lnTo>
                    <a:lnTo>
                      <a:pt x="2570" y="1564"/>
                    </a:lnTo>
                    <a:lnTo>
                      <a:pt x="2574" y="1671"/>
                    </a:lnTo>
                    <a:lnTo>
                      <a:pt x="2574" y="1718"/>
                    </a:lnTo>
                    <a:lnTo>
                      <a:pt x="2574" y="1767"/>
                    </a:lnTo>
                    <a:lnTo>
                      <a:pt x="2574" y="1815"/>
                    </a:lnTo>
                    <a:lnTo>
                      <a:pt x="2571" y="1864"/>
                    </a:lnTo>
                    <a:lnTo>
                      <a:pt x="2567" y="1912"/>
                    </a:lnTo>
                    <a:lnTo>
                      <a:pt x="2560" y="1960"/>
                    </a:lnTo>
                    <a:lnTo>
                      <a:pt x="2549" y="2007"/>
                    </a:lnTo>
                    <a:lnTo>
                      <a:pt x="2534" y="2052"/>
                    </a:lnTo>
                    <a:lnTo>
                      <a:pt x="2514" y="2097"/>
                    </a:lnTo>
                    <a:lnTo>
                      <a:pt x="2489" y="2138"/>
                    </a:lnTo>
                    <a:lnTo>
                      <a:pt x="2462" y="2176"/>
                    </a:lnTo>
                    <a:lnTo>
                      <a:pt x="2431" y="2209"/>
                    </a:lnTo>
                    <a:lnTo>
                      <a:pt x="2398" y="2239"/>
                    </a:lnTo>
                    <a:lnTo>
                      <a:pt x="2363" y="2266"/>
                    </a:lnTo>
                    <a:lnTo>
                      <a:pt x="2325" y="2291"/>
                    </a:lnTo>
                    <a:lnTo>
                      <a:pt x="2286" y="2313"/>
                    </a:lnTo>
                    <a:lnTo>
                      <a:pt x="2246" y="2334"/>
                    </a:lnTo>
                    <a:lnTo>
                      <a:pt x="2206" y="2356"/>
                    </a:lnTo>
                    <a:lnTo>
                      <a:pt x="2163" y="2378"/>
                    </a:lnTo>
                    <a:lnTo>
                      <a:pt x="2090" y="2412"/>
                    </a:lnTo>
                    <a:lnTo>
                      <a:pt x="2014" y="2441"/>
                    </a:lnTo>
                    <a:lnTo>
                      <a:pt x="1938" y="2465"/>
                    </a:lnTo>
                    <a:lnTo>
                      <a:pt x="1859" y="2485"/>
                    </a:lnTo>
                    <a:lnTo>
                      <a:pt x="1778" y="2502"/>
                    </a:lnTo>
                    <a:lnTo>
                      <a:pt x="1698" y="2515"/>
                    </a:lnTo>
                    <a:lnTo>
                      <a:pt x="1617" y="2526"/>
                    </a:lnTo>
                    <a:lnTo>
                      <a:pt x="1535" y="2534"/>
                    </a:lnTo>
                    <a:lnTo>
                      <a:pt x="1454" y="2542"/>
                    </a:lnTo>
                    <a:lnTo>
                      <a:pt x="1372" y="2548"/>
                    </a:lnTo>
                    <a:lnTo>
                      <a:pt x="1292" y="2555"/>
                    </a:lnTo>
                    <a:lnTo>
                      <a:pt x="1283" y="2555"/>
                    </a:lnTo>
                    <a:lnTo>
                      <a:pt x="1201" y="2548"/>
                    </a:lnTo>
                    <a:lnTo>
                      <a:pt x="1121" y="2542"/>
                    </a:lnTo>
                    <a:lnTo>
                      <a:pt x="1040" y="2534"/>
                    </a:lnTo>
                    <a:lnTo>
                      <a:pt x="958" y="2526"/>
                    </a:lnTo>
                    <a:lnTo>
                      <a:pt x="877" y="2515"/>
                    </a:lnTo>
                    <a:lnTo>
                      <a:pt x="795" y="2502"/>
                    </a:lnTo>
                    <a:lnTo>
                      <a:pt x="716" y="2485"/>
                    </a:lnTo>
                    <a:lnTo>
                      <a:pt x="637" y="2465"/>
                    </a:lnTo>
                    <a:lnTo>
                      <a:pt x="559" y="2441"/>
                    </a:lnTo>
                    <a:lnTo>
                      <a:pt x="484" y="2412"/>
                    </a:lnTo>
                    <a:lnTo>
                      <a:pt x="411" y="2378"/>
                    </a:lnTo>
                    <a:lnTo>
                      <a:pt x="369" y="2356"/>
                    </a:lnTo>
                    <a:lnTo>
                      <a:pt x="328" y="2334"/>
                    </a:lnTo>
                    <a:lnTo>
                      <a:pt x="288" y="2313"/>
                    </a:lnTo>
                    <a:lnTo>
                      <a:pt x="249" y="2291"/>
                    </a:lnTo>
                    <a:lnTo>
                      <a:pt x="212" y="2266"/>
                    </a:lnTo>
                    <a:lnTo>
                      <a:pt x="177" y="2239"/>
                    </a:lnTo>
                    <a:lnTo>
                      <a:pt x="144" y="2209"/>
                    </a:lnTo>
                    <a:lnTo>
                      <a:pt x="113" y="2176"/>
                    </a:lnTo>
                    <a:lnTo>
                      <a:pt x="85" y="2138"/>
                    </a:lnTo>
                    <a:lnTo>
                      <a:pt x="60" y="2097"/>
                    </a:lnTo>
                    <a:lnTo>
                      <a:pt x="40" y="2052"/>
                    </a:lnTo>
                    <a:lnTo>
                      <a:pt x="26" y="2007"/>
                    </a:lnTo>
                    <a:lnTo>
                      <a:pt x="15" y="1960"/>
                    </a:lnTo>
                    <a:lnTo>
                      <a:pt x="7" y="1912"/>
                    </a:lnTo>
                    <a:lnTo>
                      <a:pt x="3" y="1864"/>
                    </a:lnTo>
                    <a:lnTo>
                      <a:pt x="1" y="1815"/>
                    </a:lnTo>
                    <a:lnTo>
                      <a:pt x="0" y="1767"/>
                    </a:lnTo>
                    <a:lnTo>
                      <a:pt x="0" y="1718"/>
                    </a:lnTo>
                    <a:lnTo>
                      <a:pt x="0" y="1671"/>
                    </a:lnTo>
                    <a:lnTo>
                      <a:pt x="3" y="1564"/>
                    </a:lnTo>
                    <a:lnTo>
                      <a:pt x="14" y="1456"/>
                    </a:lnTo>
                    <a:lnTo>
                      <a:pt x="29" y="1351"/>
                    </a:lnTo>
                    <a:lnTo>
                      <a:pt x="52" y="1248"/>
                    </a:lnTo>
                    <a:lnTo>
                      <a:pt x="79" y="1145"/>
                    </a:lnTo>
                    <a:lnTo>
                      <a:pt x="111" y="1043"/>
                    </a:lnTo>
                    <a:lnTo>
                      <a:pt x="146" y="943"/>
                    </a:lnTo>
                    <a:lnTo>
                      <a:pt x="186" y="845"/>
                    </a:lnTo>
                    <a:lnTo>
                      <a:pt x="230" y="747"/>
                    </a:lnTo>
                    <a:lnTo>
                      <a:pt x="276" y="650"/>
                    </a:lnTo>
                    <a:lnTo>
                      <a:pt x="326" y="554"/>
                    </a:lnTo>
                    <a:lnTo>
                      <a:pt x="376" y="459"/>
                    </a:lnTo>
                    <a:lnTo>
                      <a:pt x="428" y="366"/>
                    </a:lnTo>
                    <a:lnTo>
                      <a:pt x="483" y="273"/>
                    </a:lnTo>
                    <a:lnTo>
                      <a:pt x="537" y="181"/>
                    </a:lnTo>
                    <a:lnTo>
                      <a:pt x="591" y="90"/>
                    </a:lnTo>
                    <a:lnTo>
                      <a:pt x="645" y="0"/>
                    </a:lnTo>
                    <a:close/>
                  </a:path>
                </a:pathLst>
              </a:custGeom>
              <a:solidFill>
                <a:srgbClr val="0070C0"/>
              </a:solidFill>
              <a:ln w="158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ln>
                    <a:solidFill>
                      <a:srgbClr val="FFFFFF"/>
                    </a:solidFill>
                  </a:ln>
                </a:endParaRPr>
              </a:p>
            </p:txBody>
          </p:sp>
        </p:grpSp>
      </p:grpSp>
    </p:spTree>
    <p:extLst>
      <p:ext uri="{BB962C8B-B14F-4D97-AF65-F5344CB8AC3E}">
        <p14:creationId xmlns:p14="http://schemas.microsoft.com/office/powerpoint/2010/main" val="36896709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 – Settings Management</a:t>
            </a:r>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730706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porate Data Protection</a:t>
            </a:r>
            <a:endParaRPr lang="en-US" dirty="0"/>
          </a:p>
        </p:txBody>
      </p:sp>
      <p:sp>
        <p:nvSpPr>
          <p:cNvPr id="3" name="Title 1"/>
          <p:cNvSpPr txBox="1">
            <a:spLocks/>
          </p:cNvSpPr>
          <p:nvPr/>
        </p:nvSpPr>
        <p:spPr>
          <a:xfrm>
            <a:off x="429263" y="1352146"/>
            <a:ext cx="11503152" cy="485504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0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a:lstStyle>
          <a:p>
            <a:r>
              <a:rPr lang="en-US" sz="2799" b="1" dirty="0"/>
              <a:t>Full wipe effects depend on the platform and management type (EAS or native)</a:t>
            </a:r>
          </a:p>
          <a:p>
            <a:pPr marL="757362" lvl="1" indent="-291293">
              <a:buFont typeface="Arial" pitchFamily="34" charset="0"/>
              <a:buChar char="•"/>
            </a:pPr>
            <a:r>
              <a:rPr lang="en-US" sz="2399" dirty="0"/>
              <a:t>iOS and WP: Complete wipe and reset to factory defaults </a:t>
            </a:r>
          </a:p>
          <a:p>
            <a:pPr marL="757362" lvl="1" indent="-291293">
              <a:buFont typeface="Arial" pitchFamily="34" charset="0"/>
              <a:buChar char="•"/>
            </a:pPr>
            <a:r>
              <a:rPr lang="en-US" sz="2399" dirty="0"/>
              <a:t>Android: EAS mailbox removal only </a:t>
            </a:r>
          </a:p>
          <a:p>
            <a:pPr marL="757362" lvl="1" indent="-291293">
              <a:buFont typeface="Arial" pitchFamily="34" charset="0"/>
              <a:buChar char="•"/>
            </a:pPr>
            <a:r>
              <a:rPr lang="en-US" sz="2399" dirty="0"/>
              <a:t>Windows RT and Windows 8: Only EAS mailbox removal if managed through EAS</a:t>
            </a:r>
          </a:p>
          <a:p>
            <a:endParaRPr lang="en-US" sz="2799" b="1" dirty="0" smtClean="0"/>
          </a:p>
          <a:p>
            <a:r>
              <a:rPr lang="en-US" sz="2799" b="1" dirty="0" smtClean="0"/>
              <a:t>Retire</a:t>
            </a:r>
            <a:endParaRPr lang="en-US" sz="2799" b="1" dirty="0"/>
          </a:p>
          <a:p>
            <a:pPr marL="757362" lvl="1" indent="-291293">
              <a:buFont typeface="Arial" pitchFamily="34" charset="0"/>
              <a:buChar char="•"/>
            </a:pPr>
            <a:r>
              <a:rPr lang="en-US" sz="2399" dirty="0">
                <a:latin typeface="+mj-lt"/>
              </a:rPr>
              <a:t>User or Admin initiated</a:t>
            </a:r>
          </a:p>
          <a:p>
            <a:pPr marL="757362" lvl="1" indent="-291293">
              <a:buFont typeface="Arial" pitchFamily="34" charset="0"/>
              <a:buChar char="•"/>
            </a:pPr>
            <a:r>
              <a:rPr lang="en-US" sz="2399" dirty="0">
                <a:latin typeface="+mj-lt"/>
              </a:rPr>
              <a:t>Removes the record of the device from the system</a:t>
            </a:r>
          </a:p>
          <a:p>
            <a:pPr marL="757362" lvl="1" indent="-291293">
              <a:buFont typeface="Arial" pitchFamily="34" charset="0"/>
              <a:buChar char="•"/>
            </a:pPr>
            <a:r>
              <a:rPr lang="en-US" sz="2399" dirty="0">
                <a:latin typeface="+mj-lt"/>
              </a:rPr>
              <a:t>Disables further MDM app installation and settings management on the device &amp; selectively wipes corporate app data</a:t>
            </a:r>
          </a:p>
          <a:p>
            <a:pPr marL="1223504" lvl="2" indent="-291293">
              <a:buFont typeface="Arial" pitchFamily="34" charset="0"/>
              <a:buChar char="•"/>
            </a:pPr>
            <a:r>
              <a:rPr lang="en-US" sz="2399" dirty="0">
                <a:latin typeface="+mj-lt"/>
              </a:rPr>
              <a:t>Uninstalls MDM-installed apps and removes data</a:t>
            </a:r>
          </a:p>
          <a:p>
            <a:pPr marL="1223504" lvl="2" indent="-291293">
              <a:buFont typeface="Arial" pitchFamily="34" charset="0"/>
              <a:buChar char="•"/>
            </a:pPr>
            <a:r>
              <a:rPr lang="en-US" sz="2399" dirty="0">
                <a:latin typeface="+mj-lt"/>
              </a:rPr>
              <a:t>Removes enterprise EFS certs </a:t>
            </a:r>
            <a:r>
              <a:rPr lang="en-US" sz="2399">
                <a:latin typeface="+mj-lt"/>
              </a:rPr>
              <a:t>and </a:t>
            </a:r>
            <a:r>
              <a:rPr lang="en-US" sz="2399" smtClean="0">
                <a:latin typeface="+mj-lt"/>
              </a:rPr>
              <a:t>email</a:t>
            </a:r>
            <a:endParaRPr lang="en-US" sz="2399" dirty="0" smtClean="0">
              <a:latin typeface="+mj-lt"/>
            </a:endParaRPr>
          </a:p>
        </p:txBody>
      </p:sp>
    </p:spTree>
    <p:extLst>
      <p:ext uri="{BB962C8B-B14F-4D97-AF65-F5344CB8AC3E}">
        <p14:creationId xmlns:p14="http://schemas.microsoft.com/office/powerpoint/2010/main" val="184518669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7" y="1406494"/>
            <a:ext cx="11644835" cy="5478423"/>
          </a:xfrm>
        </p:spPr>
        <p:txBody>
          <a:bodyPr/>
          <a:lstStyle/>
          <a:p>
            <a:pPr marL="0" lvl="1" indent="0">
              <a:buNone/>
            </a:pPr>
            <a:r>
              <a:rPr lang="en-US" sz="4000" dirty="0">
                <a:gradFill>
                  <a:gsLst>
                    <a:gs pos="1250">
                      <a:schemeClr val="tx1"/>
                    </a:gs>
                    <a:gs pos="99000">
                      <a:schemeClr val="tx1"/>
                    </a:gs>
                  </a:gsLst>
                  <a:lin ang="5400000" scaled="0"/>
                </a:gradFill>
                <a:latin typeface="+mj-lt"/>
              </a:rPr>
              <a:t>Based on platform capabilities </a:t>
            </a:r>
          </a:p>
          <a:p>
            <a:pPr marL="0" lvl="1" indent="0">
              <a:buNone/>
            </a:pPr>
            <a:r>
              <a:rPr lang="en-US" sz="4000" dirty="0">
                <a:gradFill>
                  <a:gsLst>
                    <a:gs pos="1250">
                      <a:schemeClr val="tx1"/>
                    </a:gs>
                    <a:gs pos="99000">
                      <a:schemeClr val="tx1"/>
                    </a:gs>
                  </a:gsLst>
                  <a:lin ang="5400000" scaled="0"/>
                </a:gradFill>
                <a:latin typeface="+mj-lt"/>
              </a:rPr>
              <a:t>What gets removed or access </a:t>
            </a:r>
            <a:r>
              <a:rPr lang="en-US" sz="4000" dirty="0" smtClean="0">
                <a:gradFill>
                  <a:gsLst>
                    <a:gs pos="1250">
                      <a:schemeClr val="tx1"/>
                    </a:gs>
                    <a:gs pos="99000">
                      <a:schemeClr val="tx1"/>
                    </a:gs>
                  </a:gsLst>
                  <a:lin ang="5400000" scaled="0"/>
                </a:gradFill>
                <a:latin typeface="+mj-lt"/>
              </a:rPr>
              <a:t>revoked</a:t>
            </a:r>
            <a:endParaRPr lang="en-US" sz="4000" dirty="0">
              <a:gradFill>
                <a:gsLst>
                  <a:gs pos="1250">
                    <a:schemeClr val="tx1"/>
                  </a:gs>
                  <a:gs pos="99000">
                    <a:schemeClr val="tx1"/>
                  </a:gs>
                </a:gsLst>
                <a:lin ang="5400000" scaled="0"/>
              </a:gradFill>
              <a:latin typeface="+mj-lt"/>
            </a:endParaRPr>
          </a:p>
          <a:p>
            <a:pPr marL="342900" lvl="1" indent="-342900"/>
            <a:r>
              <a:rPr lang="en-US" sz="2000" dirty="0"/>
              <a:t>Email</a:t>
            </a:r>
          </a:p>
          <a:p>
            <a:pPr marL="342900" lvl="1" indent="-342900"/>
            <a:r>
              <a:rPr lang="en-US" sz="2000" dirty="0"/>
              <a:t>Apps installed through our MDM channel</a:t>
            </a:r>
          </a:p>
          <a:p>
            <a:pPr marL="342900" lvl="1" indent="-342900"/>
            <a:r>
              <a:rPr lang="en-US" sz="2000" dirty="0"/>
              <a:t>Profiles (</a:t>
            </a:r>
            <a:r>
              <a:rPr lang="en-US" sz="2000" dirty="0" err="1"/>
              <a:t>WiFi</a:t>
            </a:r>
            <a:r>
              <a:rPr lang="en-US" sz="2000" dirty="0"/>
              <a:t>/VPN)</a:t>
            </a:r>
          </a:p>
          <a:p>
            <a:pPr marL="342900" lvl="1" indent="-342900"/>
            <a:r>
              <a:rPr lang="en-US" sz="2000" dirty="0"/>
              <a:t>Certificates</a:t>
            </a:r>
          </a:p>
          <a:p>
            <a:pPr marL="342900" lvl="1" indent="-342900"/>
            <a:r>
              <a:rPr lang="en-US" sz="2000" dirty="0"/>
              <a:t>MDM Policies (Settings)</a:t>
            </a:r>
          </a:p>
          <a:p>
            <a:pPr marL="342900" lvl="1" indent="-342900"/>
            <a:r>
              <a:rPr lang="en-US" sz="2000" dirty="0"/>
              <a:t>Management Agent</a:t>
            </a:r>
          </a:p>
          <a:p>
            <a:pPr marL="342900" lvl="1" indent="-342900"/>
            <a:r>
              <a:rPr lang="en-US" sz="2000" dirty="0"/>
              <a:t>Corp App </a:t>
            </a:r>
            <a:r>
              <a:rPr lang="en-US" sz="2000" dirty="0" smtClean="0"/>
              <a:t>Data</a:t>
            </a:r>
          </a:p>
          <a:p>
            <a:pPr marL="0" indent="0">
              <a:buNone/>
            </a:pPr>
            <a:r>
              <a:rPr lang="en-US" dirty="0">
                <a:gradFill>
                  <a:gsLst>
                    <a:gs pos="1250">
                      <a:schemeClr val="tx1"/>
                    </a:gs>
                    <a:gs pos="99000">
                      <a:schemeClr val="tx1"/>
                    </a:gs>
                  </a:gsLst>
                  <a:lin ang="5400000" scaled="0"/>
                </a:gradFill>
              </a:rPr>
              <a:t>Support Platform</a:t>
            </a:r>
          </a:p>
          <a:p>
            <a:pPr marL="342900" lvl="1" indent="-342900"/>
            <a:r>
              <a:rPr lang="en-US" sz="2000" dirty="0"/>
              <a:t>Windows </a:t>
            </a:r>
            <a:r>
              <a:rPr lang="en-US" sz="2000" dirty="0" smtClean="0"/>
              <a:t>8.1, Windows </a:t>
            </a:r>
            <a:r>
              <a:rPr lang="en-US" sz="2000" dirty="0"/>
              <a:t>8.1 RT</a:t>
            </a:r>
          </a:p>
          <a:p>
            <a:pPr marL="342900" lvl="1" indent="-342900"/>
            <a:r>
              <a:rPr lang="en-US" sz="2000" dirty="0" err="1"/>
              <a:t>iOS</a:t>
            </a:r>
            <a:endParaRPr lang="en-US" sz="2000" dirty="0"/>
          </a:p>
          <a:p>
            <a:pPr marL="342900" lvl="1" indent="-342900"/>
            <a:r>
              <a:rPr lang="en-US" sz="2000" dirty="0" smtClean="0"/>
              <a:t>Android</a:t>
            </a:r>
            <a:endParaRPr lang="en-US" sz="2000" dirty="0"/>
          </a:p>
        </p:txBody>
      </p:sp>
      <p:sp>
        <p:nvSpPr>
          <p:cNvPr id="3" name="Title 2"/>
          <p:cNvSpPr>
            <a:spLocks noGrp="1"/>
          </p:cNvSpPr>
          <p:nvPr>
            <p:ph type="title"/>
          </p:nvPr>
        </p:nvSpPr>
        <p:spPr/>
        <p:txBody>
          <a:bodyPr/>
          <a:lstStyle/>
          <a:p>
            <a:r>
              <a:rPr lang="en-US" dirty="0" smtClean="0"/>
              <a:t>Selective Wipe</a:t>
            </a:r>
            <a:endParaRPr lang="en-US" dirty="0"/>
          </a:p>
        </p:txBody>
      </p:sp>
    </p:spTree>
    <p:extLst>
      <p:ext uri="{BB962C8B-B14F-4D97-AF65-F5344CB8AC3E}">
        <p14:creationId xmlns:p14="http://schemas.microsoft.com/office/powerpoint/2010/main" val="116965974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822" y="293087"/>
            <a:ext cx="11370961" cy="762786"/>
          </a:xfrm>
        </p:spPr>
        <p:txBody>
          <a:bodyPr/>
          <a:lstStyle/>
          <a:p>
            <a:r>
              <a:rPr lang="en-US" sz="4000" dirty="0" smtClean="0"/>
              <a:t>Full and Selective Wipe</a:t>
            </a:r>
            <a:endParaRPr lang="en-US" sz="4000" dirty="0"/>
          </a:p>
        </p:txBody>
      </p:sp>
      <p:graphicFrame>
        <p:nvGraphicFramePr>
          <p:cNvPr id="4" name="Content Placeholder 3"/>
          <p:cNvGraphicFramePr>
            <a:graphicFrameLocks/>
          </p:cNvGraphicFramePr>
          <p:nvPr>
            <p:extLst/>
          </p:nvPr>
        </p:nvGraphicFramePr>
        <p:xfrm>
          <a:off x="274637" y="946463"/>
          <a:ext cx="11887201" cy="5746573"/>
        </p:xfrm>
        <a:graphic>
          <a:graphicData uri="http://schemas.openxmlformats.org/drawingml/2006/table">
            <a:tbl>
              <a:tblPr firstRow="1" bandRow="1">
                <a:tableStyleId>{5C22544A-7EE6-4342-B048-85BDC9FD1C3A}</a:tableStyleId>
              </a:tblPr>
              <a:tblGrid>
                <a:gridCol w="1460814"/>
                <a:gridCol w="2522803"/>
                <a:gridCol w="1975896"/>
                <a:gridCol w="1975896"/>
                <a:gridCol w="1975896"/>
                <a:gridCol w="1975896"/>
              </a:tblGrid>
              <a:tr h="616090">
                <a:tc>
                  <a:txBody>
                    <a:bodyPr/>
                    <a:lstStyle/>
                    <a:p>
                      <a:r>
                        <a:rPr lang="en-US" sz="1600" dirty="0" smtClean="0">
                          <a:solidFill>
                            <a:schemeClr val="tx1"/>
                          </a:solidFill>
                        </a:rPr>
                        <a:t>Category</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600" dirty="0" smtClean="0">
                          <a:solidFill>
                            <a:schemeClr val="tx1"/>
                          </a:solidFill>
                        </a:rPr>
                        <a:t>Windows 8.1  (x86/RT OMA-DM managed)</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600" dirty="0" smtClean="0">
                          <a:solidFill>
                            <a:schemeClr val="tx1"/>
                          </a:solidFill>
                        </a:rPr>
                        <a:t>Windows 8</a:t>
                      </a:r>
                      <a:r>
                        <a:rPr lang="en-US" sz="1600" baseline="0" dirty="0" smtClean="0">
                          <a:solidFill>
                            <a:schemeClr val="tx1"/>
                          </a:solidFill>
                        </a:rPr>
                        <a:t> RT</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600" dirty="0" smtClean="0">
                          <a:solidFill>
                            <a:schemeClr val="tx1"/>
                          </a:solidFill>
                        </a:rPr>
                        <a:t>Windows</a:t>
                      </a:r>
                      <a:r>
                        <a:rPr lang="en-US" sz="1600" baseline="0" dirty="0" smtClean="0">
                          <a:solidFill>
                            <a:schemeClr val="tx1"/>
                          </a:solidFill>
                        </a:rPr>
                        <a:t> Phone</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600" dirty="0" smtClean="0">
                          <a:solidFill>
                            <a:schemeClr val="tx1"/>
                          </a:solidFill>
                        </a:rPr>
                        <a:t>iOS</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600" dirty="0" smtClean="0">
                          <a:solidFill>
                            <a:schemeClr val="tx1"/>
                          </a:solidFill>
                        </a:rPr>
                        <a:t>Android</a:t>
                      </a:r>
                      <a:endParaRPr lang="en-US" sz="16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56652">
                <a:tc>
                  <a:txBody>
                    <a:bodyPr/>
                    <a:lstStyle/>
                    <a:p>
                      <a:pPr marL="0" algn="l" defTabSz="914363" rtl="0" eaLnBrk="1" latinLnBrk="0" hangingPunct="1"/>
                      <a:r>
                        <a:rPr lang="en-US" sz="1400" kern="1200" dirty="0" smtClean="0">
                          <a:solidFill>
                            <a:schemeClr val="tx1"/>
                          </a:solidFill>
                          <a:latin typeface="+mn-lt"/>
                          <a:ea typeface="+mn-ea"/>
                          <a:cs typeface="+mn-cs"/>
                        </a:rPr>
                        <a:t>Full Wipe</a:t>
                      </a:r>
                      <a:endParaRPr lang="en-US" sz="1400" kern="1200" dirty="0">
                        <a:solidFill>
                          <a:schemeClr val="tx1"/>
                        </a:solidFill>
                        <a:latin typeface="+mn-lt"/>
                        <a:ea typeface="+mn-ea"/>
                        <a:cs typeface="+mn-cs"/>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US" sz="1400" baseline="0" dirty="0" smtClean="0">
                          <a:solidFill>
                            <a:schemeClr val="tx1"/>
                          </a:solidFill>
                          <a:sym typeface="Wingdings" panose="05000000000000000000" pitchFamily="2" charset="2"/>
                        </a:rPr>
                        <a:t>          </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          </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69886">
                <a:tc gridSpan="6">
                  <a:txBody>
                    <a:bodyPr/>
                    <a:lstStyle/>
                    <a:p>
                      <a:pPr algn="ctr"/>
                      <a:r>
                        <a:rPr lang="en-US" sz="1400" b="1" dirty="0" smtClean="0">
                          <a:solidFill>
                            <a:schemeClr val="tx1"/>
                          </a:solidFill>
                        </a:rPr>
                        <a:t>Selective</a:t>
                      </a:r>
                      <a:r>
                        <a:rPr lang="en-US" sz="1400" b="1" baseline="0" dirty="0" smtClean="0">
                          <a:solidFill>
                            <a:schemeClr val="tx1"/>
                          </a:solidFill>
                        </a:rPr>
                        <a:t> Wipe</a:t>
                      </a:r>
                      <a:endParaRPr lang="en-US" sz="1400" b="1"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endParaRPr lang="en-US"/>
                    </a:p>
                  </a:txBody>
                  <a:tcPr/>
                </a:tc>
                <a:tc hMerge="1">
                  <a:txBody>
                    <a:bodyPr/>
                    <a:lstStyle/>
                    <a:p>
                      <a:endParaRPr lang="en-US" sz="1600" dirty="0"/>
                    </a:p>
                  </a:txBody>
                  <a:tcPr marL="91416" marR="91416" marT="45708" marB="45708"/>
                </a:tc>
                <a:tc hMerge="1">
                  <a:txBody>
                    <a:bodyPr/>
                    <a:lstStyle/>
                    <a:p>
                      <a:endParaRPr lang="en-US" sz="1600" dirty="0"/>
                    </a:p>
                  </a:txBody>
                  <a:tcPr marL="91416" marR="91416" marT="45708" marB="45708"/>
                </a:tc>
                <a:tc hMerge="1">
                  <a:txBody>
                    <a:bodyPr/>
                    <a:lstStyle/>
                    <a:p>
                      <a:endParaRPr lang="en-US" sz="1600" dirty="0"/>
                    </a:p>
                  </a:txBody>
                  <a:tcPr marL="91416" marR="91416" marT="45708" marB="45708"/>
                </a:tc>
                <a:tc hMerge="1">
                  <a:txBody>
                    <a:bodyPr/>
                    <a:lstStyle/>
                    <a:p>
                      <a:endParaRPr lang="en-US" sz="1600" dirty="0"/>
                    </a:p>
                  </a:txBody>
                  <a:tcPr marL="91416" marR="91416" marT="45708" marB="45708"/>
                </a:tc>
              </a:tr>
              <a:tr h="349150">
                <a:tc>
                  <a:txBody>
                    <a:bodyPr/>
                    <a:lstStyle/>
                    <a:p>
                      <a:pPr marL="0" algn="l" defTabSz="914363" rtl="0" eaLnBrk="1" latinLnBrk="0" hangingPunct="1"/>
                      <a:r>
                        <a:rPr lang="en-US" sz="1400" kern="1200" dirty="0" smtClean="0">
                          <a:solidFill>
                            <a:schemeClr val="tx1"/>
                          </a:solidFill>
                          <a:latin typeface="+mn-lt"/>
                          <a:ea typeface="+mn-ea"/>
                          <a:cs typeface="+mn-cs"/>
                        </a:rPr>
                        <a:t>Email</a:t>
                      </a:r>
                      <a:endParaRPr lang="en-US" sz="1400" kern="1200" dirty="0">
                        <a:solidFill>
                          <a:schemeClr val="tx1"/>
                        </a:solidFill>
                        <a:latin typeface="+mn-lt"/>
                        <a:ea typeface="+mn-ea"/>
                        <a:cs typeface="+mn-cs"/>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algn="ctr"/>
                      <a:r>
                        <a:rPr lang="en-US" sz="1400" dirty="0" smtClean="0">
                          <a:solidFill>
                            <a:schemeClr val="tx1"/>
                          </a:solidFill>
                          <a:sym typeface="Wingdings" panose="05000000000000000000" pitchFamily="2" charset="2"/>
                        </a:rPr>
                        <a:t> (Email</a:t>
                      </a:r>
                      <a:r>
                        <a:rPr lang="en-US" sz="1400" baseline="0" dirty="0" smtClean="0">
                          <a:solidFill>
                            <a:schemeClr val="tx1"/>
                          </a:solidFill>
                          <a:sym typeface="Wingdings" panose="05000000000000000000" pitchFamily="2" charset="2"/>
                        </a:rPr>
                        <a:t> through EA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algn="ctr"/>
                      <a:r>
                        <a:rPr lang="en-US" sz="1400" dirty="0" smtClean="0">
                          <a:solidFill>
                            <a:schemeClr val="tx1"/>
                          </a:solidFill>
                          <a:sym typeface="Wingdings" panose="05000000000000000000" pitchFamily="2" charset="2"/>
                        </a:rPr>
                        <a:t> (Email through EA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algn="ct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algn="ct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r>
              <a:tr h="944147">
                <a:tc>
                  <a:txBody>
                    <a:bodyPr/>
                    <a:lstStyle/>
                    <a:p>
                      <a:pPr marL="0" algn="l" defTabSz="914363" rtl="0" eaLnBrk="1" latinLnBrk="0" hangingPunct="1"/>
                      <a:r>
                        <a:rPr lang="en-US" sz="1400" kern="1200" dirty="0" smtClean="0">
                          <a:solidFill>
                            <a:schemeClr val="tx1"/>
                          </a:solidFill>
                          <a:latin typeface="+mn-lt"/>
                          <a:ea typeface="+mn-ea"/>
                          <a:cs typeface="+mn-cs"/>
                        </a:rPr>
                        <a:t>Corporate Apps (from ConfigMgr /</a:t>
                      </a:r>
                      <a:r>
                        <a:rPr lang="en-US" sz="1400" kern="1200" baseline="0" dirty="0" smtClean="0">
                          <a:solidFill>
                            <a:schemeClr val="tx1"/>
                          </a:solidFill>
                          <a:latin typeface="+mn-lt"/>
                          <a:ea typeface="+mn-ea"/>
                          <a:cs typeface="+mn-cs"/>
                        </a:rPr>
                        <a:t> </a:t>
                      </a:r>
                      <a:r>
                        <a:rPr lang="en-US" sz="1400" kern="1200" dirty="0" smtClean="0">
                          <a:solidFill>
                            <a:schemeClr val="tx1"/>
                          </a:solidFill>
                          <a:latin typeface="+mn-lt"/>
                          <a:ea typeface="+mn-ea"/>
                          <a:cs typeface="+mn-cs"/>
                        </a:rPr>
                        <a:t>Intune)</a:t>
                      </a:r>
                      <a:endParaRPr lang="en-US" sz="1400" kern="1200" dirty="0">
                        <a:solidFill>
                          <a:schemeClr val="tx1"/>
                        </a:solidFill>
                        <a:latin typeface="+mn-lt"/>
                        <a:ea typeface="+mn-ea"/>
                        <a:cs typeface="+mn-cs"/>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sym typeface="Wingdings" panose="05000000000000000000" pitchFamily="2" charset="2"/>
                        </a:rPr>
                        <a:t> (Uninstalled</a:t>
                      </a:r>
                      <a:r>
                        <a:rPr lang="en-US" sz="1400" baseline="0" dirty="0" smtClean="0">
                          <a:solidFill>
                            <a:schemeClr val="tx1"/>
                          </a:solidFill>
                          <a:sym typeface="Wingdings" panose="05000000000000000000" pitchFamily="2" charset="2"/>
                        </a:rPr>
                        <a:t> + </a:t>
                      </a:r>
                      <a:r>
                        <a:rPr lang="en-US" sz="1400" baseline="0" dirty="0" err="1" smtClean="0">
                          <a:solidFill>
                            <a:schemeClr val="tx1"/>
                          </a:solidFill>
                          <a:sym typeface="Wingdings" panose="05000000000000000000" pitchFamily="2" charset="2"/>
                        </a:rPr>
                        <a:t>sideloading</a:t>
                      </a:r>
                      <a:r>
                        <a:rPr lang="en-US" sz="1400" baseline="0" dirty="0" smtClean="0">
                          <a:solidFill>
                            <a:schemeClr val="tx1"/>
                          </a:solidFill>
                          <a:sym typeface="Wingdings" panose="05000000000000000000" pitchFamily="2" charset="2"/>
                        </a:rPr>
                        <a:t> key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err="1" smtClean="0">
                          <a:solidFill>
                            <a:schemeClr val="tx1"/>
                          </a:solidFill>
                          <a:sym typeface="Wingdings" panose="05000000000000000000" pitchFamily="2" charset="2"/>
                        </a:rPr>
                        <a:t>Sideloading</a:t>
                      </a:r>
                      <a:r>
                        <a:rPr lang="en-US" sz="1400" dirty="0" smtClean="0">
                          <a:solidFill>
                            <a:schemeClr val="tx1"/>
                          </a:solidFill>
                          <a:sym typeface="Wingdings" panose="05000000000000000000" pitchFamily="2" charset="2"/>
                        </a:rPr>
                        <a:t> key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 </a:t>
                      </a: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616090">
                <a:tc>
                  <a:txBody>
                    <a:bodyPr/>
                    <a:lstStyle/>
                    <a:p>
                      <a:pPr marL="0" algn="l" defTabSz="914363" rtl="0" eaLnBrk="1" latinLnBrk="0" hangingPunct="1"/>
                      <a:r>
                        <a:rPr lang="en-US" sz="1400" kern="1200" dirty="0" smtClean="0">
                          <a:solidFill>
                            <a:schemeClr val="tx1"/>
                          </a:solidFill>
                          <a:latin typeface="+mn-lt"/>
                          <a:ea typeface="+mn-ea"/>
                          <a:cs typeface="+mn-cs"/>
                        </a:rPr>
                        <a:t>VPN and </a:t>
                      </a:r>
                      <a:r>
                        <a:rPr lang="en-US" sz="1400" kern="1200" dirty="0" err="1" smtClean="0">
                          <a:solidFill>
                            <a:schemeClr val="tx1"/>
                          </a:solidFill>
                          <a:latin typeface="+mn-lt"/>
                          <a:ea typeface="+mn-ea"/>
                          <a:cs typeface="+mn-cs"/>
                        </a:rPr>
                        <a:t>Wifi</a:t>
                      </a:r>
                      <a:r>
                        <a:rPr lang="en-US" sz="1400" kern="1200" dirty="0" smtClean="0">
                          <a:solidFill>
                            <a:schemeClr val="tx1"/>
                          </a:solidFill>
                          <a:latin typeface="+mn-lt"/>
                          <a:ea typeface="+mn-ea"/>
                          <a:cs typeface="+mn-cs"/>
                        </a:rPr>
                        <a:t> Profiles</a:t>
                      </a:r>
                      <a:endParaRPr lang="en-US" sz="1400" kern="1200" dirty="0">
                        <a:solidFill>
                          <a:schemeClr val="tx1"/>
                        </a:solidFill>
                        <a:latin typeface="+mn-lt"/>
                        <a:ea typeface="+mn-ea"/>
                        <a:cs typeface="+mn-cs"/>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sym typeface="Wingdings" panose="05000000000000000000" pitchFamily="2" charset="2"/>
                        </a:rPr>
                        <a: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616090">
                <a:tc>
                  <a:txBody>
                    <a:bodyPr/>
                    <a:lstStyle/>
                    <a:p>
                      <a:r>
                        <a:rPr lang="en-US" sz="1400" dirty="0" smtClean="0">
                          <a:solidFill>
                            <a:schemeClr val="tx1"/>
                          </a:solidFill>
                        </a:rPr>
                        <a:t>Certificate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Revoked on server</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N/A</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Revoked on server</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Revoked on server</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Revoked on server</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616090">
                <a:tc>
                  <a:txBody>
                    <a:bodyPr/>
                    <a:lstStyle/>
                    <a:p>
                      <a:r>
                        <a:rPr lang="en-US" sz="1400" dirty="0" smtClean="0">
                          <a:solidFill>
                            <a:schemeClr val="tx1"/>
                          </a:solidFill>
                        </a:rPr>
                        <a:t>Setting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Policy enforcement is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Policy enforcement is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rPr>
                        <a:t>Policy enforcement is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smtClean="0">
                          <a:solidFill>
                            <a:schemeClr val="tx1"/>
                          </a:solidFill>
                        </a:rPr>
                        <a:t>Policy enforcement is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Policy enforcement is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26533">
                <a:tc>
                  <a:txBody>
                    <a:bodyPr/>
                    <a:lstStyle/>
                    <a:p>
                      <a:r>
                        <a:rPr lang="en-US" sz="1400" dirty="0" smtClean="0">
                          <a:solidFill>
                            <a:schemeClr val="tx1"/>
                          </a:solidFill>
                        </a:rPr>
                        <a:t>Management Agent</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algn="ctr" defTabSz="914363" rtl="0" eaLnBrk="1" latinLnBrk="0" hangingPunct="1"/>
                      <a:r>
                        <a:rPr lang="en-US" sz="1400" kern="1200" dirty="0" smtClean="0">
                          <a:solidFill>
                            <a:schemeClr val="tx1"/>
                          </a:solidFill>
                          <a:latin typeface="+mn-lt"/>
                          <a:ea typeface="+mn-ea"/>
                          <a:cs typeface="+mn-cs"/>
                        </a:rPr>
                        <a:t>N/A. Built into OS</a:t>
                      </a:r>
                      <a:endParaRPr lang="en-US" sz="1400" kern="1200" dirty="0">
                        <a:solidFill>
                          <a:schemeClr val="tx1"/>
                        </a:solidFill>
                        <a:latin typeface="+mn-lt"/>
                        <a:ea typeface="+mn-ea"/>
                        <a:cs typeface="+mn-cs"/>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A. Built into O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A. Built into OS</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algn="ctr"/>
                      <a:r>
                        <a:rPr lang="en-US" sz="1400" dirty="0" smtClean="0">
                          <a:solidFill>
                            <a:schemeClr val="tx1"/>
                          </a:solidFill>
                        </a:rPr>
                        <a:t>Management profile removed</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algn="ctr" defTabSz="914363" rtl="0" eaLnBrk="1" fontAlgn="t" latinLnBrk="0" hangingPunct="1"/>
                      <a:r>
                        <a:rPr lang="en-US" sz="1400" kern="1200" dirty="0">
                          <a:solidFill>
                            <a:schemeClr val="tx1"/>
                          </a:solidFill>
                          <a:latin typeface="+mn-lt"/>
                          <a:ea typeface="+mn-ea"/>
                          <a:cs typeface="+mn-cs"/>
                        </a:rPr>
                        <a:t>“Device administrator” privilege is revoked </a:t>
                      </a:r>
                    </a:p>
                  </a:txBody>
                  <a:tcPr marL="9715" marR="9715" marT="9715"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730947">
                <a:tc>
                  <a:txBody>
                    <a:bodyPr/>
                    <a:lstStyle/>
                    <a:p>
                      <a:r>
                        <a:rPr lang="en-US" sz="1400" dirty="0" smtClean="0">
                          <a:solidFill>
                            <a:schemeClr val="tx1"/>
                          </a:solidFill>
                        </a:rPr>
                        <a:t>Corporate App Data</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Data remains encrypted if app is EFS aware</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pPr algn="ct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App container removed during</a:t>
                      </a:r>
                      <a:r>
                        <a:rPr lang="en-US" sz="1400" baseline="0" dirty="0" smtClean="0">
                          <a:solidFill>
                            <a:schemeClr val="tx1"/>
                          </a:solidFill>
                        </a:rPr>
                        <a:t> uninstall</a:t>
                      </a:r>
                      <a:endParaRPr lang="en-US" sz="1400" dirty="0" smtClean="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pPr algn="ctr"/>
                      <a:r>
                        <a:rPr lang="en-US" sz="1400" dirty="0" smtClean="0">
                          <a:solidFill>
                            <a:schemeClr val="tx1"/>
                          </a:solidFill>
                        </a:rPr>
                        <a:t>App container removed during</a:t>
                      </a:r>
                      <a:r>
                        <a:rPr lang="en-US" sz="1400" baseline="0" dirty="0" smtClean="0">
                          <a:solidFill>
                            <a:schemeClr val="tx1"/>
                          </a:solidFill>
                        </a:rPr>
                        <a:t> uninstall</a:t>
                      </a: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pPr algn="ctr"/>
                      <a:endParaRPr lang="en-US" sz="1400" dirty="0">
                        <a:solidFill>
                          <a:schemeClr val="tx1"/>
                        </a:solidFill>
                      </a:endParaRPr>
                    </a:p>
                  </a:txBody>
                  <a:tcPr marL="93236" marR="93236" marT="46618" marB="46618">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788718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 – Retire &amp; Wipe </a:t>
            </a:r>
            <a:endParaRPr lang="en-US" dirty="0"/>
          </a:p>
        </p:txBody>
      </p:sp>
      <p:sp>
        <p:nvSpPr>
          <p:cNvPr id="5" name="Text Placeholder 4"/>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5367456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1214" y="293502"/>
            <a:ext cx="11370961" cy="738664"/>
          </a:xfrm>
        </p:spPr>
        <p:txBody>
          <a:bodyPr vert="horz" wrap="square" lIns="146304" tIns="91440" rIns="146304" bIns="91440" rtlCol="0" anchor="t">
            <a:spAutoFit/>
          </a:bodyPr>
          <a:lstStyle/>
          <a:p>
            <a:r>
              <a:rPr lang="en-US" sz="4000" dirty="0"/>
              <a:t>Unified Device Management Recap</a:t>
            </a:r>
          </a:p>
        </p:txBody>
      </p:sp>
      <p:graphicFrame>
        <p:nvGraphicFramePr>
          <p:cNvPr id="4" name="Table 3"/>
          <p:cNvGraphicFramePr>
            <a:graphicFrameLocks noGrp="1"/>
          </p:cNvGraphicFramePr>
          <p:nvPr>
            <p:extLst>
              <p:ext uri="{D42A27DB-BD31-4B8C-83A1-F6EECF244321}">
                <p14:modId xmlns:p14="http://schemas.microsoft.com/office/powerpoint/2010/main" val="3632159805"/>
              </p:ext>
            </p:extLst>
          </p:nvPr>
        </p:nvGraphicFramePr>
        <p:xfrm>
          <a:off x="460376" y="1243471"/>
          <a:ext cx="11526836" cy="4973888"/>
        </p:xfrm>
        <a:graphic>
          <a:graphicData uri="http://schemas.openxmlformats.org/drawingml/2006/table">
            <a:tbl>
              <a:tblPr>
                <a:tableStyleId>{616DA210-FB5B-4158-B5E0-FEB733F419BA}</a:tableStyleId>
              </a:tblPr>
              <a:tblGrid>
                <a:gridCol w="4693070"/>
                <a:gridCol w="1820384"/>
                <a:gridCol w="1555332"/>
                <a:gridCol w="1729025"/>
                <a:gridCol w="1729025"/>
              </a:tblGrid>
              <a:tr h="310868">
                <a:tc>
                  <a:txBody>
                    <a:bodyPr/>
                    <a:lstStyle/>
                    <a:p>
                      <a:pPr algn="l" fontAlgn="b"/>
                      <a:endParaRPr lang="en-US" sz="1400" b="1" i="0" u="none" strike="noStrike" dirty="0">
                        <a:solidFill>
                          <a:srgbClr val="000000"/>
                        </a:solidFill>
                        <a:effectLst/>
                        <a:latin typeface="Calibri" panose="020F0502020204030204" pitchFamily="34" charset="0"/>
                      </a:endParaRPr>
                    </a:p>
                  </a:txBody>
                  <a:tcPr marL="93260" marR="93260" marT="46630" marB="46630" anchor="b">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a:solidFill>
                            <a:schemeClr val="tx1"/>
                          </a:solidFill>
                          <a:effectLst/>
                        </a:rPr>
                        <a:t>Unregistered</a:t>
                      </a:r>
                      <a:endParaRPr lang="en-US" sz="1400" b="1" i="0" u="none" strike="noStrike" dirty="0">
                        <a:solidFill>
                          <a:schemeClr val="tx1"/>
                        </a:solidFill>
                        <a:effectLst/>
                        <a:latin typeface="Calibri" panose="020F0502020204030204" pitchFamily="34" charset="0"/>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a:solidFill>
                            <a:schemeClr val="tx1"/>
                          </a:solidFill>
                          <a:effectLst/>
                        </a:rPr>
                        <a:t>Registered</a:t>
                      </a:r>
                      <a:endParaRPr lang="en-US" sz="1400" b="1" i="0" u="none" strike="noStrike" dirty="0">
                        <a:solidFill>
                          <a:schemeClr val="tx1"/>
                        </a:solidFill>
                        <a:effectLst/>
                        <a:latin typeface="Calibri" panose="020F0502020204030204" pitchFamily="34" charset="0"/>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rPr>
                        <a:t>MDM Enrolled</a:t>
                      </a:r>
                      <a:endParaRPr lang="en-US" sz="1400" b="1" i="0" u="none" strike="noStrike" dirty="0">
                        <a:solidFill>
                          <a:schemeClr val="tx1"/>
                        </a:solidFill>
                        <a:effectLst/>
                        <a:latin typeface="Calibri" panose="020F0502020204030204" pitchFamily="34" charset="0"/>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rPr>
                        <a:t>Fully Managed</a:t>
                      </a:r>
                      <a:endParaRPr lang="en-US" sz="1400" b="1" i="0" u="none" strike="noStrike" dirty="0">
                        <a:solidFill>
                          <a:schemeClr val="tx1"/>
                        </a:solidFill>
                        <a:effectLst/>
                        <a:latin typeface="Calibri" panose="020F0502020204030204" pitchFamily="34" charset="0"/>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Publish</a:t>
                      </a:r>
                      <a:r>
                        <a:rPr lang="en-US" sz="1400" u="none" strike="noStrike" baseline="0" dirty="0" smtClean="0">
                          <a:effectLst/>
                          <a:latin typeface="+mn-lt"/>
                        </a:rPr>
                        <a:t> email to users (EAS)</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Publish work folders to users</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Conditional</a:t>
                      </a:r>
                      <a:r>
                        <a:rPr lang="en-US" sz="1400" u="none" strike="noStrike" baseline="0" dirty="0" smtClean="0">
                          <a:effectLst/>
                          <a:latin typeface="+mn-lt"/>
                        </a:rPr>
                        <a:t> </a:t>
                      </a:r>
                      <a:r>
                        <a:rPr lang="en-US" sz="1400" u="none" strike="noStrike" dirty="0" smtClean="0">
                          <a:effectLst/>
                          <a:latin typeface="+mn-lt"/>
                        </a:rPr>
                        <a:t>access based</a:t>
                      </a:r>
                      <a:r>
                        <a:rPr lang="en-US" sz="1400" u="none" strike="noStrike" baseline="0" dirty="0" smtClean="0">
                          <a:effectLst/>
                          <a:latin typeface="+mn-lt"/>
                        </a:rPr>
                        <a:t> </a:t>
                      </a:r>
                      <a:r>
                        <a:rPr lang="en-US" sz="1400" u="none" strike="noStrike" dirty="0" smtClean="0">
                          <a:effectLst/>
                          <a:latin typeface="+mn-lt"/>
                        </a:rPr>
                        <a:t>on </a:t>
                      </a:r>
                      <a:r>
                        <a:rPr lang="en-US" sz="1400" u="none" strike="noStrike" dirty="0">
                          <a:effectLst/>
                          <a:latin typeface="+mn-lt"/>
                        </a:rPr>
                        <a:t>user, device, location</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Block</a:t>
                      </a:r>
                      <a:r>
                        <a:rPr lang="en-US" sz="1400" b="1" u="none" strike="noStrike" baseline="0" dirty="0" smtClean="0">
                          <a:solidFill>
                            <a:schemeClr val="tx1"/>
                          </a:solidFill>
                          <a:effectLst/>
                          <a:latin typeface="+mn-lt"/>
                        </a:rPr>
                        <a:t> </a:t>
                      </a:r>
                      <a:r>
                        <a:rPr lang="en-US" sz="1400" b="1" u="none" strike="noStrike" dirty="0" smtClean="0">
                          <a:solidFill>
                            <a:schemeClr val="tx1"/>
                          </a:solidFill>
                          <a:effectLst/>
                          <a:latin typeface="+mn-lt"/>
                        </a:rPr>
                        <a:t>device only</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a:effectLst/>
                          <a:latin typeface="+mn-lt"/>
                        </a:rPr>
                        <a:t>Audit </a:t>
                      </a:r>
                      <a:r>
                        <a:rPr lang="en-US" sz="1400" u="none" strike="noStrike" dirty="0" smtClean="0">
                          <a:effectLst/>
                          <a:latin typeface="+mn-lt"/>
                        </a:rPr>
                        <a:t>logging </a:t>
                      </a:r>
                      <a:r>
                        <a:rPr lang="en-US" sz="1400" u="none" strike="noStrike" dirty="0">
                          <a:effectLst/>
                          <a:latin typeface="+mn-lt"/>
                        </a:rPr>
                        <a:t>and monitoring</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Unified</a:t>
                      </a:r>
                      <a:r>
                        <a:rPr lang="en-US" sz="1400" u="none" strike="noStrike" baseline="0" dirty="0" smtClean="0">
                          <a:effectLst/>
                          <a:latin typeface="+mn-lt"/>
                        </a:rPr>
                        <a:t> </a:t>
                      </a:r>
                      <a:r>
                        <a:rPr lang="en-US" sz="1400" u="none" strike="noStrike" dirty="0" smtClean="0">
                          <a:effectLst/>
                          <a:latin typeface="+mn-lt"/>
                        </a:rPr>
                        <a:t>Device 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Unified Application 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Selective data wipe</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a:effectLst/>
                          <a:latin typeface="+mn-lt"/>
                        </a:rPr>
                        <a:t>Compliance reporting</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a:effectLst/>
                          <a:latin typeface="+mn-lt"/>
                        </a:rPr>
                        <a:t>Group </a:t>
                      </a:r>
                      <a:r>
                        <a:rPr lang="en-US" sz="1400" u="none" strike="noStrike" dirty="0" smtClean="0">
                          <a:effectLst/>
                          <a:latin typeface="+mn-lt"/>
                        </a:rPr>
                        <a:t>Policy and login scripts</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OS deployment and imaging</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Configuration 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a:effectLst/>
                          <a:latin typeface="+mn-lt"/>
                        </a:rPr>
                        <a:t>Patch </a:t>
                      </a:r>
                      <a:r>
                        <a:rPr lang="en-US" sz="1400" u="none" strike="noStrike" dirty="0" smtClean="0">
                          <a:effectLst/>
                          <a:latin typeface="+mn-lt"/>
                        </a:rPr>
                        <a:t>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smtClean="0">
                          <a:effectLst/>
                          <a:latin typeface="+mn-lt"/>
                        </a:rPr>
                        <a:t>Anti</a:t>
                      </a:r>
                      <a:r>
                        <a:rPr lang="en-US" sz="1400" u="none" strike="noStrike" baseline="0" dirty="0" smtClean="0">
                          <a:effectLst/>
                          <a:latin typeface="+mn-lt"/>
                        </a:rPr>
                        <a:t> </a:t>
                      </a:r>
                      <a:r>
                        <a:rPr lang="en-US" sz="1400" u="none" strike="noStrike" dirty="0" smtClean="0">
                          <a:effectLst/>
                          <a:latin typeface="+mn-lt"/>
                        </a:rPr>
                        <a:t>malware </a:t>
                      </a:r>
                      <a:r>
                        <a:rPr lang="en-US" sz="1400" u="none" strike="noStrike" dirty="0">
                          <a:effectLst/>
                          <a:latin typeface="+mn-lt"/>
                        </a:rPr>
                        <a:t>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algn="l" fontAlgn="b"/>
                      <a:r>
                        <a:rPr lang="en-US" sz="1400" u="none" strike="noStrike" dirty="0">
                          <a:effectLst/>
                          <a:latin typeface="+mn-lt"/>
                        </a:rPr>
                        <a:t>Full application management</a:t>
                      </a:r>
                      <a:endParaRPr lang="en-US" sz="1400" b="0" i="0" u="none" strike="noStrike" dirty="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r>
                        <a:rPr lang="en-US" sz="1400" b="1" u="none" strike="noStrike" dirty="0" smtClean="0">
                          <a:solidFill>
                            <a:schemeClr val="tx1"/>
                          </a:solidFill>
                          <a:effectLst/>
                          <a:latin typeface="+mn-lt"/>
                        </a:rPr>
                        <a:t>Yes</a:t>
                      </a:r>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310868">
                <a:tc>
                  <a:txBody>
                    <a:bodyPr/>
                    <a:lstStyle/>
                    <a:p>
                      <a:pPr marL="0" marR="0" indent="0" algn="l" defTabSz="914363" rtl="0" eaLnBrk="1" fontAlgn="b" latinLnBrk="0" hangingPunct="1">
                        <a:lnSpc>
                          <a:spcPct val="100000"/>
                        </a:lnSpc>
                        <a:spcBef>
                          <a:spcPts val="0"/>
                        </a:spcBef>
                        <a:spcAft>
                          <a:spcPts val="0"/>
                        </a:spcAft>
                        <a:buClrTx/>
                        <a:buSzTx/>
                        <a:buFontTx/>
                        <a:buNone/>
                        <a:tabLst/>
                        <a:defRPr/>
                      </a:pPr>
                      <a:r>
                        <a:rPr lang="en-US" sz="1400" u="none" strike="noStrike" dirty="0" err="1" smtClean="0">
                          <a:effectLst/>
                          <a:latin typeface="+mn-lt"/>
                        </a:rPr>
                        <a:t>BitLocker</a:t>
                      </a:r>
                      <a:r>
                        <a:rPr lang="en-US" sz="1400" u="none" strike="noStrike" baseline="0" dirty="0" smtClean="0">
                          <a:effectLst/>
                          <a:latin typeface="+mn-lt"/>
                        </a:rPr>
                        <a:t> </a:t>
                      </a:r>
                      <a:r>
                        <a:rPr lang="en-US" sz="1400" u="none" strike="noStrike" dirty="0" smtClean="0">
                          <a:effectLst/>
                          <a:latin typeface="+mn-lt"/>
                        </a:rPr>
                        <a:t>management</a:t>
                      </a:r>
                      <a:endParaRPr lang="en-US" sz="1400" b="0" i="0" u="none" strike="noStrike" dirty="0" smtClean="0">
                        <a:solidFill>
                          <a:srgbClr val="000000"/>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fontAlgn="b"/>
                      <a:endParaRPr lang="en-US" sz="1400" b="0" i="0" u="none" strike="noStrike" dirty="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indent="0" algn="ctr" defTabSz="914363" rtl="0" eaLnBrk="1" fontAlgn="b" latinLnBrk="0" hangingPunct="1">
                        <a:lnSpc>
                          <a:spcPct val="100000"/>
                        </a:lnSpc>
                        <a:spcBef>
                          <a:spcPts val="0"/>
                        </a:spcBef>
                        <a:spcAft>
                          <a:spcPts val="0"/>
                        </a:spcAft>
                        <a:buClrTx/>
                        <a:buSzTx/>
                        <a:buFontTx/>
                        <a:buNone/>
                        <a:tabLst/>
                        <a:defRPr/>
                      </a:pPr>
                      <a:r>
                        <a:rPr lang="en-US" sz="1400" b="1" u="none" strike="noStrike" dirty="0" smtClean="0">
                          <a:solidFill>
                            <a:schemeClr val="tx1"/>
                          </a:solidFill>
                          <a:effectLst/>
                          <a:latin typeface="+mn-lt"/>
                        </a:rPr>
                        <a:t>Yes</a:t>
                      </a:r>
                      <a:endParaRPr lang="en-US" sz="1400" b="0" i="0" u="none" strike="noStrike" dirty="0" smtClean="0">
                        <a:solidFill>
                          <a:schemeClr val="tx1"/>
                        </a:solidFill>
                        <a:effectLst/>
                        <a:latin typeface="+mn-lt"/>
                      </a:endParaRPr>
                    </a:p>
                  </a:txBody>
                  <a:tcPr marL="93260" marR="93260" marT="46630" marB="4663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2479695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395987"/>
            <a:ext cx="11790169" cy="4912114"/>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Breakout Sessions (session codes and titles)</a:t>
            </a:r>
          </a:p>
          <a:p>
            <a:pPr lvl="0">
              <a:lnSpc>
                <a:spcPct val="90000"/>
              </a:lnSpc>
              <a:spcBef>
                <a:spcPct val="20000"/>
              </a:spcBef>
              <a:buSzPct val="105000"/>
            </a:pPr>
            <a:endParaRPr lang="en-US" sz="3600" dirty="0" smtClean="0">
              <a:gradFill>
                <a:gsLst>
                  <a:gs pos="1250">
                    <a:schemeClr val="tx1"/>
                  </a:gs>
                  <a:gs pos="100000">
                    <a:schemeClr val="tx1"/>
                  </a:gs>
                </a:gsLst>
                <a:lin ang="5400000" scaled="0"/>
              </a:gradFill>
              <a:latin typeface="+mj-lt"/>
            </a:endParaRPr>
          </a:p>
          <a:p>
            <a:pPr marL="752121" lvl="1" indent="-285750">
              <a:buFont typeface="Arial" panose="020B0604020202020204" pitchFamily="34" charset="0"/>
              <a:buChar char="•"/>
            </a:pPr>
            <a:r>
              <a:rPr lang="en-US" dirty="0"/>
              <a:t>WCA-B328 - Microsoft System Center 2012 SP1 Configuration Manager Overview</a:t>
            </a:r>
          </a:p>
          <a:p>
            <a:pPr marL="752121" lvl="1" indent="-285750">
              <a:buFont typeface="Arial" panose="020B0604020202020204" pitchFamily="34" charset="0"/>
              <a:buChar char="•"/>
            </a:pPr>
            <a:r>
              <a:rPr lang="en-US" dirty="0"/>
              <a:t>WCA-B310 - Deploying and Configuring Mobile Device Management Infrastructure with Microsoft System Center 2012 SP1 Configuration Manager and Windows Intune</a:t>
            </a:r>
          </a:p>
          <a:p>
            <a:pPr marL="752121" lvl="1" indent="-285750">
              <a:buFont typeface="Arial" panose="020B0604020202020204" pitchFamily="34" charset="0"/>
              <a:buChar char="•"/>
            </a:pPr>
            <a:r>
              <a:rPr lang="en-US" dirty="0"/>
              <a:t>WCA-B343 - Unified Modern Device Management with Microsoft System Center 2012 SP1 Configuration Manager Integrated with Windows Intune</a:t>
            </a:r>
          </a:p>
          <a:p>
            <a:pPr marL="752121" lvl="1" indent="-285750">
              <a:buFont typeface="Arial" panose="020B0604020202020204" pitchFamily="34" charset="0"/>
              <a:buChar char="•"/>
            </a:pPr>
            <a:r>
              <a:rPr lang="en-US" dirty="0"/>
              <a:t>WCA-B304 - Application Delivery with Microsoft System Center 2012 SP1 Configuration Manager and Windows Intune</a:t>
            </a:r>
          </a:p>
          <a:p>
            <a:pPr marL="752121" lvl="1" indent="-285750">
              <a:buFont typeface="Arial" panose="020B0604020202020204" pitchFamily="34" charset="0"/>
              <a:buChar char="•"/>
            </a:pPr>
            <a:r>
              <a:rPr lang="en-US" dirty="0"/>
              <a:t>WCA-B313 - Deploying Microsoft System Center 2012 SP1 - Configuration Manager with Windows Intune at Microsoft</a:t>
            </a:r>
          </a:p>
          <a:p>
            <a:pPr marL="571500" lvl="0" indent="-571500">
              <a:lnSpc>
                <a:spcPct val="90000"/>
              </a:lnSpc>
              <a:spcBef>
                <a:spcPct val="20000"/>
              </a:spcBef>
              <a:buSzPct val="105000"/>
              <a:buBlip>
                <a:blip r:embed="rId3"/>
              </a:buBlip>
            </a:pPr>
            <a:endParaRPr lang="en-US" sz="3600" dirty="0" smtClean="0">
              <a:gradFill>
                <a:gsLst>
                  <a:gs pos="1250">
                    <a:schemeClr val="tx1"/>
                  </a:gs>
                  <a:gs pos="100000">
                    <a:schemeClr val="tx1"/>
                  </a:gs>
                </a:gsLst>
                <a:lin ang="5400000" scaled="0"/>
              </a:gradFill>
              <a:latin typeface="+mj-lt"/>
            </a:endParaRPr>
          </a:p>
          <a:p>
            <a:pPr lvl="0">
              <a:lnSpc>
                <a:spcPct val="90000"/>
              </a:lnSpc>
              <a:spcBef>
                <a:spcPct val="20000"/>
              </a:spcBef>
              <a:buSzPct val="105000"/>
            </a:pP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5370022" y="623455"/>
            <a:ext cx="369397" cy="627864"/>
          </a:xfrm>
          <a:prstGeom prst="rect">
            <a:avLst/>
          </a:prstGeom>
          <a:noFill/>
        </p:spPr>
        <p:txBody>
          <a:bodyPr wrap="none" lIns="182880" tIns="146304" rIns="182880" bIns="146304" rtlCol="0">
            <a:spAutoFit/>
          </a:bodyPr>
          <a:lstStyle/>
          <a:p>
            <a:pPr>
              <a:lnSpc>
                <a:spcPct val="90000"/>
              </a:lnSpc>
              <a:spcAft>
                <a:spcPts val="600"/>
              </a:spcAft>
            </a:pPr>
            <a:endParaRPr lang="en-US"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93308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Track Resources</a:t>
            </a:r>
            <a:endParaRPr lang="en-US" dirty="0"/>
          </a:p>
        </p:txBody>
      </p:sp>
      <p:sp>
        <p:nvSpPr>
          <p:cNvPr id="6" name="Rectangle 5"/>
          <p:cNvSpPr/>
          <p:nvPr/>
        </p:nvSpPr>
        <p:spPr bwMode="auto">
          <a:xfrm>
            <a:off x="266520" y="1295327"/>
            <a:ext cx="11885832" cy="548241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2499" y="139628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solidFill>
                  <a:srgbClr val="FFFFFF"/>
                </a:solidFill>
              </a:rPr>
              <a:t>Windows Enterprise: </a:t>
            </a:r>
            <a:r>
              <a:rPr lang="en-US" sz="3599" u="sng" dirty="0">
                <a:solidFill>
                  <a:srgbClr val="00B0F0"/>
                </a:solidFill>
                <a:hlinkClick r:id="rId4" action="ppaction://hlinkfile"/>
              </a:rPr>
              <a:t>windows.com/enterprise</a:t>
            </a:r>
            <a:r>
              <a:rPr lang="en-US" sz="3599" dirty="0">
                <a:solidFill>
                  <a:srgbClr val="FFFFFF"/>
                </a:solidFill>
              </a:rPr>
              <a:t> </a:t>
            </a:r>
          </a:p>
        </p:txBody>
      </p:sp>
      <p:sp>
        <p:nvSpPr>
          <p:cNvPr id="8" name="Rectangle 7"/>
          <p:cNvSpPr/>
          <p:nvPr/>
        </p:nvSpPr>
        <p:spPr bwMode="invGray">
          <a:xfrm>
            <a:off x="372499" y="2307787"/>
            <a:ext cx="11788497" cy="612897"/>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Springboard: </a:t>
            </a:r>
            <a:r>
              <a:rPr lang="en-US" sz="3672" u="sng" dirty="0">
                <a:solidFill>
                  <a:srgbClr val="00B0F0"/>
                </a:solidFill>
                <a:hlinkClick r:id="rId5" action="ppaction://hlinkfile"/>
              </a:rPr>
              <a:t>windows.com/</a:t>
            </a:r>
            <a:r>
              <a:rPr lang="en-US" sz="3672" u="sng" dirty="0" err="1">
                <a:solidFill>
                  <a:srgbClr val="00B0F0"/>
                </a:solidFill>
                <a:hlinkClick r:id="rId5" action="ppaction://hlinkfile"/>
              </a:rPr>
              <a:t>ITpro</a:t>
            </a:r>
            <a:endParaRPr lang="en-US" sz="3599" u="sng" dirty="0">
              <a:solidFill>
                <a:srgbClr val="00B0F0"/>
              </a:solidFill>
            </a:endParaRPr>
          </a:p>
        </p:txBody>
      </p:sp>
      <p:sp>
        <p:nvSpPr>
          <p:cNvPr id="9" name="Rectangle 8"/>
          <p:cNvSpPr/>
          <p:nvPr/>
        </p:nvSpPr>
        <p:spPr bwMode="invGray">
          <a:xfrm>
            <a:off x="372499" y="3219288"/>
            <a:ext cx="11788497" cy="1732356"/>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Microsoft Desktop Optimization Package (MDOP): </a:t>
            </a:r>
            <a:r>
              <a:rPr lang="en-US" sz="3599" u="sng" dirty="0">
                <a:solidFill>
                  <a:srgbClr val="00B0F0"/>
                </a:solidFill>
                <a:hlinkClick r:id="rId6" action="ppaction://hlinkfile"/>
              </a:rPr>
              <a:t>microsoft.com/</a:t>
            </a:r>
            <a:r>
              <a:rPr lang="en-US" sz="3599" u="sng" dirty="0" err="1">
                <a:solidFill>
                  <a:srgbClr val="00B0F0"/>
                </a:solidFill>
                <a:hlinkClick r:id="rId6" action="ppaction://hlinkfile"/>
              </a:rPr>
              <a:t>mdop</a:t>
            </a:r>
            <a:endParaRPr lang="en-US" sz="3599" u="sng" dirty="0">
              <a:solidFill>
                <a:srgbClr val="00B0F0"/>
              </a:solidFill>
            </a:endParaRPr>
          </a:p>
          <a:p>
            <a:pPr defTabSz="932563">
              <a:lnSpc>
                <a:spcPct val="90000"/>
              </a:lnSpc>
              <a:spcBef>
                <a:spcPct val="20000"/>
              </a:spcBef>
              <a:buSzPct val="105000"/>
            </a:pPr>
            <a:endParaRPr lang="en-US" sz="3599" dirty="0">
              <a:gradFill>
                <a:gsLst>
                  <a:gs pos="1250">
                    <a:srgbClr val="FFFFFF"/>
                  </a:gs>
                  <a:gs pos="100000">
                    <a:srgbClr val="FFFFFF"/>
                  </a:gs>
                </a:gsLst>
                <a:lin ang="5400000" scaled="0"/>
              </a:gradFill>
            </a:endParaRPr>
          </a:p>
        </p:txBody>
      </p:sp>
      <p:sp>
        <p:nvSpPr>
          <p:cNvPr id="10" name="Rectangle 9"/>
          <p:cNvSpPr/>
          <p:nvPr/>
        </p:nvSpPr>
        <p:spPr bwMode="invGray">
          <a:xfrm>
            <a:off x="372499" y="4437093"/>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Desktop Virtualization (DV): </a:t>
            </a:r>
            <a:r>
              <a:rPr lang="en-US" sz="3599" u="sng" dirty="0">
                <a:solidFill>
                  <a:srgbClr val="00B0F0"/>
                </a:solidFill>
                <a:hlinkClick r:id="rId7" action="ppaction://hlinkfile"/>
              </a:rPr>
              <a:t>microsoft.com/dv</a:t>
            </a:r>
            <a:endParaRPr lang="en-US" sz="3599" u="sng" dirty="0">
              <a:solidFill>
                <a:srgbClr val="00B0F0"/>
              </a:solidFill>
            </a:endParaRPr>
          </a:p>
        </p:txBody>
      </p:sp>
      <p:sp useBgFill="1">
        <p:nvSpPr>
          <p:cNvPr id="11" name="Freeform 10"/>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invGray">
          <a:xfrm>
            <a:off x="372499" y="5240451"/>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To Go: </a:t>
            </a:r>
            <a:r>
              <a:rPr lang="en-US" sz="3599" u="sng" dirty="0">
                <a:solidFill>
                  <a:srgbClr val="00B0F0"/>
                </a:solidFill>
                <a:hlinkClick r:id="rId8" action="ppaction://hlinkfile"/>
              </a:rPr>
              <a:t>microsoft.com/windows/</a:t>
            </a:r>
            <a:r>
              <a:rPr lang="en-US" sz="3599" u="sng" dirty="0" err="1">
                <a:solidFill>
                  <a:srgbClr val="00B0F0"/>
                </a:solidFill>
                <a:hlinkClick r:id="rId8" action="ppaction://hlinkfile"/>
              </a:rPr>
              <a:t>wtg</a:t>
            </a:r>
            <a:endParaRPr lang="en-US" sz="3599" u="sng" dirty="0">
              <a:solidFill>
                <a:srgbClr val="00B0F0"/>
              </a:solidFill>
            </a:endParaRPr>
          </a:p>
        </p:txBody>
      </p:sp>
      <p:sp>
        <p:nvSpPr>
          <p:cNvPr id="14" name="Rectangle 13"/>
          <p:cNvSpPr/>
          <p:nvPr/>
        </p:nvSpPr>
        <p:spPr bwMode="invGray">
          <a:xfrm>
            <a:off x="372499" y="602642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Outlook.com: </a:t>
            </a:r>
            <a:r>
              <a:rPr lang="en-US" sz="3599" u="sng" dirty="0">
                <a:solidFill>
                  <a:srgbClr val="00B0F0"/>
                </a:solidFill>
                <a:hlinkClick r:id="rId9" action="ppaction://hlinkfile"/>
              </a:rPr>
              <a:t>tryoutlook.com</a:t>
            </a:r>
            <a:endParaRPr lang="en-US" sz="3599" u="sng" dirty="0">
              <a:solidFill>
                <a:srgbClr val="00B0F0"/>
              </a:solidFill>
            </a:endParaRPr>
          </a:p>
        </p:txBody>
      </p:sp>
    </p:spTree>
    <p:extLst>
      <p:ext uri="{BB962C8B-B14F-4D97-AF65-F5344CB8AC3E}">
        <p14:creationId xmlns:p14="http://schemas.microsoft.com/office/powerpoint/2010/main" val="3036450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1000" fill="hold"/>
                                        <p:tgtEl>
                                          <p:spTgt spid="9"/>
                                        </p:tgtEl>
                                        <p:attrNameLst>
                                          <p:attrName>ppt_x</p:attrName>
                                        </p:attrNameLst>
                                      </p:cBhvr>
                                      <p:tavLst>
                                        <p:tav tm="0">
                                          <p:val>
                                            <p:strVal val="0-#ppt_w/2"/>
                                          </p:val>
                                        </p:tav>
                                        <p:tav tm="100000">
                                          <p:val>
                                            <p:strVal val="#ppt_x"/>
                                          </p:val>
                                        </p:tav>
                                      </p:tavLst>
                                    </p:anim>
                                    <p:anim calcmode="lin" valueType="num">
                                      <p:cBhvr additive="base">
                                        <p:cTn id="20" dur="10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5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1000" fill="hold"/>
                                        <p:tgtEl>
                                          <p:spTgt spid="10"/>
                                        </p:tgtEl>
                                        <p:attrNameLst>
                                          <p:attrName>ppt_x</p:attrName>
                                        </p:attrNameLst>
                                      </p:cBhvr>
                                      <p:tavLst>
                                        <p:tav tm="0">
                                          <p:val>
                                            <p:strVal val="0-#ppt_w/2"/>
                                          </p:val>
                                        </p:tav>
                                        <p:tav tm="100000">
                                          <p:val>
                                            <p:strVal val="#ppt_x"/>
                                          </p:val>
                                        </p:tav>
                                      </p:tavLst>
                                    </p:anim>
                                    <p:anim calcmode="lin" valueType="num">
                                      <p:cBhvr additive="base">
                                        <p:cTn id="24" dur="1000" fill="hold"/>
                                        <p:tgtEl>
                                          <p:spTgt spid="10"/>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000" fill="hold"/>
                                        <p:tgtEl>
                                          <p:spTgt spid="13"/>
                                        </p:tgtEl>
                                        <p:attrNameLst>
                                          <p:attrName>ppt_x</p:attrName>
                                        </p:attrNameLst>
                                      </p:cBhvr>
                                      <p:tavLst>
                                        <p:tav tm="0">
                                          <p:val>
                                            <p:strVal val="0-#ppt_w/2"/>
                                          </p:val>
                                        </p:tav>
                                        <p:tav tm="100000">
                                          <p:val>
                                            <p:strVal val="#ppt_x"/>
                                          </p:val>
                                        </p:tav>
                                      </p:tavLst>
                                    </p:anim>
                                    <p:anim calcmode="lin" valueType="num">
                                      <p:cBhvr additive="base">
                                        <p:cTn id="28" dur="10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15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1000" fill="hold"/>
                                        <p:tgtEl>
                                          <p:spTgt spid="14"/>
                                        </p:tgtEl>
                                        <p:attrNameLst>
                                          <p:attrName>ppt_x</p:attrName>
                                        </p:attrNameLst>
                                      </p:cBhvr>
                                      <p:tavLst>
                                        <p:tav tm="0">
                                          <p:val>
                                            <p:strVal val="0-#ppt_w/2"/>
                                          </p:val>
                                        </p:tav>
                                        <p:tav tm="100000">
                                          <p:val>
                                            <p:strVal val="#ppt_x"/>
                                          </p:val>
                                        </p:tav>
                                      </p:tavLst>
                                    </p:anim>
                                    <p:anim calcmode="lin" valueType="num">
                                      <p:cBhvr additive="base">
                                        <p:cTn id="32"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P spid="13" grpId="0"/>
      <p:bldP spid="1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br>
              <a:rPr lang="en-US" dirty="0" smtClean="0"/>
            </a:br>
            <a:endParaRPr lang="en-US" dirty="0"/>
          </a:p>
        </p:txBody>
      </p:sp>
      <p:sp>
        <p:nvSpPr>
          <p:cNvPr id="6" name="Text Placeholder 5"/>
          <p:cNvSpPr>
            <a:spLocks noGrp="1"/>
          </p:cNvSpPr>
          <p:nvPr>
            <p:ph type="body" sz="quarter" idx="10"/>
          </p:nvPr>
        </p:nvSpPr>
        <p:spPr>
          <a:xfrm>
            <a:off x="274638" y="1212850"/>
            <a:ext cx="11887200" cy="4801314"/>
          </a:xfrm>
        </p:spPr>
        <p:txBody>
          <a:bodyPr/>
          <a:lstStyle/>
          <a:p>
            <a:r>
              <a:rPr lang="en-US" dirty="0" smtClean="0"/>
              <a:t>Overview of mobile device management</a:t>
            </a:r>
          </a:p>
          <a:p>
            <a:r>
              <a:rPr lang="en-US" dirty="0" smtClean="0"/>
              <a:t>Device enrollment</a:t>
            </a:r>
          </a:p>
          <a:p>
            <a:r>
              <a:rPr lang="en-US" dirty="0" smtClean="0"/>
              <a:t>Device inventory</a:t>
            </a:r>
          </a:p>
          <a:p>
            <a:r>
              <a:rPr lang="en-US" dirty="0" smtClean="0"/>
              <a:t>Settings management</a:t>
            </a:r>
          </a:p>
          <a:p>
            <a:r>
              <a:rPr lang="en-US" dirty="0" smtClean="0"/>
              <a:t>Corporate data protection</a:t>
            </a:r>
          </a:p>
          <a:p>
            <a:endParaRPr lang="en-US" dirty="0" smtClean="0"/>
          </a:p>
          <a:p>
            <a:endParaRPr lang="en-US" dirty="0"/>
          </a:p>
        </p:txBody>
      </p:sp>
    </p:spTree>
    <p:extLst>
      <p:ext uri="{BB962C8B-B14F-4D97-AF65-F5344CB8AC3E}">
        <p14:creationId xmlns:p14="http://schemas.microsoft.com/office/powerpoint/2010/main" val="16554949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3655" y="2529186"/>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751389" y="8226659"/>
            <a:ext cx="8964879" cy="376689"/>
          </a:xfrm>
          <a:prstGeom prst="rect">
            <a:avLst/>
          </a:prstGeom>
          <a:noFill/>
        </p:spPr>
        <p:txBody>
          <a:bodyPr wrap="square" lIns="93264" tIns="46632" rIns="93264" bIns="46632">
            <a:spAutoFit/>
          </a:bodyPr>
          <a:lstStyle/>
          <a:p>
            <a:pPr marL="0" lvl="1" fontAlgn="base">
              <a:lnSpc>
                <a:spcPct val="90000"/>
              </a:lnSpc>
              <a:spcBef>
                <a:spcPct val="20000"/>
              </a:spcBef>
              <a:spcAft>
                <a:spcPts val="408"/>
              </a:spcAft>
              <a:buClr>
                <a:schemeClr val="tx1">
                  <a:lumMod val="75000"/>
                  <a:lumOff val="25000"/>
                </a:schemeClr>
              </a:buClr>
              <a:buSzPct val="90000"/>
              <a:tabLst>
                <a:tab pos="642783" algn="l"/>
              </a:tabLst>
            </a:pPr>
            <a:endParaRPr lang="en-US" sz="2000" b="1" spc="-51" dirty="0">
              <a:solidFill>
                <a:schemeClr val="bg1"/>
              </a:solidFill>
            </a:endParaRPr>
          </a:p>
        </p:txBody>
      </p:sp>
      <p:sp>
        <p:nvSpPr>
          <p:cNvPr id="2" name="Rectangle 1"/>
          <p:cNvSpPr/>
          <p:nvPr/>
        </p:nvSpPr>
        <p:spPr>
          <a:xfrm>
            <a:off x="6345369" y="1240990"/>
            <a:ext cx="5633089" cy="4749562"/>
          </a:xfrm>
          <a:prstGeom prst="rect">
            <a:avLst/>
          </a:prstGeom>
        </p:spPr>
        <p:txBody>
          <a:bodyPr wrap="square" lIns="93264" tIns="46632" rIns="93264" bIns="46632">
            <a:spAutoFit/>
          </a:bodyPr>
          <a:lstStyle/>
          <a:p>
            <a:pPr>
              <a:spcBef>
                <a:spcPts val="600"/>
              </a:spcBef>
            </a:pPr>
            <a:r>
              <a:rPr lang="en-US" sz="2000" dirty="0">
                <a:solidFill>
                  <a:schemeClr val="tx2"/>
                </a:solidFill>
              </a:rPr>
              <a:t>System Center 2012 Configuration Manager</a:t>
            </a:r>
          </a:p>
          <a:p>
            <a:pPr>
              <a:spcBef>
                <a:spcPts val="600"/>
              </a:spcBef>
            </a:pPr>
            <a:r>
              <a:rPr lang="en-US" sz="1399" dirty="0">
                <a:solidFill>
                  <a:schemeClr val="tx2"/>
                </a:solidFill>
                <a:hlinkClick r:id="rId3" action="ppaction://hlinkfile"/>
              </a:rPr>
              <a:t>http://technet.microsoft.com/en-us/evalcenter/hh667640.aspx?wt.mc_id=TEC_105_1_33</a:t>
            </a:r>
            <a:endParaRPr lang="en-US" sz="1399" dirty="0">
              <a:solidFill>
                <a:schemeClr val="tx2"/>
              </a:solidFill>
            </a:endParaRPr>
          </a:p>
          <a:p>
            <a:pPr>
              <a:spcBef>
                <a:spcPts val="600"/>
              </a:spcBef>
            </a:pPr>
            <a:endParaRPr lang="en-US" sz="1071" dirty="0">
              <a:solidFill>
                <a:schemeClr val="tx2"/>
              </a:solidFill>
            </a:endParaRPr>
          </a:p>
          <a:p>
            <a:pPr>
              <a:spcBef>
                <a:spcPts val="600"/>
              </a:spcBef>
            </a:pPr>
            <a:r>
              <a:rPr lang="en-US" sz="2000" dirty="0">
                <a:solidFill>
                  <a:schemeClr val="tx2"/>
                </a:solidFill>
              </a:rPr>
              <a:t>Windows Intune</a:t>
            </a:r>
          </a:p>
          <a:p>
            <a:pPr>
              <a:spcBef>
                <a:spcPts val="600"/>
              </a:spcBef>
            </a:pPr>
            <a:r>
              <a:rPr lang="en-US" sz="1399" dirty="0">
                <a:solidFill>
                  <a:schemeClr val="tx2"/>
                </a:solidFill>
                <a:hlinkClick r:id="rId4"/>
              </a:rPr>
              <a:t>http://www.microsoft.com/en-us/windows/windowsintune/try-and-buy</a:t>
            </a:r>
            <a:endParaRPr lang="en-US" sz="2000" dirty="0">
              <a:solidFill>
                <a:schemeClr val="tx2"/>
              </a:solidFill>
            </a:endParaRPr>
          </a:p>
          <a:p>
            <a:pPr>
              <a:spcBef>
                <a:spcPts val="612"/>
              </a:spcBef>
            </a:pPr>
            <a:endParaRPr lang="en-US" sz="1071" dirty="0">
              <a:solidFill>
                <a:schemeClr val="tx2"/>
              </a:solidFill>
            </a:endParaRPr>
          </a:p>
          <a:p>
            <a:pPr>
              <a:spcBef>
                <a:spcPts val="612"/>
              </a:spcBef>
            </a:pPr>
            <a:r>
              <a:rPr lang="en-US" sz="2040" dirty="0">
                <a:solidFill>
                  <a:schemeClr val="tx2"/>
                </a:solidFill>
              </a:rPr>
              <a:t>Windows Server 2012 </a:t>
            </a:r>
          </a:p>
          <a:p>
            <a:pPr marL="0" lvl="1" fontAlgn="base">
              <a:lnSpc>
                <a:spcPct val="90000"/>
              </a:lnSpc>
              <a:spcAft>
                <a:spcPts val="1248"/>
              </a:spcAft>
              <a:buClr>
                <a:schemeClr val="tx1">
                  <a:lumMod val="75000"/>
                  <a:lumOff val="25000"/>
                </a:schemeClr>
              </a:buClr>
              <a:buSzPct val="90000"/>
              <a:tabLst>
                <a:tab pos="655700" algn="l"/>
                <a:tab pos="1843224" algn="l"/>
              </a:tabLst>
            </a:pPr>
            <a:r>
              <a:rPr lang="en-US" sz="1632" u="sng" dirty="0">
                <a:solidFill>
                  <a:schemeClr val="tx2"/>
                </a:solidFill>
                <a:hlinkClick r:id="rId5"/>
              </a:rPr>
              <a:t>http://www.microsoft.com/en-us/server-cloud/windows-server</a:t>
            </a:r>
            <a:r>
              <a:rPr lang="en-US" sz="1632" u="sng" dirty="0">
                <a:solidFill>
                  <a:schemeClr val="tx2"/>
                </a:solidFill>
              </a:rPr>
              <a:t> </a:t>
            </a:r>
          </a:p>
          <a:p>
            <a:pPr>
              <a:spcBef>
                <a:spcPts val="612"/>
              </a:spcBef>
            </a:pPr>
            <a:r>
              <a:rPr lang="en-US" sz="2040" dirty="0">
                <a:solidFill>
                  <a:schemeClr val="tx2"/>
                </a:solidFill>
              </a:rPr>
              <a:t>Windows Server 2012 VDI and Remote Desktop Services: </a:t>
            </a:r>
            <a:r>
              <a:rPr lang="en-US" sz="1428" dirty="0">
                <a:solidFill>
                  <a:schemeClr val="bg1"/>
                </a:solidFill>
                <a:hlinkClick r:id="rId6"/>
              </a:rPr>
              <a:t>http://technet.microsoft.com/en-us/evalcenter/hh670538.aspx?ocid=&amp;wt.mc_id=TEC_108_1_33</a:t>
            </a:r>
            <a:endParaRPr lang="en-US" sz="1428" dirty="0">
              <a:solidFill>
                <a:schemeClr val="bg1"/>
              </a:solidFill>
            </a:endParaRPr>
          </a:p>
          <a:p>
            <a:pPr marL="0" lvl="1" fontAlgn="base">
              <a:lnSpc>
                <a:spcPct val="90000"/>
              </a:lnSpc>
              <a:spcAft>
                <a:spcPts val="1248"/>
              </a:spcAft>
              <a:buClr>
                <a:schemeClr val="tx1">
                  <a:lumMod val="75000"/>
                  <a:lumOff val="25000"/>
                </a:schemeClr>
              </a:buClr>
              <a:buSzPct val="90000"/>
              <a:tabLst>
                <a:tab pos="655700" algn="l"/>
                <a:tab pos="1843224" algn="l"/>
              </a:tabLst>
            </a:pPr>
            <a:r>
              <a:rPr lang="en-US" sz="1632">
                <a:solidFill>
                  <a:schemeClr val="bg1"/>
                </a:solidFill>
                <a:hlinkClick r:id="rId7"/>
              </a:rPr>
              <a:t>http://www.microsoft.com/en-us/server-cloud/windows-server/virtual-desktop-infrastructure.aspx</a:t>
            </a:r>
            <a:r>
              <a:rPr lang="en-US" sz="1632">
                <a:solidFill>
                  <a:schemeClr val="bg1"/>
                </a:solidFill>
              </a:rPr>
              <a:t> </a:t>
            </a:r>
            <a:endParaRPr lang="en-US" sz="1632" dirty="0">
              <a:solidFill>
                <a:schemeClr val="bg1"/>
              </a:solidFill>
            </a:endParaRPr>
          </a:p>
        </p:txBody>
      </p:sp>
      <p:grpSp>
        <p:nvGrpSpPr>
          <p:cNvPr id="7" name="Group 6"/>
          <p:cNvGrpSpPr/>
          <p:nvPr/>
        </p:nvGrpSpPr>
        <p:grpSpPr>
          <a:xfrm>
            <a:off x="5576408" y="6060941"/>
            <a:ext cx="6286425" cy="805253"/>
            <a:chOff x="8639326" y="5519392"/>
            <a:chExt cx="6162116" cy="789646"/>
          </a:xfrm>
        </p:grpSpPr>
        <p:sp>
          <p:nvSpPr>
            <p:cNvPr id="31" name="Rectangle 30"/>
            <p:cNvSpPr/>
            <p:nvPr/>
          </p:nvSpPr>
          <p:spPr>
            <a:xfrm>
              <a:off x="8951599" y="5786000"/>
              <a:ext cx="5849843" cy="523038"/>
            </a:xfrm>
            <a:prstGeom prst="rect">
              <a:avLst/>
            </a:prstGeom>
            <a:noFill/>
          </p:spPr>
          <p:txBody>
            <a:bodyPr wrap="square">
              <a:spAutoFit/>
            </a:bodyPr>
            <a:lstStyle/>
            <a:p>
              <a:pPr lvl="1">
                <a:spcBef>
                  <a:spcPts val="600"/>
                </a:spcBef>
              </a:pPr>
              <a:r>
                <a:rPr lang="en-US" sz="1399" dirty="0">
                  <a:solidFill>
                    <a:schemeClr val="bg1"/>
                  </a:solidFill>
                  <a:hlinkClick r:id="rId8"/>
                </a:rPr>
                <a:t>microsoft.com/</a:t>
              </a:r>
              <a:r>
                <a:rPr lang="en-US" sz="1399" b="1" dirty="0">
                  <a:solidFill>
                    <a:schemeClr val="bg1"/>
                  </a:solidFill>
                  <a:hlinkClick r:id="rId8"/>
                </a:rPr>
                <a:t>workstyle</a:t>
              </a:r>
              <a:r>
                <a:rPr lang="en-US" sz="1399" dirty="0">
                  <a:solidFill>
                    <a:schemeClr val="bg1"/>
                  </a:solidFill>
                </a:rPr>
                <a:t/>
              </a:r>
              <a:br>
                <a:rPr lang="en-US" sz="1399" dirty="0">
                  <a:solidFill>
                    <a:schemeClr val="bg1"/>
                  </a:solidFill>
                </a:rPr>
              </a:br>
              <a:r>
                <a:rPr lang="en-US" sz="1399" dirty="0">
                  <a:solidFill>
                    <a:schemeClr val="bg1"/>
                  </a:solidFill>
                  <a:hlinkClick r:id="rId9"/>
                </a:rPr>
                <a:t>microsoft.com/</a:t>
              </a:r>
              <a:r>
                <a:rPr lang="en-US" sz="1399" b="1" dirty="0">
                  <a:solidFill>
                    <a:schemeClr val="bg1"/>
                  </a:solidFill>
                  <a:hlinkClick r:id="rId9"/>
                </a:rPr>
                <a:t>server-cloud/user-device-management</a:t>
              </a:r>
              <a:endParaRPr lang="en-US" sz="1399" b="1" dirty="0">
                <a:solidFill>
                  <a:schemeClr val="bg1"/>
                </a:solidFill>
              </a:endParaRPr>
            </a:p>
          </p:txBody>
        </p:sp>
        <p:sp>
          <p:nvSpPr>
            <p:cNvPr id="40" name="Rectangle 39"/>
            <p:cNvSpPr/>
            <p:nvPr/>
          </p:nvSpPr>
          <p:spPr>
            <a:xfrm>
              <a:off x="9371675" y="5519392"/>
              <a:ext cx="1610407" cy="313848"/>
            </a:xfrm>
            <a:prstGeom prst="rect">
              <a:avLst/>
            </a:prstGeom>
          </p:spPr>
          <p:txBody>
            <a:bodyPr wrap="none">
              <a:spAutoFit/>
            </a:bodyPr>
            <a:lstStyle/>
            <a:p>
              <a:pPr marL="0" lvl="1" fontAlgn="base">
                <a:lnSpc>
                  <a:spcPct val="90000"/>
                </a:lnSpc>
                <a:spcBef>
                  <a:spcPct val="20000"/>
                </a:spcBef>
                <a:spcAft>
                  <a:spcPts val="408"/>
                </a:spcAft>
                <a:buClr>
                  <a:srgbClr val="000000">
                    <a:lumMod val="75000"/>
                    <a:lumOff val="25000"/>
                  </a:srgbClr>
                </a:buClr>
                <a:buSzPct val="90000"/>
                <a:tabLst>
                  <a:tab pos="642783" algn="l"/>
                </a:tabLst>
              </a:pPr>
              <a:r>
                <a:rPr lang="en-US" sz="1599" b="1" i="1" spc="-51" dirty="0">
                  <a:solidFill>
                    <a:srgbClr val="FFFFFF"/>
                  </a:solidFill>
                </a:rPr>
                <a:t>More Resources:</a:t>
              </a:r>
              <a:endParaRPr lang="en-US" sz="1599" b="1" spc="-51" dirty="0">
                <a:solidFill>
                  <a:srgbClr val="FFFFFF"/>
                </a:solidFill>
              </a:endParaRPr>
            </a:p>
          </p:txBody>
        </p:sp>
        <p:sp>
          <p:nvSpPr>
            <p:cNvPr id="23" name="Freeform 9"/>
            <p:cNvSpPr>
              <a:spLocks noEditPoints="1"/>
            </p:cNvSpPr>
            <p:nvPr/>
          </p:nvSpPr>
          <p:spPr bwMode="black">
            <a:xfrm>
              <a:off x="8639326" y="5596846"/>
              <a:ext cx="624547" cy="62454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grpSp>
      <p:sp>
        <p:nvSpPr>
          <p:cNvPr id="4" name="Title 3"/>
          <p:cNvSpPr>
            <a:spLocks noGrp="1"/>
          </p:cNvSpPr>
          <p:nvPr>
            <p:ph type="title" idx="4294967295"/>
          </p:nvPr>
        </p:nvSpPr>
        <p:spPr>
          <a:xfrm>
            <a:off x="5395499" y="318952"/>
            <a:ext cx="6037589" cy="678309"/>
          </a:xfrm>
        </p:spPr>
        <p:txBody>
          <a:bodyPr/>
          <a:lstStyle/>
          <a:p>
            <a:pPr defTabSz="932600"/>
            <a:r>
              <a:rPr lang="en-US" sz="3999" dirty="0">
                <a:solidFill>
                  <a:schemeClr val="tx2"/>
                </a:solidFill>
                <a:latin typeface="Segoe UI Light" pitchFamily="34" charset="0"/>
              </a:rPr>
              <a:t>For More Information</a:t>
            </a:r>
          </a:p>
        </p:txBody>
      </p:sp>
      <p:sp>
        <p:nvSpPr>
          <p:cNvPr id="11" name="Freeform 9"/>
          <p:cNvSpPr>
            <a:spLocks noEditPoints="1"/>
          </p:cNvSpPr>
          <p:nvPr/>
        </p:nvSpPr>
        <p:spPr bwMode="black">
          <a:xfrm>
            <a:off x="5576409" y="137306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
        <p:nvSpPr>
          <p:cNvPr id="12" name="Freeform 9"/>
          <p:cNvSpPr>
            <a:spLocks noEditPoints="1"/>
          </p:cNvSpPr>
          <p:nvPr/>
        </p:nvSpPr>
        <p:spPr bwMode="black">
          <a:xfrm>
            <a:off x="5576405" y="250076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
        <p:nvSpPr>
          <p:cNvPr id="13" name="Freeform 9"/>
          <p:cNvSpPr>
            <a:spLocks noEditPoints="1"/>
          </p:cNvSpPr>
          <p:nvPr/>
        </p:nvSpPr>
        <p:spPr bwMode="black">
          <a:xfrm>
            <a:off x="5576406" y="3523334"/>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pic>
        <p:nvPicPr>
          <p:cNvPr id="15" name="Picture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bwMode="invGray">
          <a:xfrm>
            <a:off x="458018" y="6355387"/>
            <a:ext cx="1569764" cy="336267"/>
          </a:xfrm>
          <a:prstGeom prst="rect">
            <a:avLst/>
          </a:prstGeom>
        </p:spPr>
      </p:pic>
      <p:sp>
        <p:nvSpPr>
          <p:cNvPr id="17" name="Freeform 9"/>
          <p:cNvSpPr>
            <a:spLocks noEditPoints="1"/>
          </p:cNvSpPr>
          <p:nvPr/>
        </p:nvSpPr>
        <p:spPr bwMode="auto">
          <a:xfrm>
            <a:off x="275482" y="3345861"/>
            <a:ext cx="3904696" cy="406950"/>
          </a:xfrm>
          <a:custGeom>
            <a:avLst/>
            <a:gdLst>
              <a:gd name="T0" fmla="*/ 89 w 1963"/>
              <a:gd name="T1" fmla="*/ 187 h 202"/>
              <a:gd name="T2" fmla="*/ 0 w 1963"/>
              <a:gd name="T3" fmla="*/ 174 h 202"/>
              <a:gd name="T4" fmla="*/ 421 w 1963"/>
              <a:gd name="T5" fmla="*/ 40 h 202"/>
              <a:gd name="T6" fmla="*/ 307 w 1963"/>
              <a:gd name="T7" fmla="*/ 141 h 202"/>
              <a:gd name="T8" fmla="*/ 1849 w 1963"/>
              <a:gd name="T9" fmla="*/ 106 h 202"/>
              <a:gd name="T10" fmla="*/ 1815 w 1963"/>
              <a:gd name="T11" fmla="*/ 162 h 202"/>
              <a:gd name="T12" fmla="*/ 1877 w 1963"/>
              <a:gd name="T13" fmla="*/ 160 h 202"/>
              <a:gd name="T14" fmla="*/ 1858 w 1963"/>
              <a:gd name="T15" fmla="*/ 70 h 202"/>
              <a:gd name="T16" fmla="*/ 805 w 1963"/>
              <a:gd name="T17" fmla="*/ 95 h 202"/>
              <a:gd name="T18" fmla="*/ 832 w 1963"/>
              <a:gd name="T19" fmla="*/ 145 h 202"/>
              <a:gd name="T20" fmla="*/ 777 w 1963"/>
              <a:gd name="T21" fmla="*/ 145 h 202"/>
              <a:gd name="T22" fmla="*/ 621 w 1963"/>
              <a:gd name="T23" fmla="*/ 34 h 202"/>
              <a:gd name="T24" fmla="*/ 620 w 1963"/>
              <a:gd name="T25" fmla="*/ 86 h 202"/>
              <a:gd name="T26" fmla="*/ 580 w 1963"/>
              <a:gd name="T27" fmla="*/ 163 h 202"/>
              <a:gd name="T28" fmla="*/ 620 w 1963"/>
              <a:gd name="T29" fmla="*/ 130 h 202"/>
              <a:gd name="T30" fmla="*/ 621 w 1963"/>
              <a:gd name="T31" fmla="*/ 109 h 202"/>
              <a:gd name="T32" fmla="*/ 1555 w 1963"/>
              <a:gd name="T33" fmla="*/ 42 h 202"/>
              <a:gd name="T34" fmla="*/ 1611 w 1963"/>
              <a:gd name="T35" fmla="*/ 100 h 202"/>
              <a:gd name="T36" fmla="*/ 1548 w 1963"/>
              <a:gd name="T37" fmla="*/ 77 h 202"/>
              <a:gd name="T38" fmla="*/ 1121 w 1963"/>
              <a:gd name="T39" fmla="*/ 93 h 202"/>
              <a:gd name="T40" fmla="*/ 1118 w 1963"/>
              <a:gd name="T41" fmla="*/ 157 h 202"/>
              <a:gd name="T42" fmla="*/ 1064 w 1963"/>
              <a:gd name="T43" fmla="*/ 127 h 202"/>
              <a:gd name="T44" fmla="*/ 1105 w 1963"/>
              <a:gd name="T45" fmla="*/ 92 h 202"/>
              <a:gd name="T46" fmla="*/ 1280 w 1963"/>
              <a:gd name="T47" fmla="*/ 143 h 202"/>
              <a:gd name="T48" fmla="*/ 1311 w 1963"/>
              <a:gd name="T49" fmla="*/ 152 h 202"/>
              <a:gd name="T50" fmla="*/ 1301 w 1963"/>
              <a:gd name="T51" fmla="*/ 90 h 202"/>
              <a:gd name="T52" fmla="*/ 1012 w 1963"/>
              <a:gd name="T53" fmla="*/ 38 h 202"/>
              <a:gd name="T54" fmla="*/ 1010 w 1963"/>
              <a:gd name="T55" fmla="*/ 150 h 202"/>
              <a:gd name="T56" fmla="*/ 1018 w 1963"/>
              <a:gd name="T57" fmla="*/ 161 h 202"/>
              <a:gd name="T58" fmla="*/ 1005 w 1963"/>
              <a:gd name="T59" fmla="*/ 51 h 202"/>
              <a:gd name="T60" fmla="*/ 656 w 1963"/>
              <a:gd name="T61" fmla="*/ 138 h 202"/>
              <a:gd name="T62" fmla="*/ 704 w 1963"/>
              <a:gd name="T63" fmla="*/ 86 h 202"/>
              <a:gd name="T64" fmla="*/ 667 w 1963"/>
              <a:gd name="T65" fmla="*/ 126 h 202"/>
              <a:gd name="T66" fmla="*/ 1918 w 1963"/>
              <a:gd name="T67" fmla="*/ 149 h 202"/>
              <a:gd name="T68" fmla="*/ 1936 w 1963"/>
              <a:gd name="T69" fmla="*/ 40 h 202"/>
              <a:gd name="T70" fmla="*/ 1924 w 1963"/>
              <a:gd name="T71" fmla="*/ 50 h 202"/>
              <a:gd name="T72" fmla="*/ 1963 w 1963"/>
              <a:gd name="T73" fmla="*/ 149 h 202"/>
              <a:gd name="T74" fmla="*/ 1487 w 1963"/>
              <a:gd name="T75" fmla="*/ 115 h 202"/>
              <a:gd name="T76" fmla="*/ 1449 w 1963"/>
              <a:gd name="T77" fmla="*/ 63 h 202"/>
              <a:gd name="T78" fmla="*/ 1475 w 1963"/>
              <a:gd name="T79" fmla="*/ 110 h 202"/>
              <a:gd name="T80" fmla="*/ 1700 w 1963"/>
              <a:gd name="T81" fmla="*/ 149 h 202"/>
              <a:gd name="T82" fmla="*/ 1716 w 1963"/>
              <a:gd name="T83" fmla="*/ 39 h 202"/>
              <a:gd name="T84" fmla="*/ 1742 w 1963"/>
              <a:gd name="T85" fmla="*/ 67 h 202"/>
              <a:gd name="T86" fmla="*/ 1761 w 1963"/>
              <a:gd name="T87" fmla="*/ 162 h 202"/>
              <a:gd name="T88" fmla="*/ 523 w 1963"/>
              <a:gd name="T89" fmla="*/ 98 h 202"/>
              <a:gd name="T90" fmla="*/ 535 w 1963"/>
              <a:gd name="T91" fmla="*/ 88 h 202"/>
              <a:gd name="T92" fmla="*/ 467 w 1963"/>
              <a:gd name="T93" fmla="*/ 162 h 202"/>
              <a:gd name="T94" fmla="*/ 1232 w 1963"/>
              <a:gd name="T95" fmla="*/ 146 h 202"/>
              <a:gd name="T96" fmla="*/ 872 w 1963"/>
              <a:gd name="T97" fmla="*/ 160 h 202"/>
              <a:gd name="T98" fmla="*/ 898 w 1963"/>
              <a:gd name="T99" fmla="*/ 85 h 202"/>
              <a:gd name="T100" fmla="*/ 890 w 1963"/>
              <a:gd name="T101" fmla="*/ 123 h 202"/>
              <a:gd name="T102" fmla="*/ 1649 w 1963"/>
              <a:gd name="T103" fmla="*/ 162 h 202"/>
              <a:gd name="T104" fmla="*/ 1649 w 1963"/>
              <a:gd name="T105" fmla="*/ 57 h 202"/>
              <a:gd name="T106" fmla="*/ 1141 w 1963"/>
              <a:gd name="T107" fmla="*/ 75 h 202"/>
              <a:gd name="T108" fmla="*/ 1186 w 1963"/>
              <a:gd name="T109" fmla="*/ 89 h 202"/>
              <a:gd name="T110" fmla="*/ 1388 w 1963"/>
              <a:gd name="T111" fmla="*/ 94 h 202"/>
              <a:gd name="T112" fmla="*/ 1381 w 1963"/>
              <a:gd name="T113" fmla="*/ 92 h 202"/>
              <a:gd name="T114" fmla="*/ 432 w 1963"/>
              <a:gd name="T115" fmla="*/ 16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3" h="202">
                <a:moveTo>
                  <a:pt x="89" y="99"/>
                </a:moveTo>
                <a:cubicBezTo>
                  <a:pt x="89" y="71"/>
                  <a:pt x="89" y="44"/>
                  <a:pt x="89" y="16"/>
                </a:cubicBezTo>
                <a:cubicBezTo>
                  <a:pt x="127" y="10"/>
                  <a:pt x="164" y="5"/>
                  <a:pt x="202" y="0"/>
                </a:cubicBezTo>
                <a:cubicBezTo>
                  <a:pt x="202" y="2"/>
                  <a:pt x="202" y="97"/>
                  <a:pt x="202" y="99"/>
                </a:cubicBezTo>
                <a:cubicBezTo>
                  <a:pt x="165" y="99"/>
                  <a:pt x="127" y="99"/>
                  <a:pt x="89" y="99"/>
                </a:cubicBezTo>
                <a:close/>
                <a:moveTo>
                  <a:pt x="202" y="103"/>
                </a:moveTo>
                <a:cubicBezTo>
                  <a:pt x="164" y="103"/>
                  <a:pt x="127" y="103"/>
                  <a:pt x="89" y="103"/>
                </a:cubicBezTo>
                <a:cubicBezTo>
                  <a:pt x="89" y="131"/>
                  <a:pt x="89" y="159"/>
                  <a:pt x="89" y="187"/>
                </a:cubicBezTo>
                <a:cubicBezTo>
                  <a:pt x="127" y="192"/>
                  <a:pt x="164" y="197"/>
                  <a:pt x="202" y="202"/>
                </a:cubicBezTo>
                <a:cubicBezTo>
                  <a:pt x="202" y="169"/>
                  <a:pt x="202" y="136"/>
                  <a:pt x="202" y="103"/>
                </a:cubicBezTo>
                <a:close/>
                <a:moveTo>
                  <a:pt x="86" y="99"/>
                </a:moveTo>
                <a:cubicBezTo>
                  <a:pt x="86" y="72"/>
                  <a:pt x="86" y="44"/>
                  <a:pt x="86" y="16"/>
                </a:cubicBezTo>
                <a:cubicBezTo>
                  <a:pt x="57" y="20"/>
                  <a:pt x="28" y="24"/>
                  <a:pt x="0" y="28"/>
                </a:cubicBezTo>
                <a:cubicBezTo>
                  <a:pt x="0" y="52"/>
                  <a:pt x="0" y="76"/>
                  <a:pt x="0" y="99"/>
                </a:cubicBezTo>
                <a:cubicBezTo>
                  <a:pt x="29" y="99"/>
                  <a:pt x="57" y="99"/>
                  <a:pt x="86" y="99"/>
                </a:cubicBezTo>
                <a:close/>
                <a:moveTo>
                  <a:pt x="0" y="174"/>
                </a:moveTo>
                <a:cubicBezTo>
                  <a:pt x="28" y="178"/>
                  <a:pt x="57" y="182"/>
                  <a:pt x="86" y="186"/>
                </a:cubicBezTo>
                <a:cubicBezTo>
                  <a:pt x="86" y="158"/>
                  <a:pt x="86" y="131"/>
                  <a:pt x="86" y="103"/>
                </a:cubicBezTo>
                <a:cubicBezTo>
                  <a:pt x="57" y="103"/>
                  <a:pt x="29" y="103"/>
                  <a:pt x="0" y="103"/>
                </a:cubicBezTo>
                <a:cubicBezTo>
                  <a:pt x="0" y="127"/>
                  <a:pt x="0" y="150"/>
                  <a:pt x="0" y="174"/>
                </a:cubicBezTo>
                <a:close/>
                <a:moveTo>
                  <a:pt x="343" y="66"/>
                </a:moveTo>
                <a:cubicBezTo>
                  <a:pt x="352" y="98"/>
                  <a:pt x="361" y="130"/>
                  <a:pt x="370" y="162"/>
                </a:cubicBezTo>
                <a:cubicBezTo>
                  <a:pt x="375" y="162"/>
                  <a:pt x="381" y="162"/>
                  <a:pt x="386" y="162"/>
                </a:cubicBezTo>
                <a:cubicBezTo>
                  <a:pt x="398" y="121"/>
                  <a:pt x="409" y="81"/>
                  <a:pt x="421" y="40"/>
                </a:cubicBezTo>
                <a:cubicBezTo>
                  <a:pt x="415" y="40"/>
                  <a:pt x="410" y="40"/>
                  <a:pt x="405" y="40"/>
                </a:cubicBezTo>
                <a:cubicBezTo>
                  <a:pt x="396" y="74"/>
                  <a:pt x="387" y="108"/>
                  <a:pt x="378" y="142"/>
                </a:cubicBezTo>
                <a:cubicBezTo>
                  <a:pt x="378" y="142"/>
                  <a:pt x="378" y="142"/>
                  <a:pt x="378" y="142"/>
                </a:cubicBezTo>
                <a:cubicBezTo>
                  <a:pt x="369" y="108"/>
                  <a:pt x="359" y="74"/>
                  <a:pt x="350" y="41"/>
                </a:cubicBezTo>
                <a:cubicBezTo>
                  <a:pt x="345" y="41"/>
                  <a:pt x="341" y="41"/>
                  <a:pt x="336" y="41"/>
                </a:cubicBezTo>
                <a:cubicBezTo>
                  <a:pt x="326" y="74"/>
                  <a:pt x="317" y="107"/>
                  <a:pt x="307" y="141"/>
                </a:cubicBezTo>
                <a:cubicBezTo>
                  <a:pt x="307" y="141"/>
                  <a:pt x="307" y="141"/>
                  <a:pt x="307" y="141"/>
                </a:cubicBezTo>
                <a:cubicBezTo>
                  <a:pt x="307" y="141"/>
                  <a:pt x="307" y="141"/>
                  <a:pt x="307" y="141"/>
                </a:cubicBezTo>
                <a:cubicBezTo>
                  <a:pt x="307" y="141"/>
                  <a:pt x="307" y="141"/>
                  <a:pt x="306" y="141"/>
                </a:cubicBezTo>
                <a:cubicBezTo>
                  <a:pt x="297" y="108"/>
                  <a:pt x="288" y="74"/>
                  <a:pt x="278" y="40"/>
                </a:cubicBezTo>
                <a:cubicBezTo>
                  <a:pt x="273" y="40"/>
                  <a:pt x="268" y="40"/>
                  <a:pt x="263" y="40"/>
                </a:cubicBezTo>
                <a:cubicBezTo>
                  <a:pt x="275" y="81"/>
                  <a:pt x="286" y="121"/>
                  <a:pt x="298" y="162"/>
                </a:cubicBezTo>
                <a:cubicBezTo>
                  <a:pt x="304" y="162"/>
                  <a:pt x="309" y="162"/>
                  <a:pt x="315" y="162"/>
                </a:cubicBezTo>
                <a:cubicBezTo>
                  <a:pt x="324" y="130"/>
                  <a:pt x="333" y="98"/>
                  <a:pt x="342" y="66"/>
                </a:cubicBezTo>
                <a:cubicBezTo>
                  <a:pt x="342" y="66"/>
                  <a:pt x="342" y="66"/>
                  <a:pt x="343" y="66"/>
                </a:cubicBezTo>
                <a:close/>
                <a:moveTo>
                  <a:pt x="1849" y="106"/>
                </a:moveTo>
                <a:cubicBezTo>
                  <a:pt x="1862" y="102"/>
                  <a:pt x="1870" y="94"/>
                  <a:pt x="1873" y="81"/>
                </a:cubicBezTo>
                <a:cubicBezTo>
                  <a:pt x="1874" y="77"/>
                  <a:pt x="1874" y="73"/>
                  <a:pt x="1873" y="69"/>
                </a:cubicBezTo>
                <a:cubicBezTo>
                  <a:pt x="1873" y="58"/>
                  <a:pt x="1867" y="50"/>
                  <a:pt x="1857" y="44"/>
                </a:cubicBezTo>
                <a:cubicBezTo>
                  <a:pt x="1852" y="42"/>
                  <a:pt x="1846" y="40"/>
                  <a:pt x="1840" y="40"/>
                </a:cubicBezTo>
                <a:cubicBezTo>
                  <a:pt x="1827" y="40"/>
                  <a:pt x="1815" y="40"/>
                  <a:pt x="1802" y="40"/>
                </a:cubicBezTo>
                <a:cubicBezTo>
                  <a:pt x="1801" y="40"/>
                  <a:pt x="1801" y="40"/>
                  <a:pt x="1800" y="40"/>
                </a:cubicBezTo>
                <a:cubicBezTo>
                  <a:pt x="1800" y="43"/>
                  <a:pt x="1800" y="160"/>
                  <a:pt x="1801" y="162"/>
                </a:cubicBezTo>
                <a:cubicBezTo>
                  <a:pt x="1805" y="162"/>
                  <a:pt x="1813" y="162"/>
                  <a:pt x="1815" y="162"/>
                </a:cubicBezTo>
                <a:cubicBezTo>
                  <a:pt x="1815" y="145"/>
                  <a:pt x="1815" y="127"/>
                  <a:pt x="1815" y="110"/>
                </a:cubicBezTo>
                <a:cubicBezTo>
                  <a:pt x="1819" y="110"/>
                  <a:pt x="1822" y="110"/>
                  <a:pt x="1826" y="110"/>
                </a:cubicBezTo>
                <a:cubicBezTo>
                  <a:pt x="1832" y="110"/>
                  <a:pt x="1837" y="112"/>
                  <a:pt x="1840" y="117"/>
                </a:cubicBezTo>
                <a:cubicBezTo>
                  <a:pt x="1843" y="120"/>
                  <a:pt x="1844" y="122"/>
                  <a:pt x="1845" y="126"/>
                </a:cubicBezTo>
                <a:cubicBezTo>
                  <a:pt x="1850" y="137"/>
                  <a:pt x="1855" y="148"/>
                  <a:pt x="1860" y="160"/>
                </a:cubicBezTo>
                <a:cubicBezTo>
                  <a:pt x="1861" y="160"/>
                  <a:pt x="1861" y="161"/>
                  <a:pt x="1861" y="162"/>
                </a:cubicBezTo>
                <a:cubicBezTo>
                  <a:pt x="1867" y="162"/>
                  <a:pt x="1873" y="162"/>
                  <a:pt x="1878" y="162"/>
                </a:cubicBezTo>
                <a:cubicBezTo>
                  <a:pt x="1878" y="161"/>
                  <a:pt x="1878" y="160"/>
                  <a:pt x="1877" y="160"/>
                </a:cubicBezTo>
                <a:cubicBezTo>
                  <a:pt x="1874" y="153"/>
                  <a:pt x="1871" y="147"/>
                  <a:pt x="1868" y="141"/>
                </a:cubicBezTo>
                <a:cubicBezTo>
                  <a:pt x="1865" y="134"/>
                  <a:pt x="1862" y="126"/>
                  <a:pt x="1858" y="119"/>
                </a:cubicBezTo>
                <a:cubicBezTo>
                  <a:pt x="1856" y="114"/>
                  <a:pt x="1852" y="109"/>
                  <a:pt x="1846" y="107"/>
                </a:cubicBezTo>
                <a:cubicBezTo>
                  <a:pt x="1848" y="106"/>
                  <a:pt x="1849" y="106"/>
                  <a:pt x="1849" y="106"/>
                </a:cubicBezTo>
                <a:close/>
                <a:moveTo>
                  <a:pt x="1816" y="53"/>
                </a:moveTo>
                <a:cubicBezTo>
                  <a:pt x="1823" y="53"/>
                  <a:pt x="1831" y="53"/>
                  <a:pt x="1838" y="53"/>
                </a:cubicBezTo>
                <a:cubicBezTo>
                  <a:pt x="1841" y="54"/>
                  <a:pt x="1843" y="54"/>
                  <a:pt x="1846" y="55"/>
                </a:cubicBezTo>
                <a:cubicBezTo>
                  <a:pt x="1853" y="57"/>
                  <a:pt x="1857" y="62"/>
                  <a:pt x="1858" y="70"/>
                </a:cubicBezTo>
                <a:cubicBezTo>
                  <a:pt x="1860" y="81"/>
                  <a:pt x="1856" y="89"/>
                  <a:pt x="1847" y="94"/>
                </a:cubicBezTo>
                <a:cubicBezTo>
                  <a:pt x="1844" y="96"/>
                  <a:pt x="1840" y="97"/>
                  <a:pt x="1837" y="97"/>
                </a:cubicBezTo>
                <a:cubicBezTo>
                  <a:pt x="1830" y="97"/>
                  <a:pt x="1823" y="97"/>
                  <a:pt x="1816" y="97"/>
                </a:cubicBezTo>
                <a:cubicBezTo>
                  <a:pt x="1815" y="97"/>
                  <a:pt x="1815" y="97"/>
                  <a:pt x="1815" y="97"/>
                </a:cubicBezTo>
                <a:cubicBezTo>
                  <a:pt x="1815" y="83"/>
                  <a:pt x="1815" y="68"/>
                  <a:pt x="1815" y="53"/>
                </a:cubicBezTo>
                <a:cubicBezTo>
                  <a:pt x="1815" y="53"/>
                  <a:pt x="1815" y="53"/>
                  <a:pt x="1816" y="53"/>
                </a:cubicBezTo>
                <a:close/>
                <a:moveTo>
                  <a:pt x="804" y="95"/>
                </a:moveTo>
                <a:cubicBezTo>
                  <a:pt x="804" y="95"/>
                  <a:pt x="805" y="95"/>
                  <a:pt x="805" y="95"/>
                </a:cubicBezTo>
                <a:cubicBezTo>
                  <a:pt x="811" y="117"/>
                  <a:pt x="818" y="140"/>
                  <a:pt x="824" y="162"/>
                </a:cubicBezTo>
                <a:cubicBezTo>
                  <a:pt x="829" y="162"/>
                  <a:pt x="834" y="162"/>
                  <a:pt x="839" y="162"/>
                </a:cubicBezTo>
                <a:cubicBezTo>
                  <a:pt x="847" y="133"/>
                  <a:pt x="856" y="104"/>
                  <a:pt x="865" y="75"/>
                </a:cubicBezTo>
                <a:cubicBezTo>
                  <a:pt x="860" y="75"/>
                  <a:pt x="855" y="75"/>
                  <a:pt x="851" y="75"/>
                </a:cubicBezTo>
                <a:cubicBezTo>
                  <a:pt x="849" y="81"/>
                  <a:pt x="848" y="87"/>
                  <a:pt x="846" y="93"/>
                </a:cubicBezTo>
                <a:cubicBezTo>
                  <a:pt x="844" y="99"/>
                  <a:pt x="843" y="104"/>
                  <a:pt x="841" y="110"/>
                </a:cubicBezTo>
                <a:cubicBezTo>
                  <a:pt x="840" y="116"/>
                  <a:pt x="838" y="122"/>
                  <a:pt x="837" y="128"/>
                </a:cubicBezTo>
                <a:cubicBezTo>
                  <a:pt x="835" y="133"/>
                  <a:pt x="834" y="139"/>
                  <a:pt x="832" y="145"/>
                </a:cubicBezTo>
                <a:cubicBezTo>
                  <a:pt x="832" y="145"/>
                  <a:pt x="831" y="145"/>
                  <a:pt x="831" y="145"/>
                </a:cubicBezTo>
                <a:cubicBezTo>
                  <a:pt x="825" y="122"/>
                  <a:pt x="818" y="98"/>
                  <a:pt x="812" y="75"/>
                </a:cubicBezTo>
                <a:cubicBezTo>
                  <a:pt x="807" y="75"/>
                  <a:pt x="803" y="75"/>
                  <a:pt x="799" y="75"/>
                </a:cubicBezTo>
                <a:cubicBezTo>
                  <a:pt x="799" y="75"/>
                  <a:pt x="799" y="75"/>
                  <a:pt x="799" y="76"/>
                </a:cubicBezTo>
                <a:cubicBezTo>
                  <a:pt x="792" y="98"/>
                  <a:pt x="785" y="121"/>
                  <a:pt x="778" y="144"/>
                </a:cubicBezTo>
                <a:cubicBezTo>
                  <a:pt x="778" y="144"/>
                  <a:pt x="778" y="144"/>
                  <a:pt x="778" y="144"/>
                </a:cubicBezTo>
                <a:cubicBezTo>
                  <a:pt x="778" y="145"/>
                  <a:pt x="778" y="145"/>
                  <a:pt x="778" y="145"/>
                </a:cubicBezTo>
                <a:cubicBezTo>
                  <a:pt x="778" y="145"/>
                  <a:pt x="777" y="145"/>
                  <a:pt x="777" y="145"/>
                </a:cubicBezTo>
                <a:cubicBezTo>
                  <a:pt x="777" y="145"/>
                  <a:pt x="777" y="145"/>
                  <a:pt x="777" y="145"/>
                </a:cubicBezTo>
                <a:cubicBezTo>
                  <a:pt x="771" y="122"/>
                  <a:pt x="764" y="98"/>
                  <a:pt x="758" y="75"/>
                </a:cubicBezTo>
                <a:cubicBezTo>
                  <a:pt x="753" y="75"/>
                  <a:pt x="748" y="75"/>
                  <a:pt x="743" y="75"/>
                </a:cubicBezTo>
                <a:cubicBezTo>
                  <a:pt x="752" y="104"/>
                  <a:pt x="761" y="133"/>
                  <a:pt x="769" y="162"/>
                </a:cubicBezTo>
                <a:cubicBezTo>
                  <a:pt x="774" y="162"/>
                  <a:pt x="779" y="162"/>
                  <a:pt x="783" y="162"/>
                </a:cubicBezTo>
                <a:cubicBezTo>
                  <a:pt x="790" y="140"/>
                  <a:pt x="797" y="117"/>
                  <a:pt x="804" y="95"/>
                </a:cubicBezTo>
                <a:close/>
                <a:moveTo>
                  <a:pt x="635" y="34"/>
                </a:moveTo>
                <a:cubicBezTo>
                  <a:pt x="632" y="33"/>
                  <a:pt x="623" y="33"/>
                  <a:pt x="621" y="34"/>
                </a:cubicBezTo>
                <a:cubicBezTo>
                  <a:pt x="621" y="34"/>
                  <a:pt x="621" y="34"/>
                  <a:pt x="621" y="34"/>
                </a:cubicBezTo>
                <a:cubicBezTo>
                  <a:pt x="621" y="34"/>
                  <a:pt x="621" y="34"/>
                  <a:pt x="621" y="34"/>
                </a:cubicBezTo>
                <a:cubicBezTo>
                  <a:pt x="621" y="51"/>
                  <a:pt x="621" y="68"/>
                  <a:pt x="621" y="85"/>
                </a:cubicBezTo>
                <a:cubicBezTo>
                  <a:pt x="621" y="85"/>
                  <a:pt x="621" y="86"/>
                  <a:pt x="621" y="86"/>
                </a:cubicBezTo>
                <a:cubicBezTo>
                  <a:pt x="621" y="86"/>
                  <a:pt x="621" y="86"/>
                  <a:pt x="621" y="86"/>
                </a:cubicBezTo>
                <a:cubicBezTo>
                  <a:pt x="621" y="86"/>
                  <a:pt x="621" y="86"/>
                  <a:pt x="621" y="86"/>
                </a:cubicBezTo>
                <a:cubicBezTo>
                  <a:pt x="621" y="86"/>
                  <a:pt x="621" y="86"/>
                  <a:pt x="621" y="86"/>
                </a:cubicBezTo>
                <a:cubicBezTo>
                  <a:pt x="620" y="86"/>
                  <a:pt x="620" y="86"/>
                  <a:pt x="620" y="86"/>
                </a:cubicBezTo>
                <a:cubicBezTo>
                  <a:pt x="620" y="85"/>
                  <a:pt x="619" y="85"/>
                  <a:pt x="619" y="84"/>
                </a:cubicBezTo>
                <a:cubicBezTo>
                  <a:pt x="615" y="79"/>
                  <a:pt x="609" y="75"/>
                  <a:pt x="602" y="74"/>
                </a:cubicBezTo>
                <a:cubicBezTo>
                  <a:pt x="598" y="73"/>
                  <a:pt x="594" y="73"/>
                  <a:pt x="590" y="73"/>
                </a:cubicBezTo>
                <a:cubicBezTo>
                  <a:pt x="582" y="74"/>
                  <a:pt x="575" y="77"/>
                  <a:pt x="570" y="82"/>
                </a:cubicBezTo>
                <a:cubicBezTo>
                  <a:pt x="564" y="87"/>
                  <a:pt x="560" y="94"/>
                  <a:pt x="557" y="102"/>
                </a:cubicBezTo>
                <a:cubicBezTo>
                  <a:pt x="555" y="111"/>
                  <a:pt x="554" y="120"/>
                  <a:pt x="555" y="129"/>
                </a:cubicBezTo>
                <a:cubicBezTo>
                  <a:pt x="556" y="134"/>
                  <a:pt x="557" y="140"/>
                  <a:pt x="560" y="145"/>
                </a:cubicBezTo>
                <a:cubicBezTo>
                  <a:pt x="564" y="153"/>
                  <a:pt x="571" y="160"/>
                  <a:pt x="580" y="163"/>
                </a:cubicBezTo>
                <a:cubicBezTo>
                  <a:pt x="586" y="164"/>
                  <a:pt x="592" y="165"/>
                  <a:pt x="598" y="164"/>
                </a:cubicBezTo>
                <a:cubicBezTo>
                  <a:pt x="607" y="162"/>
                  <a:pt x="614" y="157"/>
                  <a:pt x="619" y="149"/>
                </a:cubicBezTo>
                <a:cubicBezTo>
                  <a:pt x="620" y="149"/>
                  <a:pt x="620" y="148"/>
                  <a:pt x="621" y="148"/>
                </a:cubicBezTo>
                <a:cubicBezTo>
                  <a:pt x="621" y="148"/>
                  <a:pt x="621" y="148"/>
                  <a:pt x="621" y="148"/>
                </a:cubicBezTo>
                <a:cubicBezTo>
                  <a:pt x="621" y="153"/>
                  <a:pt x="621" y="157"/>
                  <a:pt x="621" y="162"/>
                </a:cubicBezTo>
                <a:cubicBezTo>
                  <a:pt x="626" y="162"/>
                  <a:pt x="630" y="162"/>
                  <a:pt x="635" y="162"/>
                </a:cubicBezTo>
                <a:cubicBezTo>
                  <a:pt x="635" y="119"/>
                  <a:pt x="635" y="76"/>
                  <a:pt x="635" y="34"/>
                </a:cubicBezTo>
                <a:close/>
                <a:moveTo>
                  <a:pt x="620" y="130"/>
                </a:moveTo>
                <a:cubicBezTo>
                  <a:pt x="619" y="137"/>
                  <a:pt x="616" y="143"/>
                  <a:pt x="610" y="147"/>
                </a:cubicBezTo>
                <a:cubicBezTo>
                  <a:pt x="601" y="154"/>
                  <a:pt x="582" y="155"/>
                  <a:pt x="574" y="140"/>
                </a:cubicBezTo>
                <a:cubicBezTo>
                  <a:pt x="571" y="135"/>
                  <a:pt x="570" y="130"/>
                  <a:pt x="569" y="124"/>
                </a:cubicBezTo>
                <a:cubicBezTo>
                  <a:pt x="569" y="117"/>
                  <a:pt x="569" y="111"/>
                  <a:pt x="571" y="104"/>
                </a:cubicBezTo>
                <a:cubicBezTo>
                  <a:pt x="572" y="103"/>
                  <a:pt x="572" y="101"/>
                  <a:pt x="573" y="100"/>
                </a:cubicBezTo>
                <a:cubicBezTo>
                  <a:pt x="578" y="90"/>
                  <a:pt x="586" y="85"/>
                  <a:pt x="597" y="85"/>
                </a:cubicBezTo>
                <a:cubicBezTo>
                  <a:pt x="608" y="85"/>
                  <a:pt x="615" y="90"/>
                  <a:pt x="619" y="99"/>
                </a:cubicBezTo>
                <a:cubicBezTo>
                  <a:pt x="620" y="102"/>
                  <a:pt x="621" y="106"/>
                  <a:pt x="621" y="109"/>
                </a:cubicBezTo>
                <a:cubicBezTo>
                  <a:pt x="621" y="111"/>
                  <a:pt x="621" y="114"/>
                  <a:pt x="621" y="117"/>
                </a:cubicBezTo>
                <a:cubicBezTo>
                  <a:pt x="621" y="117"/>
                  <a:pt x="621" y="117"/>
                  <a:pt x="621" y="117"/>
                </a:cubicBezTo>
                <a:cubicBezTo>
                  <a:pt x="621" y="121"/>
                  <a:pt x="621" y="125"/>
                  <a:pt x="620" y="130"/>
                </a:cubicBezTo>
                <a:close/>
                <a:moveTo>
                  <a:pt x="1608" y="73"/>
                </a:moveTo>
                <a:cubicBezTo>
                  <a:pt x="1607" y="66"/>
                  <a:pt x="1605" y="59"/>
                  <a:pt x="1601" y="53"/>
                </a:cubicBezTo>
                <a:cubicBezTo>
                  <a:pt x="1597" y="47"/>
                  <a:pt x="1591" y="42"/>
                  <a:pt x="1585" y="40"/>
                </a:cubicBezTo>
                <a:cubicBezTo>
                  <a:pt x="1582" y="39"/>
                  <a:pt x="1578" y="39"/>
                  <a:pt x="1575" y="38"/>
                </a:cubicBezTo>
                <a:cubicBezTo>
                  <a:pt x="1568" y="38"/>
                  <a:pt x="1562" y="39"/>
                  <a:pt x="1555" y="42"/>
                </a:cubicBezTo>
                <a:cubicBezTo>
                  <a:pt x="1549" y="46"/>
                  <a:pt x="1544" y="51"/>
                  <a:pt x="1540" y="58"/>
                </a:cubicBezTo>
                <a:cubicBezTo>
                  <a:pt x="1536" y="66"/>
                  <a:pt x="1534" y="75"/>
                  <a:pt x="1533" y="84"/>
                </a:cubicBezTo>
                <a:cubicBezTo>
                  <a:pt x="1531" y="96"/>
                  <a:pt x="1531" y="109"/>
                  <a:pt x="1533" y="122"/>
                </a:cubicBezTo>
                <a:cubicBezTo>
                  <a:pt x="1534" y="130"/>
                  <a:pt x="1535" y="137"/>
                  <a:pt x="1539" y="144"/>
                </a:cubicBezTo>
                <a:cubicBezTo>
                  <a:pt x="1545" y="155"/>
                  <a:pt x="1553" y="163"/>
                  <a:pt x="1566" y="164"/>
                </a:cubicBezTo>
                <a:cubicBezTo>
                  <a:pt x="1579" y="165"/>
                  <a:pt x="1590" y="161"/>
                  <a:pt x="1598" y="151"/>
                </a:cubicBezTo>
                <a:cubicBezTo>
                  <a:pt x="1602" y="145"/>
                  <a:pt x="1605" y="138"/>
                  <a:pt x="1607" y="131"/>
                </a:cubicBezTo>
                <a:cubicBezTo>
                  <a:pt x="1610" y="121"/>
                  <a:pt x="1611" y="111"/>
                  <a:pt x="1611" y="100"/>
                </a:cubicBezTo>
                <a:cubicBezTo>
                  <a:pt x="1611" y="91"/>
                  <a:pt x="1610" y="82"/>
                  <a:pt x="1608" y="73"/>
                </a:cubicBezTo>
                <a:close/>
                <a:moveTo>
                  <a:pt x="1594" y="129"/>
                </a:moveTo>
                <a:cubicBezTo>
                  <a:pt x="1593" y="134"/>
                  <a:pt x="1591" y="138"/>
                  <a:pt x="1589" y="142"/>
                </a:cubicBezTo>
                <a:cubicBezTo>
                  <a:pt x="1585" y="147"/>
                  <a:pt x="1581" y="151"/>
                  <a:pt x="1575" y="152"/>
                </a:cubicBezTo>
                <a:cubicBezTo>
                  <a:pt x="1567" y="153"/>
                  <a:pt x="1560" y="151"/>
                  <a:pt x="1555" y="144"/>
                </a:cubicBezTo>
                <a:cubicBezTo>
                  <a:pt x="1551" y="140"/>
                  <a:pt x="1550" y="135"/>
                  <a:pt x="1548" y="129"/>
                </a:cubicBezTo>
                <a:cubicBezTo>
                  <a:pt x="1547" y="122"/>
                  <a:pt x="1546" y="115"/>
                  <a:pt x="1546" y="107"/>
                </a:cubicBezTo>
                <a:cubicBezTo>
                  <a:pt x="1546" y="97"/>
                  <a:pt x="1546" y="87"/>
                  <a:pt x="1548" y="77"/>
                </a:cubicBezTo>
                <a:cubicBezTo>
                  <a:pt x="1549" y="72"/>
                  <a:pt x="1550" y="67"/>
                  <a:pt x="1552" y="63"/>
                </a:cubicBezTo>
                <a:cubicBezTo>
                  <a:pt x="1554" y="61"/>
                  <a:pt x="1555" y="59"/>
                  <a:pt x="1556" y="57"/>
                </a:cubicBezTo>
                <a:cubicBezTo>
                  <a:pt x="1563" y="48"/>
                  <a:pt x="1580" y="47"/>
                  <a:pt x="1588" y="59"/>
                </a:cubicBezTo>
                <a:cubicBezTo>
                  <a:pt x="1591" y="64"/>
                  <a:pt x="1593" y="70"/>
                  <a:pt x="1594" y="76"/>
                </a:cubicBezTo>
                <a:cubicBezTo>
                  <a:pt x="1596" y="84"/>
                  <a:pt x="1596" y="92"/>
                  <a:pt x="1596" y="104"/>
                </a:cubicBezTo>
                <a:cubicBezTo>
                  <a:pt x="1596" y="111"/>
                  <a:pt x="1596" y="120"/>
                  <a:pt x="1594" y="129"/>
                </a:cubicBezTo>
                <a:close/>
                <a:moveTo>
                  <a:pt x="1125" y="114"/>
                </a:moveTo>
                <a:cubicBezTo>
                  <a:pt x="1125" y="107"/>
                  <a:pt x="1124" y="100"/>
                  <a:pt x="1121" y="93"/>
                </a:cubicBezTo>
                <a:cubicBezTo>
                  <a:pt x="1117" y="85"/>
                  <a:pt x="1112" y="78"/>
                  <a:pt x="1103" y="75"/>
                </a:cubicBezTo>
                <a:cubicBezTo>
                  <a:pt x="1096" y="73"/>
                  <a:pt x="1090" y="72"/>
                  <a:pt x="1083" y="73"/>
                </a:cubicBezTo>
                <a:cubicBezTo>
                  <a:pt x="1070" y="76"/>
                  <a:pt x="1061" y="83"/>
                  <a:pt x="1055" y="94"/>
                </a:cubicBezTo>
                <a:cubicBezTo>
                  <a:pt x="1050" y="103"/>
                  <a:pt x="1049" y="114"/>
                  <a:pt x="1049" y="124"/>
                </a:cubicBezTo>
                <a:cubicBezTo>
                  <a:pt x="1050" y="131"/>
                  <a:pt x="1051" y="137"/>
                  <a:pt x="1054" y="143"/>
                </a:cubicBezTo>
                <a:cubicBezTo>
                  <a:pt x="1059" y="154"/>
                  <a:pt x="1068" y="161"/>
                  <a:pt x="1080" y="163"/>
                </a:cubicBezTo>
                <a:cubicBezTo>
                  <a:pt x="1088" y="165"/>
                  <a:pt x="1096" y="164"/>
                  <a:pt x="1103" y="163"/>
                </a:cubicBezTo>
                <a:cubicBezTo>
                  <a:pt x="1109" y="161"/>
                  <a:pt x="1113" y="160"/>
                  <a:pt x="1118" y="157"/>
                </a:cubicBezTo>
                <a:cubicBezTo>
                  <a:pt x="1119" y="156"/>
                  <a:pt x="1119" y="155"/>
                  <a:pt x="1119" y="154"/>
                </a:cubicBezTo>
                <a:cubicBezTo>
                  <a:pt x="1119" y="151"/>
                  <a:pt x="1119" y="148"/>
                  <a:pt x="1119" y="144"/>
                </a:cubicBezTo>
                <a:cubicBezTo>
                  <a:pt x="1119" y="144"/>
                  <a:pt x="1119" y="144"/>
                  <a:pt x="1119" y="143"/>
                </a:cubicBezTo>
                <a:cubicBezTo>
                  <a:pt x="1119" y="143"/>
                  <a:pt x="1118" y="143"/>
                  <a:pt x="1118" y="143"/>
                </a:cubicBezTo>
                <a:cubicBezTo>
                  <a:pt x="1118" y="144"/>
                  <a:pt x="1117" y="144"/>
                  <a:pt x="1116" y="145"/>
                </a:cubicBezTo>
                <a:cubicBezTo>
                  <a:pt x="1107" y="151"/>
                  <a:pt x="1096" y="153"/>
                  <a:pt x="1085" y="152"/>
                </a:cubicBezTo>
                <a:cubicBezTo>
                  <a:pt x="1076" y="150"/>
                  <a:pt x="1070" y="145"/>
                  <a:pt x="1066" y="137"/>
                </a:cubicBezTo>
                <a:cubicBezTo>
                  <a:pt x="1065" y="134"/>
                  <a:pt x="1065" y="130"/>
                  <a:pt x="1064" y="127"/>
                </a:cubicBezTo>
                <a:cubicBezTo>
                  <a:pt x="1064" y="126"/>
                  <a:pt x="1064" y="124"/>
                  <a:pt x="1064" y="122"/>
                </a:cubicBezTo>
                <a:cubicBezTo>
                  <a:pt x="1084" y="122"/>
                  <a:pt x="1104" y="122"/>
                  <a:pt x="1125" y="122"/>
                </a:cubicBezTo>
                <a:cubicBezTo>
                  <a:pt x="1125" y="119"/>
                  <a:pt x="1125" y="117"/>
                  <a:pt x="1125" y="114"/>
                </a:cubicBezTo>
                <a:close/>
                <a:moveTo>
                  <a:pt x="1064" y="110"/>
                </a:moveTo>
                <a:cubicBezTo>
                  <a:pt x="1064" y="108"/>
                  <a:pt x="1064" y="107"/>
                  <a:pt x="1065" y="105"/>
                </a:cubicBezTo>
                <a:cubicBezTo>
                  <a:pt x="1066" y="100"/>
                  <a:pt x="1069" y="94"/>
                  <a:pt x="1074" y="90"/>
                </a:cubicBezTo>
                <a:cubicBezTo>
                  <a:pt x="1081" y="84"/>
                  <a:pt x="1089" y="84"/>
                  <a:pt x="1098" y="86"/>
                </a:cubicBezTo>
                <a:cubicBezTo>
                  <a:pt x="1101" y="88"/>
                  <a:pt x="1103" y="90"/>
                  <a:pt x="1105" y="92"/>
                </a:cubicBezTo>
                <a:cubicBezTo>
                  <a:pt x="1109" y="98"/>
                  <a:pt x="1110" y="104"/>
                  <a:pt x="1111" y="110"/>
                </a:cubicBezTo>
                <a:cubicBezTo>
                  <a:pt x="1095" y="110"/>
                  <a:pt x="1080" y="110"/>
                  <a:pt x="1064" y="110"/>
                </a:cubicBezTo>
                <a:close/>
                <a:moveTo>
                  <a:pt x="1351" y="109"/>
                </a:moveTo>
                <a:cubicBezTo>
                  <a:pt x="1351" y="103"/>
                  <a:pt x="1349" y="97"/>
                  <a:pt x="1347" y="92"/>
                </a:cubicBezTo>
                <a:cubicBezTo>
                  <a:pt x="1343" y="84"/>
                  <a:pt x="1337" y="78"/>
                  <a:pt x="1329" y="75"/>
                </a:cubicBezTo>
                <a:cubicBezTo>
                  <a:pt x="1323" y="73"/>
                  <a:pt x="1316" y="72"/>
                  <a:pt x="1309" y="74"/>
                </a:cubicBezTo>
                <a:cubicBezTo>
                  <a:pt x="1297" y="76"/>
                  <a:pt x="1288" y="82"/>
                  <a:pt x="1282" y="93"/>
                </a:cubicBezTo>
                <a:cubicBezTo>
                  <a:pt x="1273" y="108"/>
                  <a:pt x="1274" y="130"/>
                  <a:pt x="1280" y="143"/>
                </a:cubicBezTo>
                <a:cubicBezTo>
                  <a:pt x="1285" y="154"/>
                  <a:pt x="1294" y="161"/>
                  <a:pt x="1306" y="163"/>
                </a:cubicBezTo>
                <a:cubicBezTo>
                  <a:pt x="1314" y="165"/>
                  <a:pt x="1322" y="164"/>
                  <a:pt x="1330" y="163"/>
                </a:cubicBezTo>
                <a:cubicBezTo>
                  <a:pt x="1334" y="162"/>
                  <a:pt x="1339" y="160"/>
                  <a:pt x="1343" y="157"/>
                </a:cubicBezTo>
                <a:cubicBezTo>
                  <a:pt x="1345" y="156"/>
                  <a:pt x="1345" y="155"/>
                  <a:pt x="1345" y="153"/>
                </a:cubicBezTo>
                <a:cubicBezTo>
                  <a:pt x="1345" y="151"/>
                  <a:pt x="1345" y="148"/>
                  <a:pt x="1345" y="145"/>
                </a:cubicBezTo>
                <a:cubicBezTo>
                  <a:pt x="1345" y="144"/>
                  <a:pt x="1345" y="144"/>
                  <a:pt x="1345" y="143"/>
                </a:cubicBezTo>
                <a:cubicBezTo>
                  <a:pt x="1344" y="143"/>
                  <a:pt x="1343" y="144"/>
                  <a:pt x="1343" y="144"/>
                </a:cubicBezTo>
                <a:cubicBezTo>
                  <a:pt x="1333" y="151"/>
                  <a:pt x="1323" y="154"/>
                  <a:pt x="1311" y="152"/>
                </a:cubicBezTo>
                <a:cubicBezTo>
                  <a:pt x="1303" y="150"/>
                  <a:pt x="1296" y="145"/>
                  <a:pt x="1293" y="137"/>
                </a:cubicBezTo>
                <a:cubicBezTo>
                  <a:pt x="1292" y="134"/>
                  <a:pt x="1291" y="131"/>
                  <a:pt x="1290" y="128"/>
                </a:cubicBezTo>
                <a:cubicBezTo>
                  <a:pt x="1290" y="126"/>
                  <a:pt x="1290" y="124"/>
                  <a:pt x="1290" y="122"/>
                </a:cubicBezTo>
                <a:cubicBezTo>
                  <a:pt x="1310" y="122"/>
                  <a:pt x="1331" y="122"/>
                  <a:pt x="1351" y="122"/>
                </a:cubicBezTo>
                <a:cubicBezTo>
                  <a:pt x="1351" y="118"/>
                  <a:pt x="1351" y="113"/>
                  <a:pt x="1351" y="109"/>
                </a:cubicBezTo>
                <a:close/>
                <a:moveTo>
                  <a:pt x="1290" y="110"/>
                </a:moveTo>
                <a:cubicBezTo>
                  <a:pt x="1291" y="108"/>
                  <a:pt x="1291" y="106"/>
                  <a:pt x="1291" y="105"/>
                </a:cubicBezTo>
                <a:cubicBezTo>
                  <a:pt x="1293" y="99"/>
                  <a:pt x="1296" y="94"/>
                  <a:pt x="1301" y="90"/>
                </a:cubicBezTo>
                <a:cubicBezTo>
                  <a:pt x="1308" y="84"/>
                  <a:pt x="1316" y="84"/>
                  <a:pt x="1324" y="86"/>
                </a:cubicBezTo>
                <a:cubicBezTo>
                  <a:pt x="1328" y="88"/>
                  <a:pt x="1331" y="91"/>
                  <a:pt x="1333" y="94"/>
                </a:cubicBezTo>
                <a:cubicBezTo>
                  <a:pt x="1336" y="98"/>
                  <a:pt x="1337" y="105"/>
                  <a:pt x="1337" y="110"/>
                </a:cubicBezTo>
                <a:cubicBezTo>
                  <a:pt x="1321" y="110"/>
                  <a:pt x="1306" y="110"/>
                  <a:pt x="1290" y="110"/>
                </a:cubicBezTo>
                <a:close/>
                <a:moveTo>
                  <a:pt x="1033" y="56"/>
                </a:moveTo>
                <a:cubicBezTo>
                  <a:pt x="1033" y="53"/>
                  <a:pt x="1033" y="51"/>
                  <a:pt x="1033" y="48"/>
                </a:cubicBezTo>
                <a:cubicBezTo>
                  <a:pt x="1033" y="42"/>
                  <a:pt x="1033" y="42"/>
                  <a:pt x="1027" y="40"/>
                </a:cubicBezTo>
                <a:cubicBezTo>
                  <a:pt x="1022" y="39"/>
                  <a:pt x="1017" y="38"/>
                  <a:pt x="1012" y="38"/>
                </a:cubicBezTo>
                <a:cubicBezTo>
                  <a:pt x="1005" y="38"/>
                  <a:pt x="999" y="38"/>
                  <a:pt x="992" y="41"/>
                </a:cubicBezTo>
                <a:cubicBezTo>
                  <a:pt x="980" y="45"/>
                  <a:pt x="972" y="53"/>
                  <a:pt x="971" y="66"/>
                </a:cubicBezTo>
                <a:cubicBezTo>
                  <a:pt x="969" y="76"/>
                  <a:pt x="972" y="85"/>
                  <a:pt x="979" y="93"/>
                </a:cubicBezTo>
                <a:cubicBezTo>
                  <a:pt x="984" y="97"/>
                  <a:pt x="989" y="101"/>
                  <a:pt x="995" y="104"/>
                </a:cubicBezTo>
                <a:cubicBezTo>
                  <a:pt x="999" y="107"/>
                  <a:pt x="1003" y="109"/>
                  <a:pt x="1007" y="112"/>
                </a:cubicBezTo>
                <a:cubicBezTo>
                  <a:pt x="1010" y="114"/>
                  <a:pt x="1013" y="116"/>
                  <a:pt x="1016" y="118"/>
                </a:cubicBezTo>
                <a:cubicBezTo>
                  <a:pt x="1020" y="122"/>
                  <a:pt x="1022" y="126"/>
                  <a:pt x="1023" y="131"/>
                </a:cubicBezTo>
                <a:cubicBezTo>
                  <a:pt x="1023" y="141"/>
                  <a:pt x="1019" y="147"/>
                  <a:pt x="1010" y="150"/>
                </a:cubicBezTo>
                <a:cubicBezTo>
                  <a:pt x="1008" y="150"/>
                  <a:pt x="1005" y="151"/>
                  <a:pt x="1002" y="151"/>
                </a:cubicBezTo>
                <a:cubicBezTo>
                  <a:pt x="991" y="152"/>
                  <a:pt x="981" y="148"/>
                  <a:pt x="972" y="142"/>
                </a:cubicBezTo>
                <a:cubicBezTo>
                  <a:pt x="971" y="141"/>
                  <a:pt x="971" y="141"/>
                  <a:pt x="970" y="141"/>
                </a:cubicBezTo>
                <a:cubicBezTo>
                  <a:pt x="970" y="142"/>
                  <a:pt x="970" y="142"/>
                  <a:pt x="970" y="143"/>
                </a:cubicBezTo>
                <a:cubicBezTo>
                  <a:pt x="970" y="146"/>
                  <a:pt x="970" y="150"/>
                  <a:pt x="970" y="153"/>
                </a:cubicBezTo>
                <a:cubicBezTo>
                  <a:pt x="970" y="158"/>
                  <a:pt x="970" y="158"/>
                  <a:pt x="974" y="159"/>
                </a:cubicBezTo>
                <a:cubicBezTo>
                  <a:pt x="981" y="162"/>
                  <a:pt x="988" y="164"/>
                  <a:pt x="995" y="164"/>
                </a:cubicBezTo>
                <a:cubicBezTo>
                  <a:pt x="1003" y="164"/>
                  <a:pt x="1011" y="164"/>
                  <a:pt x="1018" y="161"/>
                </a:cubicBezTo>
                <a:cubicBezTo>
                  <a:pt x="1035" y="154"/>
                  <a:pt x="1040" y="140"/>
                  <a:pt x="1037" y="125"/>
                </a:cubicBezTo>
                <a:cubicBezTo>
                  <a:pt x="1036" y="118"/>
                  <a:pt x="1032" y="113"/>
                  <a:pt x="1027" y="108"/>
                </a:cubicBezTo>
                <a:cubicBezTo>
                  <a:pt x="1022" y="104"/>
                  <a:pt x="1017" y="100"/>
                  <a:pt x="1011" y="97"/>
                </a:cubicBezTo>
                <a:cubicBezTo>
                  <a:pt x="1007" y="95"/>
                  <a:pt x="1003" y="92"/>
                  <a:pt x="999" y="90"/>
                </a:cubicBezTo>
                <a:cubicBezTo>
                  <a:pt x="996" y="88"/>
                  <a:pt x="994" y="87"/>
                  <a:pt x="992" y="85"/>
                </a:cubicBezTo>
                <a:cubicBezTo>
                  <a:pt x="988" y="82"/>
                  <a:pt x="986" y="78"/>
                  <a:pt x="985" y="73"/>
                </a:cubicBezTo>
                <a:cubicBezTo>
                  <a:pt x="984" y="64"/>
                  <a:pt x="988" y="57"/>
                  <a:pt x="996" y="53"/>
                </a:cubicBezTo>
                <a:cubicBezTo>
                  <a:pt x="999" y="52"/>
                  <a:pt x="1002" y="51"/>
                  <a:pt x="1005" y="51"/>
                </a:cubicBezTo>
                <a:cubicBezTo>
                  <a:pt x="1015" y="51"/>
                  <a:pt x="1024" y="52"/>
                  <a:pt x="1032" y="58"/>
                </a:cubicBezTo>
                <a:cubicBezTo>
                  <a:pt x="1032" y="58"/>
                  <a:pt x="1032" y="58"/>
                  <a:pt x="1033" y="58"/>
                </a:cubicBezTo>
                <a:cubicBezTo>
                  <a:pt x="1033" y="58"/>
                  <a:pt x="1033" y="57"/>
                  <a:pt x="1033" y="56"/>
                </a:cubicBezTo>
                <a:close/>
                <a:moveTo>
                  <a:pt x="736" y="100"/>
                </a:moveTo>
                <a:cubicBezTo>
                  <a:pt x="731" y="87"/>
                  <a:pt x="723" y="78"/>
                  <a:pt x="709" y="74"/>
                </a:cubicBezTo>
                <a:cubicBezTo>
                  <a:pt x="702" y="72"/>
                  <a:pt x="694" y="72"/>
                  <a:pt x="687" y="74"/>
                </a:cubicBezTo>
                <a:cubicBezTo>
                  <a:pt x="673" y="76"/>
                  <a:pt x="662" y="84"/>
                  <a:pt x="657" y="98"/>
                </a:cubicBezTo>
                <a:cubicBezTo>
                  <a:pt x="651" y="111"/>
                  <a:pt x="651" y="124"/>
                  <a:pt x="656" y="138"/>
                </a:cubicBezTo>
                <a:cubicBezTo>
                  <a:pt x="660" y="149"/>
                  <a:pt x="668" y="158"/>
                  <a:pt x="680" y="162"/>
                </a:cubicBezTo>
                <a:cubicBezTo>
                  <a:pt x="687" y="164"/>
                  <a:pt x="694" y="165"/>
                  <a:pt x="701" y="164"/>
                </a:cubicBezTo>
                <a:cubicBezTo>
                  <a:pt x="717" y="162"/>
                  <a:pt x="728" y="154"/>
                  <a:pt x="734" y="139"/>
                </a:cubicBezTo>
                <a:cubicBezTo>
                  <a:pt x="737" y="133"/>
                  <a:pt x="738" y="125"/>
                  <a:pt x="738" y="118"/>
                </a:cubicBezTo>
                <a:cubicBezTo>
                  <a:pt x="738" y="112"/>
                  <a:pt x="737" y="105"/>
                  <a:pt x="736" y="100"/>
                </a:cubicBezTo>
                <a:close/>
                <a:moveTo>
                  <a:pt x="670" y="103"/>
                </a:moveTo>
                <a:cubicBezTo>
                  <a:pt x="674" y="92"/>
                  <a:pt x="683" y="85"/>
                  <a:pt x="694" y="85"/>
                </a:cubicBezTo>
                <a:cubicBezTo>
                  <a:pt x="698" y="85"/>
                  <a:pt x="701" y="85"/>
                  <a:pt x="704" y="86"/>
                </a:cubicBezTo>
                <a:cubicBezTo>
                  <a:pt x="711" y="88"/>
                  <a:pt x="717" y="92"/>
                  <a:pt x="720" y="99"/>
                </a:cubicBezTo>
                <a:cubicBezTo>
                  <a:pt x="723" y="104"/>
                  <a:pt x="723" y="109"/>
                  <a:pt x="724" y="114"/>
                </a:cubicBezTo>
                <a:cubicBezTo>
                  <a:pt x="724" y="120"/>
                  <a:pt x="724" y="127"/>
                  <a:pt x="722" y="133"/>
                </a:cubicBezTo>
                <a:cubicBezTo>
                  <a:pt x="722" y="134"/>
                  <a:pt x="721" y="136"/>
                  <a:pt x="721" y="137"/>
                </a:cubicBezTo>
                <a:cubicBezTo>
                  <a:pt x="717" y="146"/>
                  <a:pt x="709" y="151"/>
                  <a:pt x="700" y="152"/>
                </a:cubicBezTo>
                <a:cubicBezTo>
                  <a:pt x="695" y="152"/>
                  <a:pt x="691" y="152"/>
                  <a:pt x="687" y="151"/>
                </a:cubicBezTo>
                <a:cubicBezTo>
                  <a:pt x="677" y="148"/>
                  <a:pt x="672" y="141"/>
                  <a:pt x="669" y="132"/>
                </a:cubicBezTo>
                <a:cubicBezTo>
                  <a:pt x="668" y="130"/>
                  <a:pt x="668" y="128"/>
                  <a:pt x="667" y="126"/>
                </a:cubicBezTo>
                <a:cubicBezTo>
                  <a:pt x="667" y="124"/>
                  <a:pt x="667" y="121"/>
                  <a:pt x="667" y="120"/>
                </a:cubicBezTo>
                <a:cubicBezTo>
                  <a:pt x="667" y="113"/>
                  <a:pt x="668" y="108"/>
                  <a:pt x="670" y="103"/>
                </a:cubicBezTo>
                <a:close/>
                <a:moveTo>
                  <a:pt x="1955" y="149"/>
                </a:moveTo>
                <a:cubicBezTo>
                  <a:pt x="1953" y="149"/>
                  <a:pt x="1950" y="149"/>
                  <a:pt x="1948" y="149"/>
                </a:cubicBezTo>
                <a:cubicBezTo>
                  <a:pt x="1945" y="149"/>
                  <a:pt x="1943" y="149"/>
                  <a:pt x="1940" y="149"/>
                </a:cubicBezTo>
                <a:cubicBezTo>
                  <a:pt x="1938" y="149"/>
                  <a:pt x="1935" y="149"/>
                  <a:pt x="1933" y="149"/>
                </a:cubicBezTo>
                <a:cubicBezTo>
                  <a:pt x="1930" y="149"/>
                  <a:pt x="1928" y="149"/>
                  <a:pt x="1925" y="149"/>
                </a:cubicBezTo>
                <a:cubicBezTo>
                  <a:pt x="1923" y="149"/>
                  <a:pt x="1920" y="149"/>
                  <a:pt x="1918" y="149"/>
                </a:cubicBezTo>
                <a:cubicBezTo>
                  <a:pt x="1915" y="149"/>
                  <a:pt x="1913" y="149"/>
                  <a:pt x="1910" y="149"/>
                </a:cubicBezTo>
                <a:cubicBezTo>
                  <a:pt x="1908" y="149"/>
                  <a:pt x="1905" y="150"/>
                  <a:pt x="1903" y="149"/>
                </a:cubicBezTo>
                <a:cubicBezTo>
                  <a:pt x="1902" y="144"/>
                  <a:pt x="1904" y="139"/>
                  <a:pt x="1907" y="135"/>
                </a:cubicBezTo>
                <a:cubicBezTo>
                  <a:pt x="1909" y="133"/>
                  <a:pt x="1911" y="130"/>
                  <a:pt x="1913" y="128"/>
                </a:cubicBezTo>
                <a:cubicBezTo>
                  <a:pt x="1919" y="124"/>
                  <a:pt x="1925" y="119"/>
                  <a:pt x="1931" y="115"/>
                </a:cubicBezTo>
                <a:cubicBezTo>
                  <a:pt x="1936" y="111"/>
                  <a:pt x="1941" y="107"/>
                  <a:pt x="1945" y="103"/>
                </a:cubicBezTo>
                <a:cubicBezTo>
                  <a:pt x="1955" y="93"/>
                  <a:pt x="1959" y="81"/>
                  <a:pt x="1958" y="67"/>
                </a:cubicBezTo>
                <a:cubicBezTo>
                  <a:pt x="1957" y="53"/>
                  <a:pt x="1949" y="44"/>
                  <a:pt x="1936" y="40"/>
                </a:cubicBezTo>
                <a:cubicBezTo>
                  <a:pt x="1930" y="38"/>
                  <a:pt x="1924" y="38"/>
                  <a:pt x="1917" y="39"/>
                </a:cubicBezTo>
                <a:cubicBezTo>
                  <a:pt x="1908" y="39"/>
                  <a:pt x="1901" y="43"/>
                  <a:pt x="1894" y="49"/>
                </a:cubicBezTo>
                <a:cubicBezTo>
                  <a:pt x="1893" y="50"/>
                  <a:pt x="1893" y="50"/>
                  <a:pt x="1893" y="51"/>
                </a:cubicBezTo>
                <a:cubicBezTo>
                  <a:pt x="1893" y="55"/>
                  <a:pt x="1893" y="59"/>
                  <a:pt x="1893" y="63"/>
                </a:cubicBezTo>
                <a:cubicBezTo>
                  <a:pt x="1893" y="63"/>
                  <a:pt x="1893" y="64"/>
                  <a:pt x="1893" y="65"/>
                </a:cubicBezTo>
                <a:cubicBezTo>
                  <a:pt x="1894" y="64"/>
                  <a:pt x="1894" y="63"/>
                  <a:pt x="1895" y="63"/>
                </a:cubicBezTo>
                <a:cubicBezTo>
                  <a:pt x="1898" y="59"/>
                  <a:pt x="1902" y="56"/>
                  <a:pt x="1906" y="54"/>
                </a:cubicBezTo>
                <a:cubicBezTo>
                  <a:pt x="1912" y="51"/>
                  <a:pt x="1918" y="50"/>
                  <a:pt x="1924" y="50"/>
                </a:cubicBezTo>
                <a:cubicBezTo>
                  <a:pt x="1936" y="51"/>
                  <a:pt x="1944" y="59"/>
                  <a:pt x="1944" y="71"/>
                </a:cubicBezTo>
                <a:cubicBezTo>
                  <a:pt x="1944" y="81"/>
                  <a:pt x="1941" y="89"/>
                  <a:pt x="1935" y="96"/>
                </a:cubicBezTo>
                <a:cubicBezTo>
                  <a:pt x="1931" y="101"/>
                  <a:pt x="1926" y="104"/>
                  <a:pt x="1921" y="108"/>
                </a:cubicBezTo>
                <a:cubicBezTo>
                  <a:pt x="1914" y="113"/>
                  <a:pt x="1908" y="118"/>
                  <a:pt x="1902" y="124"/>
                </a:cubicBezTo>
                <a:cubicBezTo>
                  <a:pt x="1893" y="131"/>
                  <a:pt x="1888" y="141"/>
                  <a:pt x="1888" y="152"/>
                </a:cubicBezTo>
                <a:cubicBezTo>
                  <a:pt x="1888" y="155"/>
                  <a:pt x="1888" y="159"/>
                  <a:pt x="1888" y="162"/>
                </a:cubicBezTo>
                <a:cubicBezTo>
                  <a:pt x="1913" y="162"/>
                  <a:pt x="1938" y="162"/>
                  <a:pt x="1963" y="162"/>
                </a:cubicBezTo>
                <a:cubicBezTo>
                  <a:pt x="1963" y="158"/>
                  <a:pt x="1963" y="154"/>
                  <a:pt x="1963" y="149"/>
                </a:cubicBezTo>
                <a:cubicBezTo>
                  <a:pt x="1960" y="149"/>
                  <a:pt x="1958" y="149"/>
                  <a:pt x="1955" y="149"/>
                </a:cubicBezTo>
                <a:close/>
                <a:moveTo>
                  <a:pt x="1504" y="149"/>
                </a:moveTo>
                <a:cubicBezTo>
                  <a:pt x="1499" y="149"/>
                  <a:pt x="1494" y="149"/>
                  <a:pt x="1489" y="149"/>
                </a:cubicBezTo>
                <a:cubicBezTo>
                  <a:pt x="1484" y="149"/>
                  <a:pt x="1479" y="149"/>
                  <a:pt x="1474" y="149"/>
                </a:cubicBezTo>
                <a:cubicBezTo>
                  <a:pt x="1469" y="149"/>
                  <a:pt x="1464" y="149"/>
                  <a:pt x="1459" y="149"/>
                </a:cubicBezTo>
                <a:cubicBezTo>
                  <a:pt x="1459" y="145"/>
                  <a:pt x="1460" y="140"/>
                  <a:pt x="1463" y="136"/>
                </a:cubicBezTo>
                <a:cubicBezTo>
                  <a:pt x="1465" y="132"/>
                  <a:pt x="1468" y="130"/>
                  <a:pt x="1471" y="127"/>
                </a:cubicBezTo>
                <a:cubicBezTo>
                  <a:pt x="1476" y="123"/>
                  <a:pt x="1482" y="119"/>
                  <a:pt x="1487" y="115"/>
                </a:cubicBezTo>
                <a:cubicBezTo>
                  <a:pt x="1491" y="112"/>
                  <a:pt x="1495" y="109"/>
                  <a:pt x="1499" y="106"/>
                </a:cubicBezTo>
                <a:cubicBezTo>
                  <a:pt x="1503" y="102"/>
                  <a:pt x="1506" y="98"/>
                  <a:pt x="1509" y="93"/>
                </a:cubicBezTo>
                <a:cubicBezTo>
                  <a:pt x="1514" y="86"/>
                  <a:pt x="1515" y="77"/>
                  <a:pt x="1515" y="69"/>
                </a:cubicBezTo>
                <a:cubicBezTo>
                  <a:pt x="1514" y="55"/>
                  <a:pt x="1506" y="44"/>
                  <a:pt x="1492" y="40"/>
                </a:cubicBezTo>
                <a:cubicBezTo>
                  <a:pt x="1486" y="38"/>
                  <a:pt x="1480" y="38"/>
                  <a:pt x="1474" y="39"/>
                </a:cubicBezTo>
                <a:cubicBezTo>
                  <a:pt x="1465" y="39"/>
                  <a:pt x="1457" y="43"/>
                  <a:pt x="1450" y="49"/>
                </a:cubicBezTo>
                <a:cubicBezTo>
                  <a:pt x="1449" y="50"/>
                  <a:pt x="1449" y="51"/>
                  <a:pt x="1449" y="52"/>
                </a:cubicBezTo>
                <a:cubicBezTo>
                  <a:pt x="1449" y="55"/>
                  <a:pt x="1449" y="59"/>
                  <a:pt x="1449" y="63"/>
                </a:cubicBezTo>
                <a:cubicBezTo>
                  <a:pt x="1449" y="63"/>
                  <a:pt x="1449" y="64"/>
                  <a:pt x="1449" y="65"/>
                </a:cubicBezTo>
                <a:cubicBezTo>
                  <a:pt x="1450" y="64"/>
                  <a:pt x="1450" y="63"/>
                  <a:pt x="1451" y="63"/>
                </a:cubicBezTo>
                <a:cubicBezTo>
                  <a:pt x="1454" y="60"/>
                  <a:pt x="1457" y="58"/>
                  <a:pt x="1460" y="56"/>
                </a:cubicBezTo>
                <a:cubicBezTo>
                  <a:pt x="1466" y="52"/>
                  <a:pt x="1473" y="50"/>
                  <a:pt x="1481" y="50"/>
                </a:cubicBezTo>
                <a:cubicBezTo>
                  <a:pt x="1491" y="51"/>
                  <a:pt x="1498" y="57"/>
                  <a:pt x="1500" y="66"/>
                </a:cubicBezTo>
                <a:cubicBezTo>
                  <a:pt x="1501" y="70"/>
                  <a:pt x="1501" y="74"/>
                  <a:pt x="1500" y="78"/>
                </a:cubicBezTo>
                <a:cubicBezTo>
                  <a:pt x="1499" y="86"/>
                  <a:pt x="1495" y="92"/>
                  <a:pt x="1490" y="98"/>
                </a:cubicBezTo>
                <a:cubicBezTo>
                  <a:pt x="1485" y="102"/>
                  <a:pt x="1480" y="106"/>
                  <a:pt x="1475" y="110"/>
                </a:cubicBezTo>
                <a:cubicBezTo>
                  <a:pt x="1468" y="115"/>
                  <a:pt x="1462" y="120"/>
                  <a:pt x="1456" y="126"/>
                </a:cubicBezTo>
                <a:cubicBezTo>
                  <a:pt x="1450" y="131"/>
                  <a:pt x="1446" y="138"/>
                  <a:pt x="1445" y="146"/>
                </a:cubicBezTo>
                <a:cubicBezTo>
                  <a:pt x="1444" y="151"/>
                  <a:pt x="1444" y="156"/>
                  <a:pt x="1444" y="162"/>
                </a:cubicBezTo>
                <a:cubicBezTo>
                  <a:pt x="1444" y="162"/>
                  <a:pt x="1445" y="162"/>
                  <a:pt x="1445" y="162"/>
                </a:cubicBezTo>
                <a:cubicBezTo>
                  <a:pt x="1469" y="162"/>
                  <a:pt x="1494" y="162"/>
                  <a:pt x="1519" y="162"/>
                </a:cubicBezTo>
                <a:cubicBezTo>
                  <a:pt x="1519" y="158"/>
                  <a:pt x="1519" y="154"/>
                  <a:pt x="1519" y="149"/>
                </a:cubicBezTo>
                <a:cubicBezTo>
                  <a:pt x="1514" y="149"/>
                  <a:pt x="1509" y="149"/>
                  <a:pt x="1504" y="149"/>
                </a:cubicBezTo>
                <a:close/>
                <a:moveTo>
                  <a:pt x="1700" y="149"/>
                </a:moveTo>
                <a:cubicBezTo>
                  <a:pt x="1700" y="149"/>
                  <a:pt x="1700" y="148"/>
                  <a:pt x="1700" y="148"/>
                </a:cubicBezTo>
                <a:cubicBezTo>
                  <a:pt x="1700" y="143"/>
                  <a:pt x="1702" y="139"/>
                  <a:pt x="1705" y="135"/>
                </a:cubicBezTo>
                <a:cubicBezTo>
                  <a:pt x="1707" y="132"/>
                  <a:pt x="1710" y="129"/>
                  <a:pt x="1713" y="126"/>
                </a:cubicBezTo>
                <a:cubicBezTo>
                  <a:pt x="1718" y="123"/>
                  <a:pt x="1724" y="119"/>
                  <a:pt x="1729" y="115"/>
                </a:cubicBezTo>
                <a:cubicBezTo>
                  <a:pt x="1733" y="112"/>
                  <a:pt x="1738" y="108"/>
                  <a:pt x="1742" y="104"/>
                </a:cubicBezTo>
                <a:cubicBezTo>
                  <a:pt x="1753" y="94"/>
                  <a:pt x="1757" y="81"/>
                  <a:pt x="1756" y="67"/>
                </a:cubicBezTo>
                <a:cubicBezTo>
                  <a:pt x="1755" y="54"/>
                  <a:pt x="1747" y="44"/>
                  <a:pt x="1734" y="40"/>
                </a:cubicBezTo>
                <a:cubicBezTo>
                  <a:pt x="1728" y="38"/>
                  <a:pt x="1722" y="38"/>
                  <a:pt x="1716" y="39"/>
                </a:cubicBezTo>
                <a:cubicBezTo>
                  <a:pt x="1706" y="39"/>
                  <a:pt x="1699" y="43"/>
                  <a:pt x="1692" y="49"/>
                </a:cubicBezTo>
                <a:cubicBezTo>
                  <a:pt x="1691" y="50"/>
                  <a:pt x="1690" y="50"/>
                  <a:pt x="1691" y="52"/>
                </a:cubicBezTo>
                <a:cubicBezTo>
                  <a:pt x="1691" y="55"/>
                  <a:pt x="1691" y="59"/>
                  <a:pt x="1691" y="63"/>
                </a:cubicBezTo>
                <a:cubicBezTo>
                  <a:pt x="1691" y="63"/>
                  <a:pt x="1691" y="64"/>
                  <a:pt x="1691" y="65"/>
                </a:cubicBezTo>
                <a:cubicBezTo>
                  <a:pt x="1692" y="64"/>
                  <a:pt x="1692" y="63"/>
                  <a:pt x="1693" y="63"/>
                </a:cubicBezTo>
                <a:cubicBezTo>
                  <a:pt x="1696" y="59"/>
                  <a:pt x="1700" y="56"/>
                  <a:pt x="1705" y="54"/>
                </a:cubicBezTo>
                <a:cubicBezTo>
                  <a:pt x="1711" y="51"/>
                  <a:pt x="1717" y="50"/>
                  <a:pt x="1723" y="50"/>
                </a:cubicBezTo>
                <a:cubicBezTo>
                  <a:pt x="1733" y="51"/>
                  <a:pt x="1740" y="58"/>
                  <a:pt x="1742" y="67"/>
                </a:cubicBezTo>
                <a:cubicBezTo>
                  <a:pt x="1742" y="71"/>
                  <a:pt x="1742" y="76"/>
                  <a:pt x="1741" y="80"/>
                </a:cubicBezTo>
                <a:cubicBezTo>
                  <a:pt x="1740" y="87"/>
                  <a:pt x="1736" y="93"/>
                  <a:pt x="1731" y="98"/>
                </a:cubicBezTo>
                <a:cubicBezTo>
                  <a:pt x="1727" y="102"/>
                  <a:pt x="1722" y="106"/>
                  <a:pt x="1717" y="109"/>
                </a:cubicBezTo>
                <a:cubicBezTo>
                  <a:pt x="1710" y="114"/>
                  <a:pt x="1704" y="119"/>
                  <a:pt x="1698" y="125"/>
                </a:cubicBezTo>
                <a:cubicBezTo>
                  <a:pt x="1693" y="130"/>
                  <a:pt x="1689" y="136"/>
                  <a:pt x="1687" y="143"/>
                </a:cubicBezTo>
                <a:cubicBezTo>
                  <a:pt x="1686" y="149"/>
                  <a:pt x="1686" y="155"/>
                  <a:pt x="1686" y="162"/>
                </a:cubicBezTo>
                <a:cubicBezTo>
                  <a:pt x="1686" y="162"/>
                  <a:pt x="1686" y="162"/>
                  <a:pt x="1686" y="162"/>
                </a:cubicBezTo>
                <a:cubicBezTo>
                  <a:pt x="1711" y="162"/>
                  <a:pt x="1736" y="162"/>
                  <a:pt x="1761" y="162"/>
                </a:cubicBezTo>
                <a:cubicBezTo>
                  <a:pt x="1761" y="158"/>
                  <a:pt x="1761" y="154"/>
                  <a:pt x="1761" y="149"/>
                </a:cubicBezTo>
                <a:cubicBezTo>
                  <a:pt x="1741" y="149"/>
                  <a:pt x="1721" y="149"/>
                  <a:pt x="1700" y="149"/>
                </a:cubicBezTo>
                <a:close/>
                <a:moveTo>
                  <a:pt x="481" y="159"/>
                </a:moveTo>
                <a:cubicBezTo>
                  <a:pt x="481" y="144"/>
                  <a:pt x="481" y="128"/>
                  <a:pt x="481" y="113"/>
                </a:cubicBezTo>
                <a:cubicBezTo>
                  <a:pt x="481" y="111"/>
                  <a:pt x="481" y="109"/>
                  <a:pt x="481" y="107"/>
                </a:cubicBezTo>
                <a:cubicBezTo>
                  <a:pt x="482" y="100"/>
                  <a:pt x="485" y="95"/>
                  <a:pt x="490" y="91"/>
                </a:cubicBezTo>
                <a:cubicBezTo>
                  <a:pt x="497" y="85"/>
                  <a:pt x="504" y="84"/>
                  <a:pt x="512" y="86"/>
                </a:cubicBezTo>
                <a:cubicBezTo>
                  <a:pt x="518" y="88"/>
                  <a:pt x="521" y="92"/>
                  <a:pt x="523" y="98"/>
                </a:cubicBezTo>
                <a:cubicBezTo>
                  <a:pt x="525" y="102"/>
                  <a:pt x="525" y="107"/>
                  <a:pt x="525" y="111"/>
                </a:cubicBezTo>
                <a:cubicBezTo>
                  <a:pt x="525" y="127"/>
                  <a:pt x="525" y="143"/>
                  <a:pt x="525" y="159"/>
                </a:cubicBezTo>
                <a:cubicBezTo>
                  <a:pt x="525" y="160"/>
                  <a:pt x="525" y="161"/>
                  <a:pt x="525" y="162"/>
                </a:cubicBezTo>
                <a:cubicBezTo>
                  <a:pt x="530" y="162"/>
                  <a:pt x="534" y="162"/>
                  <a:pt x="539" y="162"/>
                </a:cubicBezTo>
                <a:cubicBezTo>
                  <a:pt x="539" y="161"/>
                  <a:pt x="539" y="160"/>
                  <a:pt x="539" y="159"/>
                </a:cubicBezTo>
                <a:cubicBezTo>
                  <a:pt x="539" y="143"/>
                  <a:pt x="539" y="126"/>
                  <a:pt x="539" y="110"/>
                </a:cubicBezTo>
                <a:cubicBezTo>
                  <a:pt x="539" y="108"/>
                  <a:pt x="539" y="106"/>
                  <a:pt x="539" y="104"/>
                </a:cubicBezTo>
                <a:cubicBezTo>
                  <a:pt x="539" y="98"/>
                  <a:pt x="538" y="93"/>
                  <a:pt x="535" y="88"/>
                </a:cubicBezTo>
                <a:cubicBezTo>
                  <a:pt x="532" y="81"/>
                  <a:pt x="527" y="77"/>
                  <a:pt x="520" y="74"/>
                </a:cubicBezTo>
                <a:cubicBezTo>
                  <a:pt x="518" y="74"/>
                  <a:pt x="515" y="73"/>
                  <a:pt x="513" y="73"/>
                </a:cubicBezTo>
                <a:cubicBezTo>
                  <a:pt x="500" y="72"/>
                  <a:pt x="490" y="77"/>
                  <a:pt x="483" y="87"/>
                </a:cubicBezTo>
                <a:cubicBezTo>
                  <a:pt x="482" y="88"/>
                  <a:pt x="482" y="88"/>
                  <a:pt x="481" y="89"/>
                </a:cubicBezTo>
                <a:cubicBezTo>
                  <a:pt x="481" y="89"/>
                  <a:pt x="481" y="89"/>
                  <a:pt x="481" y="89"/>
                </a:cubicBezTo>
                <a:cubicBezTo>
                  <a:pt x="481" y="84"/>
                  <a:pt x="481" y="80"/>
                  <a:pt x="481" y="75"/>
                </a:cubicBezTo>
                <a:cubicBezTo>
                  <a:pt x="477" y="75"/>
                  <a:pt x="469" y="75"/>
                  <a:pt x="467" y="75"/>
                </a:cubicBezTo>
                <a:cubicBezTo>
                  <a:pt x="467" y="104"/>
                  <a:pt x="467" y="133"/>
                  <a:pt x="467" y="162"/>
                </a:cubicBezTo>
                <a:cubicBezTo>
                  <a:pt x="472" y="162"/>
                  <a:pt x="476" y="162"/>
                  <a:pt x="481" y="162"/>
                </a:cubicBezTo>
                <a:cubicBezTo>
                  <a:pt x="481" y="161"/>
                  <a:pt x="481" y="160"/>
                  <a:pt x="481" y="159"/>
                </a:cubicBezTo>
                <a:close/>
                <a:moveTo>
                  <a:pt x="1273" y="75"/>
                </a:moveTo>
                <a:cubicBezTo>
                  <a:pt x="1268" y="75"/>
                  <a:pt x="1263" y="75"/>
                  <a:pt x="1258" y="75"/>
                </a:cubicBezTo>
                <a:cubicBezTo>
                  <a:pt x="1256" y="83"/>
                  <a:pt x="1253" y="91"/>
                  <a:pt x="1250" y="99"/>
                </a:cubicBezTo>
                <a:cubicBezTo>
                  <a:pt x="1247" y="107"/>
                  <a:pt x="1244" y="115"/>
                  <a:pt x="1241" y="123"/>
                </a:cubicBezTo>
                <a:cubicBezTo>
                  <a:pt x="1238" y="130"/>
                  <a:pt x="1236" y="138"/>
                  <a:pt x="1232" y="146"/>
                </a:cubicBezTo>
                <a:cubicBezTo>
                  <a:pt x="1232" y="146"/>
                  <a:pt x="1232" y="146"/>
                  <a:pt x="1232" y="146"/>
                </a:cubicBezTo>
                <a:cubicBezTo>
                  <a:pt x="1224" y="122"/>
                  <a:pt x="1216" y="99"/>
                  <a:pt x="1207" y="75"/>
                </a:cubicBezTo>
                <a:cubicBezTo>
                  <a:pt x="1205" y="75"/>
                  <a:pt x="1202" y="75"/>
                  <a:pt x="1200" y="75"/>
                </a:cubicBezTo>
                <a:cubicBezTo>
                  <a:pt x="1197" y="75"/>
                  <a:pt x="1195" y="75"/>
                  <a:pt x="1192" y="75"/>
                </a:cubicBezTo>
                <a:cubicBezTo>
                  <a:pt x="1203" y="104"/>
                  <a:pt x="1214" y="133"/>
                  <a:pt x="1225" y="162"/>
                </a:cubicBezTo>
                <a:cubicBezTo>
                  <a:pt x="1229" y="162"/>
                  <a:pt x="1234" y="162"/>
                  <a:pt x="1238" y="162"/>
                </a:cubicBezTo>
                <a:cubicBezTo>
                  <a:pt x="1241" y="156"/>
                  <a:pt x="1273" y="77"/>
                  <a:pt x="1273" y="75"/>
                </a:cubicBezTo>
                <a:close/>
                <a:moveTo>
                  <a:pt x="870" y="157"/>
                </a:moveTo>
                <a:cubicBezTo>
                  <a:pt x="870" y="159"/>
                  <a:pt x="871" y="159"/>
                  <a:pt x="872" y="160"/>
                </a:cubicBezTo>
                <a:cubicBezTo>
                  <a:pt x="883" y="165"/>
                  <a:pt x="895" y="166"/>
                  <a:pt x="906" y="162"/>
                </a:cubicBezTo>
                <a:cubicBezTo>
                  <a:pt x="918" y="158"/>
                  <a:pt x="924" y="149"/>
                  <a:pt x="923" y="137"/>
                </a:cubicBezTo>
                <a:cubicBezTo>
                  <a:pt x="923" y="131"/>
                  <a:pt x="921" y="126"/>
                  <a:pt x="917" y="122"/>
                </a:cubicBezTo>
                <a:cubicBezTo>
                  <a:pt x="914" y="120"/>
                  <a:pt x="911" y="118"/>
                  <a:pt x="908" y="117"/>
                </a:cubicBezTo>
                <a:cubicBezTo>
                  <a:pt x="905" y="115"/>
                  <a:pt x="901" y="113"/>
                  <a:pt x="897" y="112"/>
                </a:cubicBezTo>
                <a:cubicBezTo>
                  <a:pt x="895" y="110"/>
                  <a:pt x="892" y="108"/>
                  <a:pt x="889" y="107"/>
                </a:cubicBezTo>
                <a:cubicBezTo>
                  <a:pt x="884" y="103"/>
                  <a:pt x="883" y="94"/>
                  <a:pt x="888" y="89"/>
                </a:cubicBezTo>
                <a:cubicBezTo>
                  <a:pt x="891" y="87"/>
                  <a:pt x="894" y="85"/>
                  <a:pt x="898" y="85"/>
                </a:cubicBezTo>
                <a:cubicBezTo>
                  <a:pt x="905" y="85"/>
                  <a:pt x="912" y="86"/>
                  <a:pt x="918" y="90"/>
                </a:cubicBezTo>
                <a:cubicBezTo>
                  <a:pt x="918" y="90"/>
                  <a:pt x="919" y="91"/>
                  <a:pt x="919" y="91"/>
                </a:cubicBezTo>
                <a:cubicBezTo>
                  <a:pt x="919" y="86"/>
                  <a:pt x="919" y="82"/>
                  <a:pt x="919" y="77"/>
                </a:cubicBezTo>
                <a:cubicBezTo>
                  <a:pt x="919" y="77"/>
                  <a:pt x="918" y="76"/>
                  <a:pt x="917" y="76"/>
                </a:cubicBezTo>
                <a:cubicBezTo>
                  <a:pt x="910" y="73"/>
                  <a:pt x="902" y="72"/>
                  <a:pt x="895" y="73"/>
                </a:cubicBezTo>
                <a:cubicBezTo>
                  <a:pt x="888" y="74"/>
                  <a:pt x="883" y="77"/>
                  <a:pt x="878" y="81"/>
                </a:cubicBezTo>
                <a:cubicBezTo>
                  <a:pt x="867" y="90"/>
                  <a:pt x="867" y="110"/>
                  <a:pt x="880" y="118"/>
                </a:cubicBezTo>
                <a:cubicBezTo>
                  <a:pt x="884" y="120"/>
                  <a:pt x="887" y="122"/>
                  <a:pt x="890" y="123"/>
                </a:cubicBezTo>
                <a:cubicBezTo>
                  <a:pt x="895" y="126"/>
                  <a:pt x="900" y="128"/>
                  <a:pt x="905" y="131"/>
                </a:cubicBezTo>
                <a:cubicBezTo>
                  <a:pt x="909" y="134"/>
                  <a:pt x="910" y="138"/>
                  <a:pt x="909" y="143"/>
                </a:cubicBezTo>
                <a:cubicBezTo>
                  <a:pt x="908" y="147"/>
                  <a:pt x="905" y="150"/>
                  <a:pt x="901" y="151"/>
                </a:cubicBezTo>
                <a:cubicBezTo>
                  <a:pt x="901" y="151"/>
                  <a:pt x="900" y="151"/>
                  <a:pt x="899" y="152"/>
                </a:cubicBezTo>
                <a:cubicBezTo>
                  <a:pt x="890" y="153"/>
                  <a:pt x="881" y="151"/>
                  <a:pt x="873" y="146"/>
                </a:cubicBezTo>
                <a:cubicBezTo>
                  <a:pt x="872" y="145"/>
                  <a:pt x="871" y="145"/>
                  <a:pt x="870" y="144"/>
                </a:cubicBezTo>
                <a:cubicBezTo>
                  <a:pt x="870" y="149"/>
                  <a:pt x="870" y="153"/>
                  <a:pt x="870" y="157"/>
                </a:cubicBezTo>
                <a:close/>
                <a:moveTo>
                  <a:pt x="1649" y="162"/>
                </a:moveTo>
                <a:cubicBezTo>
                  <a:pt x="1653" y="162"/>
                  <a:pt x="1658" y="162"/>
                  <a:pt x="1662" y="162"/>
                </a:cubicBezTo>
                <a:cubicBezTo>
                  <a:pt x="1662" y="120"/>
                  <a:pt x="1662" y="79"/>
                  <a:pt x="1662" y="38"/>
                </a:cubicBezTo>
                <a:cubicBezTo>
                  <a:pt x="1661" y="38"/>
                  <a:pt x="1660" y="38"/>
                  <a:pt x="1659" y="38"/>
                </a:cubicBezTo>
                <a:cubicBezTo>
                  <a:pt x="1658" y="38"/>
                  <a:pt x="1657" y="38"/>
                  <a:pt x="1656" y="39"/>
                </a:cubicBezTo>
                <a:cubicBezTo>
                  <a:pt x="1646" y="47"/>
                  <a:pt x="1634" y="53"/>
                  <a:pt x="1622" y="57"/>
                </a:cubicBezTo>
                <a:cubicBezTo>
                  <a:pt x="1621" y="57"/>
                  <a:pt x="1621" y="57"/>
                  <a:pt x="1620" y="57"/>
                </a:cubicBezTo>
                <a:cubicBezTo>
                  <a:pt x="1620" y="62"/>
                  <a:pt x="1620" y="66"/>
                  <a:pt x="1620" y="71"/>
                </a:cubicBezTo>
                <a:cubicBezTo>
                  <a:pt x="1631" y="68"/>
                  <a:pt x="1640" y="64"/>
                  <a:pt x="1649" y="57"/>
                </a:cubicBezTo>
                <a:cubicBezTo>
                  <a:pt x="1649" y="92"/>
                  <a:pt x="1649" y="127"/>
                  <a:pt x="1649" y="162"/>
                </a:cubicBezTo>
                <a:close/>
                <a:moveTo>
                  <a:pt x="1177" y="74"/>
                </a:moveTo>
                <a:cubicBezTo>
                  <a:pt x="1172" y="74"/>
                  <a:pt x="1167" y="76"/>
                  <a:pt x="1163" y="80"/>
                </a:cubicBezTo>
                <a:cubicBezTo>
                  <a:pt x="1160" y="83"/>
                  <a:pt x="1157" y="86"/>
                  <a:pt x="1156" y="90"/>
                </a:cubicBezTo>
                <a:cubicBezTo>
                  <a:pt x="1155" y="91"/>
                  <a:pt x="1155" y="91"/>
                  <a:pt x="1155" y="92"/>
                </a:cubicBezTo>
                <a:cubicBezTo>
                  <a:pt x="1155" y="92"/>
                  <a:pt x="1154" y="92"/>
                  <a:pt x="1154" y="92"/>
                </a:cubicBezTo>
                <a:cubicBezTo>
                  <a:pt x="1154" y="86"/>
                  <a:pt x="1154" y="81"/>
                  <a:pt x="1154" y="75"/>
                </a:cubicBezTo>
                <a:cubicBezTo>
                  <a:pt x="1150" y="75"/>
                  <a:pt x="1145" y="75"/>
                  <a:pt x="1141" y="75"/>
                </a:cubicBezTo>
                <a:cubicBezTo>
                  <a:pt x="1141" y="104"/>
                  <a:pt x="1141" y="133"/>
                  <a:pt x="1141" y="162"/>
                </a:cubicBezTo>
                <a:cubicBezTo>
                  <a:pt x="1143" y="162"/>
                  <a:pt x="1153" y="162"/>
                  <a:pt x="1154" y="162"/>
                </a:cubicBezTo>
                <a:cubicBezTo>
                  <a:pt x="1154" y="161"/>
                  <a:pt x="1154" y="160"/>
                  <a:pt x="1154" y="159"/>
                </a:cubicBezTo>
                <a:cubicBezTo>
                  <a:pt x="1154" y="146"/>
                  <a:pt x="1154" y="132"/>
                  <a:pt x="1154" y="119"/>
                </a:cubicBezTo>
                <a:cubicBezTo>
                  <a:pt x="1154" y="116"/>
                  <a:pt x="1155" y="113"/>
                  <a:pt x="1155" y="110"/>
                </a:cubicBezTo>
                <a:cubicBezTo>
                  <a:pt x="1156" y="104"/>
                  <a:pt x="1158" y="98"/>
                  <a:pt x="1161" y="93"/>
                </a:cubicBezTo>
                <a:cubicBezTo>
                  <a:pt x="1168" y="85"/>
                  <a:pt x="1178" y="85"/>
                  <a:pt x="1184" y="88"/>
                </a:cubicBezTo>
                <a:cubicBezTo>
                  <a:pt x="1185" y="88"/>
                  <a:pt x="1185" y="89"/>
                  <a:pt x="1186" y="89"/>
                </a:cubicBezTo>
                <a:cubicBezTo>
                  <a:pt x="1186" y="84"/>
                  <a:pt x="1186" y="80"/>
                  <a:pt x="1186" y="75"/>
                </a:cubicBezTo>
                <a:cubicBezTo>
                  <a:pt x="1183" y="74"/>
                  <a:pt x="1180" y="74"/>
                  <a:pt x="1177" y="74"/>
                </a:cubicBezTo>
                <a:close/>
                <a:moveTo>
                  <a:pt x="1367" y="162"/>
                </a:moveTo>
                <a:cubicBezTo>
                  <a:pt x="1372" y="162"/>
                  <a:pt x="1376" y="162"/>
                  <a:pt x="1381" y="162"/>
                </a:cubicBezTo>
                <a:cubicBezTo>
                  <a:pt x="1381" y="161"/>
                  <a:pt x="1381" y="160"/>
                  <a:pt x="1381" y="159"/>
                </a:cubicBezTo>
                <a:cubicBezTo>
                  <a:pt x="1381" y="145"/>
                  <a:pt x="1381" y="132"/>
                  <a:pt x="1381" y="118"/>
                </a:cubicBezTo>
                <a:cubicBezTo>
                  <a:pt x="1381" y="115"/>
                  <a:pt x="1381" y="112"/>
                  <a:pt x="1381" y="109"/>
                </a:cubicBezTo>
                <a:cubicBezTo>
                  <a:pt x="1382" y="103"/>
                  <a:pt x="1384" y="98"/>
                  <a:pt x="1388" y="94"/>
                </a:cubicBezTo>
                <a:cubicBezTo>
                  <a:pt x="1394" y="85"/>
                  <a:pt x="1404" y="85"/>
                  <a:pt x="1411" y="88"/>
                </a:cubicBezTo>
                <a:cubicBezTo>
                  <a:pt x="1411" y="88"/>
                  <a:pt x="1411" y="89"/>
                  <a:pt x="1412" y="89"/>
                </a:cubicBezTo>
                <a:cubicBezTo>
                  <a:pt x="1412" y="84"/>
                  <a:pt x="1412" y="79"/>
                  <a:pt x="1412" y="75"/>
                </a:cubicBezTo>
                <a:cubicBezTo>
                  <a:pt x="1411" y="74"/>
                  <a:pt x="1410" y="74"/>
                  <a:pt x="1409" y="74"/>
                </a:cubicBezTo>
                <a:cubicBezTo>
                  <a:pt x="1407" y="74"/>
                  <a:pt x="1406" y="74"/>
                  <a:pt x="1404" y="74"/>
                </a:cubicBezTo>
                <a:cubicBezTo>
                  <a:pt x="1398" y="74"/>
                  <a:pt x="1393" y="76"/>
                  <a:pt x="1389" y="79"/>
                </a:cubicBezTo>
                <a:cubicBezTo>
                  <a:pt x="1386" y="82"/>
                  <a:pt x="1384" y="86"/>
                  <a:pt x="1382" y="90"/>
                </a:cubicBezTo>
                <a:cubicBezTo>
                  <a:pt x="1382" y="91"/>
                  <a:pt x="1382" y="91"/>
                  <a:pt x="1381" y="92"/>
                </a:cubicBezTo>
                <a:cubicBezTo>
                  <a:pt x="1381" y="92"/>
                  <a:pt x="1381" y="92"/>
                  <a:pt x="1381" y="92"/>
                </a:cubicBezTo>
                <a:cubicBezTo>
                  <a:pt x="1381" y="89"/>
                  <a:pt x="1381" y="86"/>
                  <a:pt x="1381" y="84"/>
                </a:cubicBezTo>
                <a:cubicBezTo>
                  <a:pt x="1381" y="81"/>
                  <a:pt x="1381" y="78"/>
                  <a:pt x="1381" y="75"/>
                </a:cubicBezTo>
                <a:cubicBezTo>
                  <a:pt x="1376" y="75"/>
                  <a:pt x="1372" y="75"/>
                  <a:pt x="1367" y="75"/>
                </a:cubicBezTo>
                <a:cubicBezTo>
                  <a:pt x="1367" y="78"/>
                  <a:pt x="1367" y="160"/>
                  <a:pt x="1367" y="162"/>
                </a:cubicBezTo>
                <a:close/>
                <a:moveTo>
                  <a:pt x="446" y="75"/>
                </a:moveTo>
                <a:cubicBezTo>
                  <a:pt x="441" y="75"/>
                  <a:pt x="437" y="75"/>
                  <a:pt x="432" y="75"/>
                </a:cubicBezTo>
                <a:cubicBezTo>
                  <a:pt x="432" y="104"/>
                  <a:pt x="432" y="133"/>
                  <a:pt x="432" y="162"/>
                </a:cubicBezTo>
                <a:cubicBezTo>
                  <a:pt x="437" y="162"/>
                  <a:pt x="441" y="162"/>
                  <a:pt x="446" y="162"/>
                </a:cubicBezTo>
                <a:cubicBezTo>
                  <a:pt x="446" y="157"/>
                  <a:pt x="446" y="77"/>
                  <a:pt x="446" y="75"/>
                </a:cubicBezTo>
                <a:close/>
                <a:moveTo>
                  <a:pt x="448" y="47"/>
                </a:moveTo>
                <a:cubicBezTo>
                  <a:pt x="448" y="42"/>
                  <a:pt x="444" y="38"/>
                  <a:pt x="439" y="38"/>
                </a:cubicBezTo>
                <a:cubicBezTo>
                  <a:pt x="434" y="38"/>
                  <a:pt x="430" y="42"/>
                  <a:pt x="430" y="47"/>
                </a:cubicBezTo>
                <a:cubicBezTo>
                  <a:pt x="430" y="52"/>
                  <a:pt x="434" y="56"/>
                  <a:pt x="439" y="56"/>
                </a:cubicBezTo>
                <a:cubicBezTo>
                  <a:pt x="444" y="56"/>
                  <a:pt x="448" y="52"/>
                  <a:pt x="448" y="47"/>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sp>
        <p:nvSpPr>
          <p:cNvPr id="19" name="Freeform 5"/>
          <p:cNvSpPr>
            <a:spLocks noEditPoints="1"/>
          </p:cNvSpPr>
          <p:nvPr/>
        </p:nvSpPr>
        <p:spPr bwMode="auto">
          <a:xfrm>
            <a:off x="275653" y="2423586"/>
            <a:ext cx="2856923" cy="414956"/>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ln>
                <a:solidFill>
                  <a:schemeClr val="tx2"/>
                </a:solidFill>
              </a:ln>
              <a:solidFill>
                <a:schemeClr val="tx2"/>
              </a:solidFill>
            </a:endParaRPr>
          </a:p>
        </p:txBody>
      </p:sp>
      <p:sp>
        <p:nvSpPr>
          <p:cNvPr id="18" name="Freeform 13"/>
          <p:cNvSpPr>
            <a:spLocks noEditPoints="1"/>
          </p:cNvSpPr>
          <p:nvPr/>
        </p:nvSpPr>
        <p:spPr bwMode="auto">
          <a:xfrm>
            <a:off x="850074" y="4333750"/>
            <a:ext cx="4142787" cy="319443"/>
          </a:xfrm>
          <a:custGeom>
            <a:avLst/>
            <a:gdLst>
              <a:gd name="T0" fmla="*/ 905 w 1754"/>
              <a:gd name="T1" fmla="*/ 38 h 133"/>
              <a:gd name="T2" fmla="*/ 1676 w 1754"/>
              <a:gd name="T3" fmla="*/ 52 h 133"/>
              <a:gd name="T4" fmla="*/ 1678 w 1754"/>
              <a:gd name="T5" fmla="*/ 80 h 133"/>
              <a:gd name="T6" fmla="*/ 1453 w 1754"/>
              <a:gd name="T7" fmla="*/ 100 h 133"/>
              <a:gd name="T8" fmla="*/ 971 w 1754"/>
              <a:gd name="T9" fmla="*/ 14 h 133"/>
              <a:gd name="T10" fmla="*/ 1018 w 1754"/>
              <a:gd name="T11" fmla="*/ 88 h 133"/>
              <a:gd name="T12" fmla="*/ 1082 w 1754"/>
              <a:gd name="T13" fmla="*/ 98 h 133"/>
              <a:gd name="T14" fmla="*/ 1030 w 1754"/>
              <a:gd name="T15" fmla="*/ 76 h 133"/>
              <a:gd name="T16" fmla="*/ 763 w 1754"/>
              <a:gd name="T17" fmla="*/ 86 h 133"/>
              <a:gd name="T18" fmla="*/ 1265 w 1754"/>
              <a:gd name="T19" fmla="*/ 58 h 133"/>
              <a:gd name="T20" fmla="*/ 1256 w 1754"/>
              <a:gd name="T21" fmla="*/ 100 h 133"/>
              <a:gd name="T22" fmla="*/ 582 w 1754"/>
              <a:gd name="T23" fmla="*/ 20 h 133"/>
              <a:gd name="T24" fmla="*/ 1564 w 1754"/>
              <a:gd name="T25" fmla="*/ 7 h 133"/>
              <a:gd name="T26" fmla="*/ 1538 w 1754"/>
              <a:gd name="T27" fmla="*/ 71 h 133"/>
              <a:gd name="T28" fmla="*/ 1746 w 1754"/>
              <a:gd name="T29" fmla="*/ 16 h 133"/>
              <a:gd name="T30" fmla="*/ 1718 w 1754"/>
              <a:gd name="T31" fmla="*/ 62 h 133"/>
              <a:gd name="T32" fmla="*/ 1748 w 1754"/>
              <a:gd name="T33" fmla="*/ 44 h 133"/>
              <a:gd name="T34" fmla="*/ 1377 w 1754"/>
              <a:gd name="T35" fmla="*/ 65 h 133"/>
              <a:gd name="T36" fmla="*/ 1381 w 1754"/>
              <a:gd name="T37" fmla="*/ 19 h 133"/>
              <a:gd name="T38" fmla="*/ 653 w 1754"/>
              <a:gd name="T39" fmla="*/ 41 h 133"/>
              <a:gd name="T40" fmla="*/ 598 w 1754"/>
              <a:gd name="T41" fmla="*/ 50 h 133"/>
              <a:gd name="T42" fmla="*/ 1114 w 1754"/>
              <a:gd name="T43" fmla="*/ 41 h 133"/>
              <a:gd name="T44" fmla="*/ 668 w 1754"/>
              <a:gd name="T45" fmla="*/ 36 h 133"/>
              <a:gd name="T46" fmla="*/ 696 w 1754"/>
              <a:gd name="T47" fmla="*/ 95 h 133"/>
              <a:gd name="T48" fmla="*/ 723 w 1754"/>
              <a:gd name="T49" fmla="*/ 101 h 133"/>
              <a:gd name="T50" fmla="*/ 201 w 1754"/>
              <a:gd name="T51" fmla="*/ 36 h 133"/>
              <a:gd name="T52" fmla="*/ 1174 w 1754"/>
              <a:gd name="T53" fmla="*/ 84 h 133"/>
              <a:gd name="T54" fmla="*/ 697 w 1754"/>
              <a:gd name="T55" fmla="*/ 46 h 133"/>
              <a:gd name="T56" fmla="*/ 1410 w 1754"/>
              <a:gd name="T57" fmla="*/ 69 h 133"/>
              <a:gd name="T58" fmla="*/ 963 w 1754"/>
              <a:gd name="T59" fmla="*/ 49 h 133"/>
              <a:gd name="T60" fmla="*/ 986 w 1754"/>
              <a:gd name="T61" fmla="*/ 103 h 133"/>
              <a:gd name="T62" fmla="*/ 1424 w 1754"/>
              <a:gd name="T63" fmla="*/ 11 h 133"/>
              <a:gd name="T64" fmla="*/ 754 w 1754"/>
              <a:gd name="T65" fmla="*/ 92 h 133"/>
              <a:gd name="T66" fmla="*/ 1377 w 1754"/>
              <a:gd name="T67" fmla="*/ 17 h 133"/>
              <a:gd name="T68" fmla="*/ 964 w 1754"/>
              <a:gd name="T69" fmla="*/ 41 h 133"/>
              <a:gd name="T70" fmla="*/ 1015 w 1754"/>
              <a:gd name="T71" fmla="*/ 90 h 133"/>
              <a:gd name="T72" fmla="*/ 603 w 1754"/>
              <a:gd name="T73" fmla="*/ 123 h 133"/>
              <a:gd name="T74" fmla="*/ 1356 w 1754"/>
              <a:gd name="T75" fmla="*/ 19 h 133"/>
              <a:gd name="T76" fmla="*/ 1261 w 1754"/>
              <a:gd name="T77" fmla="*/ 45 h 133"/>
              <a:gd name="T78" fmla="*/ 788 w 1754"/>
              <a:gd name="T79" fmla="*/ 34 h 133"/>
              <a:gd name="T80" fmla="*/ 966 w 1754"/>
              <a:gd name="T81" fmla="*/ 36 h 133"/>
              <a:gd name="T82" fmla="*/ 689 w 1754"/>
              <a:gd name="T83" fmla="*/ 67 h 133"/>
              <a:gd name="T84" fmla="*/ 966 w 1754"/>
              <a:gd name="T85" fmla="*/ 73 h 133"/>
              <a:gd name="T86" fmla="*/ 1677 w 1754"/>
              <a:gd name="T87" fmla="*/ 78 h 133"/>
              <a:gd name="T88" fmla="*/ 1355 w 1754"/>
              <a:gd name="T89" fmla="*/ 9 h 133"/>
              <a:gd name="T90" fmla="*/ 1212 w 1754"/>
              <a:gd name="T91" fmla="*/ 49 h 133"/>
              <a:gd name="T92" fmla="*/ 639 w 1754"/>
              <a:gd name="T93" fmla="*/ 49 h 133"/>
              <a:gd name="T94" fmla="*/ 740 w 1754"/>
              <a:gd name="T95" fmla="*/ 93 h 133"/>
              <a:gd name="T96" fmla="*/ 1260 w 1754"/>
              <a:gd name="T97" fmla="*/ 98 h 133"/>
              <a:gd name="T98" fmla="*/ 800 w 1754"/>
              <a:gd name="T99" fmla="*/ 43 h 133"/>
              <a:gd name="T100" fmla="*/ 606 w 1754"/>
              <a:gd name="T101" fmla="*/ 40 h 133"/>
              <a:gd name="T102" fmla="*/ 1041 w 1754"/>
              <a:gd name="T103" fmla="*/ 39 h 133"/>
              <a:gd name="T104" fmla="*/ 1360 w 1754"/>
              <a:gd name="T105" fmla="*/ 78 h 133"/>
              <a:gd name="T106" fmla="*/ 1139 w 1754"/>
              <a:gd name="T107" fmla="*/ 45 h 133"/>
              <a:gd name="T108" fmla="*/ 1563 w 1754"/>
              <a:gd name="T109" fmla="*/ 50 h 133"/>
              <a:gd name="T110" fmla="*/ 1571 w 1754"/>
              <a:gd name="T111" fmla="*/ 57 h 133"/>
              <a:gd name="T112" fmla="*/ 579 w 1754"/>
              <a:gd name="T113" fmla="*/ 58 h 133"/>
              <a:gd name="T114" fmla="*/ 585 w 1754"/>
              <a:gd name="T115" fmla="*/ 92 h 133"/>
              <a:gd name="T116" fmla="*/ 1654 w 1754"/>
              <a:gd name="T117" fmla="*/ 63 h 133"/>
              <a:gd name="T118" fmla="*/ 1422 w 1754"/>
              <a:gd name="T119" fmla="*/ 97 h 133"/>
              <a:gd name="T120" fmla="*/ 720 w 1754"/>
              <a:gd name="T121" fmla="*/ 99 h 133"/>
              <a:gd name="T122" fmla="*/ 1700 w 1754"/>
              <a:gd name="T123" fmla="*/ 26 h 133"/>
              <a:gd name="T124" fmla="*/ 795 w 1754"/>
              <a:gd name="T125" fmla="*/ 3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4" h="133">
                <a:moveTo>
                  <a:pt x="48" y="83"/>
                </a:moveTo>
                <a:cubicBezTo>
                  <a:pt x="49" y="82"/>
                  <a:pt x="49" y="82"/>
                  <a:pt x="49" y="81"/>
                </a:cubicBezTo>
                <a:cubicBezTo>
                  <a:pt x="60" y="57"/>
                  <a:pt x="71" y="33"/>
                  <a:pt x="82" y="9"/>
                </a:cubicBezTo>
                <a:cubicBezTo>
                  <a:pt x="82" y="9"/>
                  <a:pt x="82" y="9"/>
                  <a:pt x="82" y="8"/>
                </a:cubicBezTo>
                <a:cubicBezTo>
                  <a:pt x="82" y="8"/>
                  <a:pt x="83" y="7"/>
                  <a:pt x="83" y="7"/>
                </a:cubicBezTo>
                <a:cubicBezTo>
                  <a:pt x="87" y="7"/>
                  <a:pt x="91" y="7"/>
                  <a:pt x="95" y="7"/>
                </a:cubicBezTo>
                <a:cubicBezTo>
                  <a:pt x="96" y="7"/>
                  <a:pt x="96" y="8"/>
                  <a:pt x="96" y="9"/>
                </a:cubicBezTo>
                <a:cubicBezTo>
                  <a:pt x="96" y="9"/>
                  <a:pt x="96" y="9"/>
                  <a:pt x="96" y="10"/>
                </a:cubicBezTo>
                <a:cubicBezTo>
                  <a:pt x="96" y="40"/>
                  <a:pt x="96" y="69"/>
                  <a:pt x="96" y="99"/>
                </a:cubicBezTo>
                <a:cubicBezTo>
                  <a:pt x="96" y="102"/>
                  <a:pt x="97" y="101"/>
                  <a:pt x="94" y="101"/>
                </a:cubicBezTo>
                <a:cubicBezTo>
                  <a:pt x="91" y="102"/>
                  <a:pt x="89" y="101"/>
                  <a:pt x="86" y="101"/>
                </a:cubicBezTo>
                <a:cubicBezTo>
                  <a:pt x="85" y="102"/>
                  <a:pt x="85" y="101"/>
                  <a:pt x="85" y="101"/>
                </a:cubicBezTo>
                <a:cubicBezTo>
                  <a:pt x="85" y="100"/>
                  <a:pt x="85" y="100"/>
                  <a:pt x="85" y="99"/>
                </a:cubicBezTo>
                <a:cubicBezTo>
                  <a:pt x="85" y="75"/>
                  <a:pt x="85" y="51"/>
                  <a:pt x="85" y="27"/>
                </a:cubicBezTo>
                <a:cubicBezTo>
                  <a:pt x="85" y="27"/>
                  <a:pt x="85" y="26"/>
                  <a:pt x="85" y="25"/>
                </a:cubicBezTo>
                <a:cubicBezTo>
                  <a:pt x="84" y="26"/>
                  <a:pt x="84" y="26"/>
                  <a:pt x="84" y="27"/>
                </a:cubicBezTo>
                <a:cubicBezTo>
                  <a:pt x="73" y="51"/>
                  <a:pt x="63" y="75"/>
                  <a:pt x="52" y="100"/>
                </a:cubicBezTo>
                <a:cubicBezTo>
                  <a:pt x="52" y="100"/>
                  <a:pt x="52" y="100"/>
                  <a:pt x="51" y="101"/>
                </a:cubicBezTo>
                <a:cubicBezTo>
                  <a:pt x="51" y="101"/>
                  <a:pt x="51" y="102"/>
                  <a:pt x="50" y="101"/>
                </a:cubicBezTo>
                <a:cubicBezTo>
                  <a:pt x="49" y="101"/>
                  <a:pt x="47" y="102"/>
                  <a:pt x="46" y="101"/>
                </a:cubicBezTo>
                <a:cubicBezTo>
                  <a:pt x="45" y="101"/>
                  <a:pt x="44" y="99"/>
                  <a:pt x="44" y="98"/>
                </a:cubicBezTo>
                <a:cubicBezTo>
                  <a:pt x="33" y="74"/>
                  <a:pt x="23" y="50"/>
                  <a:pt x="12" y="27"/>
                </a:cubicBezTo>
                <a:cubicBezTo>
                  <a:pt x="12" y="26"/>
                  <a:pt x="12" y="25"/>
                  <a:pt x="11" y="25"/>
                </a:cubicBezTo>
                <a:cubicBezTo>
                  <a:pt x="11" y="26"/>
                  <a:pt x="11" y="26"/>
                  <a:pt x="11" y="27"/>
                </a:cubicBezTo>
                <a:cubicBezTo>
                  <a:pt x="11" y="51"/>
                  <a:pt x="11" y="75"/>
                  <a:pt x="11" y="99"/>
                </a:cubicBezTo>
                <a:cubicBezTo>
                  <a:pt x="11" y="102"/>
                  <a:pt x="11" y="101"/>
                  <a:pt x="9" y="101"/>
                </a:cubicBezTo>
                <a:cubicBezTo>
                  <a:pt x="6" y="102"/>
                  <a:pt x="4" y="101"/>
                  <a:pt x="2" y="101"/>
                </a:cubicBezTo>
                <a:cubicBezTo>
                  <a:pt x="0" y="101"/>
                  <a:pt x="0" y="101"/>
                  <a:pt x="0" y="100"/>
                </a:cubicBezTo>
                <a:cubicBezTo>
                  <a:pt x="0" y="100"/>
                  <a:pt x="0" y="100"/>
                  <a:pt x="0" y="99"/>
                </a:cubicBezTo>
                <a:cubicBezTo>
                  <a:pt x="0" y="69"/>
                  <a:pt x="0" y="39"/>
                  <a:pt x="0" y="9"/>
                </a:cubicBezTo>
                <a:cubicBezTo>
                  <a:pt x="0" y="9"/>
                  <a:pt x="0" y="9"/>
                  <a:pt x="0" y="9"/>
                </a:cubicBezTo>
                <a:cubicBezTo>
                  <a:pt x="0" y="7"/>
                  <a:pt x="0" y="7"/>
                  <a:pt x="2" y="7"/>
                </a:cubicBezTo>
                <a:cubicBezTo>
                  <a:pt x="6" y="7"/>
                  <a:pt x="9" y="7"/>
                  <a:pt x="13" y="7"/>
                </a:cubicBezTo>
                <a:cubicBezTo>
                  <a:pt x="15" y="7"/>
                  <a:pt x="15" y="8"/>
                  <a:pt x="16" y="9"/>
                </a:cubicBezTo>
                <a:cubicBezTo>
                  <a:pt x="23" y="26"/>
                  <a:pt x="31" y="44"/>
                  <a:pt x="39" y="61"/>
                </a:cubicBezTo>
                <a:cubicBezTo>
                  <a:pt x="42" y="68"/>
                  <a:pt x="44" y="74"/>
                  <a:pt x="47" y="81"/>
                </a:cubicBezTo>
                <a:cubicBezTo>
                  <a:pt x="48" y="82"/>
                  <a:pt x="48" y="82"/>
                  <a:pt x="48" y="83"/>
                </a:cubicBezTo>
                <a:close/>
                <a:moveTo>
                  <a:pt x="493" y="94"/>
                </a:moveTo>
                <a:cubicBezTo>
                  <a:pt x="490" y="93"/>
                  <a:pt x="488" y="91"/>
                  <a:pt x="487" y="88"/>
                </a:cubicBezTo>
                <a:cubicBezTo>
                  <a:pt x="486" y="86"/>
                  <a:pt x="486" y="84"/>
                  <a:pt x="486" y="81"/>
                </a:cubicBezTo>
                <a:cubicBezTo>
                  <a:pt x="486" y="69"/>
                  <a:pt x="486" y="57"/>
                  <a:pt x="486" y="45"/>
                </a:cubicBezTo>
                <a:cubicBezTo>
                  <a:pt x="486" y="45"/>
                  <a:pt x="486" y="45"/>
                  <a:pt x="486" y="44"/>
                </a:cubicBezTo>
                <a:cubicBezTo>
                  <a:pt x="486" y="44"/>
                  <a:pt x="486" y="43"/>
                  <a:pt x="487" y="43"/>
                </a:cubicBezTo>
                <a:cubicBezTo>
                  <a:pt x="487" y="43"/>
                  <a:pt x="487" y="43"/>
                  <a:pt x="488" y="43"/>
                </a:cubicBezTo>
                <a:cubicBezTo>
                  <a:pt x="492" y="43"/>
                  <a:pt x="497" y="43"/>
                  <a:pt x="501" y="43"/>
                </a:cubicBezTo>
                <a:cubicBezTo>
                  <a:pt x="502" y="43"/>
                  <a:pt x="503" y="43"/>
                  <a:pt x="503" y="42"/>
                </a:cubicBezTo>
                <a:cubicBezTo>
                  <a:pt x="503" y="40"/>
                  <a:pt x="503" y="38"/>
                  <a:pt x="503" y="36"/>
                </a:cubicBezTo>
                <a:cubicBezTo>
                  <a:pt x="503" y="34"/>
                  <a:pt x="503" y="34"/>
                  <a:pt x="501" y="34"/>
                </a:cubicBezTo>
                <a:cubicBezTo>
                  <a:pt x="497" y="34"/>
                  <a:pt x="492" y="34"/>
                  <a:pt x="487" y="34"/>
                </a:cubicBezTo>
                <a:cubicBezTo>
                  <a:pt x="486" y="34"/>
                  <a:pt x="486" y="35"/>
                  <a:pt x="486" y="33"/>
                </a:cubicBezTo>
                <a:cubicBezTo>
                  <a:pt x="486" y="27"/>
                  <a:pt x="486" y="22"/>
                  <a:pt x="486" y="16"/>
                </a:cubicBezTo>
                <a:cubicBezTo>
                  <a:pt x="486" y="16"/>
                  <a:pt x="486" y="15"/>
                  <a:pt x="485" y="15"/>
                </a:cubicBezTo>
                <a:cubicBezTo>
                  <a:pt x="482" y="16"/>
                  <a:pt x="479" y="17"/>
                  <a:pt x="476" y="18"/>
                </a:cubicBezTo>
                <a:cubicBezTo>
                  <a:pt x="475" y="18"/>
                  <a:pt x="475" y="18"/>
                  <a:pt x="475" y="19"/>
                </a:cubicBezTo>
                <a:cubicBezTo>
                  <a:pt x="475" y="19"/>
                  <a:pt x="475" y="19"/>
                  <a:pt x="475" y="20"/>
                </a:cubicBezTo>
                <a:cubicBezTo>
                  <a:pt x="475" y="24"/>
                  <a:pt x="475" y="28"/>
                  <a:pt x="475" y="33"/>
                </a:cubicBezTo>
                <a:cubicBezTo>
                  <a:pt x="475" y="34"/>
                  <a:pt x="475" y="34"/>
                  <a:pt x="474" y="34"/>
                </a:cubicBezTo>
                <a:cubicBezTo>
                  <a:pt x="466" y="34"/>
                  <a:pt x="458" y="34"/>
                  <a:pt x="450" y="34"/>
                </a:cubicBezTo>
                <a:cubicBezTo>
                  <a:pt x="449" y="34"/>
                  <a:pt x="448" y="34"/>
                  <a:pt x="448" y="33"/>
                </a:cubicBezTo>
                <a:cubicBezTo>
                  <a:pt x="448" y="30"/>
                  <a:pt x="448" y="27"/>
                  <a:pt x="449" y="24"/>
                </a:cubicBezTo>
                <a:cubicBezTo>
                  <a:pt x="449" y="22"/>
                  <a:pt x="449" y="19"/>
                  <a:pt x="450" y="16"/>
                </a:cubicBezTo>
                <a:cubicBezTo>
                  <a:pt x="451" y="13"/>
                  <a:pt x="453" y="11"/>
                  <a:pt x="455" y="10"/>
                </a:cubicBezTo>
                <a:cubicBezTo>
                  <a:pt x="457" y="10"/>
                  <a:pt x="459" y="10"/>
                  <a:pt x="461" y="10"/>
                </a:cubicBezTo>
                <a:cubicBezTo>
                  <a:pt x="463" y="10"/>
                  <a:pt x="465" y="10"/>
                  <a:pt x="467" y="11"/>
                </a:cubicBezTo>
                <a:cubicBezTo>
                  <a:pt x="467" y="8"/>
                  <a:pt x="467" y="6"/>
                  <a:pt x="467" y="3"/>
                </a:cubicBezTo>
                <a:cubicBezTo>
                  <a:pt x="467" y="2"/>
                  <a:pt x="466" y="2"/>
                  <a:pt x="466" y="1"/>
                </a:cubicBezTo>
                <a:cubicBezTo>
                  <a:pt x="461" y="0"/>
                  <a:pt x="455" y="0"/>
                  <a:pt x="451" y="2"/>
                </a:cubicBezTo>
                <a:cubicBezTo>
                  <a:pt x="443" y="6"/>
                  <a:pt x="439" y="12"/>
                  <a:pt x="438" y="20"/>
                </a:cubicBezTo>
                <a:cubicBezTo>
                  <a:pt x="437" y="24"/>
                  <a:pt x="438" y="28"/>
                  <a:pt x="438" y="32"/>
                </a:cubicBezTo>
                <a:cubicBezTo>
                  <a:pt x="438" y="34"/>
                  <a:pt x="438" y="34"/>
                  <a:pt x="435" y="34"/>
                </a:cubicBezTo>
                <a:cubicBezTo>
                  <a:pt x="433" y="34"/>
                  <a:pt x="430" y="34"/>
                  <a:pt x="428" y="34"/>
                </a:cubicBezTo>
                <a:cubicBezTo>
                  <a:pt x="426" y="34"/>
                  <a:pt x="426" y="34"/>
                  <a:pt x="426" y="36"/>
                </a:cubicBezTo>
                <a:cubicBezTo>
                  <a:pt x="426" y="38"/>
                  <a:pt x="426" y="40"/>
                  <a:pt x="426" y="42"/>
                </a:cubicBezTo>
                <a:cubicBezTo>
                  <a:pt x="426" y="44"/>
                  <a:pt x="426" y="43"/>
                  <a:pt x="428" y="43"/>
                </a:cubicBezTo>
                <a:cubicBezTo>
                  <a:pt x="431" y="43"/>
                  <a:pt x="434" y="43"/>
                  <a:pt x="436" y="43"/>
                </a:cubicBezTo>
                <a:cubicBezTo>
                  <a:pt x="437" y="43"/>
                  <a:pt x="438" y="44"/>
                  <a:pt x="438" y="45"/>
                </a:cubicBezTo>
                <a:cubicBezTo>
                  <a:pt x="438" y="45"/>
                  <a:pt x="438" y="45"/>
                  <a:pt x="438" y="46"/>
                </a:cubicBezTo>
                <a:cubicBezTo>
                  <a:pt x="438" y="64"/>
                  <a:pt x="438" y="81"/>
                  <a:pt x="438" y="99"/>
                </a:cubicBezTo>
                <a:cubicBezTo>
                  <a:pt x="438" y="100"/>
                  <a:pt x="438" y="100"/>
                  <a:pt x="438" y="100"/>
                </a:cubicBezTo>
                <a:cubicBezTo>
                  <a:pt x="438" y="101"/>
                  <a:pt x="438" y="102"/>
                  <a:pt x="439" y="102"/>
                </a:cubicBezTo>
                <a:cubicBezTo>
                  <a:pt x="441" y="101"/>
                  <a:pt x="444" y="102"/>
                  <a:pt x="446" y="101"/>
                </a:cubicBezTo>
                <a:cubicBezTo>
                  <a:pt x="449" y="101"/>
                  <a:pt x="448" y="102"/>
                  <a:pt x="448" y="99"/>
                </a:cubicBezTo>
                <a:cubicBezTo>
                  <a:pt x="448" y="81"/>
                  <a:pt x="448" y="63"/>
                  <a:pt x="448" y="45"/>
                </a:cubicBezTo>
                <a:cubicBezTo>
                  <a:pt x="448" y="43"/>
                  <a:pt x="449" y="43"/>
                  <a:pt x="450" y="43"/>
                </a:cubicBezTo>
                <a:cubicBezTo>
                  <a:pt x="458" y="43"/>
                  <a:pt x="465" y="43"/>
                  <a:pt x="473" y="43"/>
                </a:cubicBezTo>
                <a:cubicBezTo>
                  <a:pt x="475" y="43"/>
                  <a:pt x="475" y="43"/>
                  <a:pt x="475" y="46"/>
                </a:cubicBezTo>
                <a:cubicBezTo>
                  <a:pt x="475" y="58"/>
                  <a:pt x="475" y="71"/>
                  <a:pt x="475" y="83"/>
                </a:cubicBezTo>
                <a:cubicBezTo>
                  <a:pt x="475" y="87"/>
                  <a:pt x="475" y="91"/>
                  <a:pt x="477" y="94"/>
                </a:cubicBezTo>
                <a:cubicBezTo>
                  <a:pt x="479" y="98"/>
                  <a:pt x="482" y="101"/>
                  <a:pt x="486" y="102"/>
                </a:cubicBezTo>
                <a:cubicBezTo>
                  <a:pt x="490" y="103"/>
                  <a:pt x="493" y="103"/>
                  <a:pt x="497" y="103"/>
                </a:cubicBezTo>
                <a:cubicBezTo>
                  <a:pt x="498" y="103"/>
                  <a:pt x="500" y="102"/>
                  <a:pt x="502" y="101"/>
                </a:cubicBezTo>
                <a:cubicBezTo>
                  <a:pt x="502" y="101"/>
                  <a:pt x="503" y="101"/>
                  <a:pt x="503" y="100"/>
                </a:cubicBezTo>
                <a:cubicBezTo>
                  <a:pt x="503" y="97"/>
                  <a:pt x="503" y="95"/>
                  <a:pt x="503" y="92"/>
                </a:cubicBezTo>
                <a:cubicBezTo>
                  <a:pt x="499" y="94"/>
                  <a:pt x="496" y="94"/>
                  <a:pt x="493" y="94"/>
                </a:cubicBezTo>
                <a:close/>
                <a:moveTo>
                  <a:pt x="841" y="42"/>
                </a:moveTo>
                <a:cubicBezTo>
                  <a:pt x="841" y="42"/>
                  <a:pt x="841" y="42"/>
                  <a:pt x="841" y="42"/>
                </a:cubicBezTo>
                <a:cubicBezTo>
                  <a:pt x="841" y="42"/>
                  <a:pt x="841" y="42"/>
                  <a:pt x="841" y="42"/>
                </a:cubicBezTo>
                <a:cubicBezTo>
                  <a:pt x="842" y="42"/>
                  <a:pt x="842" y="42"/>
                  <a:pt x="843" y="42"/>
                </a:cubicBezTo>
                <a:cubicBezTo>
                  <a:pt x="844" y="42"/>
                  <a:pt x="845" y="42"/>
                  <a:pt x="845" y="42"/>
                </a:cubicBezTo>
                <a:cubicBezTo>
                  <a:pt x="846" y="42"/>
                  <a:pt x="847" y="42"/>
                  <a:pt x="848" y="42"/>
                </a:cubicBezTo>
                <a:cubicBezTo>
                  <a:pt x="848" y="42"/>
                  <a:pt x="848" y="42"/>
                  <a:pt x="848" y="42"/>
                </a:cubicBezTo>
                <a:cubicBezTo>
                  <a:pt x="848" y="42"/>
                  <a:pt x="848" y="42"/>
                  <a:pt x="848" y="42"/>
                </a:cubicBezTo>
                <a:cubicBezTo>
                  <a:pt x="848" y="43"/>
                  <a:pt x="849" y="42"/>
                  <a:pt x="849" y="43"/>
                </a:cubicBezTo>
                <a:cubicBezTo>
                  <a:pt x="849" y="43"/>
                  <a:pt x="849" y="43"/>
                  <a:pt x="849" y="43"/>
                </a:cubicBezTo>
                <a:cubicBezTo>
                  <a:pt x="849" y="43"/>
                  <a:pt x="849" y="43"/>
                  <a:pt x="849" y="43"/>
                </a:cubicBezTo>
                <a:cubicBezTo>
                  <a:pt x="850" y="43"/>
                  <a:pt x="850" y="43"/>
                  <a:pt x="850" y="43"/>
                </a:cubicBezTo>
                <a:cubicBezTo>
                  <a:pt x="850" y="43"/>
                  <a:pt x="850" y="43"/>
                  <a:pt x="850" y="43"/>
                </a:cubicBezTo>
                <a:cubicBezTo>
                  <a:pt x="851" y="43"/>
                  <a:pt x="851" y="43"/>
                  <a:pt x="851" y="43"/>
                </a:cubicBezTo>
                <a:cubicBezTo>
                  <a:pt x="851" y="43"/>
                  <a:pt x="851" y="43"/>
                  <a:pt x="851" y="43"/>
                </a:cubicBezTo>
                <a:cubicBezTo>
                  <a:pt x="851" y="44"/>
                  <a:pt x="852" y="44"/>
                  <a:pt x="852" y="44"/>
                </a:cubicBezTo>
                <a:cubicBezTo>
                  <a:pt x="852" y="44"/>
                  <a:pt x="852" y="44"/>
                  <a:pt x="852" y="44"/>
                </a:cubicBezTo>
                <a:cubicBezTo>
                  <a:pt x="852" y="44"/>
                  <a:pt x="852" y="44"/>
                  <a:pt x="852" y="44"/>
                </a:cubicBezTo>
                <a:cubicBezTo>
                  <a:pt x="852" y="44"/>
                  <a:pt x="852" y="44"/>
                  <a:pt x="852" y="44"/>
                </a:cubicBezTo>
                <a:cubicBezTo>
                  <a:pt x="853" y="44"/>
                  <a:pt x="853" y="44"/>
                  <a:pt x="853" y="44"/>
                </a:cubicBezTo>
                <a:cubicBezTo>
                  <a:pt x="853" y="44"/>
                  <a:pt x="853" y="44"/>
                  <a:pt x="853" y="44"/>
                </a:cubicBezTo>
                <a:cubicBezTo>
                  <a:pt x="853" y="45"/>
                  <a:pt x="853" y="45"/>
                  <a:pt x="853" y="45"/>
                </a:cubicBezTo>
                <a:cubicBezTo>
                  <a:pt x="853" y="45"/>
                  <a:pt x="853" y="45"/>
                  <a:pt x="853" y="45"/>
                </a:cubicBezTo>
                <a:cubicBezTo>
                  <a:pt x="854" y="45"/>
                  <a:pt x="854" y="45"/>
                  <a:pt x="854" y="45"/>
                </a:cubicBezTo>
                <a:cubicBezTo>
                  <a:pt x="854" y="45"/>
                  <a:pt x="854" y="45"/>
                  <a:pt x="854" y="45"/>
                </a:cubicBezTo>
                <a:cubicBezTo>
                  <a:pt x="854" y="45"/>
                  <a:pt x="854" y="45"/>
                  <a:pt x="854" y="45"/>
                </a:cubicBezTo>
                <a:cubicBezTo>
                  <a:pt x="854" y="45"/>
                  <a:pt x="854" y="45"/>
                  <a:pt x="854" y="45"/>
                </a:cubicBezTo>
                <a:cubicBezTo>
                  <a:pt x="854" y="46"/>
                  <a:pt x="854" y="46"/>
                  <a:pt x="855" y="46"/>
                </a:cubicBezTo>
                <a:cubicBezTo>
                  <a:pt x="855" y="46"/>
                  <a:pt x="855" y="46"/>
                  <a:pt x="855" y="46"/>
                </a:cubicBezTo>
                <a:cubicBezTo>
                  <a:pt x="855" y="46"/>
                  <a:pt x="855" y="46"/>
                  <a:pt x="855" y="46"/>
                </a:cubicBezTo>
                <a:cubicBezTo>
                  <a:pt x="855" y="46"/>
                  <a:pt x="855" y="46"/>
                  <a:pt x="855" y="46"/>
                </a:cubicBezTo>
                <a:cubicBezTo>
                  <a:pt x="855" y="46"/>
                  <a:pt x="855" y="46"/>
                  <a:pt x="855" y="47"/>
                </a:cubicBezTo>
                <a:cubicBezTo>
                  <a:pt x="855" y="47"/>
                  <a:pt x="855" y="47"/>
                  <a:pt x="855" y="47"/>
                </a:cubicBezTo>
                <a:cubicBezTo>
                  <a:pt x="856" y="47"/>
                  <a:pt x="856" y="47"/>
                  <a:pt x="856" y="48"/>
                </a:cubicBezTo>
                <a:cubicBezTo>
                  <a:pt x="856" y="47"/>
                  <a:pt x="856" y="47"/>
                  <a:pt x="856" y="47"/>
                </a:cubicBezTo>
                <a:cubicBezTo>
                  <a:pt x="856" y="48"/>
                  <a:pt x="856" y="48"/>
                  <a:pt x="856" y="48"/>
                </a:cubicBezTo>
                <a:cubicBezTo>
                  <a:pt x="856" y="48"/>
                  <a:pt x="856" y="48"/>
                  <a:pt x="856" y="48"/>
                </a:cubicBezTo>
                <a:cubicBezTo>
                  <a:pt x="857" y="48"/>
                  <a:pt x="856" y="48"/>
                  <a:pt x="857" y="49"/>
                </a:cubicBezTo>
                <a:cubicBezTo>
                  <a:pt x="857" y="49"/>
                  <a:pt x="857" y="49"/>
                  <a:pt x="857" y="49"/>
                </a:cubicBezTo>
                <a:cubicBezTo>
                  <a:pt x="857" y="49"/>
                  <a:pt x="857" y="49"/>
                  <a:pt x="857" y="49"/>
                </a:cubicBezTo>
                <a:cubicBezTo>
                  <a:pt x="857" y="49"/>
                  <a:pt x="857" y="49"/>
                  <a:pt x="857" y="49"/>
                </a:cubicBezTo>
                <a:cubicBezTo>
                  <a:pt x="857" y="49"/>
                  <a:pt x="857" y="50"/>
                  <a:pt x="857" y="50"/>
                </a:cubicBezTo>
                <a:cubicBezTo>
                  <a:pt x="857" y="50"/>
                  <a:pt x="857" y="50"/>
                  <a:pt x="857" y="50"/>
                </a:cubicBezTo>
                <a:cubicBezTo>
                  <a:pt x="858" y="50"/>
                  <a:pt x="857" y="50"/>
                  <a:pt x="858" y="51"/>
                </a:cubicBezTo>
                <a:cubicBezTo>
                  <a:pt x="858" y="51"/>
                  <a:pt x="858" y="51"/>
                  <a:pt x="858" y="51"/>
                </a:cubicBezTo>
                <a:cubicBezTo>
                  <a:pt x="858" y="51"/>
                  <a:pt x="858" y="51"/>
                  <a:pt x="858" y="52"/>
                </a:cubicBezTo>
                <a:cubicBezTo>
                  <a:pt x="858" y="52"/>
                  <a:pt x="858" y="52"/>
                  <a:pt x="858" y="52"/>
                </a:cubicBezTo>
                <a:cubicBezTo>
                  <a:pt x="858" y="52"/>
                  <a:pt x="858" y="53"/>
                  <a:pt x="858" y="53"/>
                </a:cubicBezTo>
                <a:cubicBezTo>
                  <a:pt x="858" y="53"/>
                  <a:pt x="858" y="53"/>
                  <a:pt x="858" y="53"/>
                </a:cubicBezTo>
                <a:cubicBezTo>
                  <a:pt x="859" y="54"/>
                  <a:pt x="858" y="54"/>
                  <a:pt x="859" y="55"/>
                </a:cubicBezTo>
                <a:cubicBezTo>
                  <a:pt x="859" y="55"/>
                  <a:pt x="859" y="55"/>
                  <a:pt x="859" y="55"/>
                </a:cubicBezTo>
                <a:cubicBezTo>
                  <a:pt x="859" y="55"/>
                  <a:pt x="859" y="56"/>
                  <a:pt x="859" y="57"/>
                </a:cubicBezTo>
                <a:cubicBezTo>
                  <a:pt x="859" y="57"/>
                  <a:pt x="859" y="57"/>
                  <a:pt x="859" y="57"/>
                </a:cubicBezTo>
                <a:cubicBezTo>
                  <a:pt x="859" y="58"/>
                  <a:pt x="859" y="59"/>
                  <a:pt x="859" y="60"/>
                </a:cubicBezTo>
                <a:cubicBezTo>
                  <a:pt x="859" y="73"/>
                  <a:pt x="859" y="86"/>
                  <a:pt x="859" y="100"/>
                </a:cubicBezTo>
                <a:cubicBezTo>
                  <a:pt x="859" y="100"/>
                  <a:pt x="859" y="101"/>
                  <a:pt x="859" y="101"/>
                </a:cubicBezTo>
                <a:cubicBezTo>
                  <a:pt x="859" y="101"/>
                  <a:pt x="859" y="101"/>
                  <a:pt x="859" y="101"/>
                </a:cubicBezTo>
                <a:cubicBezTo>
                  <a:pt x="862" y="102"/>
                  <a:pt x="864" y="102"/>
                  <a:pt x="866" y="102"/>
                </a:cubicBezTo>
                <a:cubicBezTo>
                  <a:pt x="867" y="102"/>
                  <a:pt x="869" y="102"/>
                  <a:pt x="870" y="101"/>
                </a:cubicBezTo>
                <a:cubicBezTo>
                  <a:pt x="870" y="101"/>
                  <a:pt x="870" y="101"/>
                  <a:pt x="870" y="101"/>
                </a:cubicBezTo>
                <a:cubicBezTo>
                  <a:pt x="871" y="101"/>
                  <a:pt x="870" y="100"/>
                  <a:pt x="870" y="100"/>
                </a:cubicBezTo>
                <a:cubicBezTo>
                  <a:pt x="870" y="87"/>
                  <a:pt x="870" y="74"/>
                  <a:pt x="870" y="62"/>
                </a:cubicBezTo>
                <a:cubicBezTo>
                  <a:pt x="870" y="61"/>
                  <a:pt x="870" y="61"/>
                  <a:pt x="871" y="60"/>
                </a:cubicBezTo>
                <a:cubicBezTo>
                  <a:pt x="870" y="60"/>
                  <a:pt x="870" y="60"/>
                  <a:pt x="871" y="59"/>
                </a:cubicBezTo>
                <a:cubicBezTo>
                  <a:pt x="871" y="59"/>
                  <a:pt x="871" y="58"/>
                  <a:pt x="871" y="58"/>
                </a:cubicBezTo>
                <a:cubicBezTo>
                  <a:pt x="871" y="57"/>
                  <a:pt x="871" y="57"/>
                  <a:pt x="871" y="57"/>
                </a:cubicBezTo>
                <a:cubicBezTo>
                  <a:pt x="871" y="57"/>
                  <a:pt x="871" y="57"/>
                  <a:pt x="871" y="56"/>
                </a:cubicBezTo>
                <a:cubicBezTo>
                  <a:pt x="871" y="56"/>
                  <a:pt x="871" y="56"/>
                  <a:pt x="871" y="56"/>
                </a:cubicBezTo>
                <a:cubicBezTo>
                  <a:pt x="871" y="56"/>
                  <a:pt x="871" y="55"/>
                  <a:pt x="872" y="55"/>
                </a:cubicBezTo>
                <a:cubicBezTo>
                  <a:pt x="872" y="55"/>
                  <a:pt x="872" y="55"/>
                  <a:pt x="872" y="55"/>
                </a:cubicBezTo>
                <a:cubicBezTo>
                  <a:pt x="872" y="55"/>
                  <a:pt x="872" y="55"/>
                  <a:pt x="872" y="55"/>
                </a:cubicBezTo>
                <a:cubicBezTo>
                  <a:pt x="872" y="55"/>
                  <a:pt x="872" y="54"/>
                  <a:pt x="872" y="54"/>
                </a:cubicBezTo>
                <a:cubicBezTo>
                  <a:pt x="872" y="54"/>
                  <a:pt x="872" y="54"/>
                  <a:pt x="872" y="54"/>
                </a:cubicBezTo>
                <a:cubicBezTo>
                  <a:pt x="872" y="54"/>
                  <a:pt x="872" y="53"/>
                  <a:pt x="872" y="53"/>
                </a:cubicBezTo>
                <a:cubicBezTo>
                  <a:pt x="872" y="53"/>
                  <a:pt x="872" y="53"/>
                  <a:pt x="872" y="53"/>
                </a:cubicBezTo>
                <a:cubicBezTo>
                  <a:pt x="872" y="53"/>
                  <a:pt x="872" y="53"/>
                  <a:pt x="873" y="52"/>
                </a:cubicBezTo>
                <a:cubicBezTo>
                  <a:pt x="873" y="52"/>
                  <a:pt x="873" y="52"/>
                  <a:pt x="873" y="52"/>
                </a:cubicBezTo>
                <a:cubicBezTo>
                  <a:pt x="873" y="52"/>
                  <a:pt x="873" y="52"/>
                  <a:pt x="873" y="52"/>
                </a:cubicBezTo>
                <a:cubicBezTo>
                  <a:pt x="873" y="52"/>
                  <a:pt x="873" y="52"/>
                  <a:pt x="873" y="52"/>
                </a:cubicBezTo>
                <a:cubicBezTo>
                  <a:pt x="873" y="52"/>
                  <a:pt x="873" y="51"/>
                  <a:pt x="873" y="51"/>
                </a:cubicBezTo>
                <a:cubicBezTo>
                  <a:pt x="873" y="51"/>
                  <a:pt x="873" y="51"/>
                  <a:pt x="873" y="51"/>
                </a:cubicBezTo>
                <a:cubicBezTo>
                  <a:pt x="874" y="51"/>
                  <a:pt x="873" y="51"/>
                  <a:pt x="874" y="50"/>
                </a:cubicBezTo>
                <a:cubicBezTo>
                  <a:pt x="874" y="50"/>
                  <a:pt x="874" y="50"/>
                  <a:pt x="874" y="50"/>
                </a:cubicBezTo>
                <a:cubicBezTo>
                  <a:pt x="874" y="50"/>
                  <a:pt x="874" y="50"/>
                  <a:pt x="874" y="50"/>
                </a:cubicBezTo>
                <a:cubicBezTo>
                  <a:pt x="874" y="50"/>
                  <a:pt x="874" y="50"/>
                  <a:pt x="874" y="50"/>
                </a:cubicBezTo>
                <a:cubicBezTo>
                  <a:pt x="874" y="50"/>
                  <a:pt x="874" y="49"/>
                  <a:pt x="874" y="49"/>
                </a:cubicBezTo>
                <a:cubicBezTo>
                  <a:pt x="874" y="49"/>
                  <a:pt x="874" y="49"/>
                  <a:pt x="874" y="49"/>
                </a:cubicBezTo>
                <a:cubicBezTo>
                  <a:pt x="874" y="49"/>
                  <a:pt x="875" y="49"/>
                  <a:pt x="875" y="49"/>
                </a:cubicBezTo>
                <a:cubicBezTo>
                  <a:pt x="875" y="49"/>
                  <a:pt x="875" y="49"/>
                  <a:pt x="875" y="49"/>
                </a:cubicBezTo>
                <a:cubicBezTo>
                  <a:pt x="875" y="49"/>
                  <a:pt x="875" y="48"/>
                  <a:pt x="875" y="48"/>
                </a:cubicBezTo>
                <a:cubicBezTo>
                  <a:pt x="875" y="48"/>
                  <a:pt x="875" y="48"/>
                  <a:pt x="875" y="48"/>
                </a:cubicBezTo>
                <a:cubicBezTo>
                  <a:pt x="875" y="48"/>
                  <a:pt x="875" y="48"/>
                  <a:pt x="875" y="48"/>
                </a:cubicBezTo>
                <a:cubicBezTo>
                  <a:pt x="875" y="48"/>
                  <a:pt x="875" y="48"/>
                  <a:pt x="875" y="48"/>
                </a:cubicBezTo>
                <a:cubicBezTo>
                  <a:pt x="876" y="48"/>
                  <a:pt x="876" y="48"/>
                  <a:pt x="876" y="47"/>
                </a:cubicBezTo>
                <a:cubicBezTo>
                  <a:pt x="876" y="48"/>
                  <a:pt x="876" y="48"/>
                  <a:pt x="876" y="48"/>
                </a:cubicBezTo>
                <a:cubicBezTo>
                  <a:pt x="876" y="47"/>
                  <a:pt x="876" y="47"/>
                  <a:pt x="876" y="47"/>
                </a:cubicBezTo>
                <a:cubicBezTo>
                  <a:pt x="876" y="47"/>
                  <a:pt x="876" y="47"/>
                  <a:pt x="876" y="47"/>
                </a:cubicBezTo>
                <a:cubicBezTo>
                  <a:pt x="877" y="47"/>
                  <a:pt x="877" y="46"/>
                  <a:pt x="878" y="45"/>
                </a:cubicBezTo>
                <a:cubicBezTo>
                  <a:pt x="878" y="45"/>
                  <a:pt x="878" y="45"/>
                  <a:pt x="878" y="45"/>
                </a:cubicBezTo>
                <a:cubicBezTo>
                  <a:pt x="878" y="45"/>
                  <a:pt x="878" y="45"/>
                  <a:pt x="878" y="45"/>
                </a:cubicBezTo>
                <a:cubicBezTo>
                  <a:pt x="878" y="45"/>
                  <a:pt x="878" y="45"/>
                  <a:pt x="878" y="45"/>
                </a:cubicBezTo>
                <a:cubicBezTo>
                  <a:pt x="878" y="45"/>
                  <a:pt x="878" y="45"/>
                  <a:pt x="879" y="45"/>
                </a:cubicBezTo>
                <a:cubicBezTo>
                  <a:pt x="879" y="45"/>
                  <a:pt x="879" y="45"/>
                  <a:pt x="879" y="45"/>
                </a:cubicBezTo>
                <a:cubicBezTo>
                  <a:pt x="879" y="45"/>
                  <a:pt x="879" y="44"/>
                  <a:pt x="880" y="44"/>
                </a:cubicBezTo>
                <a:cubicBezTo>
                  <a:pt x="880" y="44"/>
                  <a:pt x="880" y="44"/>
                  <a:pt x="880" y="44"/>
                </a:cubicBezTo>
                <a:cubicBezTo>
                  <a:pt x="880" y="44"/>
                  <a:pt x="880" y="44"/>
                  <a:pt x="880" y="44"/>
                </a:cubicBezTo>
                <a:cubicBezTo>
                  <a:pt x="880" y="44"/>
                  <a:pt x="880" y="44"/>
                  <a:pt x="880" y="44"/>
                </a:cubicBezTo>
                <a:cubicBezTo>
                  <a:pt x="880" y="44"/>
                  <a:pt x="881" y="44"/>
                  <a:pt x="881" y="43"/>
                </a:cubicBezTo>
                <a:cubicBezTo>
                  <a:pt x="881" y="43"/>
                  <a:pt x="881" y="43"/>
                  <a:pt x="881" y="43"/>
                </a:cubicBezTo>
                <a:cubicBezTo>
                  <a:pt x="881" y="43"/>
                  <a:pt x="881" y="43"/>
                  <a:pt x="881" y="43"/>
                </a:cubicBezTo>
                <a:cubicBezTo>
                  <a:pt x="881" y="43"/>
                  <a:pt x="881" y="43"/>
                  <a:pt x="882" y="43"/>
                </a:cubicBezTo>
                <a:cubicBezTo>
                  <a:pt x="882" y="43"/>
                  <a:pt x="882" y="43"/>
                  <a:pt x="882" y="43"/>
                </a:cubicBezTo>
                <a:cubicBezTo>
                  <a:pt x="882" y="43"/>
                  <a:pt x="882" y="43"/>
                  <a:pt x="882" y="43"/>
                </a:cubicBezTo>
                <a:cubicBezTo>
                  <a:pt x="882" y="43"/>
                  <a:pt x="882" y="43"/>
                  <a:pt x="882" y="43"/>
                </a:cubicBezTo>
                <a:cubicBezTo>
                  <a:pt x="883" y="43"/>
                  <a:pt x="883" y="43"/>
                  <a:pt x="883" y="43"/>
                </a:cubicBezTo>
                <a:cubicBezTo>
                  <a:pt x="883" y="43"/>
                  <a:pt x="883" y="43"/>
                  <a:pt x="883" y="42"/>
                </a:cubicBezTo>
                <a:cubicBezTo>
                  <a:pt x="884" y="42"/>
                  <a:pt x="884" y="42"/>
                  <a:pt x="884" y="42"/>
                </a:cubicBezTo>
                <a:cubicBezTo>
                  <a:pt x="884" y="42"/>
                  <a:pt x="884" y="42"/>
                  <a:pt x="884" y="42"/>
                </a:cubicBezTo>
                <a:cubicBezTo>
                  <a:pt x="884" y="42"/>
                  <a:pt x="885" y="42"/>
                  <a:pt x="886" y="42"/>
                </a:cubicBezTo>
                <a:cubicBezTo>
                  <a:pt x="887" y="42"/>
                  <a:pt x="887" y="42"/>
                  <a:pt x="888" y="42"/>
                </a:cubicBezTo>
                <a:cubicBezTo>
                  <a:pt x="889" y="42"/>
                  <a:pt x="890" y="42"/>
                  <a:pt x="890" y="42"/>
                </a:cubicBezTo>
                <a:cubicBezTo>
                  <a:pt x="891" y="42"/>
                  <a:pt x="891" y="42"/>
                  <a:pt x="891" y="42"/>
                </a:cubicBezTo>
                <a:cubicBezTo>
                  <a:pt x="891" y="42"/>
                  <a:pt x="891" y="42"/>
                  <a:pt x="891" y="42"/>
                </a:cubicBezTo>
                <a:cubicBezTo>
                  <a:pt x="891" y="43"/>
                  <a:pt x="892" y="42"/>
                  <a:pt x="892" y="43"/>
                </a:cubicBezTo>
                <a:cubicBezTo>
                  <a:pt x="892" y="43"/>
                  <a:pt x="892" y="43"/>
                  <a:pt x="892" y="43"/>
                </a:cubicBezTo>
                <a:cubicBezTo>
                  <a:pt x="892" y="43"/>
                  <a:pt x="892" y="43"/>
                  <a:pt x="892" y="43"/>
                </a:cubicBezTo>
                <a:cubicBezTo>
                  <a:pt x="892" y="43"/>
                  <a:pt x="893" y="43"/>
                  <a:pt x="893" y="43"/>
                </a:cubicBezTo>
                <a:cubicBezTo>
                  <a:pt x="893" y="43"/>
                  <a:pt x="893" y="43"/>
                  <a:pt x="893" y="43"/>
                </a:cubicBezTo>
                <a:cubicBezTo>
                  <a:pt x="893" y="43"/>
                  <a:pt x="894" y="43"/>
                  <a:pt x="894" y="43"/>
                </a:cubicBezTo>
                <a:cubicBezTo>
                  <a:pt x="894" y="43"/>
                  <a:pt x="894" y="43"/>
                  <a:pt x="894" y="43"/>
                </a:cubicBezTo>
                <a:cubicBezTo>
                  <a:pt x="894" y="44"/>
                  <a:pt x="894" y="44"/>
                  <a:pt x="895" y="44"/>
                </a:cubicBezTo>
                <a:cubicBezTo>
                  <a:pt x="895" y="44"/>
                  <a:pt x="895" y="44"/>
                  <a:pt x="895" y="44"/>
                </a:cubicBezTo>
                <a:cubicBezTo>
                  <a:pt x="895" y="44"/>
                  <a:pt x="895" y="44"/>
                  <a:pt x="895" y="44"/>
                </a:cubicBezTo>
                <a:cubicBezTo>
                  <a:pt x="895" y="44"/>
                  <a:pt x="895" y="44"/>
                  <a:pt x="895" y="44"/>
                </a:cubicBezTo>
                <a:cubicBezTo>
                  <a:pt x="895" y="44"/>
                  <a:pt x="896" y="44"/>
                  <a:pt x="896" y="44"/>
                </a:cubicBezTo>
                <a:cubicBezTo>
                  <a:pt x="896" y="44"/>
                  <a:pt x="896" y="44"/>
                  <a:pt x="896" y="44"/>
                </a:cubicBezTo>
                <a:cubicBezTo>
                  <a:pt x="896" y="45"/>
                  <a:pt x="896" y="45"/>
                  <a:pt x="896" y="45"/>
                </a:cubicBezTo>
                <a:cubicBezTo>
                  <a:pt x="896" y="45"/>
                  <a:pt x="896" y="45"/>
                  <a:pt x="896" y="45"/>
                </a:cubicBezTo>
                <a:cubicBezTo>
                  <a:pt x="896" y="45"/>
                  <a:pt x="897" y="45"/>
                  <a:pt x="897" y="45"/>
                </a:cubicBezTo>
                <a:cubicBezTo>
                  <a:pt x="897" y="45"/>
                  <a:pt x="897" y="45"/>
                  <a:pt x="897" y="45"/>
                </a:cubicBezTo>
                <a:cubicBezTo>
                  <a:pt x="897" y="45"/>
                  <a:pt x="897" y="45"/>
                  <a:pt x="897" y="45"/>
                </a:cubicBezTo>
                <a:cubicBezTo>
                  <a:pt x="897" y="45"/>
                  <a:pt x="897" y="45"/>
                  <a:pt x="897" y="45"/>
                </a:cubicBezTo>
                <a:cubicBezTo>
                  <a:pt x="897" y="46"/>
                  <a:pt x="897" y="46"/>
                  <a:pt x="897" y="46"/>
                </a:cubicBezTo>
                <a:cubicBezTo>
                  <a:pt x="897" y="46"/>
                  <a:pt x="897" y="46"/>
                  <a:pt x="897" y="46"/>
                </a:cubicBezTo>
                <a:cubicBezTo>
                  <a:pt x="897" y="46"/>
                  <a:pt x="898" y="46"/>
                  <a:pt x="898" y="46"/>
                </a:cubicBezTo>
                <a:cubicBezTo>
                  <a:pt x="898" y="46"/>
                  <a:pt x="898" y="46"/>
                  <a:pt x="898" y="46"/>
                </a:cubicBezTo>
                <a:cubicBezTo>
                  <a:pt x="898" y="46"/>
                  <a:pt x="898" y="47"/>
                  <a:pt x="898" y="47"/>
                </a:cubicBezTo>
                <a:cubicBezTo>
                  <a:pt x="898" y="47"/>
                  <a:pt x="898" y="47"/>
                  <a:pt x="898" y="47"/>
                </a:cubicBezTo>
                <a:cubicBezTo>
                  <a:pt x="898" y="47"/>
                  <a:pt x="898" y="47"/>
                  <a:pt x="898" y="47"/>
                </a:cubicBezTo>
                <a:cubicBezTo>
                  <a:pt x="898" y="47"/>
                  <a:pt x="898" y="47"/>
                  <a:pt x="898" y="47"/>
                </a:cubicBezTo>
                <a:cubicBezTo>
                  <a:pt x="899" y="47"/>
                  <a:pt x="899" y="48"/>
                  <a:pt x="899" y="48"/>
                </a:cubicBezTo>
                <a:cubicBezTo>
                  <a:pt x="899" y="48"/>
                  <a:pt x="899" y="48"/>
                  <a:pt x="899" y="48"/>
                </a:cubicBezTo>
                <a:cubicBezTo>
                  <a:pt x="899" y="48"/>
                  <a:pt x="899" y="48"/>
                  <a:pt x="899" y="48"/>
                </a:cubicBezTo>
                <a:cubicBezTo>
                  <a:pt x="899" y="48"/>
                  <a:pt x="899" y="48"/>
                  <a:pt x="899" y="48"/>
                </a:cubicBezTo>
                <a:cubicBezTo>
                  <a:pt x="899" y="48"/>
                  <a:pt x="899" y="48"/>
                  <a:pt x="899" y="48"/>
                </a:cubicBezTo>
                <a:cubicBezTo>
                  <a:pt x="899" y="49"/>
                  <a:pt x="899" y="49"/>
                  <a:pt x="899" y="49"/>
                </a:cubicBezTo>
                <a:cubicBezTo>
                  <a:pt x="900" y="49"/>
                  <a:pt x="900" y="49"/>
                  <a:pt x="899" y="49"/>
                </a:cubicBezTo>
                <a:cubicBezTo>
                  <a:pt x="900" y="49"/>
                  <a:pt x="900" y="50"/>
                  <a:pt x="900" y="50"/>
                </a:cubicBezTo>
                <a:cubicBezTo>
                  <a:pt x="900" y="50"/>
                  <a:pt x="900" y="50"/>
                  <a:pt x="900" y="50"/>
                </a:cubicBezTo>
                <a:cubicBezTo>
                  <a:pt x="900" y="50"/>
                  <a:pt x="900" y="51"/>
                  <a:pt x="900" y="51"/>
                </a:cubicBezTo>
                <a:cubicBezTo>
                  <a:pt x="900" y="51"/>
                  <a:pt x="900" y="51"/>
                  <a:pt x="900" y="51"/>
                </a:cubicBezTo>
                <a:cubicBezTo>
                  <a:pt x="900" y="51"/>
                  <a:pt x="900" y="52"/>
                  <a:pt x="900" y="52"/>
                </a:cubicBezTo>
                <a:cubicBezTo>
                  <a:pt x="901" y="52"/>
                  <a:pt x="901" y="52"/>
                  <a:pt x="901" y="52"/>
                </a:cubicBezTo>
                <a:cubicBezTo>
                  <a:pt x="901" y="53"/>
                  <a:pt x="901" y="53"/>
                  <a:pt x="901" y="53"/>
                </a:cubicBezTo>
                <a:cubicBezTo>
                  <a:pt x="901" y="54"/>
                  <a:pt x="901" y="54"/>
                  <a:pt x="901" y="54"/>
                </a:cubicBezTo>
                <a:cubicBezTo>
                  <a:pt x="901" y="54"/>
                  <a:pt x="901" y="55"/>
                  <a:pt x="901" y="56"/>
                </a:cubicBezTo>
                <a:cubicBezTo>
                  <a:pt x="901" y="56"/>
                  <a:pt x="901" y="56"/>
                  <a:pt x="901" y="56"/>
                </a:cubicBezTo>
                <a:cubicBezTo>
                  <a:pt x="902" y="57"/>
                  <a:pt x="901" y="58"/>
                  <a:pt x="902" y="59"/>
                </a:cubicBezTo>
                <a:cubicBezTo>
                  <a:pt x="902" y="60"/>
                  <a:pt x="902" y="60"/>
                  <a:pt x="902" y="61"/>
                </a:cubicBezTo>
                <a:cubicBezTo>
                  <a:pt x="902" y="62"/>
                  <a:pt x="902" y="62"/>
                  <a:pt x="902" y="63"/>
                </a:cubicBezTo>
                <a:cubicBezTo>
                  <a:pt x="902" y="75"/>
                  <a:pt x="902" y="87"/>
                  <a:pt x="902" y="99"/>
                </a:cubicBezTo>
                <a:cubicBezTo>
                  <a:pt x="902" y="102"/>
                  <a:pt x="901" y="102"/>
                  <a:pt x="904" y="102"/>
                </a:cubicBezTo>
                <a:cubicBezTo>
                  <a:pt x="906" y="102"/>
                  <a:pt x="908" y="102"/>
                  <a:pt x="911" y="102"/>
                </a:cubicBezTo>
                <a:cubicBezTo>
                  <a:pt x="912" y="102"/>
                  <a:pt x="912" y="102"/>
                  <a:pt x="912" y="100"/>
                </a:cubicBezTo>
                <a:cubicBezTo>
                  <a:pt x="912" y="85"/>
                  <a:pt x="912" y="71"/>
                  <a:pt x="912" y="56"/>
                </a:cubicBezTo>
                <a:cubicBezTo>
                  <a:pt x="912" y="56"/>
                  <a:pt x="913" y="55"/>
                  <a:pt x="912" y="55"/>
                </a:cubicBezTo>
                <a:cubicBezTo>
                  <a:pt x="912" y="54"/>
                  <a:pt x="912" y="54"/>
                  <a:pt x="912" y="54"/>
                </a:cubicBezTo>
                <a:cubicBezTo>
                  <a:pt x="912" y="53"/>
                  <a:pt x="912" y="52"/>
                  <a:pt x="912" y="52"/>
                </a:cubicBezTo>
                <a:cubicBezTo>
                  <a:pt x="912" y="52"/>
                  <a:pt x="912" y="51"/>
                  <a:pt x="912" y="51"/>
                </a:cubicBezTo>
                <a:cubicBezTo>
                  <a:pt x="912" y="51"/>
                  <a:pt x="912" y="50"/>
                  <a:pt x="912" y="50"/>
                </a:cubicBezTo>
                <a:cubicBezTo>
                  <a:pt x="912" y="50"/>
                  <a:pt x="912" y="50"/>
                  <a:pt x="912" y="50"/>
                </a:cubicBezTo>
                <a:cubicBezTo>
                  <a:pt x="912" y="49"/>
                  <a:pt x="912" y="49"/>
                  <a:pt x="912" y="49"/>
                </a:cubicBezTo>
                <a:cubicBezTo>
                  <a:pt x="911" y="49"/>
                  <a:pt x="912" y="49"/>
                  <a:pt x="911" y="48"/>
                </a:cubicBezTo>
                <a:cubicBezTo>
                  <a:pt x="911" y="48"/>
                  <a:pt x="911" y="48"/>
                  <a:pt x="911" y="48"/>
                </a:cubicBezTo>
                <a:cubicBezTo>
                  <a:pt x="911" y="48"/>
                  <a:pt x="911" y="48"/>
                  <a:pt x="911" y="48"/>
                </a:cubicBezTo>
                <a:cubicBezTo>
                  <a:pt x="911" y="48"/>
                  <a:pt x="911" y="47"/>
                  <a:pt x="911" y="47"/>
                </a:cubicBezTo>
                <a:cubicBezTo>
                  <a:pt x="911" y="47"/>
                  <a:pt x="911" y="47"/>
                  <a:pt x="911" y="47"/>
                </a:cubicBezTo>
                <a:cubicBezTo>
                  <a:pt x="911" y="47"/>
                  <a:pt x="911" y="46"/>
                  <a:pt x="911" y="46"/>
                </a:cubicBezTo>
                <a:cubicBezTo>
                  <a:pt x="911" y="46"/>
                  <a:pt x="911" y="46"/>
                  <a:pt x="911" y="46"/>
                </a:cubicBezTo>
                <a:cubicBezTo>
                  <a:pt x="910" y="46"/>
                  <a:pt x="910" y="45"/>
                  <a:pt x="910" y="45"/>
                </a:cubicBezTo>
                <a:cubicBezTo>
                  <a:pt x="910" y="45"/>
                  <a:pt x="910" y="45"/>
                  <a:pt x="910" y="45"/>
                </a:cubicBezTo>
                <a:cubicBezTo>
                  <a:pt x="910" y="45"/>
                  <a:pt x="910" y="44"/>
                  <a:pt x="910" y="44"/>
                </a:cubicBezTo>
                <a:cubicBezTo>
                  <a:pt x="910" y="44"/>
                  <a:pt x="910" y="44"/>
                  <a:pt x="910" y="44"/>
                </a:cubicBezTo>
                <a:cubicBezTo>
                  <a:pt x="910" y="44"/>
                  <a:pt x="910" y="44"/>
                  <a:pt x="910" y="43"/>
                </a:cubicBezTo>
                <a:cubicBezTo>
                  <a:pt x="910" y="43"/>
                  <a:pt x="910" y="43"/>
                  <a:pt x="910" y="43"/>
                </a:cubicBezTo>
                <a:cubicBezTo>
                  <a:pt x="909" y="43"/>
                  <a:pt x="909" y="43"/>
                  <a:pt x="909" y="43"/>
                </a:cubicBezTo>
                <a:cubicBezTo>
                  <a:pt x="909" y="43"/>
                  <a:pt x="909" y="43"/>
                  <a:pt x="909" y="43"/>
                </a:cubicBezTo>
                <a:cubicBezTo>
                  <a:pt x="909" y="43"/>
                  <a:pt x="909" y="42"/>
                  <a:pt x="909" y="42"/>
                </a:cubicBezTo>
                <a:cubicBezTo>
                  <a:pt x="909" y="42"/>
                  <a:pt x="909" y="42"/>
                  <a:pt x="909" y="42"/>
                </a:cubicBezTo>
                <a:cubicBezTo>
                  <a:pt x="909" y="42"/>
                  <a:pt x="909" y="41"/>
                  <a:pt x="908" y="41"/>
                </a:cubicBezTo>
                <a:cubicBezTo>
                  <a:pt x="908" y="41"/>
                  <a:pt x="908" y="41"/>
                  <a:pt x="908" y="41"/>
                </a:cubicBezTo>
                <a:cubicBezTo>
                  <a:pt x="908" y="41"/>
                  <a:pt x="908" y="41"/>
                  <a:pt x="908" y="41"/>
                </a:cubicBezTo>
                <a:cubicBezTo>
                  <a:pt x="908" y="41"/>
                  <a:pt x="908" y="41"/>
                  <a:pt x="908" y="41"/>
                </a:cubicBezTo>
                <a:cubicBezTo>
                  <a:pt x="908" y="41"/>
                  <a:pt x="908" y="40"/>
                  <a:pt x="908" y="40"/>
                </a:cubicBezTo>
                <a:cubicBezTo>
                  <a:pt x="908" y="40"/>
                  <a:pt x="908" y="40"/>
                  <a:pt x="908" y="40"/>
                </a:cubicBezTo>
                <a:cubicBezTo>
                  <a:pt x="908" y="40"/>
                  <a:pt x="908" y="40"/>
                  <a:pt x="907" y="40"/>
                </a:cubicBezTo>
                <a:cubicBezTo>
                  <a:pt x="907" y="40"/>
                  <a:pt x="907" y="40"/>
                  <a:pt x="907" y="40"/>
                </a:cubicBezTo>
                <a:cubicBezTo>
                  <a:pt x="907" y="40"/>
                  <a:pt x="907" y="40"/>
                  <a:pt x="907" y="40"/>
                </a:cubicBezTo>
                <a:cubicBezTo>
                  <a:pt x="907" y="40"/>
                  <a:pt x="907" y="40"/>
                  <a:pt x="907" y="40"/>
                </a:cubicBezTo>
                <a:cubicBezTo>
                  <a:pt x="907" y="39"/>
                  <a:pt x="907" y="39"/>
                  <a:pt x="906" y="39"/>
                </a:cubicBezTo>
                <a:cubicBezTo>
                  <a:pt x="906" y="39"/>
                  <a:pt x="906" y="39"/>
                  <a:pt x="906" y="39"/>
                </a:cubicBezTo>
                <a:cubicBezTo>
                  <a:pt x="906" y="38"/>
                  <a:pt x="906" y="38"/>
                  <a:pt x="906" y="38"/>
                </a:cubicBezTo>
                <a:cubicBezTo>
                  <a:pt x="906" y="38"/>
                  <a:pt x="906" y="38"/>
                  <a:pt x="906" y="38"/>
                </a:cubicBezTo>
                <a:cubicBezTo>
                  <a:pt x="906" y="38"/>
                  <a:pt x="906" y="38"/>
                  <a:pt x="906" y="38"/>
                </a:cubicBezTo>
                <a:cubicBezTo>
                  <a:pt x="906" y="38"/>
                  <a:pt x="906" y="38"/>
                  <a:pt x="906" y="38"/>
                </a:cubicBezTo>
                <a:cubicBezTo>
                  <a:pt x="906" y="38"/>
                  <a:pt x="905" y="38"/>
                  <a:pt x="905" y="38"/>
                </a:cubicBezTo>
                <a:cubicBezTo>
                  <a:pt x="905" y="38"/>
                  <a:pt x="905" y="38"/>
                  <a:pt x="905" y="38"/>
                </a:cubicBezTo>
                <a:cubicBezTo>
                  <a:pt x="905" y="37"/>
                  <a:pt x="905" y="37"/>
                  <a:pt x="904" y="37"/>
                </a:cubicBezTo>
                <a:cubicBezTo>
                  <a:pt x="904" y="37"/>
                  <a:pt x="904" y="37"/>
                  <a:pt x="904" y="37"/>
                </a:cubicBezTo>
                <a:cubicBezTo>
                  <a:pt x="904" y="37"/>
                  <a:pt x="904" y="37"/>
                  <a:pt x="904" y="36"/>
                </a:cubicBezTo>
                <a:cubicBezTo>
                  <a:pt x="904" y="36"/>
                  <a:pt x="904" y="36"/>
                  <a:pt x="904" y="36"/>
                </a:cubicBezTo>
                <a:cubicBezTo>
                  <a:pt x="904" y="36"/>
                  <a:pt x="904" y="36"/>
                  <a:pt x="904" y="36"/>
                </a:cubicBezTo>
                <a:cubicBezTo>
                  <a:pt x="904" y="36"/>
                  <a:pt x="904" y="36"/>
                  <a:pt x="904" y="36"/>
                </a:cubicBezTo>
                <a:cubicBezTo>
                  <a:pt x="903" y="36"/>
                  <a:pt x="903" y="36"/>
                  <a:pt x="903" y="36"/>
                </a:cubicBezTo>
                <a:cubicBezTo>
                  <a:pt x="903" y="36"/>
                  <a:pt x="903" y="36"/>
                  <a:pt x="903" y="36"/>
                </a:cubicBezTo>
                <a:cubicBezTo>
                  <a:pt x="903" y="36"/>
                  <a:pt x="903" y="35"/>
                  <a:pt x="902" y="35"/>
                </a:cubicBezTo>
                <a:cubicBezTo>
                  <a:pt x="902" y="35"/>
                  <a:pt x="902" y="35"/>
                  <a:pt x="902" y="35"/>
                </a:cubicBezTo>
                <a:cubicBezTo>
                  <a:pt x="902" y="35"/>
                  <a:pt x="902" y="35"/>
                  <a:pt x="902" y="35"/>
                </a:cubicBezTo>
                <a:cubicBezTo>
                  <a:pt x="902" y="35"/>
                  <a:pt x="902" y="35"/>
                  <a:pt x="902" y="35"/>
                </a:cubicBezTo>
                <a:cubicBezTo>
                  <a:pt x="902" y="35"/>
                  <a:pt x="902" y="35"/>
                  <a:pt x="902" y="35"/>
                </a:cubicBezTo>
                <a:cubicBezTo>
                  <a:pt x="902" y="35"/>
                  <a:pt x="901" y="35"/>
                  <a:pt x="901" y="35"/>
                </a:cubicBezTo>
                <a:cubicBezTo>
                  <a:pt x="901" y="35"/>
                  <a:pt x="901" y="35"/>
                  <a:pt x="901" y="35"/>
                </a:cubicBezTo>
                <a:cubicBezTo>
                  <a:pt x="901" y="34"/>
                  <a:pt x="901" y="34"/>
                  <a:pt x="900" y="34"/>
                </a:cubicBezTo>
                <a:cubicBezTo>
                  <a:pt x="900" y="34"/>
                  <a:pt x="900" y="34"/>
                  <a:pt x="900" y="34"/>
                </a:cubicBezTo>
                <a:cubicBezTo>
                  <a:pt x="900" y="34"/>
                  <a:pt x="900" y="34"/>
                  <a:pt x="900" y="34"/>
                </a:cubicBezTo>
                <a:cubicBezTo>
                  <a:pt x="900" y="34"/>
                  <a:pt x="900" y="34"/>
                  <a:pt x="899" y="34"/>
                </a:cubicBezTo>
                <a:cubicBezTo>
                  <a:pt x="899" y="34"/>
                  <a:pt x="899" y="34"/>
                  <a:pt x="899" y="34"/>
                </a:cubicBezTo>
                <a:cubicBezTo>
                  <a:pt x="899" y="34"/>
                  <a:pt x="899" y="34"/>
                  <a:pt x="898" y="34"/>
                </a:cubicBezTo>
                <a:cubicBezTo>
                  <a:pt x="898" y="34"/>
                  <a:pt x="898" y="34"/>
                  <a:pt x="898" y="34"/>
                </a:cubicBezTo>
                <a:cubicBezTo>
                  <a:pt x="898" y="33"/>
                  <a:pt x="898" y="34"/>
                  <a:pt x="897" y="33"/>
                </a:cubicBezTo>
                <a:cubicBezTo>
                  <a:pt x="897" y="33"/>
                  <a:pt x="897" y="33"/>
                  <a:pt x="897" y="33"/>
                </a:cubicBezTo>
                <a:cubicBezTo>
                  <a:pt x="897" y="33"/>
                  <a:pt x="897" y="33"/>
                  <a:pt x="897" y="33"/>
                </a:cubicBezTo>
                <a:cubicBezTo>
                  <a:pt x="897" y="33"/>
                  <a:pt x="896" y="33"/>
                  <a:pt x="896" y="33"/>
                </a:cubicBezTo>
                <a:cubicBezTo>
                  <a:pt x="895" y="33"/>
                  <a:pt x="895" y="33"/>
                  <a:pt x="895" y="33"/>
                </a:cubicBezTo>
                <a:cubicBezTo>
                  <a:pt x="894" y="33"/>
                  <a:pt x="894" y="33"/>
                  <a:pt x="893" y="33"/>
                </a:cubicBezTo>
                <a:cubicBezTo>
                  <a:pt x="891" y="33"/>
                  <a:pt x="890" y="33"/>
                  <a:pt x="888" y="33"/>
                </a:cubicBezTo>
                <a:cubicBezTo>
                  <a:pt x="887" y="33"/>
                  <a:pt x="886" y="33"/>
                  <a:pt x="886" y="33"/>
                </a:cubicBezTo>
                <a:cubicBezTo>
                  <a:pt x="885" y="33"/>
                  <a:pt x="885" y="33"/>
                  <a:pt x="885" y="33"/>
                </a:cubicBezTo>
                <a:cubicBezTo>
                  <a:pt x="885" y="33"/>
                  <a:pt x="885" y="33"/>
                  <a:pt x="885" y="33"/>
                </a:cubicBezTo>
                <a:cubicBezTo>
                  <a:pt x="885" y="33"/>
                  <a:pt x="884" y="33"/>
                  <a:pt x="884" y="33"/>
                </a:cubicBezTo>
                <a:cubicBezTo>
                  <a:pt x="884" y="33"/>
                  <a:pt x="884" y="33"/>
                  <a:pt x="884" y="33"/>
                </a:cubicBezTo>
                <a:cubicBezTo>
                  <a:pt x="884" y="34"/>
                  <a:pt x="883" y="33"/>
                  <a:pt x="883" y="34"/>
                </a:cubicBezTo>
                <a:cubicBezTo>
                  <a:pt x="883" y="34"/>
                  <a:pt x="883" y="34"/>
                  <a:pt x="882" y="34"/>
                </a:cubicBezTo>
                <a:cubicBezTo>
                  <a:pt x="882" y="34"/>
                  <a:pt x="882" y="34"/>
                  <a:pt x="882" y="34"/>
                </a:cubicBezTo>
                <a:cubicBezTo>
                  <a:pt x="882" y="34"/>
                  <a:pt x="882" y="34"/>
                  <a:pt x="881" y="34"/>
                </a:cubicBezTo>
                <a:cubicBezTo>
                  <a:pt x="881" y="34"/>
                  <a:pt x="881" y="34"/>
                  <a:pt x="881" y="34"/>
                </a:cubicBezTo>
                <a:cubicBezTo>
                  <a:pt x="881" y="34"/>
                  <a:pt x="881" y="34"/>
                  <a:pt x="881" y="34"/>
                </a:cubicBezTo>
                <a:cubicBezTo>
                  <a:pt x="880" y="35"/>
                  <a:pt x="880" y="34"/>
                  <a:pt x="880" y="35"/>
                </a:cubicBezTo>
                <a:cubicBezTo>
                  <a:pt x="880" y="35"/>
                  <a:pt x="880" y="35"/>
                  <a:pt x="880" y="35"/>
                </a:cubicBezTo>
                <a:cubicBezTo>
                  <a:pt x="879" y="35"/>
                  <a:pt x="879" y="35"/>
                  <a:pt x="879" y="35"/>
                </a:cubicBezTo>
                <a:cubicBezTo>
                  <a:pt x="879" y="35"/>
                  <a:pt x="879" y="35"/>
                  <a:pt x="879" y="35"/>
                </a:cubicBezTo>
                <a:cubicBezTo>
                  <a:pt x="879" y="35"/>
                  <a:pt x="879" y="35"/>
                  <a:pt x="879" y="35"/>
                </a:cubicBezTo>
                <a:cubicBezTo>
                  <a:pt x="878" y="35"/>
                  <a:pt x="878" y="35"/>
                  <a:pt x="878" y="35"/>
                </a:cubicBezTo>
                <a:cubicBezTo>
                  <a:pt x="878" y="35"/>
                  <a:pt x="878" y="35"/>
                  <a:pt x="878" y="35"/>
                </a:cubicBezTo>
                <a:cubicBezTo>
                  <a:pt x="878" y="35"/>
                  <a:pt x="878" y="36"/>
                  <a:pt x="878" y="36"/>
                </a:cubicBezTo>
                <a:cubicBezTo>
                  <a:pt x="878" y="36"/>
                  <a:pt x="878" y="36"/>
                  <a:pt x="878" y="36"/>
                </a:cubicBezTo>
                <a:cubicBezTo>
                  <a:pt x="878" y="36"/>
                  <a:pt x="877" y="36"/>
                  <a:pt x="877" y="36"/>
                </a:cubicBezTo>
                <a:cubicBezTo>
                  <a:pt x="877" y="36"/>
                  <a:pt x="877" y="36"/>
                  <a:pt x="877" y="36"/>
                </a:cubicBezTo>
                <a:cubicBezTo>
                  <a:pt x="877" y="36"/>
                  <a:pt x="876" y="36"/>
                  <a:pt x="876" y="37"/>
                </a:cubicBezTo>
                <a:cubicBezTo>
                  <a:pt x="876" y="37"/>
                  <a:pt x="876" y="37"/>
                  <a:pt x="876" y="37"/>
                </a:cubicBezTo>
                <a:cubicBezTo>
                  <a:pt x="876" y="37"/>
                  <a:pt x="876" y="37"/>
                  <a:pt x="876" y="37"/>
                </a:cubicBezTo>
                <a:cubicBezTo>
                  <a:pt x="876" y="37"/>
                  <a:pt x="876" y="37"/>
                  <a:pt x="876" y="37"/>
                </a:cubicBezTo>
                <a:cubicBezTo>
                  <a:pt x="876" y="37"/>
                  <a:pt x="875" y="37"/>
                  <a:pt x="875" y="38"/>
                </a:cubicBezTo>
                <a:cubicBezTo>
                  <a:pt x="875" y="38"/>
                  <a:pt x="875" y="38"/>
                  <a:pt x="875" y="38"/>
                </a:cubicBezTo>
                <a:cubicBezTo>
                  <a:pt x="875" y="38"/>
                  <a:pt x="875" y="38"/>
                  <a:pt x="875" y="38"/>
                </a:cubicBezTo>
                <a:cubicBezTo>
                  <a:pt x="875" y="38"/>
                  <a:pt x="875" y="38"/>
                  <a:pt x="875" y="38"/>
                </a:cubicBezTo>
                <a:cubicBezTo>
                  <a:pt x="875" y="38"/>
                  <a:pt x="874" y="38"/>
                  <a:pt x="874" y="38"/>
                </a:cubicBezTo>
                <a:cubicBezTo>
                  <a:pt x="874" y="38"/>
                  <a:pt x="874" y="38"/>
                  <a:pt x="874" y="38"/>
                </a:cubicBezTo>
                <a:cubicBezTo>
                  <a:pt x="874" y="38"/>
                  <a:pt x="874" y="38"/>
                  <a:pt x="874" y="39"/>
                </a:cubicBezTo>
                <a:cubicBezTo>
                  <a:pt x="874" y="39"/>
                  <a:pt x="874" y="39"/>
                  <a:pt x="874" y="39"/>
                </a:cubicBezTo>
                <a:cubicBezTo>
                  <a:pt x="874" y="39"/>
                  <a:pt x="874" y="39"/>
                  <a:pt x="874" y="39"/>
                </a:cubicBezTo>
                <a:cubicBezTo>
                  <a:pt x="874" y="39"/>
                  <a:pt x="874" y="39"/>
                  <a:pt x="874" y="39"/>
                </a:cubicBezTo>
                <a:cubicBezTo>
                  <a:pt x="874" y="39"/>
                  <a:pt x="873" y="39"/>
                  <a:pt x="873" y="39"/>
                </a:cubicBezTo>
                <a:cubicBezTo>
                  <a:pt x="873" y="39"/>
                  <a:pt x="873" y="39"/>
                  <a:pt x="873" y="39"/>
                </a:cubicBezTo>
                <a:cubicBezTo>
                  <a:pt x="873" y="39"/>
                  <a:pt x="873" y="39"/>
                  <a:pt x="873" y="40"/>
                </a:cubicBezTo>
                <a:cubicBezTo>
                  <a:pt x="873" y="40"/>
                  <a:pt x="873" y="40"/>
                  <a:pt x="873" y="40"/>
                </a:cubicBezTo>
                <a:cubicBezTo>
                  <a:pt x="873" y="40"/>
                  <a:pt x="873" y="40"/>
                  <a:pt x="873" y="40"/>
                </a:cubicBezTo>
                <a:cubicBezTo>
                  <a:pt x="873" y="40"/>
                  <a:pt x="873" y="40"/>
                  <a:pt x="873" y="40"/>
                </a:cubicBezTo>
                <a:cubicBezTo>
                  <a:pt x="873" y="40"/>
                  <a:pt x="872" y="40"/>
                  <a:pt x="872" y="40"/>
                </a:cubicBezTo>
                <a:cubicBezTo>
                  <a:pt x="872" y="40"/>
                  <a:pt x="872" y="40"/>
                  <a:pt x="872" y="40"/>
                </a:cubicBezTo>
                <a:cubicBezTo>
                  <a:pt x="872" y="40"/>
                  <a:pt x="872" y="40"/>
                  <a:pt x="872" y="41"/>
                </a:cubicBezTo>
                <a:cubicBezTo>
                  <a:pt x="872" y="41"/>
                  <a:pt x="872" y="41"/>
                  <a:pt x="872" y="41"/>
                </a:cubicBezTo>
                <a:cubicBezTo>
                  <a:pt x="872" y="41"/>
                  <a:pt x="872" y="41"/>
                  <a:pt x="872" y="41"/>
                </a:cubicBezTo>
                <a:cubicBezTo>
                  <a:pt x="872" y="41"/>
                  <a:pt x="872" y="41"/>
                  <a:pt x="872" y="41"/>
                </a:cubicBezTo>
                <a:cubicBezTo>
                  <a:pt x="871" y="41"/>
                  <a:pt x="871" y="41"/>
                  <a:pt x="871" y="41"/>
                </a:cubicBezTo>
                <a:cubicBezTo>
                  <a:pt x="871" y="41"/>
                  <a:pt x="871" y="41"/>
                  <a:pt x="871" y="41"/>
                </a:cubicBezTo>
                <a:cubicBezTo>
                  <a:pt x="871" y="41"/>
                  <a:pt x="871" y="42"/>
                  <a:pt x="871" y="42"/>
                </a:cubicBezTo>
                <a:cubicBezTo>
                  <a:pt x="871" y="42"/>
                  <a:pt x="871" y="42"/>
                  <a:pt x="871" y="42"/>
                </a:cubicBezTo>
                <a:cubicBezTo>
                  <a:pt x="871" y="42"/>
                  <a:pt x="871" y="42"/>
                  <a:pt x="871" y="42"/>
                </a:cubicBezTo>
                <a:cubicBezTo>
                  <a:pt x="871" y="42"/>
                  <a:pt x="871" y="42"/>
                  <a:pt x="871" y="42"/>
                </a:cubicBezTo>
                <a:cubicBezTo>
                  <a:pt x="870" y="42"/>
                  <a:pt x="870" y="43"/>
                  <a:pt x="870" y="43"/>
                </a:cubicBezTo>
                <a:cubicBezTo>
                  <a:pt x="870" y="43"/>
                  <a:pt x="870" y="43"/>
                  <a:pt x="870" y="43"/>
                </a:cubicBezTo>
                <a:cubicBezTo>
                  <a:pt x="870" y="43"/>
                  <a:pt x="870" y="43"/>
                  <a:pt x="870" y="43"/>
                </a:cubicBezTo>
                <a:cubicBezTo>
                  <a:pt x="870" y="43"/>
                  <a:pt x="870" y="43"/>
                  <a:pt x="870" y="43"/>
                </a:cubicBezTo>
                <a:cubicBezTo>
                  <a:pt x="870" y="44"/>
                  <a:pt x="870" y="44"/>
                  <a:pt x="870" y="44"/>
                </a:cubicBezTo>
                <a:cubicBezTo>
                  <a:pt x="870" y="44"/>
                  <a:pt x="870" y="44"/>
                  <a:pt x="870" y="44"/>
                </a:cubicBezTo>
                <a:cubicBezTo>
                  <a:pt x="869" y="44"/>
                  <a:pt x="869" y="44"/>
                  <a:pt x="869" y="44"/>
                </a:cubicBezTo>
                <a:cubicBezTo>
                  <a:pt x="869" y="44"/>
                  <a:pt x="869" y="44"/>
                  <a:pt x="869" y="44"/>
                </a:cubicBezTo>
                <a:cubicBezTo>
                  <a:pt x="869" y="45"/>
                  <a:pt x="869" y="45"/>
                  <a:pt x="869" y="45"/>
                </a:cubicBezTo>
                <a:cubicBezTo>
                  <a:pt x="869" y="45"/>
                  <a:pt x="869" y="45"/>
                  <a:pt x="869" y="45"/>
                </a:cubicBezTo>
                <a:cubicBezTo>
                  <a:pt x="869" y="45"/>
                  <a:pt x="869" y="45"/>
                  <a:pt x="869" y="46"/>
                </a:cubicBezTo>
                <a:cubicBezTo>
                  <a:pt x="869" y="46"/>
                  <a:pt x="869" y="46"/>
                  <a:pt x="869" y="46"/>
                </a:cubicBezTo>
                <a:cubicBezTo>
                  <a:pt x="868" y="46"/>
                  <a:pt x="868" y="46"/>
                  <a:pt x="868" y="45"/>
                </a:cubicBezTo>
                <a:cubicBezTo>
                  <a:pt x="868" y="45"/>
                  <a:pt x="868" y="45"/>
                  <a:pt x="868" y="45"/>
                </a:cubicBezTo>
                <a:cubicBezTo>
                  <a:pt x="868" y="45"/>
                  <a:pt x="868" y="45"/>
                  <a:pt x="868" y="45"/>
                </a:cubicBezTo>
                <a:cubicBezTo>
                  <a:pt x="868" y="45"/>
                  <a:pt x="868" y="45"/>
                  <a:pt x="867" y="44"/>
                </a:cubicBezTo>
                <a:cubicBezTo>
                  <a:pt x="867" y="44"/>
                  <a:pt x="867" y="44"/>
                  <a:pt x="867" y="44"/>
                </a:cubicBezTo>
                <a:cubicBezTo>
                  <a:pt x="867" y="44"/>
                  <a:pt x="867" y="44"/>
                  <a:pt x="867" y="44"/>
                </a:cubicBezTo>
                <a:cubicBezTo>
                  <a:pt x="867" y="44"/>
                  <a:pt x="867" y="44"/>
                  <a:pt x="867" y="44"/>
                </a:cubicBezTo>
                <a:cubicBezTo>
                  <a:pt x="867" y="44"/>
                  <a:pt x="867" y="43"/>
                  <a:pt x="867" y="43"/>
                </a:cubicBezTo>
                <a:cubicBezTo>
                  <a:pt x="867" y="43"/>
                  <a:pt x="867" y="43"/>
                  <a:pt x="867" y="43"/>
                </a:cubicBezTo>
                <a:cubicBezTo>
                  <a:pt x="867" y="43"/>
                  <a:pt x="867" y="43"/>
                  <a:pt x="866" y="42"/>
                </a:cubicBezTo>
                <a:cubicBezTo>
                  <a:pt x="866" y="42"/>
                  <a:pt x="866" y="42"/>
                  <a:pt x="866" y="42"/>
                </a:cubicBezTo>
                <a:cubicBezTo>
                  <a:pt x="866" y="42"/>
                  <a:pt x="866" y="42"/>
                  <a:pt x="866" y="42"/>
                </a:cubicBezTo>
                <a:cubicBezTo>
                  <a:pt x="866" y="42"/>
                  <a:pt x="866" y="42"/>
                  <a:pt x="866" y="42"/>
                </a:cubicBezTo>
                <a:cubicBezTo>
                  <a:pt x="866" y="42"/>
                  <a:pt x="866" y="41"/>
                  <a:pt x="866" y="41"/>
                </a:cubicBezTo>
                <a:cubicBezTo>
                  <a:pt x="866" y="41"/>
                  <a:pt x="866" y="41"/>
                  <a:pt x="866" y="41"/>
                </a:cubicBezTo>
                <a:cubicBezTo>
                  <a:pt x="865" y="41"/>
                  <a:pt x="866" y="41"/>
                  <a:pt x="865" y="41"/>
                </a:cubicBezTo>
                <a:cubicBezTo>
                  <a:pt x="865" y="41"/>
                  <a:pt x="865" y="41"/>
                  <a:pt x="865" y="41"/>
                </a:cubicBezTo>
                <a:cubicBezTo>
                  <a:pt x="865" y="40"/>
                  <a:pt x="865" y="40"/>
                  <a:pt x="865" y="40"/>
                </a:cubicBezTo>
                <a:cubicBezTo>
                  <a:pt x="865" y="40"/>
                  <a:pt x="865" y="40"/>
                  <a:pt x="865" y="40"/>
                </a:cubicBezTo>
                <a:cubicBezTo>
                  <a:pt x="865" y="40"/>
                  <a:pt x="865"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3" y="38"/>
                  <a:pt x="863" y="38"/>
                  <a:pt x="863" y="38"/>
                </a:cubicBezTo>
                <a:cubicBezTo>
                  <a:pt x="863" y="38"/>
                  <a:pt x="863" y="38"/>
                  <a:pt x="863" y="38"/>
                </a:cubicBezTo>
                <a:cubicBezTo>
                  <a:pt x="863" y="38"/>
                  <a:pt x="863" y="38"/>
                  <a:pt x="863" y="38"/>
                </a:cubicBezTo>
                <a:cubicBezTo>
                  <a:pt x="863" y="38"/>
                  <a:pt x="863" y="38"/>
                  <a:pt x="863" y="38"/>
                </a:cubicBezTo>
                <a:cubicBezTo>
                  <a:pt x="863" y="38"/>
                  <a:pt x="863" y="38"/>
                  <a:pt x="862" y="38"/>
                </a:cubicBezTo>
                <a:cubicBezTo>
                  <a:pt x="862" y="38"/>
                  <a:pt x="862" y="38"/>
                  <a:pt x="862" y="38"/>
                </a:cubicBezTo>
                <a:cubicBezTo>
                  <a:pt x="862" y="37"/>
                  <a:pt x="862" y="37"/>
                  <a:pt x="862" y="37"/>
                </a:cubicBezTo>
                <a:cubicBezTo>
                  <a:pt x="862" y="37"/>
                  <a:pt x="862" y="37"/>
                  <a:pt x="862" y="37"/>
                </a:cubicBezTo>
                <a:cubicBezTo>
                  <a:pt x="862" y="37"/>
                  <a:pt x="862" y="37"/>
                  <a:pt x="862" y="37"/>
                </a:cubicBezTo>
                <a:cubicBezTo>
                  <a:pt x="862" y="37"/>
                  <a:pt x="862" y="37"/>
                  <a:pt x="862" y="37"/>
                </a:cubicBezTo>
                <a:cubicBezTo>
                  <a:pt x="861" y="37"/>
                  <a:pt x="861" y="37"/>
                  <a:pt x="861" y="36"/>
                </a:cubicBezTo>
                <a:cubicBezTo>
                  <a:pt x="861" y="36"/>
                  <a:pt x="861" y="36"/>
                  <a:pt x="861" y="36"/>
                </a:cubicBezTo>
                <a:cubicBezTo>
                  <a:pt x="861" y="36"/>
                  <a:pt x="861" y="36"/>
                  <a:pt x="861" y="36"/>
                </a:cubicBezTo>
                <a:cubicBezTo>
                  <a:pt x="861" y="36"/>
                  <a:pt x="861" y="36"/>
                  <a:pt x="861" y="36"/>
                </a:cubicBezTo>
                <a:cubicBezTo>
                  <a:pt x="861" y="36"/>
                  <a:pt x="860" y="36"/>
                  <a:pt x="860" y="36"/>
                </a:cubicBezTo>
                <a:cubicBezTo>
                  <a:pt x="860" y="36"/>
                  <a:pt x="860" y="36"/>
                  <a:pt x="860" y="36"/>
                </a:cubicBezTo>
                <a:cubicBezTo>
                  <a:pt x="860" y="36"/>
                  <a:pt x="860" y="36"/>
                  <a:pt x="859" y="35"/>
                </a:cubicBezTo>
                <a:cubicBezTo>
                  <a:pt x="859" y="35"/>
                  <a:pt x="859" y="35"/>
                  <a:pt x="859" y="35"/>
                </a:cubicBezTo>
                <a:cubicBezTo>
                  <a:pt x="859" y="35"/>
                  <a:pt x="859" y="35"/>
                  <a:pt x="859" y="35"/>
                </a:cubicBezTo>
                <a:cubicBezTo>
                  <a:pt x="859" y="35"/>
                  <a:pt x="859" y="35"/>
                  <a:pt x="859" y="35"/>
                </a:cubicBezTo>
                <a:cubicBezTo>
                  <a:pt x="859" y="35"/>
                  <a:pt x="859" y="35"/>
                  <a:pt x="858" y="35"/>
                </a:cubicBezTo>
                <a:cubicBezTo>
                  <a:pt x="858" y="35"/>
                  <a:pt x="858" y="35"/>
                  <a:pt x="858" y="35"/>
                </a:cubicBezTo>
                <a:cubicBezTo>
                  <a:pt x="858" y="34"/>
                  <a:pt x="858" y="35"/>
                  <a:pt x="858" y="34"/>
                </a:cubicBezTo>
                <a:cubicBezTo>
                  <a:pt x="858" y="34"/>
                  <a:pt x="858" y="34"/>
                  <a:pt x="858" y="34"/>
                </a:cubicBezTo>
                <a:cubicBezTo>
                  <a:pt x="857" y="34"/>
                  <a:pt x="857" y="34"/>
                  <a:pt x="857" y="34"/>
                </a:cubicBezTo>
                <a:cubicBezTo>
                  <a:pt x="857" y="34"/>
                  <a:pt x="857" y="34"/>
                  <a:pt x="857" y="34"/>
                </a:cubicBezTo>
                <a:cubicBezTo>
                  <a:pt x="857" y="34"/>
                  <a:pt x="857" y="34"/>
                  <a:pt x="857" y="34"/>
                </a:cubicBezTo>
                <a:cubicBezTo>
                  <a:pt x="856" y="34"/>
                  <a:pt x="856" y="34"/>
                  <a:pt x="856" y="34"/>
                </a:cubicBezTo>
                <a:cubicBezTo>
                  <a:pt x="856" y="34"/>
                  <a:pt x="856" y="34"/>
                  <a:pt x="856" y="34"/>
                </a:cubicBezTo>
                <a:cubicBezTo>
                  <a:pt x="855" y="33"/>
                  <a:pt x="855" y="33"/>
                  <a:pt x="855" y="33"/>
                </a:cubicBezTo>
                <a:cubicBezTo>
                  <a:pt x="855" y="33"/>
                  <a:pt x="855" y="33"/>
                  <a:pt x="855" y="33"/>
                </a:cubicBezTo>
                <a:cubicBezTo>
                  <a:pt x="855" y="33"/>
                  <a:pt x="855" y="33"/>
                  <a:pt x="855" y="33"/>
                </a:cubicBezTo>
                <a:cubicBezTo>
                  <a:pt x="854" y="33"/>
                  <a:pt x="854" y="33"/>
                  <a:pt x="853" y="33"/>
                </a:cubicBezTo>
                <a:cubicBezTo>
                  <a:pt x="853" y="33"/>
                  <a:pt x="853" y="33"/>
                  <a:pt x="853" y="33"/>
                </a:cubicBezTo>
                <a:cubicBezTo>
                  <a:pt x="853" y="33"/>
                  <a:pt x="853" y="33"/>
                  <a:pt x="853" y="33"/>
                </a:cubicBezTo>
                <a:cubicBezTo>
                  <a:pt x="852" y="33"/>
                  <a:pt x="852" y="33"/>
                  <a:pt x="851" y="33"/>
                </a:cubicBezTo>
                <a:cubicBezTo>
                  <a:pt x="850" y="33"/>
                  <a:pt x="848" y="33"/>
                  <a:pt x="847" y="33"/>
                </a:cubicBezTo>
                <a:cubicBezTo>
                  <a:pt x="846" y="33"/>
                  <a:pt x="845" y="33"/>
                  <a:pt x="844" y="33"/>
                </a:cubicBezTo>
                <a:cubicBezTo>
                  <a:pt x="844" y="33"/>
                  <a:pt x="844" y="33"/>
                  <a:pt x="844" y="33"/>
                </a:cubicBezTo>
                <a:cubicBezTo>
                  <a:pt x="844" y="33"/>
                  <a:pt x="843" y="33"/>
                  <a:pt x="843" y="33"/>
                </a:cubicBezTo>
                <a:cubicBezTo>
                  <a:pt x="843" y="33"/>
                  <a:pt x="843" y="33"/>
                  <a:pt x="842" y="33"/>
                </a:cubicBezTo>
                <a:cubicBezTo>
                  <a:pt x="842" y="34"/>
                  <a:pt x="842" y="33"/>
                  <a:pt x="841" y="34"/>
                </a:cubicBezTo>
                <a:cubicBezTo>
                  <a:pt x="841" y="34"/>
                  <a:pt x="841" y="34"/>
                  <a:pt x="841" y="34"/>
                </a:cubicBezTo>
                <a:cubicBezTo>
                  <a:pt x="841" y="34"/>
                  <a:pt x="841" y="34"/>
                  <a:pt x="840" y="34"/>
                </a:cubicBezTo>
                <a:cubicBezTo>
                  <a:pt x="840" y="34"/>
                  <a:pt x="840" y="34"/>
                  <a:pt x="840" y="34"/>
                </a:cubicBezTo>
                <a:cubicBezTo>
                  <a:pt x="840" y="34"/>
                  <a:pt x="840" y="34"/>
                  <a:pt x="840" y="34"/>
                </a:cubicBezTo>
                <a:cubicBezTo>
                  <a:pt x="839" y="34"/>
                  <a:pt x="839" y="34"/>
                  <a:pt x="839" y="34"/>
                </a:cubicBezTo>
                <a:cubicBezTo>
                  <a:pt x="839" y="34"/>
                  <a:pt x="839" y="34"/>
                  <a:pt x="839" y="34"/>
                </a:cubicBezTo>
                <a:cubicBezTo>
                  <a:pt x="839" y="34"/>
                  <a:pt x="839" y="34"/>
                  <a:pt x="839" y="35"/>
                </a:cubicBezTo>
                <a:cubicBezTo>
                  <a:pt x="839" y="35"/>
                  <a:pt x="839" y="35"/>
                  <a:pt x="839" y="35"/>
                </a:cubicBezTo>
                <a:cubicBezTo>
                  <a:pt x="838" y="35"/>
                  <a:pt x="838" y="35"/>
                  <a:pt x="838" y="35"/>
                </a:cubicBezTo>
                <a:cubicBezTo>
                  <a:pt x="838" y="35"/>
                  <a:pt x="838" y="35"/>
                  <a:pt x="838" y="35"/>
                </a:cubicBezTo>
                <a:cubicBezTo>
                  <a:pt x="838" y="35"/>
                  <a:pt x="837" y="35"/>
                  <a:pt x="837" y="35"/>
                </a:cubicBezTo>
                <a:cubicBezTo>
                  <a:pt x="837" y="35"/>
                  <a:pt x="837" y="35"/>
                  <a:pt x="837" y="35"/>
                </a:cubicBezTo>
                <a:cubicBezTo>
                  <a:pt x="837" y="35"/>
                  <a:pt x="837" y="36"/>
                  <a:pt x="837" y="36"/>
                </a:cubicBezTo>
                <a:cubicBezTo>
                  <a:pt x="837" y="36"/>
                  <a:pt x="837" y="36"/>
                  <a:pt x="837" y="36"/>
                </a:cubicBezTo>
                <a:cubicBezTo>
                  <a:pt x="837" y="36"/>
                  <a:pt x="836" y="36"/>
                  <a:pt x="836" y="36"/>
                </a:cubicBezTo>
                <a:cubicBezTo>
                  <a:pt x="836" y="36"/>
                  <a:pt x="836" y="36"/>
                  <a:pt x="836" y="36"/>
                </a:cubicBezTo>
                <a:cubicBezTo>
                  <a:pt x="836" y="36"/>
                  <a:pt x="835" y="36"/>
                  <a:pt x="835" y="37"/>
                </a:cubicBezTo>
                <a:cubicBezTo>
                  <a:pt x="835" y="37"/>
                  <a:pt x="835" y="37"/>
                  <a:pt x="835" y="37"/>
                </a:cubicBezTo>
                <a:cubicBezTo>
                  <a:pt x="835" y="37"/>
                  <a:pt x="835" y="37"/>
                  <a:pt x="835" y="37"/>
                </a:cubicBezTo>
                <a:cubicBezTo>
                  <a:pt x="835" y="37"/>
                  <a:pt x="835" y="37"/>
                  <a:pt x="835" y="37"/>
                </a:cubicBezTo>
                <a:cubicBezTo>
                  <a:pt x="834" y="37"/>
                  <a:pt x="834" y="37"/>
                  <a:pt x="834" y="38"/>
                </a:cubicBezTo>
                <a:cubicBezTo>
                  <a:pt x="834" y="38"/>
                  <a:pt x="834" y="38"/>
                  <a:pt x="834" y="38"/>
                </a:cubicBezTo>
                <a:cubicBezTo>
                  <a:pt x="834" y="38"/>
                  <a:pt x="833" y="38"/>
                  <a:pt x="833" y="38"/>
                </a:cubicBezTo>
                <a:cubicBezTo>
                  <a:pt x="833" y="38"/>
                  <a:pt x="833" y="38"/>
                  <a:pt x="833" y="38"/>
                </a:cubicBezTo>
                <a:cubicBezTo>
                  <a:pt x="833" y="38"/>
                  <a:pt x="833" y="38"/>
                  <a:pt x="833" y="39"/>
                </a:cubicBezTo>
                <a:cubicBezTo>
                  <a:pt x="833" y="39"/>
                  <a:pt x="833" y="39"/>
                  <a:pt x="833" y="39"/>
                </a:cubicBezTo>
                <a:cubicBezTo>
                  <a:pt x="833" y="39"/>
                  <a:pt x="833" y="39"/>
                  <a:pt x="833" y="39"/>
                </a:cubicBezTo>
                <a:cubicBezTo>
                  <a:pt x="833" y="39"/>
                  <a:pt x="833" y="39"/>
                  <a:pt x="833" y="39"/>
                </a:cubicBezTo>
                <a:cubicBezTo>
                  <a:pt x="832" y="39"/>
                  <a:pt x="832" y="39"/>
                  <a:pt x="832" y="39"/>
                </a:cubicBezTo>
                <a:cubicBezTo>
                  <a:pt x="832" y="39"/>
                  <a:pt x="832" y="39"/>
                  <a:pt x="832" y="39"/>
                </a:cubicBezTo>
                <a:cubicBezTo>
                  <a:pt x="832" y="39"/>
                  <a:pt x="832" y="39"/>
                  <a:pt x="832" y="40"/>
                </a:cubicBezTo>
                <a:cubicBezTo>
                  <a:pt x="832" y="40"/>
                  <a:pt x="832" y="40"/>
                  <a:pt x="832" y="40"/>
                </a:cubicBezTo>
                <a:cubicBezTo>
                  <a:pt x="832" y="40"/>
                  <a:pt x="832" y="40"/>
                  <a:pt x="832" y="40"/>
                </a:cubicBezTo>
                <a:cubicBezTo>
                  <a:pt x="832" y="40"/>
                  <a:pt x="832" y="40"/>
                  <a:pt x="832" y="40"/>
                </a:cubicBezTo>
                <a:cubicBezTo>
                  <a:pt x="831" y="40"/>
                  <a:pt x="831" y="40"/>
                  <a:pt x="831" y="40"/>
                </a:cubicBezTo>
                <a:cubicBezTo>
                  <a:pt x="831" y="40"/>
                  <a:pt x="831" y="40"/>
                  <a:pt x="831" y="40"/>
                </a:cubicBezTo>
                <a:cubicBezTo>
                  <a:pt x="831" y="41"/>
                  <a:pt x="831" y="41"/>
                  <a:pt x="831" y="41"/>
                </a:cubicBezTo>
                <a:cubicBezTo>
                  <a:pt x="831" y="41"/>
                  <a:pt x="831" y="41"/>
                  <a:pt x="831" y="41"/>
                </a:cubicBezTo>
                <a:cubicBezTo>
                  <a:pt x="830" y="41"/>
                  <a:pt x="830" y="42"/>
                  <a:pt x="830" y="42"/>
                </a:cubicBezTo>
                <a:cubicBezTo>
                  <a:pt x="830" y="42"/>
                  <a:pt x="830" y="42"/>
                  <a:pt x="830" y="42"/>
                </a:cubicBezTo>
                <a:cubicBezTo>
                  <a:pt x="830" y="42"/>
                  <a:pt x="830" y="42"/>
                  <a:pt x="830" y="42"/>
                </a:cubicBezTo>
                <a:cubicBezTo>
                  <a:pt x="830" y="42"/>
                  <a:pt x="830" y="42"/>
                  <a:pt x="830" y="42"/>
                </a:cubicBezTo>
                <a:cubicBezTo>
                  <a:pt x="830" y="42"/>
                  <a:pt x="830" y="43"/>
                  <a:pt x="829" y="43"/>
                </a:cubicBezTo>
                <a:cubicBezTo>
                  <a:pt x="829" y="43"/>
                  <a:pt x="829" y="43"/>
                  <a:pt x="829" y="43"/>
                </a:cubicBezTo>
                <a:cubicBezTo>
                  <a:pt x="829" y="43"/>
                  <a:pt x="829" y="43"/>
                  <a:pt x="829" y="43"/>
                </a:cubicBezTo>
                <a:cubicBezTo>
                  <a:pt x="829" y="43"/>
                  <a:pt x="829" y="43"/>
                  <a:pt x="829" y="43"/>
                </a:cubicBezTo>
                <a:cubicBezTo>
                  <a:pt x="829" y="43"/>
                  <a:pt x="829" y="44"/>
                  <a:pt x="829" y="44"/>
                </a:cubicBezTo>
                <a:cubicBezTo>
                  <a:pt x="829" y="44"/>
                  <a:pt x="829" y="44"/>
                  <a:pt x="829" y="44"/>
                </a:cubicBezTo>
                <a:cubicBezTo>
                  <a:pt x="829" y="44"/>
                  <a:pt x="829" y="44"/>
                  <a:pt x="828" y="44"/>
                </a:cubicBezTo>
                <a:cubicBezTo>
                  <a:pt x="828" y="44"/>
                  <a:pt x="828" y="44"/>
                  <a:pt x="828" y="44"/>
                </a:cubicBezTo>
                <a:cubicBezTo>
                  <a:pt x="828" y="44"/>
                  <a:pt x="828" y="43"/>
                  <a:pt x="828" y="43"/>
                </a:cubicBezTo>
                <a:cubicBezTo>
                  <a:pt x="828" y="40"/>
                  <a:pt x="828" y="38"/>
                  <a:pt x="828" y="36"/>
                </a:cubicBezTo>
                <a:cubicBezTo>
                  <a:pt x="828" y="34"/>
                  <a:pt x="827" y="34"/>
                  <a:pt x="826" y="34"/>
                </a:cubicBezTo>
                <a:cubicBezTo>
                  <a:pt x="824" y="34"/>
                  <a:pt x="821" y="34"/>
                  <a:pt x="819" y="34"/>
                </a:cubicBezTo>
                <a:cubicBezTo>
                  <a:pt x="817" y="34"/>
                  <a:pt x="817" y="34"/>
                  <a:pt x="817" y="36"/>
                </a:cubicBezTo>
                <a:cubicBezTo>
                  <a:pt x="817" y="50"/>
                  <a:pt x="817" y="63"/>
                  <a:pt x="817" y="77"/>
                </a:cubicBezTo>
                <a:cubicBezTo>
                  <a:pt x="817" y="85"/>
                  <a:pt x="817" y="92"/>
                  <a:pt x="817" y="100"/>
                </a:cubicBezTo>
                <a:cubicBezTo>
                  <a:pt x="817" y="101"/>
                  <a:pt x="817" y="102"/>
                  <a:pt x="819" y="102"/>
                </a:cubicBezTo>
                <a:cubicBezTo>
                  <a:pt x="821" y="102"/>
                  <a:pt x="824" y="102"/>
                  <a:pt x="826" y="102"/>
                </a:cubicBezTo>
                <a:cubicBezTo>
                  <a:pt x="828" y="102"/>
                  <a:pt x="828" y="102"/>
                  <a:pt x="828" y="100"/>
                </a:cubicBezTo>
                <a:cubicBezTo>
                  <a:pt x="828" y="88"/>
                  <a:pt x="828" y="76"/>
                  <a:pt x="828" y="65"/>
                </a:cubicBezTo>
                <a:cubicBezTo>
                  <a:pt x="828" y="64"/>
                  <a:pt x="828" y="63"/>
                  <a:pt x="828" y="63"/>
                </a:cubicBezTo>
                <a:cubicBezTo>
                  <a:pt x="828" y="62"/>
                  <a:pt x="828" y="61"/>
                  <a:pt x="828" y="61"/>
                </a:cubicBezTo>
                <a:cubicBezTo>
                  <a:pt x="828" y="60"/>
                  <a:pt x="828" y="59"/>
                  <a:pt x="828" y="58"/>
                </a:cubicBezTo>
                <a:cubicBezTo>
                  <a:pt x="828" y="58"/>
                  <a:pt x="828" y="58"/>
                  <a:pt x="828" y="58"/>
                </a:cubicBezTo>
                <a:cubicBezTo>
                  <a:pt x="828" y="58"/>
                  <a:pt x="828" y="58"/>
                  <a:pt x="828" y="58"/>
                </a:cubicBezTo>
                <a:cubicBezTo>
                  <a:pt x="829" y="58"/>
                  <a:pt x="828" y="57"/>
                  <a:pt x="829" y="56"/>
                </a:cubicBezTo>
                <a:cubicBezTo>
                  <a:pt x="829" y="56"/>
                  <a:pt x="829" y="56"/>
                  <a:pt x="829" y="56"/>
                </a:cubicBezTo>
                <a:cubicBezTo>
                  <a:pt x="829" y="56"/>
                  <a:pt x="829" y="56"/>
                  <a:pt x="829" y="56"/>
                </a:cubicBezTo>
                <a:cubicBezTo>
                  <a:pt x="829" y="56"/>
                  <a:pt x="829" y="55"/>
                  <a:pt x="829" y="55"/>
                </a:cubicBezTo>
                <a:cubicBezTo>
                  <a:pt x="829" y="55"/>
                  <a:pt x="829" y="55"/>
                  <a:pt x="829" y="55"/>
                </a:cubicBezTo>
                <a:cubicBezTo>
                  <a:pt x="829" y="55"/>
                  <a:pt x="829" y="55"/>
                  <a:pt x="829" y="55"/>
                </a:cubicBezTo>
                <a:cubicBezTo>
                  <a:pt x="829" y="55"/>
                  <a:pt x="829" y="54"/>
                  <a:pt x="829" y="54"/>
                </a:cubicBezTo>
                <a:cubicBezTo>
                  <a:pt x="829" y="54"/>
                  <a:pt x="829" y="54"/>
                  <a:pt x="829" y="54"/>
                </a:cubicBezTo>
                <a:cubicBezTo>
                  <a:pt x="830" y="54"/>
                  <a:pt x="829" y="53"/>
                  <a:pt x="830" y="53"/>
                </a:cubicBezTo>
                <a:cubicBezTo>
                  <a:pt x="830" y="53"/>
                  <a:pt x="830" y="53"/>
                  <a:pt x="830" y="53"/>
                </a:cubicBezTo>
                <a:cubicBezTo>
                  <a:pt x="830" y="53"/>
                  <a:pt x="830" y="52"/>
                  <a:pt x="830" y="52"/>
                </a:cubicBezTo>
                <a:cubicBezTo>
                  <a:pt x="830" y="52"/>
                  <a:pt x="830" y="52"/>
                  <a:pt x="830" y="52"/>
                </a:cubicBezTo>
                <a:cubicBezTo>
                  <a:pt x="830" y="52"/>
                  <a:pt x="830" y="52"/>
                  <a:pt x="830" y="51"/>
                </a:cubicBezTo>
                <a:cubicBezTo>
                  <a:pt x="830" y="51"/>
                  <a:pt x="830" y="51"/>
                  <a:pt x="830" y="51"/>
                </a:cubicBezTo>
                <a:cubicBezTo>
                  <a:pt x="831" y="51"/>
                  <a:pt x="831" y="51"/>
                  <a:pt x="831" y="51"/>
                </a:cubicBezTo>
                <a:cubicBezTo>
                  <a:pt x="831" y="51"/>
                  <a:pt x="831" y="51"/>
                  <a:pt x="831" y="51"/>
                </a:cubicBezTo>
                <a:cubicBezTo>
                  <a:pt x="831" y="51"/>
                  <a:pt x="831" y="50"/>
                  <a:pt x="831" y="50"/>
                </a:cubicBezTo>
                <a:cubicBezTo>
                  <a:pt x="831" y="50"/>
                  <a:pt x="831" y="50"/>
                  <a:pt x="831" y="50"/>
                </a:cubicBezTo>
                <a:cubicBezTo>
                  <a:pt x="831" y="50"/>
                  <a:pt x="831" y="49"/>
                  <a:pt x="832" y="49"/>
                </a:cubicBezTo>
                <a:cubicBezTo>
                  <a:pt x="832" y="49"/>
                  <a:pt x="832" y="49"/>
                  <a:pt x="832" y="49"/>
                </a:cubicBezTo>
                <a:cubicBezTo>
                  <a:pt x="832" y="49"/>
                  <a:pt x="832" y="49"/>
                  <a:pt x="832" y="49"/>
                </a:cubicBezTo>
                <a:cubicBezTo>
                  <a:pt x="832" y="49"/>
                  <a:pt x="832" y="49"/>
                  <a:pt x="832" y="49"/>
                </a:cubicBezTo>
                <a:cubicBezTo>
                  <a:pt x="832" y="49"/>
                  <a:pt x="832" y="48"/>
                  <a:pt x="832" y="48"/>
                </a:cubicBezTo>
                <a:cubicBezTo>
                  <a:pt x="832" y="48"/>
                  <a:pt x="832" y="48"/>
                  <a:pt x="832" y="48"/>
                </a:cubicBezTo>
                <a:cubicBezTo>
                  <a:pt x="832" y="48"/>
                  <a:pt x="833" y="48"/>
                  <a:pt x="833" y="48"/>
                </a:cubicBezTo>
                <a:cubicBezTo>
                  <a:pt x="833" y="48"/>
                  <a:pt x="833" y="48"/>
                  <a:pt x="833" y="48"/>
                </a:cubicBezTo>
                <a:cubicBezTo>
                  <a:pt x="833" y="48"/>
                  <a:pt x="833" y="48"/>
                  <a:pt x="833" y="47"/>
                </a:cubicBezTo>
                <a:cubicBezTo>
                  <a:pt x="833" y="48"/>
                  <a:pt x="833" y="48"/>
                  <a:pt x="833" y="48"/>
                </a:cubicBezTo>
                <a:cubicBezTo>
                  <a:pt x="833" y="47"/>
                  <a:pt x="833" y="47"/>
                  <a:pt x="833" y="47"/>
                </a:cubicBezTo>
                <a:cubicBezTo>
                  <a:pt x="833" y="47"/>
                  <a:pt x="833" y="47"/>
                  <a:pt x="833" y="47"/>
                </a:cubicBezTo>
                <a:cubicBezTo>
                  <a:pt x="834" y="47"/>
                  <a:pt x="834" y="46"/>
                  <a:pt x="835" y="45"/>
                </a:cubicBezTo>
                <a:cubicBezTo>
                  <a:pt x="835" y="45"/>
                  <a:pt x="835" y="45"/>
                  <a:pt x="835" y="45"/>
                </a:cubicBezTo>
                <a:cubicBezTo>
                  <a:pt x="835" y="45"/>
                  <a:pt x="835" y="45"/>
                  <a:pt x="835" y="45"/>
                </a:cubicBezTo>
                <a:cubicBezTo>
                  <a:pt x="835" y="45"/>
                  <a:pt x="835" y="45"/>
                  <a:pt x="835" y="45"/>
                </a:cubicBezTo>
                <a:cubicBezTo>
                  <a:pt x="836" y="45"/>
                  <a:pt x="836" y="45"/>
                  <a:pt x="836" y="45"/>
                </a:cubicBezTo>
                <a:cubicBezTo>
                  <a:pt x="836" y="45"/>
                  <a:pt x="836" y="45"/>
                  <a:pt x="836" y="45"/>
                </a:cubicBezTo>
                <a:cubicBezTo>
                  <a:pt x="836" y="45"/>
                  <a:pt x="836" y="45"/>
                  <a:pt x="836" y="44"/>
                </a:cubicBezTo>
                <a:cubicBezTo>
                  <a:pt x="836" y="44"/>
                  <a:pt x="836" y="44"/>
                  <a:pt x="836" y="44"/>
                </a:cubicBezTo>
                <a:cubicBezTo>
                  <a:pt x="836" y="44"/>
                  <a:pt x="837" y="44"/>
                  <a:pt x="837" y="44"/>
                </a:cubicBezTo>
                <a:cubicBezTo>
                  <a:pt x="837" y="44"/>
                  <a:pt x="837" y="44"/>
                  <a:pt x="837" y="44"/>
                </a:cubicBezTo>
                <a:cubicBezTo>
                  <a:pt x="837" y="44"/>
                  <a:pt x="837" y="44"/>
                  <a:pt x="837" y="44"/>
                </a:cubicBezTo>
                <a:cubicBezTo>
                  <a:pt x="837" y="44"/>
                  <a:pt x="837" y="44"/>
                  <a:pt x="837" y="44"/>
                </a:cubicBezTo>
                <a:cubicBezTo>
                  <a:pt x="838" y="44"/>
                  <a:pt x="838" y="44"/>
                  <a:pt x="838" y="43"/>
                </a:cubicBezTo>
                <a:cubicBezTo>
                  <a:pt x="838" y="43"/>
                  <a:pt x="838" y="43"/>
                  <a:pt x="838" y="43"/>
                </a:cubicBezTo>
                <a:cubicBezTo>
                  <a:pt x="838" y="43"/>
                  <a:pt x="838" y="43"/>
                  <a:pt x="838" y="43"/>
                </a:cubicBezTo>
                <a:cubicBezTo>
                  <a:pt x="838" y="43"/>
                  <a:pt x="839" y="43"/>
                  <a:pt x="839" y="43"/>
                </a:cubicBezTo>
                <a:cubicBezTo>
                  <a:pt x="839" y="43"/>
                  <a:pt x="839" y="43"/>
                  <a:pt x="839" y="43"/>
                </a:cubicBezTo>
                <a:cubicBezTo>
                  <a:pt x="839" y="43"/>
                  <a:pt x="839" y="43"/>
                  <a:pt x="840" y="43"/>
                </a:cubicBezTo>
                <a:cubicBezTo>
                  <a:pt x="840" y="43"/>
                  <a:pt x="840" y="43"/>
                  <a:pt x="840" y="43"/>
                </a:cubicBezTo>
                <a:cubicBezTo>
                  <a:pt x="840" y="43"/>
                  <a:pt x="840" y="43"/>
                  <a:pt x="840" y="43"/>
                </a:cubicBezTo>
                <a:cubicBezTo>
                  <a:pt x="840" y="42"/>
                  <a:pt x="841" y="43"/>
                  <a:pt x="841" y="42"/>
                </a:cubicBezTo>
                <a:close/>
                <a:moveTo>
                  <a:pt x="1667" y="58"/>
                </a:moveTo>
                <a:cubicBezTo>
                  <a:pt x="1667" y="58"/>
                  <a:pt x="1667" y="58"/>
                  <a:pt x="1667" y="58"/>
                </a:cubicBezTo>
                <a:cubicBezTo>
                  <a:pt x="1667" y="58"/>
                  <a:pt x="1667" y="58"/>
                  <a:pt x="1667" y="58"/>
                </a:cubicBezTo>
                <a:cubicBezTo>
                  <a:pt x="1667" y="57"/>
                  <a:pt x="1667" y="58"/>
                  <a:pt x="1668" y="57"/>
                </a:cubicBezTo>
                <a:cubicBezTo>
                  <a:pt x="1668" y="57"/>
                  <a:pt x="1668" y="57"/>
                  <a:pt x="1668" y="57"/>
                </a:cubicBezTo>
                <a:cubicBezTo>
                  <a:pt x="1668" y="57"/>
                  <a:pt x="1668" y="57"/>
                  <a:pt x="1669" y="57"/>
                </a:cubicBezTo>
                <a:cubicBezTo>
                  <a:pt x="1669" y="57"/>
                  <a:pt x="1669" y="57"/>
                  <a:pt x="1669" y="57"/>
                </a:cubicBezTo>
                <a:cubicBezTo>
                  <a:pt x="1669" y="57"/>
                  <a:pt x="1669" y="57"/>
                  <a:pt x="1669" y="57"/>
                </a:cubicBezTo>
                <a:cubicBezTo>
                  <a:pt x="1669" y="57"/>
                  <a:pt x="1669" y="57"/>
                  <a:pt x="1669" y="57"/>
                </a:cubicBezTo>
                <a:cubicBezTo>
                  <a:pt x="1670" y="56"/>
                  <a:pt x="1670" y="56"/>
                  <a:pt x="1670" y="56"/>
                </a:cubicBezTo>
                <a:cubicBezTo>
                  <a:pt x="1670" y="56"/>
                  <a:pt x="1670" y="56"/>
                  <a:pt x="1670" y="56"/>
                </a:cubicBezTo>
                <a:cubicBezTo>
                  <a:pt x="1670" y="56"/>
                  <a:pt x="1671" y="56"/>
                  <a:pt x="1671" y="56"/>
                </a:cubicBezTo>
                <a:cubicBezTo>
                  <a:pt x="1671" y="56"/>
                  <a:pt x="1671" y="56"/>
                  <a:pt x="1671" y="56"/>
                </a:cubicBezTo>
                <a:cubicBezTo>
                  <a:pt x="1671" y="56"/>
                  <a:pt x="1671" y="56"/>
                  <a:pt x="1671" y="55"/>
                </a:cubicBezTo>
                <a:cubicBezTo>
                  <a:pt x="1671" y="56"/>
                  <a:pt x="1671" y="56"/>
                  <a:pt x="1671" y="56"/>
                </a:cubicBezTo>
                <a:cubicBezTo>
                  <a:pt x="1672" y="55"/>
                  <a:pt x="1672" y="55"/>
                  <a:pt x="1672" y="55"/>
                </a:cubicBezTo>
                <a:cubicBezTo>
                  <a:pt x="1672" y="55"/>
                  <a:pt x="1672" y="55"/>
                  <a:pt x="1672" y="55"/>
                </a:cubicBezTo>
                <a:cubicBezTo>
                  <a:pt x="1672" y="55"/>
                  <a:pt x="1672" y="55"/>
                  <a:pt x="1672" y="55"/>
                </a:cubicBezTo>
                <a:cubicBezTo>
                  <a:pt x="1672" y="55"/>
                  <a:pt x="1672" y="55"/>
                  <a:pt x="1673" y="55"/>
                </a:cubicBezTo>
                <a:cubicBezTo>
                  <a:pt x="1673" y="55"/>
                  <a:pt x="1673" y="55"/>
                  <a:pt x="1673" y="55"/>
                </a:cubicBezTo>
                <a:cubicBezTo>
                  <a:pt x="1673" y="55"/>
                  <a:pt x="1673" y="55"/>
                  <a:pt x="1673" y="54"/>
                </a:cubicBezTo>
                <a:cubicBezTo>
                  <a:pt x="1673" y="54"/>
                  <a:pt x="1673" y="54"/>
                  <a:pt x="1673" y="54"/>
                </a:cubicBezTo>
                <a:cubicBezTo>
                  <a:pt x="1673" y="54"/>
                  <a:pt x="1673" y="54"/>
                  <a:pt x="1674" y="54"/>
                </a:cubicBezTo>
                <a:cubicBezTo>
                  <a:pt x="1674" y="54"/>
                  <a:pt x="1674" y="54"/>
                  <a:pt x="1674" y="54"/>
                </a:cubicBezTo>
                <a:cubicBezTo>
                  <a:pt x="1674" y="54"/>
                  <a:pt x="1674" y="54"/>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6" y="53"/>
                  <a:pt x="1676" y="52"/>
                </a:cubicBezTo>
                <a:cubicBezTo>
                  <a:pt x="1676" y="52"/>
                  <a:pt x="1676" y="52"/>
                  <a:pt x="1676" y="52"/>
                </a:cubicBezTo>
                <a:cubicBezTo>
                  <a:pt x="1677" y="52"/>
                  <a:pt x="1677" y="51"/>
                  <a:pt x="1678" y="50"/>
                </a:cubicBezTo>
                <a:cubicBezTo>
                  <a:pt x="1678" y="50"/>
                  <a:pt x="1678" y="50"/>
                  <a:pt x="1678" y="50"/>
                </a:cubicBezTo>
                <a:cubicBezTo>
                  <a:pt x="1678" y="50"/>
                  <a:pt x="1678" y="50"/>
                  <a:pt x="1678" y="50"/>
                </a:cubicBezTo>
                <a:cubicBezTo>
                  <a:pt x="1678" y="50"/>
                  <a:pt x="1678" y="50"/>
                  <a:pt x="1678" y="50"/>
                </a:cubicBezTo>
                <a:cubicBezTo>
                  <a:pt x="1679" y="50"/>
                  <a:pt x="1679" y="49"/>
                  <a:pt x="1679" y="49"/>
                </a:cubicBezTo>
                <a:cubicBezTo>
                  <a:pt x="1679" y="49"/>
                  <a:pt x="1679" y="49"/>
                  <a:pt x="1679" y="49"/>
                </a:cubicBezTo>
                <a:cubicBezTo>
                  <a:pt x="1679" y="49"/>
                  <a:pt x="1679" y="49"/>
                  <a:pt x="1679" y="49"/>
                </a:cubicBezTo>
                <a:cubicBezTo>
                  <a:pt x="1679" y="49"/>
                  <a:pt x="1679" y="49"/>
                  <a:pt x="1679" y="49"/>
                </a:cubicBezTo>
                <a:cubicBezTo>
                  <a:pt x="1679" y="49"/>
                  <a:pt x="1679" y="48"/>
                  <a:pt x="1680" y="48"/>
                </a:cubicBezTo>
                <a:cubicBezTo>
                  <a:pt x="1680" y="48"/>
                  <a:pt x="1680" y="48"/>
                  <a:pt x="1680" y="48"/>
                </a:cubicBezTo>
                <a:cubicBezTo>
                  <a:pt x="1680" y="48"/>
                  <a:pt x="1680" y="48"/>
                  <a:pt x="1680" y="48"/>
                </a:cubicBezTo>
                <a:cubicBezTo>
                  <a:pt x="1680" y="48"/>
                  <a:pt x="1680" y="48"/>
                  <a:pt x="1680" y="48"/>
                </a:cubicBezTo>
                <a:cubicBezTo>
                  <a:pt x="1680" y="48"/>
                  <a:pt x="1680" y="47"/>
                  <a:pt x="1680" y="47"/>
                </a:cubicBezTo>
                <a:cubicBezTo>
                  <a:pt x="1680" y="47"/>
                  <a:pt x="1680" y="47"/>
                  <a:pt x="1680" y="47"/>
                </a:cubicBezTo>
                <a:cubicBezTo>
                  <a:pt x="1680" y="47"/>
                  <a:pt x="1680" y="47"/>
                  <a:pt x="1681" y="47"/>
                </a:cubicBezTo>
                <a:cubicBezTo>
                  <a:pt x="1680" y="47"/>
                  <a:pt x="1680" y="47"/>
                  <a:pt x="1680" y="47"/>
                </a:cubicBezTo>
                <a:cubicBezTo>
                  <a:pt x="1681" y="47"/>
                  <a:pt x="1681" y="46"/>
                  <a:pt x="1681" y="46"/>
                </a:cubicBezTo>
                <a:cubicBezTo>
                  <a:pt x="1681" y="46"/>
                  <a:pt x="1681" y="46"/>
                  <a:pt x="1681" y="46"/>
                </a:cubicBezTo>
                <a:cubicBezTo>
                  <a:pt x="1681" y="46"/>
                  <a:pt x="1681" y="46"/>
                  <a:pt x="1681" y="45"/>
                </a:cubicBezTo>
                <a:cubicBezTo>
                  <a:pt x="1681" y="45"/>
                  <a:pt x="1681" y="45"/>
                  <a:pt x="1681" y="45"/>
                </a:cubicBezTo>
                <a:cubicBezTo>
                  <a:pt x="1681" y="45"/>
                  <a:pt x="1681" y="45"/>
                  <a:pt x="1682" y="45"/>
                </a:cubicBezTo>
                <a:cubicBezTo>
                  <a:pt x="1682" y="45"/>
                  <a:pt x="1682" y="45"/>
                  <a:pt x="1682" y="45"/>
                </a:cubicBezTo>
                <a:cubicBezTo>
                  <a:pt x="1682" y="45"/>
                  <a:pt x="1682" y="44"/>
                  <a:pt x="1682" y="44"/>
                </a:cubicBezTo>
                <a:cubicBezTo>
                  <a:pt x="1682" y="44"/>
                  <a:pt x="1682" y="44"/>
                  <a:pt x="1682" y="44"/>
                </a:cubicBezTo>
                <a:cubicBezTo>
                  <a:pt x="1682" y="44"/>
                  <a:pt x="1682" y="44"/>
                  <a:pt x="1682" y="43"/>
                </a:cubicBezTo>
                <a:cubicBezTo>
                  <a:pt x="1682" y="43"/>
                  <a:pt x="1682" y="43"/>
                  <a:pt x="1682" y="43"/>
                </a:cubicBezTo>
                <a:cubicBezTo>
                  <a:pt x="1683" y="43"/>
                  <a:pt x="1682" y="43"/>
                  <a:pt x="1683" y="43"/>
                </a:cubicBezTo>
                <a:cubicBezTo>
                  <a:pt x="1683" y="42"/>
                  <a:pt x="1683" y="42"/>
                  <a:pt x="1683" y="42"/>
                </a:cubicBezTo>
                <a:cubicBezTo>
                  <a:pt x="1683" y="42"/>
                  <a:pt x="1683" y="42"/>
                  <a:pt x="1683" y="42"/>
                </a:cubicBezTo>
                <a:cubicBezTo>
                  <a:pt x="1683" y="41"/>
                  <a:pt x="1683" y="41"/>
                  <a:pt x="1683" y="41"/>
                </a:cubicBezTo>
                <a:cubicBezTo>
                  <a:pt x="1683" y="41"/>
                  <a:pt x="1683" y="41"/>
                  <a:pt x="1683" y="40"/>
                </a:cubicBezTo>
                <a:cubicBezTo>
                  <a:pt x="1683" y="40"/>
                  <a:pt x="1683" y="40"/>
                  <a:pt x="1683" y="40"/>
                </a:cubicBezTo>
                <a:cubicBezTo>
                  <a:pt x="1683" y="40"/>
                  <a:pt x="1683" y="40"/>
                  <a:pt x="1683" y="40"/>
                </a:cubicBezTo>
                <a:cubicBezTo>
                  <a:pt x="1684" y="40"/>
                  <a:pt x="1683" y="39"/>
                  <a:pt x="1684" y="39"/>
                </a:cubicBezTo>
                <a:cubicBezTo>
                  <a:pt x="1684" y="39"/>
                  <a:pt x="1684" y="39"/>
                  <a:pt x="1684" y="39"/>
                </a:cubicBezTo>
                <a:cubicBezTo>
                  <a:pt x="1684" y="39"/>
                  <a:pt x="1684" y="39"/>
                  <a:pt x="1684" y="39"/>
                </a:cubicBezTo>
                <a:cubicBezTo>
                  <a:pt x="1684" y="38"/>
                  <a:pt x="1684" y="38"/>
                  <a:pt x="1684" y="37"/>
                </a:cubicBezTo>
                <a:cubicBezTo>
                  <a:pt x="1684" y="37"/>
                  <a:pt x="1684" y="37"/>
                  <a:pt x="1684" y="37"/>
                </a:cubicBezTo>
                <a:cubicBezTo>
                  <a:pt x="1684" y="34"/>
                  <a:pt x="1684" y="31"/>
                  <a:pt x="1684" y="28"/>
                </a:cubicBezTo>
                <a:cubicBezTo>
                  <a:pt x="1684" y="28"/>
                  <a:pt x="1684" y="28"/>
                  <a:pt x="1684" y="28"/>
                </a:cubicBezTo>
                <a:cubicBezTo>
                  <a:pt x="1684" y="27"/>
                  <a:pt x="1684" y="27"/>
                  <a:pt x="1684" y="26"/>
                </a:cubicBezTo>
                <a:cubicBezTo>
                  <a:pt x="1684" y="26"/>
                  <a:pt x="1684" y="26"/>
                  <a:pt x="1684" y="26"/>
                </a:cubicBezTo>
                <a:cubicBezTo>
                  <a:pt x="1684" y="26"/>
                  <a:pt x="1684" y="26"/>
                  <a:pt x="1684" y="26"/>
                </a:cubicBezTo>
                <a:cubicBezTo>
                  <a:pt x="1683" y="25"/>
                  <a:pt x="1684" y="25"/>
                  <a:pt x="1683" y="25"/>
                </a:cubicBezTo>
                <a:cubicBezTo>
                  <a:pt x="1683" y="25"/>
                  <a:pt x="1683" y="25"/>
                  <a:pt x="1683" y="25"/>
                </a:cubicBezTo>
                <a:cubicBezTo>
                  <a:pt x="1683" y="24"/>
                  <a:pt x="1683" y="24"/>
                  <a:pt x="1683" y="24"/>
                </a:cubicBezTo>
                <a:cubicBezTo>
                  <a:pt x="1683" y="23"/>
                  <a:pt x="1683" y="23"/>
                  <a:pt x="1683" y="23"/>
                </a:cubicBezTo>
                <a:cubicBezTo>
                  <a:pt x="1683" y="23"/>
                  <a:pt x="1683" y="23"/>
                  <a:pt x="1683" y="23"/>
                </a:cubicBezTo>
                <a:cubicBezTo>
                  <a:pt x="1683" y="23"/>
                  <a:pt x="1683" y="23"/>
                  <a:pt x="1683" y="23"/>
                </a:cubicBezTo>
                <a:cubicBezTo>
                  <a:pt x="1683" y="23"/>
                  <a:pt x="1683" y="23"/>
                  <a:pt x="1683" y="23"/>
                </a:cubicBezTo>
                <a:cubicBezTo>
                  <a:pt x="1682" y="22"/>
                  <a:pt x="1683" y="22"/>
                  <a:pt x="1682" y="22"/>
                </a:cubicBezTo>
                <a:cubicBezTo>
                  <a:pt x="1682" y="22"/>
                  <a:pt x="1682" y="22"/>
                  <a:pt x="1682" y="22"/>
                </a:cubicBezTo>
                <a:cubicBezTo>
                  <a:pt x="1682" y="22"/>
                  <a:pt x="1682" y="22"/>
                  <a:pt x="1682" y="22"/>
                </a:cubicBezTo>
                <a:cubicBezTo>
                  <a:pt x="1682" y="21"/>
                  <a:pt x="1682" y="21"/>
                  <a:pt x="1682" y="21"/>
                </a:cubicBezTo>
                <a:cubicBezTo>
                  <a:pt x="1682" y="21"/>
                  <a:pt x="1682" y="21"/>
                  <a:pt x="1682" y="21"/>
                </a:cubicBezTo>
                <a:cubicBezTo>
                  <a:pt x="1682" y="21"/>
                  <a:pt x="1682" y="20"/>
                  <a:pt x="1682" y="20"/>
                </a:cubicBezTo>
                <a:cubicBezTo>
                  <a:pt x="1682" y="20"/>
                  <a:pt x="1682" y="20"/>
                  <a:pt x="1682" y="20"/>
                </a:cubicBezTo>
                <a:cubicBezTo>
                  <a:pt x="1682" y="20"/>
                  <a:pt x="1681" y="20"/>
                  <a:pt x="1681" y="20"/>
                </a:cubicBezTo>
                <a:cubicBezTo>
                  <a:pt x="1681" y="20"/>
                  <a:pt x="1681" y="20"/>
                  <a:pt x="1681" y="20"/>
                </a:cubicBezTo>
                <a:cubicBezTo>
                  <a:pt x="1681" y="20"/>
                  <a:pt x="1681" y="19"/>
                  <a:pt x="1681" y="19"/>
                </a:cubicBezTo>
                <a:cubicBezTo>
                  <a:pt x="1681" y="19"/>
                  <a:pt x="1681" y="19"/>
                  <a:pt x="1681" y="19"/>
                </a:cubicBezTo>
                <a:cubicBezTo>
                  <a:pt x="1681" y="19"/>
                  <a:pt x="1681" y="18"/>
                  <a:pt x="1680" y="18"/>
                </a:cubicBezTo>
                <a:cubicBezTo>
                  <a:pt x="1681" y="18"/>
                  <a:pt x="1681" y="18"/>
                  <a:pt x="1681" y="18"/>
                </a:cubicBezTo>
                <a:cubicBezTo>
                  <a:pt x="1680" y="18"/>
                  <a:pt x="1680" y="18"/>
                  <a:pt x="1680" y="18"/>
                </a:cubicBezTo>
                <a:cubicBezTo>
                  <a:pt x="1680" y="18"/>
                  <a:pt x="1680" y="18"/>
                  <a:pt x="1680" y="18"/>
                </a:cubicBezTo>
                <a:cubicBezTo>
                  <a:pt x="1680" y="18"/>
                  <a:pt x="1680" y="17"/>
                  <a:pt x="1680" y="17"/>
                </a:cubicBezTo>
                <a:cubicBezTo>
                  <a:pt x="1680" y="17"/>
                  <a:pt x="1680" y="17"/>
                  <a:pt x="1680" y="17"/>
                </a:cubicBezTo>
                <a:cubicBezTo>
                  <a:pt x="1680" y="17"/>
                  <a:pt x="1680" y="17"/>
                  <a:pt x="1679" y="17"/>
                </a:cubicBezTo>
                <a:cubicBezTo>
                  <a:pt x="1679" y="17"/>
                  <a:pt x="1679" y="17"/>
                  <a:pt x="1679" y="17"/>
                </a:cubicBezTo>
                <a:cubicBezTo>
                  <a:pt x="1679" y="17"/>
                  <a:pt x="1679" y="17"/>
                  <a:pt x="1679" y="17"/>
                </a:cubicBezTo>
                <a:cubicBezTo>
                  <a:pt x="1679" y="17"/>
                  <a:pt x="1679" y="17"/>
                  <a:pt x="1679" y="17"/>
                </a:cubicBezTo>
                <a:cubicBezTo>
                  <a:pt x="1679" y="16"/>
                  <a:pt x="1679" y="16"/>
                  <a:pt x="1679" y="16"/>
                </a:cubicBezTo>
                <a:cubicBezTo>
                  <a:pt x="1679" y="16"/>
                  <a:pt x="1679" y="16"/>
                  <a:pt x="1679" y="16"/>
                </a:cubicBezTo>
                <a:cubicBezTo>
                  <a:pt x="1678" y="15"/>
                  <a:pt x="1677" y="14"/>
                  <a:pt x="1676" y="14"/>
                </a:cubicBezTo>
                <a:cubicBezTo>
                  <a:pt x="1676" y="14"/>
                  <a:pt x="1676" y="14"/>
                  <a:pt x="1676" y="14"/>
                </a:cubicBezTo>
                <a:cubicBezTo>
                  <a:pt x="1676" y="14"/>
                  <a:pt x="1676" y="14"/>
                  <a:pt x="1676" y="13"/>
                </a:cubicBezTo>
                <a:cubicBezTo>
                  <a:pt x="1676" y="13"/>
                  <a:pt x="1676" y="13"/>
                  <a:pt x="1676" y="13"/>
                </a:cubicBezTo>
                <a:cubicBezTo>
                  <a:pt x="1676" y="13"/>
                  <a:pt x="1676" y="13"/>
                  <a:pt x="1676" y="13"/>
                </a:cubicBezTo>
                <a:cubicBezTo>
                  <a:pt x="1676" y="13"/>
                  <a:pt x="1676" y="13"/>
                  <a:pt x="1676" y="13"/>
                </a:cubicBezTo>
                <a:cubicBezTo>
                  <a:pt x="1675" y="13"/>
                  <a:pt x="1675" y="13"/>
                  <a:pt x="1675" y="12"/>
                </a:cubicBezTo>
                <a:cubicBezTo>
                  <a:pt x="1675" y="12"/>
                  <a:pt x="1675" y="12"/>
                  <a:pt x="1675" y="12"/>
                </a:cubicBezTo>
                <a:cubicBezTo>
                  <a:pt x="1675" y="12"/>
                  <a:pt x="1674" y="12"/>
                  <a:pt x="1674" y="12"/>
                </a:cubicBezTo>
                <a:cubicBezTo>
                  <a:pt x="1674" y="12"/>
                  <a:pt x="1674" y="12"/>
                  <a:pt x="1674" y="12"/>
                </a:cubicBezTo>
                <a:cubicBezTo>
                  <a:pt x="1674" y="12"/>
                  <a:pt x="1674" y="12"/>
                  <a:pt x="1674" y="12"/>
                </a:cubicBezTo>
                <a:cubicBezTo>
                  <a:pt x="1674" y="12"/>
                  <a:pt x="1674" y="12"/>
                  <a:pt x="1674" y="12"/>
                </a:cubicBezTo>
                <a:cubicBezTo>
                  <a:pt x="1673" y="11"/>
                  <a:pt x="1673" y="12"/>
                  <a:pt x="1673" y="11"/>
                </a:cubicBezTo>
                <a:cubicBezTo>
                  <a:pt x="1673" y="11"/>
                  <a:pt x="1673" y="11"/>
                  <a:pt x="1673" y="11"/>
                </a:cubicBezTo>
                <a:cubicBezTo>
                  <a:pt x="1673" y="11"/>
                  <a:pt x="1673" y="11"/>
                  <a:pt x="1672" y="11"/>
                </a:cubicBezTo>
                <a:cubicBezTo>
                  <a:pt x="1673" y="11"/>
                  <a:pt x="1673" y="11"/>
                  <a:pt x="1673" y="11"/>
                </a:cubicBezTo>
                <a:cubicBezTo>
                  <a:pt x="1672" y="11"/>
                  <a:pt x="1672" y="11"/>
                  <a:pt x="1672" y="11"/>
                </a:cubicBezTo>
                <a:cubicBezTo>
                  <a:pt x="1672" y="11"/>
                  <a:pt x="1672" y="11"/>
                  <a:pt x="1672" y="11"/>
                </a:cubicBezTo>
                <a:cubicBezTo>
                  <a:pt x="1672" y="10"/>
                  <a:pt x="1671" y="10"/>
                  <a:pt x="1671" y="10"/>
                </a:cubicBezTo>
                <a:cubicBezTo>
                  <a:pt x="1671" y="10"/>
                  <a:pt x="1671" y="10"/>
                  <a:pt x="1671" y="10"/>
                </a:cubicBezTo>
                <a:cubicBezTo>
                  <a:pt x="1671" y="10"/>
                  <a:pt x="1671" y="10"/>
                  <a:pt x="1670" y="10"/>
                </a:cubicBezTo>
                <a:cubicBezTo>
                  <a:pt x="1670" y="10"/>
                  <a:pt x="1670" y="10"/>
                  <a:pt x="1670" y="10"/>
                </a:cubicBezTo>
                <a:cubicBezTo>
                  <a:pt x="1670" y="10"/>
                  <a:pt x="1670" y="10"/>
                  <a:pt x="1670" y="10"/>
                </a:cubicBezTo>
                <a:cubicBezTo>
                  <a:pt x="1670" y="10"/>
                  <a:pt x="1670" y="10"/>
                  <a:pt x="1669" y="10"/>
                </a:cubicBezTo>
                <a:cubicBezTo>
                  <a:pt x="1669" y="10"/>
                  <a:pt x="1669" y="10"/>
                  <a:pt x="1669" y="10"/>
                </a:cubicBezTo>
                <a:cubicBezTo>
                  <a:pt x="1669" y="9"/>
                  <a:pt x="1669" y="9"/>
                  <a:pt x="1669" y="9"/>
                </a:cubicBezTo>
                <a:cubicBezTo>
                  <a:pt x="1668" y="9"/>
                  <a:pt x="1668" y="9"/>
                  <a:pt x="1668" y="9"/>
                </a:cubicBezTo>
                <a:cubicBezTo>
                  <a:pt x="1668" y="9"/>
                  <a:pt x="1668" y="9"/>
                  <a:pt x="1668" y="9"/>
                </a:cubicBezTo>
                <a:cubicBezTo>
                  <a:pt x="1668" y="9"/>
                  <a:pt x="1668" y="9"/>
                  <a:pt x="1668" y="9"/>
                </a:cubicBezTo>
                <a:cubicBezTo>
                  <a:pt x="1667" y="9"/>
                  <a:pt x="1667" y="9"/>
                  <a:pt x="1667" y="9"/>
                </a:cubicBezTo>
                <a:cubicBezTo>
                  <a:pt x="1667" y="9"/>
                  <a:pt x="1667" y="9"/>
                  <a:pt x="1667" y="9"/>
                </a:cubicBezTo>
                <a:cubicBezTo>
                  <a:pt x="1667" y="9"/>
                  <a:pt x="1667" y="9"/>
                  <a:pt x="1666" y="9"/>
                </a:cubicBezTo>
                <a:cubicBezTo>
                  <a:pt x="1666" y="9"/>
                  <a:pt x="1666" y="9"/>
                  <a:pt x="1666" y="9"/>
                </a:cubicBezTo>
                <a:cubicBezTo>
                  <a:pt x="1666" y="8"/>
                  <a:pt x="1665" y="9"/>
                  <a:pt x="1665" y="8"/>
                </a:cubicBezTo>
                <a:cubicBezTo>
                  <a:pt x="1665" y="8"/>
                  <a:pt x="1665" y="8"/>
                  <a:pt x="1665" y="8"/>
                </a:cubicBezTo>
                <a:cubicBezTo>
                  <a:pt x="1664" y="8"/>
                  <a:pt x="1664" y="8"/>
                  <a:pt x="1663" y="8"/>
                </a:cubicBezTo>
                <a:cubicBezTo>
                  <a:pt x="1663" y="8"/>
                  <a:pt x="1663" y="8"/>
                  <a:pt x="1663" y="8"/>
                </a:cubicBezTo>
                <a:cubicBezTo>
                  <a:pt x="1662" y="7"/>
                  <a:pt x="1661" y="8"/>
                  <a:pt x="1661" y="8"/>
                </a:cubicBezTo>
                <a:cubicBezTo>
                  <a:pt x="1660" y="8"/>
                  <a:pt x="1660" y="8"/>
                  <a:pt x="1660" y="8"/>
                </a:cubicBezTo>
                <a:cubicBezTo>
                  <a:pt x="1659" y="7"/>
                  <a:pt x="1659" y="7"/>
                  <a:pt x="1658" y="7"/>
                </a:cubicBezTo>
                <a:cubicBezTo>
                  <a:pt x="1649" y="7"/>
                  <a:pt x="1639" y="7"/>
                  <a:pt x="1629" y="7"/>
                </a:cubicBezTo>
                <a:cubicBezTo>
                  <a:pt x="1627" y="7"/>
                  <a:pt x="1627" y="7"/>
                  <a:pt x="1627" y="9"/>
                </a:cubicBezTo>
                <a:cubicBezTo>
                  <a:pt x="1627" y="27"/>
                  <a:pt x="1627" y="45"/>
                  <a:pt x="1627" y="62"/>
                </a:cubicBezTo>
                <a:cubicBezTo>
                  <a:pt x="1627" y="75"/>
                  <a:pt x="1628" y="87"/>
                  <a:pt x="1627" y="100"/>
                </a:cubicBezTo>
                <a:cubicBezTo>
                  <a:pt x="1627" y="101"/>
                  <a:pt x="1628" y="102"/>
                  <a:pt x="1629" y="102"/>
                </a:cubicBezTo>
                <a:cubicBezTo>
                  <a:pt x="1632" y="102"/>
                  <a:pt x="1634" y="102"/>
                  <a:pt x="1637" y="102"/>
                </a:cubicBezTo>
                <a:cubicBezTo>
                  <a:pt x="1638" y="102"/>
                  <a:pt x="1639" y="101"/>
                  <a:pt x="1639" y="100"/>
                </a:cubicBezTo>
                <a:cubicBezTo>
                  <a:pt x="1639" y="88"/>
                  <a:pt x="1639" y="76"/>
                  <a:pt x="1639" y="64"/>
                </a:cubicBezTo>
                <a:cubicBezTo>
                  <a:pt x="1639" y="64"/>
                  <a:pt x="1639" y="63"/>
                  <a:pt x="1639" y="62"/>
                </a:cubicBezTo>
                <a:cubicBezTo>
                  <a:pt x="1639" y="62"/>
                  <a:pt x="1639" y="62"/>
                  <a:pt x="1639" y="62"/>
                </a:cubicBezTo>
                <a:cubicBezTo>
                  <a:pt x="1643" y="62"/>
                  <a:pt x="1647" y="61"/>
                  <a:pt x="1650" y="62"/>
                </a:cubicBezTo>
                <a:cubicBezTo>
                  <a:pt x="1651" y="62"/>
                  <a:pt x="1651" y="62"/>
                  <a:pt x="1651" y="62"/>
                </a:cubicBezTo>
                <a:cubicBezTo>
                  <a:pt x="1651" y="62"/>
                  <a:pt x="1651" y="62"/>
                  <a:pt x="1651" y="62"/>
                </a:cubicBezTo>
                <a:cubicBezTo>
                  <a:pt x="1651" y="62"/>
                  <a:pt x="1651" y="62"/>
                  <a:pt x="1652" y="62"/>
                </a:cubicBezTo>
                <a:cubicBezTo>
                  <a:pt x="1652" y="62"/>
                  <a:pt x="1652" y="62"/>
                  <a:pt x="1652" y="62"/>
                </a:cubicBezTo>
                <a:cubicBezTo>
                  <a:pt x="1652" y="62"/>
                  <a:pt x="1652" y="62"/>
                  <a:pt x="1652" y="62"/>
                </a:cubicBezTo>
                <a:cubicBezTo>
                  <a:pt x="1652" y="62"/>
                  <a:pt x="1653" y="62"/>
                  <a:pt x="1653" y="62"/>
                </a:cubicBezTo>
                <a:cubicBezTo>
                  <a:pt x="1653" y="62"/>
                  <a:pt x="1653" y="62"/>
                  <a:pt x="1653" y="62"/>
                </a:cubicBezTo>
                <a:cubicBezTo>
                  <a:pt x="1653" y="63"/>
                  <a:pt x="1653" y="63"/>
                  <a:pt x="1653" y="63"/>
                </a:cubicBezTo>
                <a:cubicBezTo>
                  <a:pt x="1653" y="63"/>
                  <a:pt x="1654" y="63"/>
                  <a:pt x="1654" y="63"/>
                </a:cubicBezTo>
                <a:cubicBezTo>
                  <a:pt x="1654" y="63"/>
                  <a:pt x="1654" y="63"/>
                  <a:pt x="1654" y="63"/>
                </a:cubicBezTo>
                <a:cubicBezTo>
                  <a:pt x="1654" y="63"/>
                  <a:pt x="1654" y="63"/>
                  <a:pt x="1654" y="63"/>
                </a:cubicBezTo>
                <a:cubicBezTo>
                  <a:pt x="1654" y="63"/>
                  <a:pt x="1654" y="63"/>
                  <a:pt x="1654" y="63"/>
                </a:cubicBezTo>
                <a:cubicBezTo>
                  <a:pt x="1654" y="63"/>
                  <a:pt x="1654" y="63"/>
                  <a:pt x="1654" y="63"/>
                </a:cubicBezTo>
                <a:cubicBezTo>
                  <a:pt x="1655" y="63"/>
                  <a:pt x="1655" y="63"/>
                  <a:pt x="1655" y="64"/>
                </a:cubicBezTo>
                <a:cubicBezTo>
                  <a:pt x="1655" y="64"/>
                  <a:pt x="1655" y="64"/>
                  <a:pt x="1655" y="64"/>
                </a:cubicBezTo>
                <a:cubicBezTo>
                  <a:pt x="1655" y="64"/>
                  <a:pt x="1655" y="64"/>
                  <a:pt x="1655" y="64"/>
                </a:cubicBezTo>
                <a:cubicBezTo>
                  <a:pt x="1655" y="64"/>
                  <a:pt x="1655" y="64"/>
                  <a:pt x="1655" y="64"/>
                </a:cubicBezTo>
                <a:cubicBezTo>
                  <a:pt x="1656" y="64"/>
                  <a:pt x="1656" y="64"/>
                  <a:pt x="1656" y="64"/>
                </a:cubicBezTo>
                <a:cubicBezTo>
                  <a:pt x="1656" y="64"/>
                  <a:pt x="1656" y="64"/>
                  <a:pt x="1656" y="64"/>
                </a:cubicBezTo>
                <a:cubicBezTo>
                  <a:pt x="1656" y="64"/>
                  <a:pt x="1656" y="65"/>
                  <a:pt x="1656" y="65"/>
                </a:cubicBezTo>
                <a:cubicBezTo>
                  <a:pt x="1656" y="65"/>
                  <a:pt x="1656" y="65"/>
                  <a:pt x="1656" y="65"/>
                </a:cubicBezTo>
                <a:cubicBezTo>
                  <a:pt x="1657" y="65"/>
                  <a:pt x="1658" y="66"/>
                  <a:pt x="1658" y="67"/>
                </a:cubicBezTo>
                <a:cubicBezTo>
                  <a:pt x="1658" y="67"/>
                  <a:pt x="1658" y="67"/>
                  <a:pt x="1658" y="67"/>
                </a:cubicBezTo>
                <a:cubicBezTo>
                  <a:pt x="1658" y="67"/>
                  <a:pt x="1659" y="67"/>
                  <a:pt x="1659" y="67"/>
                </a:cubicBezTo>
                <a:cubicBezTo>
                  <a:pt x="1659" y="67"/>
                  <a:pt x="1659" y="67"/>
                  <a:pt x="1659" y="67"/>
                </a:cubicBezTo>
                <a:cubicBezTo>
                  <a:pt x="1659" y="67"/>
                  <a:pt x="1659" y="67"/>
                  <a:pt x="1659" y="67"/>
                </a:cubicBezTo>
                <a:cubicBezTo>
                  <a:pt x="1659" y="67"/>
                  <a:pt x="1659" y="67"/>
                  <a:pt x="1659" y="67"/>
                </a:cubicBezTo>
                <a:cubicBezTo>
                  <a:pt x="1659" y="68"/>
                  <a:pt x="1659" y="68"/>
                  <a:pt x="1660" y="68"/>
                </a:cubicBezTo>
                <a:cubicBezTo>
                  <a:pt x="1660" y="68"/>
                  <a:pt x="1660" y="68"/>
                  <a:pt x="1660" y="68"/>
                </a:cubicBezTo>
                <a:cubicBezTo>
                  <a:pt x="1660" y="69"/>
                  <a:pt x="1660" y="69"/>
                  <a:pt x="1660" y="69"/>
                </a:cubicBezTo>
                <a:cubicBezTo>
                  <a:pt x="1660" y="69"/>
                  <a:pt x="1660" y="69"/>
                  <a:pt x="1660" y="69"/>
                </a:cubicBezTo>
                <a:cubicBezTo>
                  <a:pt x="1660" y="69"/>
                  <a:pt x="1660" y="69"/>
                  <a:pt x="1660" y="69"/>
                </a:cubicBezTo>
                <a:cubicBezTo>
                  <a:pt x="1660" y="69"/>
                  <a:pt x="1660" y="69"/>
                  <a:pt x="1660" y="69"/>
                </a:cubicBezTo>
                <a:cubicBezTo>
                  <a:pt x="1661" y="70"/>
                  <a:pt x="1660" y="70"/>
                  <a:pt x="1661" y="70"/>
                </a:cubicBezTo>
                <a:cubicBezTo>
                  <a:pt x="1661" y="70"/>
                  <a:pt x="1661" y="70"/>
                  <a:pt x="1661" y="70"/>
                </a:cubicBezTo>
                <a:cubicBezTo>
                  <a:pt x="1661" y="70"/>
                  <a:pt x="1661" y="70"/>
                  <a:pt x="1661" y="71"/>
                </a:cubicBezTo>
                <a:cubicBezTo>
                  <a:pt x="1661" y="71"/>
                  <a:pt x="1661" y="71"/>
                  <a:pt x="1661" y="71"/>
                </a:cubicBezTo>
                <a:cubicBezTo>
                  <a:pt x="1661" y="71"/>
                  <a:pt x="1661" y="71"/>
                  <a:pt x="1661" y="71"/>
                </a:cubicBezTo>
                <a:cubicBezTo>
                  <a:pt x="1661" y="71"/>
                  <a:pt x="1661" y="71"/>
                  <a:pt x="1661" y="71"/>
                </a:cubicBezTo>
                <a:cubicBezTo>
                  <a:pt x="1661" y="71"/>
                  <a:pt x="1661" y="71"/>
                  <a:pt x="1661" y="71"/>
                </a:cubicBezTo>
                <a:cubicBezTo>
                  <a:pt x="1662" y="71"/>
                  <a:pt x="1662" y="72"/>
                  <a:pt x="1662" y="72"/>
                </a:cubicBezTo>
                <a:cubicBezTo>
                  <a:pt x="1662" y="72"/>
                  <a:pt x="1662" y="72"/>
                  <a:pt x="1662" y="72"/>
                </a:cubicBezTo>
                <a:cubicBezTo>
                  <a:pt x="1662" y="72"/>
                  <a:pt x="1662" y="72"/>
                  <a:pt x="1662" y="73"/>
                </a:cubicBezTo>
                <a:cubicBezTo>
                  <a:pt x="1662" y="73"/>
                  <a:pt x="1662" y="73"/>
                  <a:pt x="1662" y="73"/>
                </a:cubicBezTo>
                <a:cubicBezTo>
                  <a:pt x="1662" y="73"/>
                  <a:pt x="1662" y="73"/>
                  <a:pt x="1662" y="73"/>
                </a:cubicBezTo>
                <a:cubicBezTo>
                  <a:pt x="1662" y="73"/>
                  <a:pt x="1662" y="73"/>
                  <a:pt x="1663" y="74"/>
                </a:cubicBezTo>
                <a:cubicBezTo>
                  <a:pt x="1662" y="74"/>
                  <a:pt x="1662" y="74"/>
                  <a:pt x="1662" y="74"/>
                </a:cubicBezTo>
                <a:cubicBezTo>
                  <a:pt x="1663" y="74"/>
                  <a:pt x="1663" y="74"/>
                  <a:pt x="1663" y="74"/>
                </a:cubicBezTo>
                <a:cubicBezTo>
                  <a:pt x="1663" y="74"/>
                  <a:pt x="1663" y="74"/>
                  <a:pt x="1663" y="74"/>
                </a:cubicBezTo>
                <a:cubicBezTo>
                  <a:pt x="1663" y="75"/>
                  <a:pt x="1663" y="75"/>
                  <a:pt x="1663" y="75"/>
                </a:cubicBezTo>
                <a:cubicBezTo>
                  <a:pt x="1663" y="75"/>
                  <a:pt x="1663" y="75"/>
                  <a:pt x="1663" y="75"/>
                </a:cubicBezTo>
                <a:cubicBezTo>
                  <a:pt x="1663" y="75"/>
                  <a:pt x="1663" y="75"/>
                  <a:pt x="1663" y="75"/>
                </a:cubicBezTo>
                <a:cubicBezTo>
                  <a:pt x="1663" y="76"/>
                  <a:pt x="1663" y="76"/>
                  <a:pt x="1664" y="76"/>
                </a:cubicBezTo>
                <a:cubicBezTo>
                  <a:pt x="1664" y="76"/>
                  <a:pt x="1664" y="76"/>
                  <a:pt x="1664" y="76"/>
                </a:cubicBezTo>
                <a:cubicBezTo>
                  <a:pt x="1664" y="76"/>
                  <a:pt x="1664" y="77"/>
                  <a:pt x="1664" y="77"/>
                </a:cubicBezTo>
                <a:cubicBezTo>
                  <a:pt x="1664" y="77"/>
                  <a:pt x="1664" y="77"/>
                  <a:pt x="1664" y="77"/>
                </a:cubicBezTo>
                <a:cubicBezTo>
                  <a:pt x="1664" y="77"/>
                  <a:pt x="1664" y="77"/>
                  <a:pt x="1664" y="77"/>
                </a:cubicBezTo>
                <a:cubicBezTo>
                  <a:pt x="1664" y="77"/>
                  <a:pt x="1664" y="77"/>
                  <a:pt x="1664" y="77"/>
                </a:cubicBezTo>
                <a:cubicBezTo>
                  <a:pt x="1664" y="78"/>
                  <a:pt x="1664" y="78"/>
                  <a:pt x="1665" y="78"/>
                </a:cubicBezTo>
                <a:cubicBezTo>
                  <a:pt x="1665" y="78"/>
                  <a:pt x="1665" y="78"/>
                  <a:pt x="1665" y="78"/>
                </a:cubicBezTo>
                <a:cubicBezTo>
                  <a:pt x="1665" y="79"/>
                  <a:pt x="1665" y="79"/>
                  <a:pt x="1665" y="79"/>
                </a:cubicBezTo>
                <a:cubicBezTo>
                  <a:pt x="1665" y="79"/>
                  <a:pt x="1665" y="79"/>
                  <a:pt x="1665" y="79"/>
                </a:cubicBezTo>
                <a:cubicBezTo>
                  <a:pt x="1665" y="79"/>
                  <a:pt x="1665" y="80"/>
                  <a:pt x="1665" y="80"/>
                </a:cubicBezTo>
                <a:cubicBezTo>
                  <a:pt x="1665" y="80"/>
                  <a:pt x="1665" y="80"/>
                  <a:pt x="1665" y="80"/>
                </a:cubicBezTo>
                <a:cubicBezTo>
                  <a:pt x="1665" y="80"/>
                  <a:pt x="1665" y="80"/>
                  <a:pt x="1666" y="81"/>
                </a:cubicBezTo>
                <a:cubicBezTo>
                  <a:pt x="1666" y="81"/>
                  <a:pt x="1666" y="81"/>
                  <a:pt x="1666" y="81"/>
                </a:cubicBezTo>
                <a:cubicBezTo>
                  <a:pt x="1666" y="81"/>
                  <a:pt x="1666" y="81"/>
                  <a:pt x="1666" y="81"/>
                </a:cubicBezTo>
                <a:cubicBezTo>
                  <a:pt x="1666" y="81"/>
                  <a:pt x="1666" y="81"/>
                  <a:pt x="1666" y="82"/>
                </a:cubicBezTo>
                <a:cubicBezTo>
                  <a:pt x="1666" y="82"/>
                  <a:pt x="1666" y="82"/>
                  <a:pt x="1666" y="82"/>
                </a:cubicBezTo>
                <a:cubicBezTo>
                  <a:pt x="1666" y="82"/>
                  <a:pt x="1666" y="82"/>
                  <a:pt x="1666" y="82"/>
                </a:cubicBezTo>
                <a:cubicBezTo>
                  <a:pt x="1666" y="82"/>
                  <a:pt x="1666" y="82"/>
                  <a:pt x="1666" y="82"/>
                </a:cubicBezTo>
                <a:cubicBezTo>
                  <a:pt x="1666" y="83"/>
                  <a:pt x="1666" y="83"/>
                  <a:pt x="1667" y="83"/>
                </a:cubicBezTo>
                <a:cubicBezTo>
                  <a:pt x="1667" y="83"/>
                  <a:pt x="1667" y="83"/>
                  <a:pt x="1667" y="83"/>
                </a:cubicBezTo>
                <a:cubicBezTo>
                  <a:pt x="1667" y="83"/>
                  <a:pt x="1667" y="84"/>
                  <a:pt x="1667" y="84"/>
                </a:cubicBezTo>
                <a:cubicBezTo>
                  <a:pt x="1667" y="84"/>
                  <a:pt x="1667" y="84"/>
                  <a:pt x="1667" y="84"/>
                </a:cubicBezTo>
                <a:cubicBezTo>
                  <a:pt x="1667" y="84"/>
                  <a:pt x="1667" y="85"/>
                  <a:pt x="1667" y="85"/>
                </a:cubicBezTo>
                <a:cubicBezTo>
                  <a:pt x="1667" y="85"/>
                  <a:pt x="1667" y="85"/>
                  <a:pt x="1667" y="85"/>
                </a:cubicBezTo>
                <a:cubicBezTo>
                  <a:pt x="1668" y="85"/>
                  <a:pt x="1667" y="85"/>
                  <a:pt x="1668" y="86"/>
                </a:cubicBezTo>
                <a:cubicBezTo>
                  <a:pt x="1668" y="85"/>
                  <a:pt x="1668" y="85"/>
                  <a:pt x="1668" y="85"/>
                </a:cubicBezTo>
                <a:cubicBezTo>
                  <a:pt x="1668" y="86"/>
                  <a:pt x="1668" y="86"/>
                  <a:pt x="1668" y="86"/>
                </a:cubicBezTo>
                <a:cubicBezTo>
                  <a:pt x="1668" y="86"/>
                  <a:pt x="1668" y="86"/>
                  <a:pt x="1668" y="86"/>
                </a:cubicBezTo>
                <a:cubicBezTo>
                  <a:pt x="1668" y="86"/>
                  <a:pt x="1668" y="86"/>
                  <a:pt x="1668" y="86"/>
                </a:cubicBezTo>
                <a:cubicBezTo>
                  <a:pt x="1668" y="87"/>
                  <a:pt x="1668" y="87"/>
                  <a:pt x="1668" y="87"/>
                </a:cubicBezTo>
                <a:cubicBezTo>
                  <a:pt x="1668" y="87"/>
                  <a:pt x="1668" y="87"/>
                  <a:pt x="1668" y="87"/>
                </a:cubicBezTo>
                <a:cubicBezTo>
                  <a:pt x="1669" y="87"/>
                  <a:pt x="1669" y="88"/>
                  <a:pt x="1669" y="88"/>
                </a:cubicBezTo>
                <a:cubicBezTo>
                  <a:pt x="1669" y="88"/>
                  <a:pt x="1669" y="88"/>
                  <a:pt x="1669" y="88"/>
                </a:cubicBezTo>
                <a:cubicBezTo>
                  <a:pt x="1669" y="88"/>
                  <a:pt x="1669" y="88"/>
                  <a:pt x="1669" y="89"/>
                </a:cubicBezTo>
                <a:cubicBezTo>
                  <a:pt x="1669" y="89"/>
                  <a:pt x="1669" y="89"/>
                  <a:pt x="1669" y="89"/>
                </a:cubicBezTo>
                <a:cubicBezTo>
                  <a:pt x="1669" y="89"/>
                  <a:pt x="1669" y="89"/>
                  <a:pt x="1669" y="89"/>
                </a:cubicBezTo>
                <a:cubicBezTo>
                  <a:pt x="1669" y="89"/>
                  <a:pt x="1669" y="89"/>
                  <a:pt x="1669" y="90"/>
                </a:cubicBezTo>
                <a:cubicBezTo>
                  <a:pt x="1669" y="90"/>
                  <a:pt x="1669" y="90"/>
                  <a:pt x="1669" y="90"/>
                </a:cubicBezTo>
                <a:cubicBezTo>
                  <a:pt x="1670" y="90"/>
                  <a:pt x="1670" y="90"/>
                  <a:pt x="1670" y="90"/>
                </a:cubicBezTo>
                <a:cubicBezTo>
                  <a:pt x="1670" y="90"/>
                  <a:pt x="1670" y="90"/>
                  <a:pt x="1670" y="90"/>
                </a:cubicBezTo>
                <a:cubicBezTo>
                  <a:pt x="1670" y="91"/>
                  <a:pt x="1670" y="91"/>
                  <a:pt x="1670" y="91"/>
                </a:cubicBezTo>
                <a:cubicBezTo>
                  <a:pt x="1670" y="91"/>
                  <a:pt x="1670" y="91"/>
                  <a:pt x="1670" y="91"/>
                </a:cubicBezTo>
                <a:cubicBezTo>
                  <a:pt x="1670" y="91"/>
                  <a:pt x="1670" y="92"/>
                  <a:pt x="1670" y="92"/>
                </a:cubicBezTo>
                <a:cubicBezTo>
                  <a:pt x="1671" y="92"/>
                  <a:pt x="1671" y="92"/>
                  <a:pt x="1671" y="92"/>
                </a:cubicBezTo>
                <a:cubicBezTo>
                  <a:pt x="1671" y="92"/>
                  <a:pt x="1671" y="93"/>
                  <a:pt x="1671" y="93"/>
                </a:cubicBezTo>
                <a:cubicBezTo>
                  <a:pt x="1671" y="93"/>
                  <a:pt x="1671" y="93"/>
                  <a:pt x="1671" y="93"/>
                </a:cubicBezTo>
                <a:cubicBezTo>
                  <a:pt x="1671" y="93"/>
                  <a:pt x="1671" y="93"/>
                  <a:pt x="1671" y="94"/>
                </a:cubicBezTo>
                <a:cubicBezTo>
                  <a:pt x="1671" y="94"/>
                  <a:pt x="1671" y="94"/>
                  <a:pt x="1671" y="94"/>
                </a:cubicBezTo>
                <a:cubicBezTo>
                  <a:pt x="1671" y="94"/>
                  <a:pt x="1671" y="94"/>
                  <a:pt x="1671" y="94"/>
                </a:cubicBezTo>
                <a:cubicBezTo>
                  <a:pt x="1672" y="94"/>
                  <a:pt x="1672" y="94"/>
                  <a:pt x="1672" y="94"/>
                </a:cubicBezTo>
                <a:cubicBezTo>
                  <a:pt x="1672" y="94"/>
                  <a:pt x="1672" y="94"/>
                  <a:pt x="1672" y="94"/>
                </a:cubicBezTo>
                <a:cubicBezTo>
                  <a:pt x="1672" y="95"/>
                  <a:pt x="1672" y="95"/>
                  <a:pt x="1672" y="95"/>
                </a:cubicBezTo>
                <a:cubicBezTo>
                  <a:pt x="1672" y="95"/>
                  <a:pt x="1672" y="95"/>
                  <a:pt x="1672" y="95"/>
                </a:cubicBezTo>
                <a:cubicBezTo>
                  <a:pt x="1672" y="95"/>
                  <a:pt x="1672" y="96"/>
                  <a:pt x="1672" y="96"/>
                </a:cubicBezTo>
                <a:cubicBezTo>
                  <a:pt x="1672" y="96"/>
                  <a:pt x="1672" y="96"/>
                  <a:pt x="1672" y="96"/>
                </a:cubicBezTo>
                <a:cubicBezTo>
                  <a:pt x="1672" y="96"/>
                  <a:pt x="1672" y="96"/>
                  <a:pt x="1673" y="97"/>
                </a:cubicBezTo>
                <a:cubicBezTo>
                  <a:pt x="1673" y="97"/>
                  <a:pt x="1673" y="97"/>
                  <a:pt x="1673" y="97"/>
                </a:cubicBezTo>
                <a:cubicBezTo>
                  <a:pt x="1673" y="97"/>
                  <a:pt x="1673" y="97"/>
                  <a:pt x="1673" y="97"/>
                </a:cubicBezTo>
                <a:cubicBezTo>
                  <a:pt x="1673" y="97"/>
                  <a:pt x="1673" y="97"/>
                  <a:pt x="1673" y="98"/>
                </a:cubicBezTo>
                <a:cubicBezTo>
                  <a:pt x="1673" y="98"/>
                  <a:pt x="1673" y="98"/>
                  <a:pt x="1673" y="98"/>
                </a:cubicBezTo>
                <a:cubicBezTo>
                  <a:pt x="1673" y="98"/>
                  <a:pt x="1673" y="98"/>
                  <a:pt x="1673" y="98"/>
                </a:cubicBezTo>
                <a:cubicBezTo>
                  <a:pt x="1673" y="98"/>
                  <a:pt x="1673" y="98"/>
                  <a:pt x="1673" y="98"/>
                </a:cubicBezTo>
                <a:cubicBezTo>
                  <a:pt x="1673" y="99"/>
                  <a:pt x="1673" y="99"/>
                  <a:pt x="1674" y="99"/>
                </a:cubicBezTo>
                <a:cubicBezTo>
                  <a:pt x="1674" y="99"/>
                  <a:pt x="1674" y="99"/>
                  <a:pt x="1674" y="99"/>
                </a:cubicBezTo>
                <a:cubicBezTo>
                  <a:pt x="1674" y="99"/>
                  <a:pt x="1674" y="100"/>
                  <a:pt x="1674" y="100"/>
                </a:cubicBezTo>
                <a:cubicBezTo>
                  <a:pt x="1674" y="100"/>
                  <a:pt x="1674" y="100"/>
                  <a:pt x="1674" y="100"/>
                </a:cubicBezTo>
                <a:cubicBezTo>
                  <a:pt x="1674" y="100"/>
                  <a:pt x="1674" y="101"/>
                  <a:pt x="1674" y="101"/>
                </a:cubicBezTo>
                <a:cubicBezTo>
                  <a:pt x="1674" y="101"/>
                  <a:pt x="1674" y="101"/>
                  <a:pt x="1674" y="101"/>
                </a:cubicBezTo>
                <a:cubicBezTo>
                  <a:pt x="1674" y="101"/>
                  <a:pt x="1674" y="101"/>
                  <a:pt x="1675" y="101"/>
                </a:cubicBezTo>
                <a:cubicBezTo>
                  <a:pt x="1675" y="101"/>
                  <a:pt x="1675" y="101"/>
                  <a:pt x="1675" y="101"/>
                </a:cubicBezTo>
                <a:cubicBezTo>
                  <a:pt x="1679" y="102"/>
                  <a:pt x="1683" y="102"/>
                  <a:pt x="1687" y="102"/>
                </a:cubicBezTo>
                <a:cubicBezTo>
                  <a:pt x="1688" y="102"/>
                  <a:pt x="1688" y="101"/>
                  <a:pt x="1688" y="101"/>
                </a:cubicBezTo>
                <a:cubicBezTo>
                  <a:pt x="1688" y="101"/>
                  <a:pt x="1688" y="101"/>
                  <a:pt x="1688" y="101"/>
                </a:cubicBezTo>
                <a:cubicBezTo>
                  <a:pt x="1688" y="101"/>
                  <a:pt x="1688" y="100"/>
                  <a:pt x="1687" y="100"/>
                </a:cubicBezTo>
                <a:cubicBezTo>
                  <a:pt x="1687" y="100"/>
                  <a:pt x="1687" y="100"/>
                  <a:pt x="1687" y="100"/>
                </a:cubicBezTo>
                <a:cubicBezTo>
                  <a:pt x="1687" y="100"/>
                  <a:pt x="1687" y="100"/>
                  <a:pt x="1687" y="99"/>
                </a:cubicBezTo>
                <a:cubicBezTo>
                  <a:pt x="1687" y="99"/>
                  <a:pt x="1687" y="99"/>
                  <a:pt x="1687" y="99"/>
                </a:cubicBezTo>
                <a:cubicBezTo>
                  <a:pt x="1687" y="99"/>
                  <a:pt x="1687" y="99"/>
                  <a:pt x="1687" y="99"/>
                </a:cubicBezTo>
                <a:cubicBezTo>
                  <a:pt x="1687" y="99"/>
                  <a:pt x="1687" y="99"/>
                  <a:pt x="1687" y="99"/>
                </a:cubicBezTo>
                <a:cubicBezTo>
                  <a:pt x="1687" y="99"/>
                  <a:pt x="1687" y="98"/>
                  <a:pt x="1686" y="98"/>
                </a:cubicBezTo>
                <a:cubicBezTo>
                  <a:pt x="1686" y="98"/>
                  <a:pt x="1686" y="98"/>
                  <a:pt x="1686" y="98"/>
                </a:cubicBezTo>
                <a:cubicBezTo>
                  <a:pt x="1686" y="98"/>
                  <a:pt x="1686" y="98"/>
                  <a:pt x="1686" y="97"/>
                </a:cubicBezTo>
                <a:cubicBezTo>
                  <a:pt x="1686" y="97"/>
                  <a:pt x="1686" y="97"/>
                  <a:pt x="1686" y="97"/>
                </a:cubicBezTo>
                <a:cubicBezTo>
                  <a:pt x="1686" y="97"/>
                  <a:pt x="1686" y="97"/>
                  <a:pt x="1686" y="97"/>
                </a:cubicBezTo>
                <a:cubicBezTo>
                  <a:pt x="1686" y="97"/>
                  <a:pt x="1686" y="97"/>
                  <a:pt x="1686" y="97"/>
                </a:cubicBezTo>
                <a:cubicBezTo>
                  <a:pt x="1686" y="96"/>
                  <a:pt x="1686" y="96"/>
                  <a:pt x="1685" y="96"/>
                </a:cubicBezTo>
                <a:cubicBezTo>
                  <a:pt x="1685" y="96"/>
                  <a:pt x="1685" y="96"/>
                  <a:pt x="1685" y="96"/>
                </a:cubicBezTo>
                <a:cubicBezTo>
                  <a:pt x="1685" y="96"/>
                  <a:pt x="1685" y="96"/>
                  <a:pt x="1685" y="96"/>
                </a:cubicBezTo>
                <a:cubicBezTo>
                  <a:pt x="1685" y="96"/>
                  <a:pt x="1685" y="95"/>
                  <a:pt x="1685" y="95"/>
                </a:cubicBezTo>
                <a:cubicBezTo>
                  <a:pt x="1685" y="95"/>
                  <a:pt x="1685" y="95"/>
                  <a:pt x="1685" y="95"/>
                </a:cubicBezTo>
                <a:cubicBezTo>
                  <a:pt x="1685" y="95"/>
                  <a:pt x="1685" y="94"/>
                  <a:pt x="1685" y="94"/>
                </a:cubicBezTo>
                <a:cubicBezTo>
                  <a:pt x="1685" y="94"/>
                  <a:pt x="1685" y="94"/>
                  <a:pt x="1685" y="94"/>
                </a:cubicBezTo>
                <a:cubicBezTo>
                  <a:pt x="1685" y="94"/>
                  <a:pt x="1685" y="94"/>
                  <a:pt x="1684" y="94"/>
                </a:cubicBezTo>
                <a:cubicBezTo>
                  <a:pt x="1684" y="94"/>
                  <a:pt x="1684" y="94"/>
                  <a:pt x="1684" y="94"/>
                </a:cubicBezTo>
                <a:cubicBezTo>
                  <a:pt x="1684" y="93"/>
                  <a:pt x="1684" y="93"/>
                  <a:pt x="1684" y="93"/>
                </a:cubicBezTo>
                <a:cubicBezTo>
                  <a:pt x="1684" y="93"/>
                  <a:pt x="1684" y="93"/>
                  <a:pt x="1684" y="93"/>
                </a:cubicBezTo>
                <a:cubicBezTo>
                  <a:pt x="1684" y="93"/>
                  <a:pt x="1684" y="92"/>
                  <a:pt x="1684" y="92"/>
                </a:cubicBezTo>
                <a:cubicBezTo>
                  <a:pt x="1684" y="92"/>
                  <a:pt x="1684" y="92"/>
                  <a:pt x="1684" y="92"/>
                </a:cubicBezTo>
                <a:cubicBezTo>
                  <a:pt x="1683" y="92"/>
                  <a:pt x="1684" y="92"/>
                  <a:pt x="1683" y="91"/>
                </a:cubicBezTo>
                <a:cubicBezTo>
                  <a:pt x="1683" y="91"/>
                  <a:pt x="1683" y="91"/>
                  <a:pt x="1683" y="91"/>
                </a:cubicBezTo>
                <a:cubicBezTo>
                  <a:pt x="1683" y="91"/>
                  <a:pt x="1683" y="91"/>
                  <a:pt x="1683" y="91"/>
                </a:cubicBezTo>
                <a:cubicBezTo>
                  <a:pt x="1683" y="91"/>
                  <a:pt x="1683" y="91"/>
                  <a:pt x="1683" y="91"/>
                </a:cubicBezTo>
                <a:cubicBezTo>
                  <a:pt x="1683" y="91"/>
                  <a:pt x="1683" y="90"/>
                  <a:pt x="1683" y="90"/>
                </a:cubicBezTo>
                <a:cubicBezTo>
                  <a:pt x="1683" y="90"/>
                  <a:pt x="1683" y="90"/>
                  <a:pt x="1683" y="90"/>
                </a:cubicBezTo>
                <a:cubicBezTo>
                  <a:pt x="1682" y="90"/>
                  <a:pt x="1682" y="90"/>
                  <a:pt x="1682" y="89"/>
                </a:cubicBezTo>
                <a:cubicBezTo>
                  <a:pt x="1682" y="89"/>
                  <a:pt x="1682" y="89"/>
                  <a:pt x="1682" y="89"/>
                </a:cubicBezTo>
                <a:cubicBezTo>
                  <a:pt x="1682" y="89"/>
                  <a:pt x="1682" y="89"/>
                  <a:pt x="1682" y="89"/>
                </a:cubicBezTo>
                <a:cubicBezTo>
                  <a:pt x="1682" y="89"/>
                  <a:pt x="1682" y="89"/>
                  <a:pt x="1682" y="89"/>
                </a:cubicBezTo>
                <a:cubicBezTo>
                  <a:pt x="1682" y="88"/>
                  <a:pt x="1682" y="88"/>
                  <a:pt x="1682" y="88"/>
                </a:cubicBezTo>
                <a:cubicBezTo>
                  <a:pt x="1682" y="88"/>
                  <a:pt x="1682" y="88"/>
                  <a:pt x="1682" y="88"/>
                </a:cubicBezTo>
                <a:cubicBezTo>
                  <a:pt x="1682" y="88"/>
                  <a:pt x="1682" y="88"/>
                  <a:pt x="1682" y="88"/>
                </a:cubicBezTo>
                <a:cubicBezTo>
                  <a:pt x="1681" y="87"/>
                  <a:pt x="1681" y="87"/>
                  <a:pt x="1681" y="87"/>
                </a:cubicBezTo>
                <a:cubicBezTo>
                  <a:pt x="1681" y="87"/>
                  <a:pt x="1681" y="87"/>
                  <a:pt x="1681" y="87"/>
                </a:cubicBezTo>
                <a:cubicBezTo>
                  <a:pt x="1681" y="87"/>
                  <a:pt x="1681" y="86"/>
                  <a:pt x="1681" y="86"/>
                </a:cubicBezTo>
                <a:cubicBezTo>
                  <a:pt x="1681" y="86"/>
                  <a:pt x="1681" y="86"/>
                  <a:pt x="1681" y="86"/>
                </a:cubicBezTo>
                <a:cubicBezTo>
                  <a:pt x="1681" y="86"/>
                  <a:pt x="1681" y="86"/>
                  <a:pt x="1681" y="86"/>
                </a:cubicBezTo>
                <a:cubicBezTo>
                  <a:pt x="1681" y="86"/>
                  <a:pt x="1681" y="86"/>
                  <a:pt x="1681" y="86"/>
                </a:cubicBezTo>
                <a:cubicBezTo>
                  <a:pt x="1680" y="85"/>
                  <a:pt x="1680" y="85"/>
                  <a:pt x="1680" y="85"/>
                </a:cubicBezTo>
                <a:cubicBezTo>
                  <a:pt x="1680" y="85"/>
                  <a:pt x="1680" y="85"/>
                  <a:pt x="1680" y="85"/>
                </a:cubicBezTo>
                <a:cubicBezTo>
                  <a:pt x="1680" y="85"/>
                  <a:pt x="1680" y="84"/>
                  <a:pt x="1680" y="84"/>
                </a:cubicBezTo>
                <a:cubicBezTo>
                  <a:pt x="1680" y="84"/>
                  <a:pt x="1680" y="84"/>
                  <a:pt x="1680" y="84"/>
                </a:cubicBezTo>
                <a:cubicBezTo>
                  <a:pt x="1680" y="84"/>
                  <a:pt x="1680" y="84"/>
                  <a:pt x="1680" y="83"/>
                </a:cubicBezTo>
                <a:cubicBezTo>
                  <a:pt x="1680" y="83"/>
                  <a:pt x="1680" y="83"/>
                  <a:pt x="1680" y="83"/>
                </a:cubicBezTo>
                <a:cubicBezTo>
                  <a:pt x="1679" y="83"/>
                  <a:pt x="1679" y="83"/>
                  <a:pt x="1679" y="83"/>
                </a:cubicBezTo>
                <a:cubicBezTo>
                  <a:pt x="1679" y="83"/>
                  <a:pt x="1679" y="83"/>
                  <a:pt x="1679" y="83"/>
                </a:cubicBezTo>
                <a:cubicBezTo>
                  <a:pt x="1679" y="83"/>
                  <a:pt x="1679" y="82"/>
                  <a:pt x="1679" y="82"/>
                </a:cubicBezTo>
                <a:cubicBezTo>
                  <a:pt x="1679" y="82"/>
                  <a:pt x="1679" y="82"/>
                  <a:pt x="1679" y="82"/>
                </a:cubicBezTo>
                <a:cubicBezTo>
                  <a:pt x="1679" y="82"/>
                  <a:pt x="1679" y="82"/>
                  <a:pt x="1679" y="81"/>
                </a:cubicBezTo>
                <a:cubicBezTo>
                  <a:pt x="1678" y="81"/>
                  <a:pt x="1678" y="81"/>
                  <a:pt x="1678" y="81"/>
                </a:cubicBezTo>
                <a:cubicBezTo>
                  <a:pt x="1678" y="81"/>
                  <a:pt x="1678" y="81"/>
                  <a:pt x="1678" y="81"/>
                </a:cubicBezTo>
                <a:cubicBezTo>
                  <a:pt x="1678" y="81"/>
                  <a:pt x="1678" y="81"/>
                  <a:pt x="1678" y="81"/>
                </a:cubicBezTo>
                <a:cubicBezTo>
                  <a:pt x="1678" y="81"/>
                  <a:pt x="1678" y="81"/>
                  <a:pt x="1678" y="80"/>
                </a:cubicBezTo>
                <a:cubicBezTo>
                  <a:pt x="1678" y="80"/>
                  <a:pt x="1678" y="80"/>
                  <a:pt x="1678" y="80"/>
                </a:cubicBezTo>
                <a:cubicBezTo>
                  <a:pt x="1678" y="80"/>
                  <a:pt x="1678" y="80"/>
                  <a:pt x="1678" y="80"/>
                </a:cubicBezTo>
                <a:cubicBezTo>
                  <a:pt x="1678" y="79"/>
                  <a:pt x="1678" y="79"/>
                  <a:pt x="1677" y="79"/>
                </a:cubicBezTo>
                <a:cubicBezTo>
                  <a:pt x="1677" y="79"/>
                  <a:pt x="1677" y="79"/>
                  <a:pt x="1677" y="79"/>
                </a:cubicBezTo>
                <a:cubicBezTo>
                  <a:pt x="1677" y="79"/>
                  <a:pt x="1677" y="78"/>
                  <a:pt x="1677" y="78"/>
                </a:cubicBezTo>
                <a:cubicBezTo>
                  <a:pt x="1677" y="78"/>
                  <a:pt x="1677" y="78"/>
                  <a:pt x="1677" y="78"/>
                </a:cubicBezTo>
                <a:cubicBezTo>
                  <a:pt x="1677" y="78"/>
                  <a:pt x="1677" y="78"/>
                  <a:pt x="1677" y="78"/>
                </a:cubicBezTo>
                <a:cubicBezTo>
                  <a:pt x="1677" y="78"/>
                  <a:pt x="1677" y="78"/>
                  <a:pt x="1677" y="78"/>
                </a:cubicBezTo>
                <a:cubicBezTo>
                  <a:pt x="1677" y="77"/>
                  <a:pt x="1677" y="77"/>
                  <a:pt x="1676" y="77"/>
                </a:cubicBezTo>
                <a:cubicBezTo>
                  <a:pt x="1676" y="77"/>
                  <a:pt x="1676" y="77"/>
                  <a:pt x="1676" y="77"/>
                </a:cubicBezTo>
                <a:cubicBezTo>
                  <a:pt x="1676" y="77"/>
                  <a:pt x="1676" y="76"/>
                  <a:pt x="1676" y="76"/>
                </a:cubicBezTo>
                <a:cubicBezTo>
                  <a:pt x="1676" y="76"/>
                  <a:pt x="1676" y="76"/>
                  <a:pt x="1676" y="76"/>
                </a:cubicBezTo>
                <a:cubicBezTo>
                  <a:pt x="1676" y="76"/>
                  <a:pt x="1676" y="76"/>
                  <a:pt x="1676" y="75"/>
                </a:cubicBezTo>
                <a:cubicBezTo>
                  <a:pt x="1676" y="75"/>
                  <a:pt x="1676" y="75"/>
                  <a:pt x="1676" y="75"/>
                </a:cubicBezTo>
                <a:cubicBezTo>
                  <a:pt x="1675" y="75"/>
                  <a:pt x="1676" y="75"/>
                  <a:pt x="1675" y="75"/>
                </a:cubicBezTo>
                <a:cubicBezTo>
                  <a:pt x="1675" y="75"/>
                  <a:pt x="1675" y="75"/>
                  <a:pt x="1675" y="75"/>
                </a:cubicBezTo>
                <a:cubicBezTo>
                  <a:pt x="1675" y="75"/>
                  <a:pt x="1675" y="74"/>
                  <a:pt x="1675" y="74"/>
                </a:cubicBezTo>
                <a:cubicBezTo>
                  <a:pt x="1675" y="74"/>
                  <a:pt x="1675" y="74"/>
                  <a:pt x="1675" y="74"/>
                </a:cubicBezTo>
                <a:cubicBezTo>
                  <a:pt x="1675" y="74"/>
                  <a:pt x="1675" y="74"/>
                  <a:pt x="1675" y="74"/>
                </a:cubicBezTo>
                <a:cubicBezTo>
                  <a:pt x="1675" y="74"/>
                  <a:pt x="1675" y="73"/>
                  <a:pt x="1675" y="73"/>
                </a:cubicBezTo>
                <a:cubicBezTo>
                  <a:pt x="1675" y="73"/>
                  <a:pt x="1675" y="73"/>
                  <a:pt x="1675" y="73"/>
                </a:cubicBezTo>
                <a:cubicBezTo>
                  <a:pt x="1674" y="73"/>
                  <a:pt x="1675" y="72"/>
                  <a:pt x="1674" y="72"/>
                </a:cubicBezTo>
                <a:cubicBezTo>
                  <a:pt x="1674" y="72"/>
                  <a:pt x="1674" y="72"/>
                  <a:pt x="1674" y="72"/>
                </a:cubicBezTo>
                <a:cubicBezTo>
                  <a:pt x="1674" y="72"/>
                  <a:pt x="1674" y="72"/>
                  <a:pt x="1674" y="72"/>
                </a:cubicBezTo>
                <a:cubicBezTo>
                  <a:pt x="1674" y="72"/>
                  <a:pt x="1674" y="72"/>
                  <a:pt x="1674" y="72"/>
                </a:cubicBezTo>
                <a:cubicBezTo>
                  <a:pt x="1674" y="71"/>
                  <a:pt x="1674" y="71"/>
                  <a:pt x="1674" y="71"/>
                </a:cubicBezTo>
                <a:cubicBezTo>
                  <a:pt x="1674" y="71"/>
                  <a:pt x="1674" y="71"/>
                  <a:pt x="1674" y="71"/>
                </a:cubicBezTo>
                <a:cubicBezTo>
                  <a:pt x="1673" y="71"/>
                  <a:pt x="1673" y="70"/>
                  <a:pt x="1673" y="70"/>
                </a:cubicBezTo>
                <a:cubicBezTo>
                  <a:pt x="1673" y="70"/>
                  <a:pt x="1673" y="70"/>
                  <a:pt x="1673" y="70"/>
                </a:cubicBezTo>
                <a:cubicBezTo>
                  <a:pt x="1673" y="70"/>
                  <a:pt x="1673" y="70"/>
                  <a:pt x="1673" y="69"/>
                </a:cubicBezTo>
                <a:cubicBezTo>
                  <a:pt x="1673" y="70"/>
                  <a:pt x="1673" y="70"/>
                  <a:pt x="1673" y="70"/>
                </a:cubicBezTo>
                <a:cubicBezTo>
                  <a:pt x="1673" y="69"/>
                  <a:pt x="1673" y="69"/>
                  <a:pt x="1673" y="69"/>
                </a:cubicBezTo>
                <a:cubicBezTo>
                  <a:pt x="1673" y="69"/>
                  <a:pt x="1673" y="69"/>
                  <a:pt x="1673" y="69"/>
                </a:cubicBezTo>
                <a:cubicBezTo>
                  <a:pt x="1672" y="69"/>
                  <a:pt x="1672" y="68"/>
                  <a:pt x="1672" y="68"/>
                </a:cubicBezTo>
                <a:cubicBezTo>
                  <a:pt x="1672" y="68"/>
                  <a:pt x="1672" y="68"/>
                  <a:pt x="1672" y="68"/>
                </a:cubicBezTo>
                <a:cubicBezTo>
                  <a:pt x="1672" y="68"/>
                  <a:pt x="1672" y="68"/>
                  <a:pt x="1672" y="67"/>
                </a:cubicBezTo>
                <a:cubicBezTo>
                  <a:pt x="1672" y="67"/>
                  <a:pt x="1672" y="67"/>
                  <a:pt x="1672" y="67"/>
                </a:cubicBezTo>
                <a:cubicBezTo>
                  <a:pt x="1672" y="67"/>
                  <a:pt x="1672" y="67"/>
                  <a:pt x="1671" y="67"/>
                </a:cubicBezTo>
                <a:cubicBezTo>
                  <a:pt x="1671" y="67"/>
                  <a:pt x="1671" y="67"/>
                  <a:pt x="1671" y="67"/>
                </a:cubicBezTo>
                <a:cubicBezTo>
                  <a:pt x="1671" y="67"/>
                  <a:pt x="1671" y="66"/>
                  <a:pt x="1671" y="66"/>
                </a:cubicBezTo>
                <a:cubicBezTo>
                  <a:pt x="1671" y="66"/>
                  <a:pt x="1671" y="66"/>
                  <a:pt x="1671" y="66"/>
                </a:cubicBezTo>
                <a:cubicBezTo>
                  <a:pt x="1671" y="66"/>
                  <a:pt x="1671" y="66"/>
                  <a:pt x="1671" y="66"/>
                </a:cubicBezTo>
                <a:cubicBezTo>
                  <a:pt x="1671" y="66"/>
                  <a:pt x="1671" y="66"/>
                  <a:pt x="1671" y="66"/>
                </a:cubicBezTo>
                <a:cubicBezTo>
                  <a:pt x="1671" y="65"/>
                  <a:pt x="1671" y="65"/>
                  <a:pt x="1670" y="65"/>
                </a:cubicBezTo>
                <a:cubicBezTo>
                  <a:pt x="1670" y="65"/>
                  <a:pt x="1670" y="65"/>
                  <a:pt x="1670" y="65"/>
                </a:cubicBezTo>
                <a:cubicBezTo>
                  <a:pt x="1670" y="65"/>
                  <a:pt x="1670" y="65"/>
                  <a:pt x="1670" y="65"/>
                </a:cubicBezTo>
                <a:cubicBezTo>
                  <a:pt x="1670" y="65"/>
                  <a:pt x="1670" y="65"/>
                  <a:pt x="1670" y="65"/>
                </a:cubicBezTo>
                <a:cubicBezTo>
                  <a:pt x="1670" y="64"/>
                  <a:pt x="1670" y="64"/>
                  <a:pt x="1670" y="64"/>
                </a:cubicBezTo>
                <a:cubicBezTo>
                  <a:pt x="1670" y="64"/>
                  <a:pt x="1670" y="64"/>
                  <a:pt x="1670" y="64"/>
                </a:cubicBezTo>
                <a:cubicBezTo>
                  <a:pt x="1670" y="64"/>
                  <a:pt x="1670" y="64"/>
                  <a:pt x="1669" y="64"/>
                </a:cubicBezTo>
                <a:cubicBezTo>
                  <a:pt x="1669" y="64"/>
                  <a:pt x="1669" y="64"/>
                  <a:pt x="1669" y="64"/>
                </a:cubicBezTo>
                <a:cubicBezTo>
                  <a:pt x="1669" y="63"/>
                  <a:pt x="1669" y="63"/>
                  <a:pt x="1669" y="63"/>
                </a:cubicBezTo>
                <a:cubicBezTo>
                  <a:pt x="1669" y="63"/>
                  <a:pt x="1669" y="63"/>
                  <a:pt x="1669" y="63"/>
                </a:cubicBezTo>
                <a:cubicBezTo>
                  <a:pt x="1669" y="63"/>
                  <a:pt x="1669"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1"/>
                  <a:pt x="1667" y="61"/>
                  <a:pt x="1667" y="61"/>
                </a:cubicBezTo>
                <a:cubicBezTo>
                  <a:pt x="1667" y="61"/>
                  <a:pt x="1667" y="61"/>
                  <a:pt x="1667" y="61"/>
                </a:cubicBezTo>
                <a:cubicBezTo>
                  <a:pt x="1667" y="61"/>
                  <a:pt x="1667" y="61"/>
                  <a:pt x="1667" y="61"/>
                </a:cubicBezTo>
                <a:cubicBezTo>
                  <a:pt x="1667" y="61"/>
                  <a:pt x="1667" y="61"/>
                  <a:pt x="1667" y="61"/>
                </a:cubicBezTo>
                <a:cubicBezTo>
                  <a:pt x="1667" y="60"/>
                  <a:pt x="1666" y="60"/>
                  <a:pt x="1666" y="60"/>
                </a:cubicBezTo>
                <a:cubicBezTo>
                  <a:pt x="1666" y="60"/>
                  <a:pt x="1666" y="60"/>
                  <a:pt x="1666" y="60"/>
                </a:cubicBezTo>
                <a:cubicBezTo>
                  <a:pt x="1666" y="60"/>
                  <a:pt x="1666" y="60"/>
                  <a:pt x="1666" y="60"/>
                </a:cubicBezTo>
                <a:cubicBezTo>
                  <a:pt x="1666" y="60"/>
                  <a:pt x="1666" y="60"/>
                  <a:pt x="1666" y="60"/>
                </a:cubicBezTo>
                <a:cubicBezTo>
                  <a:pt x="1665" y="60"/>
                  <a:pt x="1665" y="60"/>
                  <a:pt x="1665" y="59"/>
                </a:cubicBezTo>
                <a:cubicBezTo>
                  <a:pt x="1665" y="59"/>
                  <a:pt x="1665" y="59"/>
                  <a:pt x="1665" y="59"/>
                </a:cubicBezTo>
                <a:cubicBezTo>
                  <a:pt x="1665" y="59"/>
                  <a:pt x="1664" y="59"/>
                  <a:pt x="1664" y="59"/>
                </a:cubicBezTo>
                <a:cubicBezTo>
                  <a:pt x="1664" y="59"/>
                  <a:pt x="1664" y="59"/>
                  <a:pt x="1664" y="59"/>
                </a:cubicBezTo>
                <a:cubicBezTo>
                  <a:pt x="1664" y="59"/>
                  <a:pt x="1664" y="59"/>
                  <a:pt x="1665" y="58"/>
                </a:cubicBezTo>
                <a:cubicBezTo>
                  <a:pt x="1665" y="58"/>
                  <a:pt x="1665" y="58"/>
                  <a:pt x="1665" y="58"/>
                </a:cubicBezTo>
                <a:cubicBezTo>
                  <a:pt x="1665" y="58"/>
                  <a:pt x="1665" y="58"/>
                  <a:pt x="1666" y="58"/>
                </a:cubicBezTo>
                <a:cubicBezTo>
                  <a:pt x="1666" y="58"/>
                  <a:pt x="1666" y="58"/>
                  <a:pt x="1666" y="58"/>
                </a:cubicBezTo>
                <a:cubicBezTo>
                  <a:pt x="1666" y="58"/>
                  <a:pt x="1666" y="58"/>
                  <a:pt x="1666" y="58"/>
                </a:cubicBezTo>
                <a:cubicBezTo>
                  <a:pt x="1666" y="58"/>
                  <a:pt x="1666" y="58"/>
                  <a:pt x="1667" y="58"/>
                </a:cubicBezTo>
                <a:close/>
                <a:moveTo>
                  <a:pt x="1433" y="7"/>
                </a:moveTo>
                <a:cubicBezTo>
                  <a:pt x="1433" y="7"/>
                  <a:pt x="1433" y="7"/>
                  <a:pt x="1433" y="7"/>
                </a:cubicBezTo>
                <a:cubicBezTo>
                  <a:pt x="1433" y="7"/>
                  <a:pt x="1433" y="7"/>
                  <a:pt x="1433" y="7"/>
                </a:cubicBezTo>
                <a:cubicBezTo>
                  <a:pt x="1432" y="7"/>
                  <a:pt x="1432" y="7"/>
                  <a:pt x="1432" y="7"/>
                </a:cubicBezTo>
                <a:cubicBezTo>
                  <a:pt x="1432" y="7"/>
                  <a:pt x="1432" y="7"/>
                  <a:pt x="1431" y="7"/>
                </a:cubicBezTo>
                <a:cubicBezTo>
                  <a:pt x="1431" y="7"/>
                  <a:pt x="1431" y="7"/>
                  <a:pt x="1431" y="8"/>
                </a:cubicBezTo>
                <a:cubicBezTo>
                  <a:pt x="1431" y="8"/>
                  <a:pt x="1431" y="8"/>
                  <a:pt x="1431" y="8"/>
                </a:cubicBezTo>
                <a:cubicBezTo>
                  <a:pt x="1430" y="8"/>
                  <a:pt x="1430" y="8"/>
                  <a:pt x="1430" y="8"/>
                </a:cubicBezTo>
                <a:cubicBezTo>
                  <a:pt x="1430" y="8"/>
                  <a:pt x="1430" y="8"/>
                  <a:pt x="1430" y="8"/>
                </a:cubicBezTo>
                <a:cubicBezTo>
                  <a:pt x="1429" y="8"/>
                  <a:pt x="1429" y="8"/>
                  <a:pt x="1429" y="8"/>
                </a:cubicBezTo>
                <a:cubicBezTo>
                  <a:pt x="1429" y="8"/>
                  <a:pt x="1429" y="8"/>
                  <a:pt x="1429" y="8"/>
                </a:cubicBezTo>
                <a:cubicBezTo>
                  <a:pt x="1429" y="8"/>
                  <a:pt x="1428" y="8"/>
                  <a:pt x="1428" y="9"/>
                </a:cubicBezTo>
                <a:cubicBezTo>
                  <a:pt x="1428" y="9"/>
                  <a:pt x="1428" y="9"/>
                  <a:pt x="1428" y="9"/>
                </a:cubicBezTo>
                <a:cubicBezTo>
                  <a:pt x="1428" y="9"/>
                  <a:pt x="1428" y="9"/>
                  <a:pt x="1428" y="9"/>
                </a:cubicBezTo>
                <a:cubicBezTo>
                  <a:pt x="1428" y="9"/>
                  <a:pt x="1428" y="9"/>
                  <a:pt x="1428" y="9"/>
                </a:cubicBezTo>
                <a:cubicBezTo>
                  <a:pt x="1427" y="9"/>
                  <a:pt x="1427" y="9"/>
                  <a:pt x="1427" y="9"/>
                </a:cubicBezTo>
                <a:cubicBezTo>
                  <a:pt x="1427" y="9"/>
                  <a:pt x="1427" y="9"/>
                  <a:pt x="1427" y="9"/>
                </a:cubicBezTo>
                <a:cubicBezTo>
                  <a:pt x="1427" y="9"/>
                  <a:pt x="1427" y="10"/>
                  <a:pt x="1426" y="10"/>
                </a:cubicBezTo>
                <a:cubicBezTo>
                  <a:pt x="1426" y="10"/>
                  <a:pt x="1426" y="10"/>
                  <a:pt x="1426" y="10"/>
                </a:cubicBezTo>
                <a:cubicBezTo>
                  <a:pt x="1426" y="10"/>
                  <a:pt x="1426" y="10"/>
                  <a:pt x="1426" y="10"/>
                </a:cubicBezTo>
                <a:cubicBezTo>
                  <a:pt x="1426" y="10"/>
                  <a:pt x="1426" y="10"/>
                  <a:pt x="1426" y="10"/>
                </a:cubicBezTo>
                <a:cubicBezTo>
                  <a:pt x="1426" y="10"/>
                  <a:pt x="1425" y="10"/>
                  <a:pt x="1425" y="10"/>
                </a:cubicBezTo>
                <a:cubicBezTo>
                  <a:pt x="1425" y="10"/>
                  <a:pt x="1425" y="10"/>
                  <a:pt x="1425" y="10"/>
                </a:cubicBezTo>
                <a:cubicBezTo>
                  <a:pt x="1425" y="10"/>
                  <a:pt x="1425" y="11"/>
                  <a:pt x="1425" y="11"/>
                </a:cubicBezTo>
                <a:cubicBezTo>
                  <a:pt x="1425" y="11"/>
                  <a:pt x="1425" y="11"/>
                  <a:pt x="1425" y="11"/>
                </a:cubicBezTo>
                <a:cubicBezTo>
                  <a:pt x="1425" y="11"/>
                  <a:pt x="1424" y="11"/>
                  <a:pt x="1424" y="11"/>
                </a:cubicBezTo>
                <a:cubicBezTo>
                  <a:pt x="1424" y="11"/>
                  <a:pt x="1424" y="11"/>
                  <a:pt x="1424" y="11"/>
                </a:cubicBezTo>
                <a:cubicBezTo>
                  <a:pt x="1424" y="11"/>
                  <a:pt x="1424" y="11"/>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1" y="14"/>
                  <a:pt x="1421" y="14"/>
                  <a:pt x="1421" y="14"/>
                </a:cubicBezTo>
                <a:cubicBezTo>
                  <a:pt x="1421" y="14"/>
                  <a:pt x="1421" y="14"/>
                  <a:pt x="1421" y="14"/>
                </a:cubicBezTo>
                <a:cubicBezTo>
                  <a:pt x="1421" y="14"/>
                  <a:pt x="1421" y="14"/>
                  <a:pt x="1421" y="14"/>
                </a:cubicBezTo>
                <a:cubicBezTo>
                  <a:pt x="1421" y="14"/>
                  <a:pt x="1421" y="14"/>
                  <a:pt x="1421" y="14"/>
                </a:cubicBezTo>
                <a:cubicBezTo>
                  <a:pt x="1421" y="14"/>
                  <a:pt x="1421" y="14"/>
                  <a:pt x="1421" y="15"/>
                </a:cubicBezTo>
                <a:cubicBezTo>
                  <a:pt x="1421" y="15"/>
                  <a:pt x="1421" y="15"/>
                  <a:pt x="1421" y="15"/>
                </a:cubicBezTo>
                <a:cubicBezTo>
                  <a:pt x="1420" y="15"/>
                  <a:pt x="1420" y="15"/>
                  <a:pt x="1420" y="15"/>
                </a:cubicBezTo>
                <a:cubicBezTo>
                  <a:pt x="1420" y="15"/>
                  <a:pt x="1420" y="15"/>
                  <a:pt x="1420" y="15"/>
                </a:cubicBezTo>
                <a:cubicBezTo>
                  <a:pt x="1420" y="15"/>
                  <a:pt x="1420" y="16"/>
                  <a:pt x="1419" y="16"/>
                </a:cubicBezTo>
                <a:cubicBezTo>
                  <a:pt x="1419" y="16"/>
                  <a:pt x="1419" y="16"/>
                  <a:pt x="1419" y="16"/>
                </a:cubicBezTo>
                <a:cubicBezTo>
                  <a:pt x="1419" y="16"/>
                  <a:pt x="1419" y="16"/>
                  <a:pt x="1419" y="16"/>
                </a:cubicBezTo>
                <a:cubicBezTo>
                  <a:pt x="1419" y="16"/>
                  <a:pt x="1419" y="16"/>
                  <a:pt x="1419" y="16"/>
                </a:cubicBezTo>
                <a:cubicBezTo>
                  <a:pt x="1419" y="16"/>
                  <a:pt x="1419" y="16"/>
                  <a:pt x="1419" y="17"/>
                </a:cubicBezTo>
                <a:cubicBezTo>
                  <a:pt x="1419" y="17"/>
                  <a:pt x="1419" y="17"/>
                  <a:pt x="1419" y="17"/>
                </a:cubicBezTo>
                <a:cubicBezTo>
                  <a:pt x="1419" y="17"/>
                  <a:pt x="1419" y="17"/>
                  <a:pt x="1418" y="17"/>
                </a:cubicBezTo>
                <a:cubicBezTo>
                  <a:pt x="1418" y="17"/>
                  <a:pt x="1418" y="17"/>
                  <a:pt x="1418" y="17"/>
                </a:cubicBezTo>
                <a:cubicBezTo>
                  <a:pt x="1418" y="17"/>
                  <a:pt x="1418" y="18"/>
                  <a:pt x="1418" y="18"/>
                </a:cubicBezTo>
                <a:cubicBezTo>
                  <a:pt x="1418" y="18"/>
                  <a:pt x="1418" y="18"/>
                  <a:pt x="1418" y="18"/>
                </a:cubicBezTo>
                <a:cubicBezTo>
                  <a:pt x="1418" y="18"/>
                  <a:pt x="1418" y="18"/>
                  <a:pt x="1418" y="18"/>
                </a:cubicBezTo>
                <a:cubicBezTo>
                  <a:pt x="1418" y="18"/>
                  <a:pt x="1418" y="18"/>
                  <a:pt x="1418" y="18"/>
                </a:cubicBezTo>
                <a:cubicBezTo>
                  <a:pt x="1418" y="18"/>
                  <a:pt x="1417" y="19"/>
                  <a:pt x="1417" y="19"/>
                </a:cubicBezTo>
                <a:cubicBezTo>
                  <a:pt x="1417" y="19"/>
                  <a:pt x="1417" y="19"/>
                  <a:pt x="1417" y="19"/>
                </a:cubicBezTo>
                <a:cubicBezTo>
                  <a:pt x="1417" y="19"/>
                  <a:pt x="1417" y="19"/>
                  <a:pt x="1417" y="19"/>
                </a:cubicBezTo>
                <a:cubicBezTo>
                  <a:pt x="1417" y="19"/>
                  <a:pt x="1417" y="19"/>
                  <a:pt x="1417" y="19"/>
                </a:cubicBezTo>
                <a:cubicBezTo>
                  <a:pt x="1417" y="20"/>
                  <a:pt x="1417" y="20"/>
                  <a:pt x="1417" y="20"/>
                </a:cubicBezTo>
                <a:cubicBezTo>
                  <a:pt x="1417" y="20"/>
                  <a:pt x="1417" y="20"/>
                  <a:pt x="1417" y="20"/>
                </a:cubicBezTo>
                <a:cubicBezTo>
                  <a:pt x="1417" y="20"/>
                  <a:pt x="1416" y="20"/>
                  <a:pt x="1416" y="21"/>
                </a:cubicBezTo>
                <a:cubicBezTo>
                  <a:pt x="1416" y="21"/>
                  <a:pt x="1416" y="21"/>
                  <a:pt x="1416" y="21"/>
                </a:cubicBezTo>
                <a:cubicBezTo>
                  <a:pt x="1416" y="21"/>
                  <a:pt x="1416" y="21"/>
                  <a:pt x="1416" y="21"/>
                </a:cubicBezTo>
                <a:cubicBezTo>
                  <a:pt x="1416" y="21"/>
                  <a:pt x="1416" y="21"/>
                  <a:pt x="1416" y="21"/>
                </a:cubicBezTo>
                <a:cubicBezTo>
                  <a:pt x="1416" y="21"/>
                  <a:pt x="1416" y="21"/>
                  <a:pt x="1416" y="21"/>
                </a:cubicBezTo>
                <a:cubicBezTo>
                  <a:pt x="1416" y="21"/>
                  <a:pt x="1416" y="22"/>
                  <a:pt x="1416" y="22"/>
                </a:cubicBezTo>
                <a:cubicBezTo>
                  <a:pt x="1416" y="22"/>
                  <a:pt x="1416" y="22"/>
                  <a:pt x="1416" y="22"/>
                </a:cubicBezTo>
                <a:cubicBezTo>
                  <a:pt x="1415" y="22"/>
                  <a:pt x="1415" y="22"/>
                  <a:pt x="1415" y="23"/>
                </a:cubicBezTo>
                <a:cubicBezTo>
                  <a:pt x="1415" y="23"/>
                  <a:pt x="1415" y="23"/>
                  <a:pt x="1415" y="23"/>
                </a:cubicBezTo>
                <a:cubicBezTo>
                  <a:pt x="1415" y="23"/>
                  <a:pt x="1415" y="23"/>
                  <a:pt x="1415" y="23"/>
                </a:cubicBezTo>
                <a:cubicBezTo>
                  <a:pt x="1415" y="23"/>
                  <a:pt x="1415" y="23"/>
                  <a:pt x="1415" y="23"/>
                </a:cubicBezTo>
                <a:cubicBezTo>
                  <a:pt x="1415" y="24"/>
                  <a:pt x="1415" y="24"/>
                  <a:pt x="1415" y="24"/>
                </a:cubicBezTo>
                <a:cubicBezTo>
                  <a:pt x="1415" y="24"/>
                  <a:pt x="1415" y="24"/>
                  <a:pt x="1415" y="24"/>
                </a:cubicBezTo>
                <a:cubicBezTo>
                  <a:pt x="1415" y="24"/>
                  <a:pt x="1415" y="24"/>
                  <a:pt x="1415" y="24"/>
                </a:cubicBezTo>
                <a:cubicBezTo>
                  <a:pt x="1414" y="24"/>
                  <a:pt x="1414" y="25"/>
                  <a:pt x="1414" y="25"/>
                </a:cubicBezTo>
                <a:cubicBezTo>
                  <a:pt x="1414" y="25"/>
                  <a:pt x="1414" y="25"/>
                  <a:pt x="1414" y="25"/>
                </a:cubicBezTo>
                <a:cubicBezTo>
                  <a:pt x="1414" y="25"/>
                  <a:pt x="1414" y="26"/>
                  <a:pt x="1414" y="26"/>
                </a:cubicBezTo>
                <a:cubicBezTo>
                  <a:pt x="1414" y="26"/>
                  <a:pt x="1414" y="26"/>
                  <a:pt x="1414" y="26"/>
                </a:cubicBezTo>
                <a:cubicBezTo>
                  <a:pt x="1414" y="26"/>
                  <a:pt x="1414" y="27"/>
                  <a:pt x="1414" y="27"/>
                </a:cubicBezTo>
                <a:cubicBezTo>
                  <a:pt x="1414" y="27"/>
                  <a:pt x="1414" y="27"/>
                  <a:pt x="1414" y="27"/>
                </a:cubicBezTo>
                <a:cubicBezTo>
                  <a:pt x="1413" y="27"/>
                  <a:pt x="1413" y="28"/>
                  <a:pt x="1413" y="28"/>
                </a:cubicBezTo>
                <a:cubicBezTo>
                  <a:pt x="1413" y="28"/>
                  <a:pt x="1413" y="28"/>
                  <a:pt x="1413" y="28"/>
                </a:cubicBezTo>
                <a:cubicBezTo>
                  <a:pt x="1413" y="28"/>
                  <a:pt x="1413" y="29"/>
                  <a:pt x="1413" y="29"/>
                </a:cubicBezTo>
                <a:cubicBezTo>
                  <a:pt x="1413" y="29"/>
                  <a:pt x="1413" y="29"/>
                  <a:pt x="1413" y="29"/>
                </a:cubicBezTo>
                <a:cubicBezTo>
                  <a:pt x="1413" y="29"/>
                  <a:pt x="1413" y="30"/>
                  <a:pt x="1413" y="30"/>
                </a:cubicBezTo>
                <a:cubicBezTo>
                  <a:pt x="1413" y="30"/>
                  <a:pt x="1413" y="30"/>
                  <a:pt x="1413" y="30"/>
                </a:cubicBezTo>
                <a:cubicBezTo>
                  <a:pt x="1413" y="30"/>
                  <a:pt x="1413" y="30"/>
                  <a:pt x="1413" y="30"/>
                </a:cubicBezTo>
                <a:cubicBezTo>
                  <a:pt x="1412" y="30"/>
                  <a:pt x="1412" y="31"/>
                  <a:pt x="1412" y="31"/>
                </a:cubicBezTo>
                <a:cubicBezTo>
                  <a:pt x="1412" y="31"/>
                  <a:pt x="1412" y="31"/>
                  <a:pt x="1412" y="32"/>
                </a:cubicBezTo>
                <a:cubicBezTo>
                  <a:pt x="1412" y="32"/>
                  <a:pt x="1412" y="32"/>
                  <a:pt x="1412" y="33"/>
                </a:cubicBezTo>
                <a:cubicBezTo>
                  <a:pt x="1412" y="33"/>
                  <a:pt x="1412" y="33"/>
                  <a:pt x="1412" y="33"/>
                </a:cubicBezTo>
                <a:cubicBezTo>
                  <a:pt x="1411" y="33"/>
                  <a:pt x="1412" y="34"/>
                  <a:pt x="1412" y="34"/>
                </a:cubicBezTo>
                <a:cubicBezTo>
                  <a:pt x="1412" y="34"/>
                  <a:pt x="1412" y="34"/>
                  <a:pt x="1411" y="34"/>
                </a:cubicBezTo>
                <a:cubicBezTo>
                  <a:pt x="1411" y="35"/>
                  <a:pt x="1411" y="35"/>
                  <a:pt x="1411" y="36"/>
                </a:cubicBezTo>
                <a:cubicBezTo>
                  <a:pt x="1411" y="36"/>
                  <a:pt x="1411" y="36"/>
                  <a:pt x="1411" y="36"/>
                </a:cubicBezTo>
                <a:cubicBezTo>
                  <a:pt x="1411" y="37"/>
                  <a:pt x="1411" y="37"/>
                  <a:pt x="1411" y="38"/>
                </a:cubicBezTo>
                <a:cubicBezTo>
                  <a:pt x="1411" y="38"/>
                  <a:pt x="1411" y="38"/>
                  <a:pt x="1411" y="38"/>
                </a:cubicBezTo>
                <a:cubicBezTo>
                  <a:pt x="1410" y="38"/>
                  <a:pt x="1411" y="39"/>
                  <a:pt x="1410" y="40"/>
                </a:cubicBezTo>
                <a:cubicBezTo>
                  <a:pt x="1410" y="40"/>
                  <a:pt x="1410" y="40"/>
                  <a:pt x="1410" y="40"/>
                </a:cubicBezTo>
                <a:cubicBezTo>
                  <a:pt x="1410" y="41"/>
                  <a:pt x="1410" y="42"/>
                  <a:pt x="1410" y="42"/>
                </a:cubicBezTo>
                <a:cubicBezTo>
                  <a:pt x="1410" y="42"/>
                  <a:pt x="1410" y="43"/>
                  <a:pt x="1410" y="43"/>
                </a:cubicBezTo>
                <a:cubicBezTo>
                  <a:pt x="1410" y="44"/>
                  <a:pt x="1410" y="45"/>
                  <a:pt x="1410" y="46"/>
                </a:cubicBezTo>
                <a:cubicBezTo>
                  <a:pt x="1410" y="46"/>
                  <a:pt x="1410" y="46"/>
                  <a:pt x="1410" y="47"/>
                </a:cubicBezTo>
                <a:cubicBezTo>
                  <a:pt x="1409" y="48"/>
                  <a:pt x="1410" y="50"/>
                  <a:pt x="1409" y="52"/>
                </a:cubicBezTo>
                <a:cubicBezTo>
                  <a:pt x="1409" y="55"/>
                  <a:pt x="1409" y="58"/>
                  <a:pt x="1409" y="61"/>
                </a:cubicBezTo>
                <a:cubicBezTo>
                  <a:pt x="1410" y="62"/>
                  <a:pt x="1409" y="64"/>
                  <a:pt x="1410" y="65"/>
                </a:cubicBezTo>
                <a:cubicBezTo>
                  <a:pt x="1410" y="66"/>
                  <a:pt x="1410" y="66"/>
                  <a:pt x="1410" y="66"/>
                </a:cubicBezTo>
                <a:cubicBezTo>
                  <a:pt x="1410" y="67"/>
                  <a:pt x="1410" y="68"/>
                  <a:pt x="1410" y="69"/>
                </a:cubicBezTo>
                <a:cubicBezTo>
                  <a:pt x="1410" y="69"/>
                  <a:pt x="1410" y="69"/>
                  <a:pt x="1410" y="69"/>
                </a:cubicBezTo>
                <a:cubicBezTo>
                  <a:pt x="1411" y="70"/>
                  <a:pt x="1410" y="71"/>
                  <a:pt x="1410" y="72"/>
                </a:cubicBezTo>
                <a:cubicBezTo>
                  <a:pt x="1411" y="72"/>
                  <a:pt x="1411" y="72"/>
                  <a:pt x="1410" y="72"/>
                </a:cubicBezTo>
                <a:cubicBezTo>
                  <a:pt x="1411" y="72"/>
                  <a:pt x="1410" y="73"/>
                  <a:pt x="1411" y="74"/>
                </a:cubicBezTo>
                <a:cubicBezTo>
                  <a:pt x="1411" y="74"/>
                  <a:pt x="1411" y="74"/>
                  <a:pt x="1411" y="74"/>
                </a:cubicBezTo>
                <a:cubicBezTo>
                  <a:pt x="1411" y="74"/>
                  <a:pt x="1411" y="75"/>
                  <a:pt x="1411" y="75"/>
                </a:cubicBezTo>
                <a:cubicBezTo>
                  <a:pt x="1411" y="75"/>
                  <a:pt x="1411" y="76"/>
                  <a:pt x="1411" y="76"/>
                </a:cubicBezTo>
                <a:cubicBezTo>
                  <a:pt x="1411" y="76"/>
                  <a:pt x="1411" y="77"/>
                  <a:pt x="1411" y="77"/>
                </a:cubicBezTo>
                <a:cubicBezTo>
                  <a:pt x="1411" y="77"/>
                  <a:pt x="1411" y="77"/>
                  <a:pt x="1411" y="77"/>
                </a:cubicBezTo>
                <a:cubicBezTo>
                  <a:pt x="1412" y="78"/>
                  <a:pt x="1411" y="78"/>
                  <a:pt x="1412" y="79"/>
                </a:cubicBezTo>
                <a:cubicBezTo>
                  <a:pt x="1412" y="79"/>
                  <a:pt x="1412" y="79"/>
                  <a:pt x="1412" y="79"/>
                </a:cubicBezTo>
                <a:cubicBezTo>
                  <a:pt x="1412" y="79"/>
                  <a:pt x="1412" y="79"/>
                  <a:pt x="1412" y="80"/>
                </a:cubicBezTo>
                <a:cubicBezTo>
                  <a:pt x="1412" y="80"/>
                  <a:pt x="1412" y="80"/>
                  <a:pt x="1412" y="80"/>
                </a:cubicBezTo>
                <a:cubicBezTo>
                  <a:pt x="1412" y="80"/>
                  <a:pt x="1412" y="81"/>
                  <a:pt x="1413" y="81"/>
                </a:cubicBezTo>
                <a:cubicBezTo>
                  <a:pt x="1413" y="81"/>
                  <a:pt x="1413" y="81"/>
                  <a:pt x="1413" y="81"/>
                </a:cubicBezTo>
                <a:cubicBezTo>
                  <a:pt x="1413" y="81"/>
                  <a:pt x="1413" y="82"/>
                  <a:pt x="1413" y="82"/>
                </a:cubicBezTo>
                <a:cubicBezTo>
                  <a:pt x="1413" y="82"/>
                  <a:pt x="1413" y="82"/>
                  <a:pt x="1413" y="82"/>
                </a:cubicBezTo>
                <a:cubicBezTo>
                  <a:pt x="1413" y="82"/>
                  <a:pt x="1413" y="83"/>
                  <a:pt x="1413" y="83"/>
                </a:cubicBezTo>
                <a:cubicBezTo>
                  <a:pt x="1413" y="83"/>
                  <a:pt x="1413" y="83"/>
                  <a:pt x="1413" y="83"/>
                </a:cubicBezTo>
                <a:cubicBezTo>
                  <a:pt x="1413" y="83"/>
                  <a:pt x="1413" y="84"/>
                  <a:pt x="1414" y="84"/>
                </a:cubicBezTo>
                <a:cubicBezTo>
                  <a:pt x="1414" y="84"/>
                  <a:pt x="1414" y="84"/>
                  <a:pt x="1414" y="84"/>
                </a:cubicBezTo>
                <a:cubicBezTo>
                  <a:pt x="1414" y="84"/>
                  <a:pt x="1414" y="85"/>
                  <a:pt x="1414" y="85"/>
                </a:cubicBezTo>
                <a:cubicBezTo>
                  <a:pt x="1414" y="85"/>
                  <a:pt x="1414" y="85"/>
                  <a:pt x="1414" y="85"/>
                </a:cubicBezTo>
                <a:cubicBezTo>
                  <a:pt x="1414" y="85"/>
                  <a:pt x="1414" y="85"/>
                  <a:pt x="1414" y="85"/>
                </a:cubicBezTo>
                <a:cubicBezTo>
                  <a:pt x="1414" y="86"/>
                  <a:pt x="1414" y="86"/>
                  <a:pt x="1414" y="86"/>
                </a:cubicBezTo>
                <a:cubicBezTo>
                  <a:pt x="1414" y="86"/>
                  <a:pt x="1414" y="86"/>
                  <a:pt x="1414" y="86"/>
                </a:cubicBezTo>
                <a:cubicBezTo>
                  <a:pt x="1414" y="86"/>
                  <a:pt x="1414" y="86"/>
                  <a:pt x="1415" y="87"/>
                </a:cubicBezTo>
                <a:cubicBezTo>
                  <a:pt x="1415" y="86"/>
                  <a:pt x="1415" y="86"/>
                  <a:pt x="1415" y="86"/>
                </a:cubicBezTo>
                <a:cubicBezTo>
                  <a:pt x="1415" y="87"/>
                  <a:pt x="1415" y="87"/>
                  <a:pt x="1415" y="87"/>
                </a:cubicBezTo>
                <a:cubicBezTo>
                  <a:pt x="1415" y="87"/>
                  <a:pt x="1415" y="87"/>
                  <a:pt x="1415" y="87"/>
                </a:cubicBezTo>
                <a:cubicBezTo>
                  <a:pt x="1415" y="87"/>
                  <a:pt x="1415" y="88"/>
                  <a:pt x="1415" y="88"/>
                </a:cubicBezTo>
                <a:cubicBezTo>
                  <a:pt x="1415" y="88"/>
                  <a:pt x="1415" y="88"/>
                  <a:pt x="1415" y="88"/>
                </a:cubicBezTo>
                <a:cubicBezTo>
                  <a:pt x="1416" y="88"/>
                  <a:pt x="1415" y="88"/>
                  <a:pt x="1416" y="89"/>
                </a:cubicBezTo>
                <a:cubicBezTo>
                  <a:pt x="1416" y="89"/>
                  <a:pt x="1416" y="89"/>
                  <a:pt x="1416" y="89"/>
                </a:cubicBezTo>
                <a:cubicBezTo>
                  <a:pt x="1416" y="89"/>
                  <a:pt x="1416" y="89"/>
                  <a:pt x="1416" y="89"/>
                </a:cubicBezTo>
                <a:cubicBezTo>
                  <a:pt x="1416" y="89"/>
                  <a:pt x="1416" y="89"/>
                  <a:pt x="1416" y="89"/>
                </a:cubicBezTo>
                <a:cubicBezTo>
                  <a:pt x="1416" y="89"/>
                  <a:pt x="1416" y="90"/>
                  <a:pt x="1416" y="90"/>
                </a:cubicBezTo>
                <a:cubicBezTo>
                  <a:pt x="1416" y="90"/>
                  <a:pt x="1416" y="90"/>
                  <a:pt x="1416" y="90"/>
                </a:cubicBezTo>
                <a:cubicBezTo>
                  <a:pt x="1417" y="90"/>
                  <a:pt x="1417" y="90"/>
                  <a:pt x="1417" y="90"/>
                </a:cubicBezTo>
                <a:cubicBezTo>
                  <a:pt x="1417" y="90"/>
                  <a:pt x="1417" y="90"/>
                  <a:pt x="1417" y="90"/>
                </a:cubicBezTo>
                <a:cubicBezTo>
                  <a:pt x="1417" y="91"/>
                  <a:pt x="1417" y="91"/>
                  <a:pt x="1417" y="91"/>
                </a:cubicBezTo>
                <a:cubicBezTo>
                  <a:pt x="1417" y="91"/>
                  <a:pt x="1417" y="91"/>
                  <a:pt x="1417" y="91"/>
                </a:cubicBezTo>
                <a:cubicBezTo>
                  <a:pt x="1417" y="91"/>
                  <a:pt x="1417" y="91"/>
                  <a:pt x="1417" y="91"/>
                </a:cubicBezTo>
                <a:cubicBezTo>
                  <a:pt x="1417" y="91"/>
                  <a:pt x="1417" y="91"/>
                  <a:pt x="1417" y="91"/>
                </a:cubicBezTo>
                <a:cubicBezTo>
                  <a:pt x="1418" y="92"/>
                  <a:pt x="1418" y="92"/>
                  <a:pt x="1418" y="92"/>
                </a:cubicBezTo>
                <a:cubicBezTo>
                  <a:pt x="1418" y="92"/>
                  <a:pt x="1418" y="92"/>
                  <a:pt x="1418" y="92"/>
                </a:cubicBezTo>
                <a:cubicBezTo>
                  <a:pt x="1418" y="92"/>
                  <a:pt x="1418" y="92"/>
                  <a:pt x="1418" y="92"/>
                </a:cubicBezTo>
                <a:cubicBezTo>
                  <a:pt x="1418" y="92"/>
                  <a:pt x="1418" y="92"/>
                  <a:pt x="1418" y="92"/>
                </a:cubicBezTo>
                <a:cubicBezTo>
                  <a:pt x="1418" y="93"/>
                  <a:pt x="1419" y="93"/>
                  <a:pt x="1419" y="93"/>
                </a:cubicBezTo>
                <a:cubicBezTo>
                  <a:pt x="1419" y="93"/>
                  <a:pt x="1419" y="93"/>
                  <a:pt x="1419" y="93"/>
                </a:cubicBezTo>
                <a:cubicBezTo>
                  <a:pt x="1419" y="94"/>
                  <a:pt x="1419" y="94"/>
                  <a:pt x="1419" y="94"/>
                </a:cubicBezTo>
                <a:cubicBezTo>
                  <a:pt x="1419" y="94"/>
                  <a:pt x="1419" y="94"/>
                  <a:pt x="1419" y="94"/>
                </a:cubicBezTo>
                <a:cubicBezTo>
                  <a:pt x="1419" y="94"/>
                  <a:pt x="1419" y="94"/>
                  <a:pt x="1419" y="94"/>
                </a:cubicBezTo>
                <a:cubicBezTo>
                  <a:pt x="1419" y="94"/>
                  <a:pt x="1419" y="94"/>
                  <a:pt x="1419" y="94"/>
                </a:cubicBezTo>
                <a:cubicBezTo>
                  <a:pt x="1420" y="94"/>
                  <a:pt x="1420" y="95"/>
                  <a:pt x="1420" y="95"/>
                </a:cubicBezTo>
                <a:cubicBezTo>
                  <a:pt x="1420" y="95"/>
                  <a:pt x="1420" y="95"/>
                  <a:pt x="1420" y="95"/>
                </a:cubicBezTo>
                <a:cubicBezTo>
                  <a:pt x="1420" y="95"/>
                  <a:pt x="1420" y="95"/>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7"/>
                  <a:pt x="1422" y="97"/>
                </a:cubicBezTo>
                <a:cubicBezTo>
                  <a:pt x="1422" y="97"/>
                  <a:pt x="1422" y="97"/>
                  <a:pt x="1422" y="97"/>
                </a:cubicBezTo>
                <a:cubicBezTo>
                  <a:pt x="1422" y="97"/>
                  <a:pt x="1422" y="97"/>
                  <a:pt x="1422" y="97"/>
                </a:cubicBezTo>
                <a:cubicBezTo>
                  <a:pt x="1422" y="97"/>
                  <a:pt x="1422" y="97"/>
                  <a:pt x="1422" y="97"/>
                </a:cubicBezTo>
                <a:cubicBezTo>
                  <a:pt x="1422" y="97"/>
                  <a:pt x="1423" y="97"/>
                  <a:pt x="1423" y="98"/>
                </a:cubicBezTo>
                <a:cubicBezTo>
                  <a:pt x="1423" y="98"/>
                  <a:pt x="1423" y="98"/>
                  <a:pt x="1423" y="98"/>
                </a:cubicBezTo>
                <a:cubicBezTo>
                  <a:pt x="1423" y="98"/>
                  <a:pt x="1423" y="98"/>
                  <a:pt x="1423" y="98"/>
                </a:cubicBezTo>
                <a:cubicBezTo>
                  <a:pt x="1423" y="98"/>
                  <a:pt x="1423" y="98"/>
                  <a:pt x="1423" y="98"/>
                </a:cubicBezTo>
                <a:cubicBezTo>
                  <a:pt x="1423" y="98"/>
                  <a:pt x="1424" y="98"/>
                  <a:pt x="1424" y="98"/>
                </a:cubicBezTo>
                <a:cubicBezTo>
                  <a:pt x="1424" y="98"/>
                  <a:pt x="1424" y="98"/>
                  <a:pt x="1424" y="98"/>
                </a:cubicBezTo>
                <a:cubicBezTo>
                  <a:pt x="1424" y="99"/>
                  <a:pt x="1424" y="99"/>
                  <a:pt x="1425" y="99"/>
                </a:cubicBezTo>
                <a:cubicBezTo>
                  <a:pt x="1425" y="99"/>
                  <a:pt x="1425" y="99"/>
                  <a:pt x="1425" y="99"/>
                </a:cubicBezTo>
                <a:cubicBezTo>
                  <a:pt x="1425" y="99"/>
                  <a:pt x="1425" y="99"/>
                  <a:pt x="1425" y="99"/>
                </a:cubicBezTo>
                <a:cubicBezTo>
                  <a:pt x="1425" y="99"/>
                  <a:pt x="1425" y="99"/>
                  <a:pt x="1425" y="99"/>
                </a:cubicBezTo>
                <a:cubicBezTo>
                  <a:pt x="1425" y="100"/>
                  <a:pt x="1426" y="100"/>
                  <a:pt x="1426" y="100"/>
                </a:cubicBezTo>
                <a:cubicBezTo>
                  <a:pt x="1426" y="100"/>
                  <a:pt x="1426" y="100"/>
                  <a:pt x="1426" y="100"/>
                </a:cubicBezTo>
                <a:cubicBezTo>
                  <a:pt x="1426" y="100"/>
                  <a:pt x="1426" y="100"/>
                  <a:pt x="1426" y="100"/>
                </a:cubicBezTo>
                <a:cubicBezTo>
                  <a:pt x="1426" y="100"/>
                  <a:pt x="1426" y="100"/>
                  <a:pt x="1426" y="100"/>
                </a:cubicBezTo>
                <a:cubicBezTo>
                  <a:pt x="1427" y="100"/>
                  <a:pt x="1427" y="100"/>
                  <a:pt x="1427" y="100"/>
                </a:cubicBezTo>
                <a:cubicBezTo>
                  <a:pt x="1427" y="100"/>
                  <a:pt x="1427" y="100"/>
                  <a:pt x="1427" y="100"/>
                </a:cubicBezTo>
                <a:cubicBezTo>
                  <a:pt x="1427" y="101"/>
                  <a:pt x="1428" y="101"/>
                  <a:pt x="1428" y="101"/>
                </a:cubicBezTo>
                <a:cubicBezTo>
                  <a:pt x="1428" y="101"/>
                  <a:pt x="1428" y="101"/>
                  <a:pt x="1428" y="101"/>
                </a:cubicBezTo>
                <a:cubicBezTo>
                  <a:pt x="1428" y="101"/>
                  <a:pt x="1428" y="101"/>
                  <a:pt x="1429" y="101"/>
                </a:cubicBezTo>
                <a:cubicBezTo>
                  <a:pt x="1429" y="101"/>
                  <a:pt x="1429" y="101"/>
                  <a:pt x="1429" y="101"/>
                </a:cubicBezTo>
                <a:cubicBezTo>
                  <a:pt x="1429" y="101"/>
                  <a:pt x="1429" y="101"/>
                  <a:pt x="1429" y="101"/>
                </a:cubicBezTo>
                <a:cubicBezTo>
                  <a:pt x="1429" y="101"/>
                  <a:pt x="1429" y="101"/>
                  <a:pt x="1429" y="101"/>
                </a:cubicBezTo>
                <a:cubicBezTo>
                  <a:pt x="1430" y="102"/>
                  <a:pt x="1430" y="102"/>
                  <a:pt x="1430" y="102"/>
                </a:cubicBezTo>
                <a:cubicBezTo>
                  <a:pt x="1430" y="102"/>
                  <a:pt x="1430" y="102"/>
                  <a:pt x="1430" y="102"/>
                </a:cubicBezTo>
                <a:cubicBezTo>
                  <a:pt x="1431" y="102"/>
                  <a:pt x="1431" y="102"/>
                  <a:pt x="1431" y="102"/>
                </a:cubicBezTo>
                <a:cubicBezTo>
                  <a:pt x="1431" y="102"/>
                  <a:pt x="1431" y="102"/>
                  <a:pt x="1431" y="102"/>
                </a:cubicBezTo>
                <a:cubicBezTo>
                  <a:pt x="1432" y="103"/>
                  <a:pt x="1432" y="102"/>
                  <a:pt x="1433" y="103"/>
                </a:cubicBezTo>
                <a:cubicBezTo>
                  <a:pt x="1433" y="103"/>
                  <a:pt x="1433" y="103"/>
                  <a:pt x="1433" y="103"/>
                </a:cubicBezTo>
                <a:cubicBezTo>
                  <a:pt x="1433" y="103"/>
                  <a:pt x="1433" y="103"/>
                  <a:pt x="1433" y="103"/>
                </a:cubicBezTo>
                <a:cubicBezTo>
                  <a:pt x="1434" y="103"/>
                  <a:pt x="1434" y="103"/>
                  <a:pt x="1435" y="103"/>
                </a:cubicBezTo>
                <a:cubicBezTo>
                  <a:pt x="1435" y="103"/>
                  <a:pt x="1435" y="103"/>
                  <a:pt x="1435" y="103"/>
                </a:cubicBezTo>
                <a:cubicBezTo>
                  <a:pt x="1435" y="103"/>
                  <a:pt x="1435" y="103"/>
                  <a:pt x="1435" y="103"/>
                </a:cubicBezTo>
                <a:cubicBezTo>
                  <a:pt x="1436" y="103"/>
                  <a:pt x="1437" y="103"/>
                  <a:pt x="1438" y="103"/>
                </a:cubicBezTo>
                <a:cubicBezTo>
                  <a:pt x="1439" y="103"/>
                  <a:pt x="1440" y="103"/>
                  <a:pt x="1441" y="103"/>
                </a:cubicBezTo>
                <a:cubicBezTo>
                  <a:pt x="1442" y="103"/>
                  <a:pt x="1443" y="103"/>
                  <a:pt x="1444" y="103"/>
                </a:cubicBezTo>
                <a:cubicBezTo>
                  <a:pt x="1444" y="103"/>
                  <a:pt x="1444" y="103"/>
                  <a:pt x="1444" y="103"/>
                </a:cubicBezTo>
                <a:cubicBezTo>
                  <a:pt x="1444" y="103"/>
                  <a:pt x="1444" y="103"/>
                  <a:pt x="1444" y="103"/>
                </a:cubicBezTo>
                <a:cubicBezTo>
                  <a:pt x="1445" y="103"/>
                  <a:pt x="1445" y="103"/>
                  <a:pt x="1446" y="103"/>
                </a:cubicBezTo>
                <a:cubicBezTo>
                  <a:pt x="1446" y="103"/>
                  <a:pt x="1446" y="103"/>
                  <a:pt x="1446" y="103"/>
                </a:cubicBezTo>
                <a:cubicBezTo>
                  <a:pt x="1446" y="103"/>
                  <a:pt x="1446" y="103"/>
                  <a:pt x="1446" y="103"/>
                </a:cubicBezTo>
                <a:cubicBezTo>
                  <a:pt x="1446" y="102"/>
                  <a:pt x="1447" y="103"/>
                  <a:pt x="1447" y="102"/>
                </a:cubicBezTo>
                <a:cubicBezTo>
                  <a:pt x="1447" y="102"/>
                  <a:pt x="1447" y="102"/>
                  <a:pt x="1447" y="102"/>
                </a:cubicBezTo>
                <a:cubicBezTo>
                  <a:pt x="1448" y="102"/>
                  <a:pt x="1448" y="102"/>
                  <a:pt x="1448" y="102"/>
                </a:cubicBezTo>
                <a:cubicBezTo>
                  <a:pt x="1448" y="102"/>
                  <a:pt x="1448" y="102"/>
                  <a:pt x="1448" y="102"/>
                </a:cubicBezTo>
                <a:cubicBezTo>
                  <a:pt x="1449" y="102"/>
                  <a:pt x="1449" y="102"/>
                  <a:pt x="1449" y="102"/>
                </a:cubicBezTo>
                <a:cubicBezTo>
                  <a:pt x="1449" y="102"/>
                  <a:pt x="1449" y="102"/>
                  <a:pt x="1449" y="101"/>
                </a:cubicBezTo>
                <a:cubicBezTo>
                  <a:pt x="1449" y="102"/>
                  <a:pt x="1449" y="102"/>
                  <a:pt x="1449" y="102"/>
                </a:cubicBezTo>
                <a:cubicBezTo>
                  <a:pt x="1450" y="101"/>
                  <a:pt x="1450" y="101"/>
                  <a:pt x="1450" y="101"/>
                </a:cubicBezTo>
                <a:cubicBezTo>
                  <a:pt x="1450" y="101"/>
                  <a:pt x="1450" y="101"/>
                  <a:pt x="1450" y="101"/>
                </a:cubicBezTo>
                <a:cubicBezTo>
                  <a:pt x="1450" y="101"/>
                  <a:pt x="1450" y="101"/>
                  <a:pt x="1450" y="101"/>
                </a:cubicBezTo>
                <a:cubicBezTo>
                  <a:pt x="1451" y="101"/>
                  <a:pt x="1451" y="101"/>
                  <a:pt x="1451" y="101"/>
                </a:cubicBezTo>
                <a:cubicBezTo>
                  <a:pt x="1451" y="101"/>
                  <a:pt x="1451" y="101"/>
                  <a:pt x="1451" y="101"/>
                </a:cubicBezTo>
                <a:cubicBezTo>
                  <a:pt x="1451" y="101"/>
                  <a:pt x="1452" y="101"/>
                  <a:pt x="1452" y="100"/>
                </a:cubicBezTo>
                <a:cubicBezTo>
                  <a:pt x="1452" y="100"/>
                  <a:pt x="1452" y="100"/>
                  <a:pt x="1452" y="100"/>
                </a:cubicBezTo>
                <a:cubicBezTo>
                  <a:pt x="1452" y="100"/>
                  <a:pt x="1452" y="100"/>
                  <a:pt x="1453" y="100"/>
                </a:cubicBezTo>
                <a:cubicBezTo>
                  <a:pt x="1453" y="100"/>
                  <a:pt x="1453" y="100"/>
                  <a:pt x="1453" y="100"/>
                </a:cubicBezTo>
                <a:cubicBezTo>
                  <a:pt x="1453" y="100"/>
                  <a:pt x="1453" y="100"/>
                  <a:pt x="1453" y="100"/>
                </a:cubicBezTo>
                <a:cubicBezTo>
                  <a:pt x="1453" y="100"/>
                  <a:pt x="1453" y="100"/>
                  <a:pt x="1453" y="100"/>
                </a:cubicBezTo>
                <a:cubicBezTo>
                  <a:pt x="1453" y="100"/>
                  <a:pt x="1453" y="100"/>
                  <a:pt x="1454" y="99"/>
                </a:cubicBezTo>
                <a:cubicBezTo>
                  <a:pt x="1454" y="99"/>
                  <a:pt x="1454" y="99"/>
                  <a:pt x="1454" y="99"/>
                </a:cubicBezTo>
                <a:cubicBezTo>
                  <a:pt x="1454" y="99"/>
                  <a:pt x="1454" y="99"/>
                  <a:pt x="1454" y="99"/>
                </a:cubicBezTo>
                <a:cubicBezTo>
                  <a:pt x="1454" y="99"/>
                  <a:pt x="1454" y="99"/>
                  <a:pt x="1454" y="99"/>
                </a:cubicBezTo>
                <a:cubicBezTo>
                  <a:pt x="1454" y="99"/>
                  <a:pt x="1455" y="99"/>
                  <a:pt x="1455" y="99"/>
                </a:cubicBezTo>
                <a:cubicBezTo>
                  <a:pt x="1455" y="99"/>
                  <a:pt x="1455" y="99"/>
                  <a:pt x="1455" y="99"/>
                </a:cubicBezTo>
                <a:cubicBezTo>
                  <a:pt x="1455" y="98"/>
                  <a:pt x="1455" y="99"/>
                  <a:pt x="1455" y="98"/>
                </a:cubicBezTo>
                <a:cubicBezTo>
                  <a:pt x="1455" y="98"/>
                  <a:pt x="1455" y="98"/>
                  <a:pt x="1455" y="98"/>
                </a:cubicBezTo>
                <a:cubicBezTo>
                  <a:pt x="1455" y="98"/>
                  <a:pt x="1456" y="98"/>
                  <a:pt x="1456" y="98"/>
                </a:cubicBezTo>
                <a:cubicBezTo>
                  <a:pt x="1456" y="98"/>
                  <a:pt x="1456" y="98"/>
                  <a:pt x="1456" y="98"/>
                </a:cubicBezTo>
                <a:cubicBezTo>
                  <a:pt x="1456" y="98"/>
                  <a:pt x="1456" y="98"/>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8" y="97"/>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9" y="95"/>
                  <a:pt x="1459" y="95"/>
                  <a:pt x="1459" y="95"/>
                </a:cubicBezTo>
                <a:cubicBezTo>
                  <a:pt x="1459" y="95"/>
                  <a:pt x="1459" y="95"/>
                  <a:pt x="1459" y="95"/>
                </a:cubicBezTo>
                <a:cubicBezTo>
                  <a:pt x="1459" y="95"/>
                  <a:pt x="1459" y="95"/>
                  <a:pt x="1459" y="95"/>
                </a:cubicBezTo>
                <a:cubicBezTo>
                  <a:pt x="1459" y="95"/>
                  <a:pt x="1459" y="95"/>
                  <a:pt x="1459" y="95"/>
                </a:cubicBezTo>
                <a:cubicBezTo>
                  <a:pt x="1459" y="95"/>
                  <a:pt x="1459" y="95"/>
                  <a:pt x="1459" y="94"/>
                </a:cubicBezTo>
                <a:cubicBezTo>
                  <a:pt x="1459" y="95"/>
                  <a:pt x="1459" y="95"/>
                  <a:pt x="1459" y="95"/>
                </a:cubicBezTo>
                <a:cubicBezTo>
                  <a:pt x="1460" y="94"/>
                  <a:pt x="1460" y="94"/>
                  <a:pt x="1460" y="94"/>
                </a:cubicBezTo>
                <a:cubicBezTo>
                  <a:pt x="1460" y="94"/>
                  <a:pt x="1460" y="94"/>
                  <a:pt x="1460" y="94"/>
                </a:cubicBezTo>
                <a:cubicBezTo>
                  <a:pt x="1460" y="94"/>
                  <a:pt x="1460" y="94"/>
                  <a:pt x="1460" y="94"/>
                </a:cubicBezTo>
                <a:cubicBezTo>
                  <a:pt x="1460" y="94"/>
                  <a:pt x="1460" y="94"/>
                  <a:pt x="1460" y="94"/>
                </a:cubicBezTo>
                <a:cubicBezTo>
                  <a:pt x="1460" y="94"/>
                  <a:pt x="1460" y="93"/>
                  <a:pt x="1461" y="93"/>
                </a:cubicBezTo>
                <a:cubicBezTo>
                  <a:pt x="1461" y="93"/>
                  <a:pt x="1461" y="93"/>
                  <a:pt x="1461" y="93"/>
                </a:cubicBezTo>
                <a:cubicBezTo>
                  <a:pt x="1461" y="93"/>
                  <a:pt x="1461" y="93"/>
                  <a:pt x="1461" y="93"/>
                </a:cubicBezTo>
                <a:cubicBezTo>
                  <a:pt x="1461" y="93"/>
                  <a:pt x="1461" y="93"/>
                  <a:pt x="1461" y="93"/>
                </a:cubicBezTo>
                <a:cubicBezTo>
                  <a:pt x="1461" y="93"/>
                  <a:pt x="1461" y="93"/>
                  <a:pt x="1461" y="92"/>
                </a:cubicBezTo>
                <a:cubicBezTo>
                  <a:pt x="1461" y="92"/>
                  <a:pt x="1461" y="92"/>
                  <a:pt x="1461" y="92"/>
                </a:cubicBezTo>
                <a:cubicBezTo>
                  <a:pt x="1461" y="92"/>
                  <a:pt x="1461" y="92"/>
                  <a:pt x="1462" y="92"/>
                </a:cubicBezTo>
                <a:cubicBezTo>
                  <a:pt x="1462" y="92"/>
                  <a:pt x="1462" y="92"/>
                  <a:pt x="1462" y="92"/>
                </a:cubicBezTo>
                <a:cubicBezTo>
                  <a:pt x="1462" y="92"/>
                  <a:pt x="1462" y="92"/>
                  <a:pt x="1462" y="91"/>
                </a:cubicBezTo>
                <a:cubicBezTo>
                  <a:pt x="1462" y="91"/>
                  <a:pt x="1462" y="91"/>
                  <a:pt x="1462" y="91"/>
                </a:cubicBezTo>
                <a:cubicBezTo>
                  <a:pt x="1462" y="91"/>
                  <a:pt x="1462" y="91"/>
                  <a:pt x="1463" y="90"/>
                </a:cubicBezTo>
                <a:cubicBezTo>
                  <a:pt x="1463" y="90"/>
                  <a:pt x="1463" y="90"/>
                  <a:pt x="1463" y="90"/>
                </a:cubicBezTo>
                <a:cubicBezTo>
                  <a:pt x="1463" y="90"/>
                  <a:pt x="1463" y="90"/>
                  <a:pt x="1463" y="90"/>
                </a:cubicBezTo>
                <a:cubicBezTo>
                  <a:pt x="1463" y="90"/>
                  <a:pt x="1463" y="90"/>
                  <a:pt x="1463" y="90"/>
                </a:cubicBezTo>
                <a:cubicBezTo>
                  <a:pt x="1463" y="90"/>
                  <a:pt x="1463" y="89"/>
                  <a:pt x="1463" y="89"/>
                </a:cubicBezTo>
                <a:cubicBezTo>
                  <a:pt x="1463" y="89"/>
                  <a:pt x="1463" y="89"/>
                  <a:pt x="1463" y="89"/>
                </a:cubicBezTo>
                <a:cubicBezTo>
                  <a:pt x="1464" y="89"/>
                  <a:pt x="1463" y="89"/>
                  <a:pt x="1464" y="89"/>
                </a:cubicBezTo>
                <a:cubicBezTo>
                  <a:pt x="1464" y="89"/>
                  <a:pt x="1464" y="89"/>
                  <a:pt x="1464" y="89"/>
                </a:cubicBezTo>
                <a:cubicBezTo>
                  <a:pt x="1464" y="88"/>
                  <a:pt x="1464" y="88"/>
                  <a:pt x="1464" y="88"/>
                </a:cubicBezTo>
                <a:cubicBezTo>
                  <a:pt x="1464" y="88"/>
                  <a:pt x="1464" y="88"/>
                  <a:pt x="1464" y="88"/>
                </a:cubicBezTo>
                <a:cubicBezTo>
                  <a:pt x="1464" y="88"/>
                  <a:pt x="1464" y="87"/>
                  <a:pt x="1464" y="87"/>
                </a:cubicBezTo>
                <a:cubicBezTo>
                  <a:pt x="1464" y="87"/>
                  <a:pt x="1464" y="87"/>
                  <a:pt x="1464" y="87"/>
                </a:cubicBezTo>
                <a:cubicBezTo>
                  <a:pt x="1465" y="87"/>
                  <a:pt x="1465" y="87"/>
                  <a:pt x="1465" y="87"/>
                </a:cubicBezTo>
                <a:cubicBezTo>
                  <a:pt x="1465" y="87"/>
                  <a:pt x="1465" y="87"/>
                  <a:pt x="1465" y="87"/>
                </a:cubicBezTo>
                <a:cubicBezTo>
                  <a:pt x="1465" y="86"/>
                  <a:pt x="1465" y="86"/>
                  <a:pt x="1465" y="86"/>
                </a:cubicBezTo>
                <a:cubicBezTo>
                  <a:pt x="1465" y="86"/>
                  <a:pt x="1465" y="86"/>
                  <a:pt x="1465" y="86"/>
                </a:cubicBezTo>
                <a:cubicBezTo>
                  <a:pt x="1465" y="86"/>
                  <a:pt x="1465" y="85"/>
                  <a:pt x="1465" y="85"/>
                </a:cubicBezTo>
                <a:cubicBezTo>
                  <a:pt x="1465" y="85"/>
                  <a:pt x="1465" y="85"/>
                  <a:pt x="1465" y="85"/>
                </a:cubicBezTo>
                <a:cubicBezTo>
                  <a:pt x="1466" y="85"/>
                  <a:pt x="1466" y="85"/>
                  <a:pt x="1466" y="84"/>
                </a:cubicBezTo>
                <a:cubicBezTo>
                  <a:pt x="1466" y="84"/>
                  <a:pt x="1466" y="84"/>
                  <a:pt x="1466" y="84"/>
                </a:cubicBezTo>
                <a:cubicBezTo>
                  <a:pt x="1466" y="84"/>
                  <a:pt x="1466" y="84"/>
                  <a:pt x="1466" y="84"/>
                </a:cubicBezTo>
                <a:cubicBezTo>
                  <a:pt x="1466" y="83"/>
                  <a:pt x="1466" y="83"/>
                  <a:pt x="1466" y="83"/>
                </a:cubicBezTo>
                <a:cubicBezTo>
                  <a:pt x="1466" y="83"/>
                  <a:pt x="1466" y="83"/>
                  <a:pt x="1466" y="83"/>
                </a:cubicBezTo>
                <a:cubicBezTo>
                  <a:pt x="1466" y="83"/>
                  <a:pt x="1466" y="83"/>
                  <a:pt x="1466" y="83"/>
                </a:cubicBezTo>
                <a:cubicBezTo>
                  <a:pt x="1466" y="83"/>
                  <a:pt x="1466" y="83"/>
                  <a:pt x="1466" y="83"/>
                </a:cubicBezTo>
                <a:cubicBezTo>
                  <a:pt x="1467" y="82"/>
                  <a:pt x="1467" y="82"/>
                  <a:pt x="1467" y="82"/>
                </a:cubicBezTo>
                <a:cubicBezTo>
                  <a:pt x="1467" y="82"/>
                  <a:pt x="1467" y="82"/>
                  <a:pt x="1467" y="82"/>
                </a:cubicBezTo>
                <a:cubicBezTo>
                  <a:pt x="1467" y="81"/>
                  <a:pt x="1467" y="81"/>
                  <a:pt x="1467" y="81"/>
                </a:cubicBezTo>
                <a:cubicBezTo>
                  <a:pt x="1467" y="81"/>
                  <a:pt x="1467" y="81"/>
                  <a:pt x="1467" y="81"/>
                </a:cubicBezTo>
                <a:cubicBezTo>
                  <a:pt x="1467" y="81"/>
                  <a:pt x="1467" y="81"/>
                  <a:pt x="1467" y="81"/>
                </a:cubicBezTo>
                <a:cubicBezTo>
                  <a:pt x="1467" y="80"/>
                  <a:pt x="1467" y="80"/>
                  <a:pt x="1467" y="80"/>
                </a:cubicBezTo>
                <a:cubicBezTo>
                  <a:pt x="1467" y="80"/>
                  <a:pt x="1467" y="80"/>
                  <a:pt x="1467" y="80"/>
                </a:cubicBezTo>
                <a:cubicBezTo>
                  <a:pt x="1468" y="80"/>
                  <a:pt x="1468" y="80"/>
                  <a:pt x="1468" y="80"/>
                </a:cubicBezTo>
                <a:cubicBezTo>
                  <a:pt x="1468" y="79"/>
                  <a:pt x="1468" y="79"/>
                  <a:pt x="1468" y="79"/>
                </a:cubicBezTo>
                <a:cubicBezTo>
                  <a:pt x="1468" y="79"/>
                  <a:pt x="1468" y="79"/>
                  <a:pt x="1468" y="79"/>
                </a:cubicBezTo>
                <a:cubicBezTo>
                  <a:pt x="1468" y="78"/>
                  <a:pt x="1468" y="78"/>
                  <a:pt x="1468" y="77"/>
                </a:cubicBezTo>
                <a:cubicBezTo>
                  <a:pt x="1468" y="77"/>
                  <a:pt x="1468" y="77"/>
                  <a:pt x="1468" y="77"/>
                </a:cubicBezTo>
                <a:cubicBezTo>
                  <a:pt x="1468" y="77"/>
                  <a:pt x="1468" y="77"/>
                  <a:pt x="1468" y="77"/>
                </a:cubicBezTo>
                <a:cubicBezTo>
                  <a:pt x="1469" y="77"/>
                  <a:pt x="1468" y="76"/>
                  <a:pt x="1469" y="76"/>
                </a:cubicBezTo>
                <a:cubicBezTo>
                  <a:pt x="1468" y="76"/>
                  <a:pt x="1468" y="76"/>
                  <a:pt x="1469" y="76"/>
                </a:cubicBezTo>
                <a:cubicBezTo>
                  <a:pt x="1469" y="75"/>
                  <a:pt x="1469" y="75"/>
                  <a:pt x="1469" y="75"/>
                </a:cubicBezTo>
                <a:cubicBezTo>
                  <a:pt x="1469" y="74"/>
                  <a:pt x="1469" y="74"/>
                  <a:pt x="1469" y="74"/>
                </a:cubicBezTo>
                <a:cubicBezTo>
                  <a:pt x="1469" y="74"/>
                  <a:pt x="1469" y="74"/>
                  <a:pt x="1469" y="74"/>
                </a:cubicBezTo>
                <a:cubicBezTo>
                  <a:pt x="1469" y="74"/>
                  <a:pt x="1469" y="73"/>
                  <a:pt x="1469" y="73"/>
                </a:cubicBezTo>
                <a:cubicBezTo>
                  <a:pt x="1469" y="73"/>
                  <a:pt x="1469" y="73"/>
                  <a:pt x="1469" y="73"/>
                </a:cubicBezTo>
                <a:cubicBezTo>
                  <a:pt x="1470" y="72"/>
                  <a:pt x="1469" y="71"/>
                  <a:pt x="1470" y="71"/>
                </a:cubicBezTo>
                <a:cubicBezTo>
                  <a:pt x="1470" y="71"/>
                  <a:pt x="1470" y="71"/>
                  <a:pt x="1470" y="71"/>
                </a:cubicBezTo>
                <a:cubicBezTo>
                  <a:pt x="1470" y="70"/>
                  <a:pt x="1470" y="69"/>
                  <a:pt x="1470" y="69"/>
                </a:cubicBezTo>
                <a:cubicBezTo>
                  <a:pt x="1470" y="68"/>
                  <a:pt x="1470" y="68"/>
                  <a:pt x="1470" y="68"/>
                </a:cubicBezTo>
                <a:cubicBezTo>
                  <a:pt x="1470" y="67"/>
                  <a:pt x="1470" y="67"/>
                  <a:pt x="1470" y="66"/>
                </a:cubicBezTo>
                <a:cubicBezTo>
                  <a:pt x="1470" y="66"/>
                  <a:pt x="1470" y="66"/>
                  <a:pt x="1470" y="65"/>
                </a:cubicBezTo>
                <a:cubicBezTo>
                  <a:pt x="1471" y="64"/>
                  <a:pt x="1470" y="63"/>
                  <a:pt x="1471" y="62"/>
                </a:cubicBezTo>
                <a:cubicBezTo>
                  <a:pt x="1470" y="61"/>
                  <a:pt x="1471" y="61"/>
                  <a:pt x="1471" y="60"/>
                </a:cubicBezTo>
                <a:cubicBezTo>
                  <a:pt x="1471" y="56"/>
                  <a:pt x="1471" y="51"/>
                  <a:pt x="1471" y="47"/>
                </a:cubicBezTo>
                <a:cubicBezTo>
                  <a:pt x="1471" y="46"/>
                  <a:pt x="1471" y="46"/>
                  <a:pt x="1471" y="46"/>
                </a:cubicBezTo>
                <a:cubicBezTo>
                  <a:pt x="1470" y="44"/>
                  <a:pt x="1471" y="43"/>
                  <a:pt x="1470" y="42"/>
                </a:cubicBezTo>
                <a:cubicBezTo>
                  <a:pt x="1470" y="42"/>
                  <a:pt x="1470" y="41"/>
                  <a:pt x="1470" y="41"/>
                </a:cubicBezTo>
                <a:cubicBezTo>
                  <a:pt x="1470" y="40"/>
                  <a:pt x="1470" y="40"/>
                  <a:pt x="1470" y="39"/>
                </a:cubicBezTo>
                <a:cubicBezTo>
                  <a:pt x="1470" y="39"/>
                  <a:pt x="1470" y="38"/>
                  <a:pt x="1470" y="38"/>
                </a:cubicBezTo>
                <a:cubicBezTo>
                  <a:pt x="1470" y="38"/>
                  <a:pt x="1470" y="37"/>
                  <a:pt x="1470" y="36"/>
                </a:cubicBezTo>
                <a:cubicBezTo>
                  <a:pt x="1470" y="36"/>
                  <a:pt x="1469" y="36"/>
                  <a:pt x="1470" y="36"/>
                </a:cubicBezTo>
                <a:cubicBezTo>
                  <a:pt x="1469" y="35"/>
                  <a:pt x="1470" y="35"/>
                  <a:pt x="1469" y="34"/>
                </a:cubicBezTo>
                <a:cubicBezTo>
                  <a:pt x="1469" y="34"/>
                  <a:pt x="1469" y="34"/>
                  <a:pt x="1469" y="34"/>
                </a:cubicBezTo>
                <a:cubicBezTo>
                  <a:pt x="1469" y="34"/>
                  <a:pt x="1469" y="33"/>
                  <a:pt x="1469" y="33"/>
                </a:cubicBezTo>
                <a:cubicBezTo>
                  <a:pt x="1469" y="33"/>
                  <a:pt x="1469" y="32"/>
                  <a:pt x="1469" y="32"/>
                </a:cubicBezTo>
                <a:cubicBezTo>
                  <a:pt x="1469" y="32"/>
                  <a:pt x="1469" y="31"/>
                  <a:pt x="1469" y="31"/>
                </a:cubicBezTo>
                <a:cubicBezTo>
                  <a:pt x="1468" y="31"/>
                  <a:pt x="1468" y="31"/>
                  <a:pt x="1468" y="31"/>
                </a:cubicBezTo>
                <a:cubicBezTo>
                  <a:pt x="1469" y="31"/>
                  <a:pt x="1469" y="31"/>
                  <a:pt x="1469" y="31"/>
                </a:cubicBezTo>
                <a:cubicBezTo>
                  <a:pt x="1468" y="30"/>
                  <a:pt x="1469" y="30"/>
                  <a:pt x="1468" y="29"/>
                </a:cubicBezTo>
                <a:cubicBezTo>
                  <a:pt x="1468" y="29"/>
                  <a:pt x="1468" y="29"/>
                  <a:pt x="1468" y="29"/>
                </a:cubicBezTo>
                <a:cubicBezTo>
                  <a:pt x="1468" y="29"/>
                  <a:pt x="1468" y="29"/>
                  <a:pt x="1468" y="28"/>
                </a:cubicBezTo>
                <a:cubicBezTo>
                  <a:pt x="1468" y="28"/>
                  <a:pt x="1468" y="28"/>
                  <a:pt x="1468" y="28"/>
                </a:cubicBezTo>
                <a:cubicBezTo>
                  <a:pt x="1468" y="28"/>
                  <a:pt x="1468" y="27"/>
                  <a:pt x="1468" y="27"/>
                </a:cubicBezTo>
                <a:cubicBezTo>
                  <a:pt x="1468" y="27"/>
                  <a:pt x="1468" y="27"/>
                  <a:pt x="1468" y="27"/>
                </a:cubicBezTo>
                <a:cubicBezTo>
                  <a:pt x="1467" y="27"/>
                  <a:pt x="1467" y="26"/>
                  <a:pt x="1467" y="26"/>
                </a:cubicBezTo>
                <a:cubicBezTo>
                  <a:pt x="1467" y="26"/>
                  <a:pt x="1467" y="26"/>
                  <a:pt x="1467" y="26"/>
                </a:cubicBezTo>
                <a:cubicBezTo>
                  <a:pt x="1467" y="26"/>
                  <a:pt x="1467" y="25"/>
                  <a:pt x="1467" y="25"/>
                </a:cubicBezTo>
                <a:cubicBezTo>
                  <a:pt x="1467" y="25"/>
                  <a:pt x="1467" y="25"/>
                  <a:pt x="1467" y="25"/>
                </a:cubicBezTo>
                <a:cubicBezTo>
                  <a:pt x="1467" y="25"/>
                  <a:pt x="1467" y="24"/>
                  <a:pt x="1466" y="24"/>
                </a:cubicBezTo>
                <a:cubicBezTo>
                  <a:pt x="1466" y="24"/>
                  <a:pt x="1466" y="24"/>
                  <a:pt x="1466" y="24"/>
                </a:cubicBezTo>
                <a:cubicBezTo>
                  <a:pt x="1466" y="24"/>
                  <a:pt x="1466" y="23"/>
                  <a:pt x="1466" y="23"/>
                </a:cubicBezTo>
                <a:cubicBezTo>
                  <a:pt x="1466" y="23"/>
                  <a:pt x="1466" y="23"/>
                  <a:pt x="1466" y="23"/>
                </a:cubicBezTo>
                <a:cubicBezTo>
                  <a:pt x="1466" y="23"/>
                  <a:pt x="1466" y="22"/>
                  <a:pt x="1466" y="22"/>
                </a:cubicBezTo>
                <a:cubicBezTo>
                  <a:pt x="1466" y="22"/>
                  <a:pt x="1466" y="22"/>
                  <a:pt x="1466" y="22"/>
                </a:cubicBezTo>
                <a:cubicBezTo>
                  <a:pt x="1466" y="22"/>
                  <a:pt x="1466" y="22"/>
                  <a:pt x="1465" y="21"/>
                </a:cubicBezTo>
                <a:cubicBezTo>
                  <a:pt x="1465" y="21"/>
                  <a:pt x="1465" y="21"/>
                  <a:pt x="1465" y="21"/>
                </a:cubicBezTo>
                <a:cubicBezTo>
                  <a:pt x="1465" y="21"/>
                  <a:pt x="1465" y="21"/>
                  <a:pt x="1465" y="21"/>
                </a:cubicBezTo>
                <a:cubicBezTo>
                  <a:pt x="1465" y="21"/>
                  <a:pt x="1465" y="21"/>
                  <a:pt x="1465" y="21"/>
                </a:cubicBezTo>
                <a:cubicBezTo>
                  <a:pt x="1465" y="21"/>
                  <a:pt x="1465" y="20"/>
                  <a:pt x="1465" y="20"/>
                </a:cubicBezTo>
                <a:cubicBezTo>
                  <a:pt x="1465" y="20"/>
                  <a:pt x="1465" y="20"/>
                  <a:pt x="1465" y="20"/>
                </a:cubicBezTo>
                <a:cubicBezTo>
                  <a:pt x="1465" y="20"/>
                  <a:pt x="1465" y="20"/>
                  <a:pt x="1464" y="19"/>
                </a:cubicBezTo>
                <a:cubicBezTo>
                  <a:pt x="1464" y="19"/>
                  <a:pt x="1464" y="19"/>
                  <a:pt x="1464" y="19"/>
                </a:cubicBezTo>
                <a:cubicBezTo>
                  <a:pt x="1464" y="19"/>
                  <a:pt x="1464" y="19"/>
                  <a:pt x="1464" y="19"/>
                </a:cubicBezTo>
                <a:cubicBezTo>
                  <a:pt x="1464" y="19"/>
                  <a:pt x="1464" y="19"/>
                  <a:pt x="1464" y="19"/>
                </a:cubicBezTo>
                <a:cubicBezTo>
                  <a:pt x="1464" y="19"/>
                  <a:pt x="1464" y="18"/>
                  <a:pt x="1464" y="18"/>
                </a:cubicBezTo>
                <a:cubicBezTo>
                  <a:pt x="1464" y="18"/>
                  <a:pt x="1464" y="18"/>
                  <a:pt x="1464" y="18"/>
                </a:cubicBezTo>
                <a:cubicBezTo>
                  <a:pt x="1463" y="18"/>
                  <a:pt x="1464" y="18"/>
                  <a:pt x="1463" y="18"/>
                </a:cubicBezTo>
                <a:cubicBezTo>
                  <a:pt x="1463" y="18"/>
                  <a:pt x="1463" y="18"/>
                  <a:pt x="1463" y="18"/>
                </a:cubicBezTo>
                <a:cubicBezTo>
                  <a:pt x="1463" y="17"/>
                  <a:pt x="1463" y="17"/>
                  <a:pt x="1463" y="17"/>
                </a:cubicBezTo>
                <a:cubicBezTo>
                  <a:pt x="1463" y="17"/>
                  <a:pt x="1463" y="17"/>
                  <a:pt x="1463" y="17"/>
                </a:cubicBezTo>
                <a:cubicBezTo>
                  <a:pt x="1463" y="17"/>
                  <a:pt x="1463" y="17"/>
                  <a:pt x="1463" y="17"/>
                </a:cubicBezTo>
                <a:cubicBezTo>
                  <a:pt x="1463" y="17"/>
                  <a:pt x="1463" y="17"/>
                  <a:pt x="1463" y="17"/>
                </a:cubicBezTo>
                <a:cubicBezTo>
                  <a:pt x="1462" y="16"/>
                  <a:pt x="1463" y="16"/>
                  <a:pt x="1462" y="16"/>
                </a:cubicBezTo>
                <a:cubicBezTo>
                  <a:pt x="1462" y="16"/>
                  <a:pt x="1462" y="16"/>
                  <a:pt x="1462" y="16"/>
                </a:cubicBezTo>
                <a:cubicBezTo>
                  <a:pt x="1462" y="16"/>
                  <a:pt x="1462" y="16"/>
                  <a:pt x="1462" y="16"/>
                </a:cubicBezTo>
                <a:cubicBezTo>
                  <a:pt x="1462" y="16"/>
                  <a:pt x="1462" y="16"/>
                  <a:pt x="1462" y="16"/>
                </a:cubicBezTo>
                <a:cubicBezTo>
                  <a:pt x="1462" y="15"/>
                  <a:pt x="1462" y="15"/>
                  <a:pt x="1462" y="15"/>
                </a:cubicBezTo>
                <a:cubicBezTo>
                  <a:pt x="1462" y="15"/>
                  <a:pt x="1462" y="15"/>
                  <a:pt x="1462" y="15"/>
                </a:cubicBezTo>
                <a:cubicBezTo>
                  <a:pt x="1461" y="15"/>
                  <a:pt x="1461" y="14"/>
                  <a:pt x="1461" y="14"/>
                </a:cubicBezTo>
                <a:cubicBezTo>
                  <a:pt x="1461" y="14"/>
                  <a:pt x="1461" y="14"/>
                  <a:pt x="1461" y="14"/>
                </a:cubicBezTo>
                <a:cubicBezTo>
                  <a:pt x="1461" y="14"/>
                  <a:pt x="1461" y="14"/>
                  <a:pt x="1461" y="14"/>
                </a:cubicBezTo>
                <a:cubicBezTo>
                  <a:pt x="1461" y="14"/>
                  <a:pt x="1461" y="14"/>
                  <a:pt x="1461" y="14"/>
                </a:cubicBezTo>
                <a:cubicBezTo>
                  <a:pt x="1460" y="14"/>
                  <a:pt x="1460" y="14"/>
                  <a:pt x="1460" y="13"/>
                </a:cubicBezTo>
                <a:cubicBezTo>
                  <a:pt x="1460" y="13"/>
                  <a:pt x="1460" y="13"/>
                  <a:pt x="1460" y="13"/>
                </a:cubicBezTo>
                <a:cubicBezTo>
                  <a:pt x="1460" y="13"/>
                  <a:pt x="1460" y="13"/>
                  <a:pt x="1460" y="13"/>
                </a:cubicBezTo>
                <a:cubicBezTo>
                  <a:pt x="1460" y="13"/>
                  <a:pt x="1460" y="13"/>
                  <a:pt x="1460" y="13"/>
                </a:cubicBezTo>
                <a:cubicBezTo>
                  <a:pt x="1460" y="13"/>
                  <a:pt x="1460" y="13"/>
                  <a:pt x="1459" y="13"/>
                </a:cubicBezTo>
                <a:cubicBezTo>
                  <a:pt x="1460" y="13"/>
                  <a:pt x="1460" y="13"/>
                  <a:pt x="1460" y="13"/>
                </a:cubicBezTo>
                <a:cubicBezTo>
                  <a:pt x="1459" y="13"/>
                  <a:pt x="1459" y="13"/>
                  <a:pt x="1459" y="12"/>
                </a:cubicBezTo>
                <a:cubicBezTo>
                  <a:pt x="1459" y="12"/>
                  <a:pt x="1459" y="12"/>
                  <a:pt x="1459" y="12"/>
                </a:cubicBezTo>
                <a:cubicBezTo>
                  <a:pt x="1459" y="12"/>
                  <a:pt x="1459" y="12"/>
                  <a:pt x="1459" y="12"/>
                </a:cubicBezTo>
                <a:cubicBezTo>
                  <a:pt x="1459" y="12"/>
                  <a:pt x="1459" y="12"/>
                  <a:pt x="1459" y="12"/>
                </a:cubicBezTo>
                <a:cubicBezTo>
                  <a:pt x="1459" y="12"/>
                  <a:pt x="1459" y="12"/>
                  <a:pt x="1458" y="12"/>
                </a:cubicBezTo>
                <a:cubicBezTo>
                  <a:pt x="1458" y="12"/>
                  <a:pt x="1458" y="12"/>
                  <a:pt x="1458" y="12"/>
                </a:cubicBezTo>
                <a:cubicBezTo>
                  <a:pt x="1458" y="12"/>
                  <a:pt x="1458" y="11"/>
                  <a:pt x="1458" y="11"/>
                </a:cubicBezTo>
                <a:cubicBezTo>
                  <a:pt x="1458" y="11"/>
                  <a:pt x="1458" y="11"/>
                  <a:pt x="1458" y="11"/>
                </a:cubicBezTo>
                <a:cubicBezTo>
                  <a:pt x="1458" y="11"/>
                  <a:pt x="1457" y="11"/>
                  <a:pt x="1457" y="11"/>
                </a:cubicBezTo>
                <a:cubicBezTo>
                  <a:pt x="1457" y="11"/>
                  <a:pt x="1457" y="11"/>
                  <a:pt x="1457" y="11"/>
                </a:cubicBezTo>
                <a:cubicBezTo>
                  <a:pt x="1457" y="11"/>
                  <a:pt x="1457" y="10"/>
                  <a:pt x="1457" y="10"/>
                </a:cubicBezTo>
                <a:cubicBezTo>
                  <a:pt x="1457" y="10"/>
                  <a:pt x="1457" y="10"/>
                  <a:pt x="1457" y="10"/>
                </a:cubicBezTo>
                <a:cubicBezTo>
                  <a:pt x="1456" y="10"/>
                  <a:pt x="1456" y="10"/>
                  <a:pt x="1456" y="10"/>
                </a:cubicBezTo>
                <a:cubicBezTo>
                  <a:pt x="1456" y="10"/>
                  <a:pt x="1456" y="10"/>
                  <a:pt x="1456" y="10"/>
                </a:cubicBezTo>
                <a:cubicBezTo>
                  <a:pt x="1456" y="9"/>
                  <a:pt x="1455" y="9"/>
                  <a:pt x="1455" y="9"/>
                </a:cubicBezTo>
                <a:cubicBezTo>
                  <a:pt x="1455" y="9"/>
                  <a:pt x="1455" y="9"/>
                  <a:pt x="1455" y="9"/>
                </a:cubicBezTo>
                <a:cubicBezTo>
                  <a:pt x="1455" y="9"/>
                  <a:pt x="1455" y="9"/>
                  <a:pt x="1455" y="9"/>
                </a:cubicBezTo>
                <a:cubicBezTo>
                  <a:pt x="1455" y="9"/>
                  <a:pt x="1455" y="9"/>
                  <a:pt x="1455" y="9"/>
                </a:cubicBezTo>
                <a:cubicBezTo>
                  <a:pt x="1454" y="9"/>
                  <a:pt x="1454" y="9"/>
                  <a:pt x="1454" y="9"/>
                </a:cubicBezTo>
                <a:cubicBezTo>
                  <a:pt x="1454" y="9"/>
                  <a:pt x="1454" y="9"/>
                  <a:pt x="1454" y="9"/>
                </a:cubicBezTo>
                <a:cubicBezTo>
                  <a:pt x="1454" y="8"/>
                  <a:pt x="1453" y="8"/>
                  <a:pt x="1453" y="8"/>
                </a:cubicBezTo>
                <a:cubicBezTo>
                  <a:pt x="1453" y="8"/>
                  <a:pt x="1453" y="8"/>
                  <a:pt x="1453" y="8"/>
                </a:cubicBezTo>
                <a:cubicBezTo>
                  <a:pt x="1453" y="8"/>
                  <a:pt x="1453" y="8"/>
                  <a:pt x="1452" y="8"/>
                </a:cubicBezTo>
                <a:cubicBezTo>
                  <a:pt x="1453" y="8"/>
                  <a:pt x="1453" y="8"/>
                  <a:pt x="1453" y="8"/>
                </a:cubicBezTo>
                <a:cubicBezTo>
                  <a:pt x="1452" y="8"/>
                  <a:pt x="1452" y="8"/>
                  <a:pt x="1452" y="8"/>
                </a:cubicBezTo>
                <a:cubicBezTo>
                  <a:pt x="1452" y="8"/>
                  <a:pt x="1452" y="8"/>
                  <a:pt x="1452" y="8"/>
                </a:cubicBezTo>
                <a:cubicBezTo>
                  <a:pt x="1451" y="7"/>
                  <a:pt x="1451" y="7"/>
                  <a:pt x="1451" y="7"/>
                </a:cubicBezTo>
                <a:cubicBezTo>
                  <a:pt x="1451" y="7"/>
                  <a:pt x="1451" y="7"/>
                  <a:pt x="1450" y="7"/>
                </a:cubicBezTo>
                <a:cubicBezTo>
                  <a:pt x="1450" y="7"/>
                  <a:pt x="1450" y="7"/>
                  <a:pt x="1450" y="7"/>
                </a:cubicBezTo>
                <a:cubicBezTo>
                  <a:pt x="1450" y="7"/>
                  <a:pt x="1450" y="7"/>
                  <a:pt x="1450" y="7"/>
                </a:cubicBezTo>
                <a:cubicBezTo>
                  <a:pt x="1449" y="7"/>
                  <a:pt x="1449" y="7"/>
                  <a:pt x="1449" y="7"/>
                </a:cubicBezTo>
                <a:cubicBezTo>
                  <a:pt x="1449" y="7"/>
                  <a:pt x="1449" y="7"/>
                  <a:pt x="1448" y="7"/>
                </a:cubicBezTo>
                <a:cubicBezTo>
                  <a:pt x="1448" y="7"/>
                  <a:pt x="1448" y="7"/>
                  <a:pt x="1448" y="6"/>
                </a:cubicBezTo>
                <a:cubicBezTo>
                  <a:pt x="1448" y="6"/>
                  <a:pt x="1447" y="6"/>
                  <a:pt x="1447" y="6"/>
                </a:cubicBezTo>
                <a:cubicBezTo>
                  <a:pt x="1446" y="6"/>
                  <a:pt x="1446" y="6"/>
                  <a:pt x="1446" y="6"/>
                </a:cubicBezTo>
                <a:cubicBezTo>
                  <a:pt x="1445" y="6"/>
                  <a:pt x="1445" y="6"/>
                  <a:pt x="1444" y="6"/>
                </a:cubicBezTo>
                <a:cubicBezTo>
                  <a:pt x="1443" y="6"/>
                  <a:pt x="1443" y="6"/>
                  <a:pt x="1442" y="6"/>
                </a:cubicBezTo>
                <a:cubicBezTo>
                  <a:pt x="1441" y="6"/>
                  <a:pt x="1441" y="6"/>
                  <a:pt x="1440" y="6"/>
                </a:cubicBezTo>
                <a:cubicBezTo>
                  <a:pt x="1440" y="6"/>
                  <a:pt x="1439" y="6"/>
                  <a:pt x="1438" y="6"/>
                </a:cubicBezTo>
                <a:cubicBezTo>
                  <a:pt x="1438" y="6"/>
                  <a:pt x="1437" y="6"/>
                  <a:pt x="1436" y="6"/>
                </a:cubicBezTo>
                <a:cubicBezTo>
                  <a:pt x="1436" y="6"/>
                  <a:pt x="1436" y="6"/>
                  <a:pt x="1436" y="6"/>
                </a:cubicBezTo>
                <a:cubicBezTo>
                  <a:pt x="1435" y="6"/>
                  <a:pt x="1435" y="6"/>
                  <a:pt x="1434" y="6"/>
                </a:cubicBezTo>
                <a:cubicBezTo>
                  <a:pt x="1434" y="7"/>
                  <a:pt x="1434" y="7"/>
                  <a:pt x="1434" y="7"/>
                </a:cubicBezTo>
                <a:cubicBezTo>
                  <a:pt x="1434" y="7"/>
                  <a:pt x="1434" y="7"/>
                  <a:pt x="1434" y="7"/>
                </a:cubicBezTo>
                <a:cubicBezTo>
                  <a:pt x="1434" y="7"/>
                  <a:pt x="1433" y="7"/>
                  <a:pt x="1433" y="7"/>
                </a:cubicBezTo>
                <a:close/>
                <a:moveTo>
                  <a:pt x="1010" y="17"/>
                </a:moveTo>
                <a:cubicBezTo>
                  <a:pt x="1010" y="17"/>
                  <a:pt x="1010" y="17"/>
                  <a:pt x="1010" y="17"/>
                </a:cubicBezTo>
                <a:cubicBezTo>
                  <a:pt x="1010" y="17"/>
                  <a:pt x="1010" y="17"/>
                  <a:pt x="1010" y="17"/>
                </a:cubicBezTo>
                <a:cubicBezTo>
                  <a:pt x="1010" y="18"/>
                  <a:pt x="1011" y="17"/>
                  <a:pt x="1011" y="18"/>
                </a:cubicBezTo>
                <a:cubicBezTo>
                  <a:pt x="1011" y="18"/>
                  <a:pt x="1011" y="18"/>
                  <a:pt x="1011" y="18"/>
                </a:cubicBezTo>
                <a:cubicBezTo>
                  <a:pt x="1012" y="18"/>
                  <a:pt x="1012" y="18"/>
                  <a:pt x="1012" y="18"/>
                </a:cubicBezTo>
                <a:cubicBezTo>
                  <a:pt x="1012" y="18"/>
                  <a:pt x="1012" y="18"/>
                  <a:pt x="1013" y="18"/>
                </a:cubicBezTo>
                <a:cubicBezTo>
                  <a:pt x="1013" y="18"/>
                  <a:pt x="1013" y="18"/>
                  <a:pt x="1013" y="18"/>
                </a:cubicBezTo>
                <a:cubicBezTo>
                  <a:pt x="1013" y="18"/>
                  <a:pt x="1013" y="18"/>
                  <a:pt x="1014" y="18"/>
                </a:cubicBezTo>
                <a:cubicBezTo>
                  <a:pt x="1014" y="18"/>
                  <a:pt x="1014" y="18"/>
                  <a:pt x="1014" y="18"/>
                </a:cubicBezTo>
                <a:cubicBezTo>
                  <a:pt x="1014" y="19"/>
                  <a:pt x="1014" y="19"/>
                  <a:pt x="1014" y="19"/>
                </a:cubicBezTo>
                <a:cubicBezTo>
                  <a:pt x="1015" y="19"/>
                  <a:pt x="1015" y="19"/>
                  <a:pt x="1015" y="19"/>
                </a:cubicBezTo>
                <a:cubicBezTo>
                  <a:pt x="1015" y="19"/>
                  <a:pt x="1015" y="19"/>
                  <a:pt x="1015" y="19"/>
                </a:cubicBezTo>
                <a:cubicBezTo>
                  <a:pt x="1015" y="19"/>
                  <a:pt x="1015" y="19"/>
                  <a:pt x="1015" y="19"/>
                </a:cubicBezTo>
                <a:cubicBezTo>
                  <a:pt x="1015" y="19"/>
                  <a:pt x="1015" y="19"/>
                  <a:pt x="1015" y="19"/>
                </a:cubicBezTo>
                <a:cubicBezTo>
                  <a:pt x="1016" y="19"/>
                  <a:pt x="1016" y="19"/>
                  <a:pt x="1016" y="19"/>
                </a:cubicBezTo>
                <a:cubicBezTo>
                  <a:pt x="1016" y="19"/>
                  <a:pt x="1016" y="19"/>
                  <a:pt x="1016" y="19"/>
                </a:cubicBezTo>
                <a:cubicBezTo>
                  <a:pt x="1017" y="20"/>
                  <a:pt x="1017" y="20"/>
                  <a:pt x="1017" y="20"/>
                </a:cubicBezTo>
                <a:cubicBezTo>
                  <a:pt x="1017" y="20"/>
                  <a:pt x="1017" y="20"/>
                  <a:pt x="1017" y="20"/>
                </a:cubicBezTo>
                <a:cubicBezTo>
                  <a:pt x="1017" y="20"/>
                  <a:pt x="1018" y="20"/>
                  <a:pt x="1018" y="20"/>
                </a:cubicBezTo>
                <a:cubicBezTo>
                  <a:pt x="1018" y="20"/>
                  <a:pt x="1018" y="20"/>
                  <a:pt x="1018" y="20"/>
                </a:cubicBezTo>
                <a:cubicBezTo>
                  <a:pt x="1018" y="20"/>
                  <a:pt x="1018" y="20"/>
                  <a:pt x="1019" y="20"/>
                </a:cubicBezTo>
                <a:cubicBezTo>
                  <a:pt x="1019" y="20"/>
                  <a:pt x="1019" y="20"/>
                  <a:pt x="1019" y="20"/>
                </a:cubicBezTo>
                <a:cubicBezTo>
                  <a:pt x="1019" y="21"/>
                  <a:pt x="1019" y="21"/>
                  <a:pt x="1019" y="21"/>
                </a:cubicBezTo>
                <a:cubicBezTo>
                  <a:pt x="1019" y="21"/>
                  <a:pt x="1019" y="21"/>
                  <a:pt x="1019" y="21"/>
                </a:cubicBezTo>
                <a:cubicBezTo>
                  <a:pt x="1019" y="21"/>
                  <a:pt x="1020" y="21"/>
                  <a:pt x="1020" y="21"/>
                </a:cubicBezTo>
                <a:cubicBezTo>
                  <a:pt x="1020" y="21"/>
                  <a:pt x="1020" y="21"/>
                  <a:pt x="1020" y="21"/>
                </a:cubicBezTo>
                <a:cubicBezTo>
                  <a:pt x="1020" y="21"/>
                  <a:pt x="1020" y="21"/>
                  <a:pt x="1021" y="21"/>
                </a:cubicBezTo>
                <a:cubicBezTo>
                  <a:pt x="1021" y="21"/>
                  <a:pt x="1021" y="21"/>
                  <a:pt x="1021" y="21"/>
                </a:cubicBezTo>
                <a:cubicBezTo>
                  <a:pt x="1021" y="22"/>
                  <a:pt x="1021" y="22"/>
                  <a:pt x="1021" y="21"/>
                </a:cubicBezTo>
                <a:cubicBezTo>
                  <a:pt x="1021" y="21"/>
                  <a:pt x="1021" y="21"/>
                  <a:pt x="1021" y="21"/>
                </a:cubicBezTo>
                <a:cubicBezTo>
                  <a:pt x="1021" y="20"/>
                  <a:pt x="1021" y="19"/>
                  <a:pt x="1021" y="17"/>
                </a:cubicBezTo>
                <a:cubicBezTo>
                  <a:pt x="1021" y="15"/>
                  <a:pt x="1021" y="12"/>
                  <a:pt x="1021" y="10"/>
                </a:cubicBezTo>
                <a:cubicBezTo>
                  <a:pt x="1021" y="10"/>
                  <a:pt x="1021" y="10"/>
                  <a:pt x="1021" y="10"/>
                </a:cubicBezTo>
                <a:cubicBezTo>
                  <a:pt x="1021" y="9"/>
                  <a:pt x="1020" y="9"/>
                  <a:pt x="1020" y="9"/>
                </a:cubicBezTo>
                <a:cubicBezTo>
                  <a:pt x="1020" y="9"/>
                  <a:pt x="1020" y="9"/>
                  <a:pt x="1020" y="9"/>
                </a:cubicBezTo>
                <a:cubicBezTo>
                  <a:pt x="1020" y="9"/>
                  <a:pt x="1020" y="9"/>
                  <a:pt x="1019" y="9"/>
                </a:cubicBezTo>
                <a:cubicBezTo>
                  <a:pt x="1019" y="9"/>
                  <a:pt x="1019" y="9"/>
                  <a:pt x="1019" y="9"/>
                </a:cubicBezTo>
                <a:cubicBezTo>
                  <a:pt x="1019" y="9"/>
                  <a:pt x="1019" y="9"/>
                  <a:pt x="1019" y="9"/>
                </a:cubicBezTo>
                <a:cubicBezTo>
                  <a:pt x="1019" y="9"/>
                  <a:pt x="1019" y="9"/>
                  <a:pt x="1018" y="9"/>
                </a:cubicBezTo>
                <a:cubicBezTo>
                  <a:pt x="1018" y="9"/>
                  <a:pt x="1018" y="9"/>
                  <a:pt x="1018" y="9"/>
                </a:cubicBezTo>
                <a:cubicBezTo>
                  <a:pt x="1018" y="8"/>
                  <a:pt x="1018" y="9"/>
                  <a:pt x="1017" y="8"/>
                </a:cubicBezTo>
                <a:cubicBezTo>
                  <a:pt x="1017" y="8"/>
                  <a:pt x="1017" y="8"/>
                  <a:pt x="1017" y="8"/>
                </a:cubicBezTo>
                <a:cubicBezTo>
                  <a:pt x="1017" y="8"/>
                  <a:pt x="1017" y="8"/>
                  <a:pt x="1016" y="8"/>
                </a:cubicBezTo>
                <a:cubicBezTo>
                  <a:pt x="1016" y="8"/>
                  <a:pt x="1016" y="8"/>
                  <a:pt x="1016" y="8"/>
                </a:cubicBezTo>
                <a:cubicBezTo>
                  <a:pt x="1016" y="8"/>
                  <a:pt x="1015" y="8"/>
                  <a:pt x="1015" y="8"/>
                </a:cubicBezTo>
                <a:cubicBezTo>
                  <a:pt x="1015" y="8"/>
                  <a:pt x="1015" y="8"/>
                  <a:pt x="1015" y="7"/>
                </a:cubicBezTo>
                <a:cubicBezTo>
                  <a:pt x="1014" y="7"/>
                  <a:pt x="1014" y="7"/>
                  <a:pt x="1014" y="7"/>
                </a:cubicBezTo>
                <a:cubicBezTo>
                  <a:pt x="1013" y="7"/>
                  <a:pt x="1013" y="7"/>
                  <a:pt x="1013" y="7"/>
                </a:cubicBezTo>
                <a:cubicBezTo>
                  <a:pt x="1013" y="7"/>
                  <a:pt x="1012" y="7"/>
                  <a:pt x="1012" y="7"/>
                </a:cubicBezTo>
                <a:cubicBezTo>
                  <a:pt x="1012" y="7"/>
                  <a:pt x="1012" y="7"/>
                  <a:pt x="1012" y="7"/>
                </a:cubicBezTo>
                <a:cubicBezTo>
                  <a:pt x="1011" y="7"/>
                  <a:pt x="1010" y="7"/>
                  <a:pt x="1010" y="7"/>
                </a:cubicBezTo>
                <a:cubicBezTo>
                  <a:pt x="1010" y="7"/>
                  <a:pt x="1010" y="7"/>
                  <a:pt x="1009" y="6"/>
                </a:cubicBezTo>
                <a:cubicBezTo>
                  <a:pt x="1009" y="6"/>
                  <a:pt x="1008" y="7"/>
                  <a:pt x="1007" y="6"/>
                </a:cubicBezTo>
                <a:cubicBezTo>
                  <a:pt x="1007" y="6"/>
                  <a:pt x="1007" y="6"/>
                  <a:pt x="1007" y="6"/>
                </a:cubicBezTo>
                <a:cubicBezTo>
                  <a:pt x="1005" y="6"/>
                  <a:pt x="1004" y="6"/>
                  <a:pt x="1003" y="6"/>
                </a:cubicBezTo>
                <a:cubicBezTo>
                  <a:pt x="1002" y="6"/>
                  <a:pt x="1001" y="6"/>
                  <a:pt x="1000" y="6"/>
                </a:cubicBezTo>
                <a:cubicBezTo>
                  <a:pt x="999" y="6"/>
                  <a:pt x="999" y="6"/>
                  <a:pt x="998" y="6"/>
                </a:cubicBezTo>
                <a:cubicBezTo>
                  <a:pt x="997" y="6"/>
                  <a:pt x="996" y="6"/>
                  <a:pt x="995" y="6"/>
                </a:cubicBezTo>
                <a:cubicBezTo>
                  <a:pt x="994" y="6"/>
                  <a:pt x="993" y="6"/>
                  <a:pt x="992" y="6"/>
                </a:cubicBezTo>
                <a:cubicBezTo>
                  <a:pt x="992" y="6"/>
                  <a:pt x="992" y="6"/>
                  <a:pt x="992" y="6"/>
                </a:cubicBezTo>
                <a:cubicBezTo>
                  <a:pt x="991" y="7"/>
                  <a:pt x="990" y="6"/>
                  <a:pt x="990" y="6"/>
                </a:cubicBezTo>
                <a:cubicBezTo>
                  <a:pt x="990" y="7"/>
                  <a:pt x="990" y="7"/>
                  <a:pt x="990" y="7"/>
                </a:cubicBezTo>
                <a:cubicBezTo>
                  <a:pt x="989" y="7"/>
                  <a:pt x="989" y="7"/>
                  <a:pt x="989" y="7"/>
                </a:cubicBezTo>
                <a:cubicBezTo>
                  <a:pt x="989" y="7"/>
                  <a:pt x="988" y="6"/>
                  <a:pt x="988" y="7"/>
                </a:cubicBezTo>
                <a:cubicBezTo>
                  <a:pt x="988" y="7"/>
                  <a:pt x="988" y="7"/>
                  <a:pt x="988" y="7"/>
                </a:cubicBezTo>
                <a:cubicBezTo>
                  <a:pt x="987" y="7"/>
                  <a:pt x="987" y="7"/>
                  <a:pt x="986" y="7"/>
                </a:cubicBezTo>
                <a:cubicBezTo>
                  <a:pt x="986" y="7"/>
                  <a:pt x="986" y="7"/>
                  <a:pt x="986" y="7"/>
                </a:cubicBezTo>
                <a:cubicBezTo>
                  <a:pt x="986" y="7"/>
                  <a:pt x="985" y="7"/>
                  <a:pt x="985" y="8"/>
                </a:cubicBezTo>
                <a:cubicBezTo>
                  <a:pt x="985" y="8"/>
                  <a:pt x="985" y="8"/>
                  <a:pt x="985" y="8"/>
                </a:cubicBezTo>
                <a:cubicBezTo>
                  <a:pt x="984" y="8"/>
                  <a:pt x="984" y="8"/>
                  <a:pt x="984" y="8"/>
                </a:cubicBezTo>
                <a:cubicBezTo>
                  <a:pt x="984" y="8"/>
                  <a:pt x="984" y="8"/>
                  <a:pt x="984" y="8"/>
                </a:cubicBezTo>
                <a:cubicBezTo>
                  <a:pt x="983" y="8"/>
                  <a:pt x="983" y="8"/>
                  <a:pt x="983" y="8"/>
                </a:cubicBezTo>
                <a:cubicBezTo>
                  <a:pt x="983" y="8"/>
                  <a:pt x="983" y="8"/>
                  <a:pt x="983" y="8"/>
                </a:cubicBezTo>
                <a:cubicBezTo>
                  <a:pt x="982" y="9"/>
                  <a:pt x="982" y="8"/>
                  <a:pt x="982" y="9"/>
                </a:cubicBezTo>
                <a:cubicBezTo>
                  <a:pt x="982" y="9"/>
                  <a:pt x="982" y="9"/>
                  <a:pt x="982" y="9"/>
                </a:cubicBezTo>
                <a:cubicBezTo>
                  <a:pt x="981" y="9"/>
                  <a:pt x="981" y="9"/>
                  <a:pt x="981" y="9"/>
                </a:cubicBezTo>
                <a:cubicBezTo>
                  <a:pt x="981" y="9"/>
                  <a:pt x="981" y="9"/>
                  <a:pt x="981" y="9"/>
                </a:cubicBezTo>
                <a:cubicBezTo>
                  <a:pt x="980" y="9"/>
                  <a:pt x="980" y="9"/>
                  <a:pt x="980" y="9"/>
                </a:cubicBezTo>
                <a:cubicBezTo>
                  <a:pt x="980" y="9"/>
                  <a:pt x="980" y="9"/>
                  <a:pt x="980" y="9"/>
                </a:cubicBezTo>
                <a:cubicBezTo>
                  <a:pt x="980" y="9"/>
                  <a:pt x="979" y="9"/>
                  <a:pt x="979" y="10"/>
                </a:cubicBezTo>
                <a:cubicBezTo>
                  <a:pt x="979" y="10"/>
                  <a:pt x="979" y="10"/>
                  <a:pt x="979" y="10"/>
                </a:cubicBezTo>
                <a:cubicBezTo>
                  <a:pt x="979" y="10"/>
                  <a:pt x="978" y="10"/>
                  <a:pt x="978" y="10"/>
                </a:cubicBezTo>
                <a:cubicBezTo>
                  <a:pt x="978" y="10"/>
                  <a:pt x="978" y="10"/>
                  <a:pt x="978" y="10"/>
                </a:cubicBezTo>
                <a:cubicBezTo>
                  <a:pt x="978" y="10"/>
                  <a:pt x="978" y="10"/>
                  <a:pt x="977" y="10"/>
                </a:cubicBezTo>
                <a:cubicBezTo>
                  <a:pt x="977" y="10"/>
                  <a:pt x="977" y="10"/>
                  <a:pt x="977" y="10"/>
                </a:cubicBezTo>
                <a:cubicBezTo>
                  <a:pt x="977" y="11"/>
                  <a:pt x="977" y="10"/>
                  <a:pt x="977" y="11"/>
                </a:cubicBezTo>
                <a:cubicBezTo>
                  <a:pt x="977" y="11"/>
                  <a:pt x="977" y="11"/>
                  <a:pt x="977" y="11"/>
                </a:cubicBezTo>
                <a:cubicBezTo>
                  <a:pt x="977" y="11"/>
                  <a:pt x="976" y="11"/>
                  <a:pt x="976" y="11"/>
                </a:cubicBezTo>
                <a:cubicBezTo>
                  <a:pt x="976" y="11"/>
                  <a:pt x="976" y="11"/>
                  <a:pt x="976" y="11"/>
                </a:cubicBezTo>
                <a:cubicBezTo>
                  <a:pt x="976" y="11"/>
                  <a:pt x="976" y="11"/>
                  <a:pt x="975" y="11"/>
                </a:cubicBezTo>
                <a:cubicBezTo>
                  <a:pt x="975" y="11"/>
                  <a:pt x="975" y="11"/>
                  <a:pt x="975" y="11"/>
                </a:cubicBezTo>
                <a:cubicBezTo>
                  <a:pt x="975" y="12"/>
                  <a:pt x="975" y="11"/>
                  <a:pt x="975" y="12"/>
                </a:cubicBezTo>
                <a:cubicBezTo>
                  <a:pt x="975" y="12"/>
                  <a:pt x="975" y="12"/>
                  <a:pt x="975" y="12"/>
                </a:cubicBezTo>
                <a:cubicBezTo>
                  <a:pt x="974" y="12"/>
                  <a:pt x="974" y="12"/>
                  <a:pt x="974" y="12"/>
                </a:cubicBezTo>
                <a:cubicBezTo>
                  <a:pt x="974" y="12"/>
                  <a:pt x="974" y="12"/>
                  <a:pt x="974" y="12"/>
                </a:cubicBezTo>
                <a:cubicBezTo>
                  <a:pt x="974" y="12"/>
                  <a:pt x="974" y="12"/>
                  <a:pt x="974" y="12"/>
                </a:cubicBezTo>
                <a:cubicBezTo>
                  <a:pt x="974" y="12"/>
                  <a:pt x="974" y="12"/>
                  <a:pt x="974" y="12"/>
                </a:cubicBezTo>
                <a:cubicBezTo>
                  <a:pt x="973" y="13"/>
                  <a:pt x="973" y="13"/>
                  <a:pt x="973" y="13"/>
                </a:cubicBezTo>
                <a:cubicBezTo>
                  <a:pt x="973" y="13"/>
                  <a:pt x="973" y="13"/>
                  <a:pt x="973" y="13"/>
                </a:cubicBezTo>
                <a:cubicBezTo>
                  <a:pt x="973" y="13"/>
                  <a:pt x="972" y="13"/>
                  <a:pt x="972" y="13"/>
                </a:cubicBezTo>
                <a:cubicBezTo>
                  <a:pt x="972" y="13"/>
                  <a:pt x="972" y="13"/>
                  <a:pt x="972" y="13"/>
                </a:cubicBezTo>
                <a:cubicBezTo>
                  <a:pt x="972" y="13"/>
                  <a:pt x="972" y="13"/>
                  <a:pt x="972" y="13"/>
                </a:cubicBezTo>
                <a:cubicBezTo>
                  <a:pt x="972" y="13"/>
                  <a:pt x="972" y="13"/>
                  <a:pt x="972" y="13"/>
                </a:cubicBezTo>
                <a:cubicBezTo>
                  <a:pt x="972" y="14"/>
                  <a:pt x="971" y="14"/>
                  <a:pt x="971" y="14"/>
                </a:cubicBezTo>
                <a:cubicBezTo>
                  <a:pt x="971" y="14"/>
                  <a:pt x="971" y="14"/>
                  <a:pt x="971" y="14"/>
                </a:cubicBezTo>
                <a:cubicBezTo>
                  <a:pt x="971" y="14"/>
                  <a:pt x="971" y="14"/>
                  <a:pt x="971" y="14"/>
                </a:cubicBezTo>
                <a:cubicBezTo>
                  <a:pt x="971" y="14"/>
                  <a:pt x="971" y="14"/>
                  <a:pt x="971" y="14"/>
                </a:cubicBezTo>
                <a:cubicBezTo>
                  <a:pt x="971" y="14"/>
                  <a:pt x="971" y="14"/>
                  <a:pt x="970" y="14"/>
                </a:cubicBezTo>
                <a:cubicBezTo>
                  <a:pt x="970" y="14"/>
                  <a:pt x="970" y="14"/>
                  <a:pt x="970" y="14"/>
                </a:cubicBezTo>
                <a:cubicBezTo>
                  <a:pt x="970" y="15"/>
                  <a:pt x="970" y="15"/>
                  <a:pt x="970" y="15"/>
                </a:cubicBezTo>
                <a:cubicBezTo>
                  <a:pt x="970" y="15"/>
                  <a:pt x="970" y="15"/>
                  <a:pt x="970" y="15"/>
                </a:cubicBezTo>
                <a:cubicBezTo>
                  <a:pt x="970" y="15"/>
                  <a:pt x="970" y="15"/>
                  <a:pt x="969" y="15"/>
                </a:cubicBezTo>
                <a:cubicBezTo>
                  <a:pt x="969" y="15"/>
                  <a:pt x="969" y="15"/>
                  <a:pt x="969" y="15"/>
                </a:cubicBezTo>
                <a:cubicBezTo>
                  <a:pt x="969" y="15"/>
                  <a:pt x="969" y="16"/>
                  <a:pt x="968" y="16"/>
                </a:cubicBezTo>
                <a:cubicBezTo>
                  <a:pt x="968" y="16"/>
                  <a:pt x="968" y="16"/>
                  <a:pt x="968" y="16"/>
                </a:cubicBezTo>
                <a:cubicBezTo>
                  <a:pt x="968" y="16"/>
                  <a:pt x="968" y="16"/>
                  <a:pt x="968" y="16"/>
                </a:cubicBezTo>
                <a:cubicBezTo>
                  <a:pt x="968" y="16"/>
                  <a:pt x="968" y="16"/>
                  <a:pt x="968" y="16"/>
                </a:cubicBezTo>
                <a:cubicBezTo>
                  <a:pt x="968" y="16"/>
                  <a:pt x="968" y="16"/>
                  <a:pt x="968" y="17"/>
                </a:cubicBezTo>
                <a:cubicBezTo>
                  <a:pt x="968" y="17"/>
                  <a:pt x="968" y="17"/>
                  <a:pt x="968" y="17"/>
                </a:cubicBezTo>
                <a:cubicBezTo>
                  <a:pt x="968" y="17"/>
                  <a:pt x="967" y="17"/>
                  <a:pt x="967" y="17"/>
                </a:cubicBezTo>
                <a:cubicBezTo>
                  <a:pt x="967" y="17"/>
                  <a:pt x="967" y="17"/>
                  <a:pt x="967" y="17"/>
                </a:cubicBezTo>
                <a:cubicBezTo>
                  <a:pt x="967" y="17"/>
                  <a:pt x="967" y="17"/>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5" y="18"/>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4" y="19"/>
                  <a:pt x="964" y="20"/>
                  <a:pt x="964" y="20"/>
                </a:cubicBezTo>
                <a:cubicBezTo>
                  <a:pt x="964" y="20"/>
                  <a:pt x="964" y="20"/>
                  <a:pt x="964" y="20"/>
                </a:cubicBezTo>
                <a:cubicBezTo>
                  <a:pt x="964" y="20"/>
                  <a:pt x="964" y="20"/>
                  <a:pt x="964" y="20"/>
                </a:cubicBezTo>
                <a:cubicBezTo>
                  <a:pt x="964" y="20"/>
                  <a:pt x="964" y="20"/>
                  <a:pt x="964" y="20"/>
                </a:cubicBezTo>
                <a:cubicBezTo>
                  <a:pt x="964" y="20"/>
                  <a:pt x="964" y="20"/>
                  <a:pt x="964" y="21"/>
                </a:cubicBezTo>
                <a:cubicBezTo>
                  <a:pt x="964" y="20"/>
                  <a:pt x="964" y="20"/>
                  <a:pt x="964" y="20"/>
                </a:cubicBezTo>
                <a:cubicBezTo>
                  <a:pt x="963" y="21"/>
                  <a:pt x="963" y="21"/>
                  <a:pt x="963" y="21"/>
                </a:cubicBezTo>
                <a:cubicBezTo>
                  <a:pt x="963" y="21"/>
                  <a:pt x="963" y="21"/>
                  <a:pt x="963" y="21"/>
                </a:cubicBezTo>
                <a:cubicBezTo>
                  <a:pt x="963" y="22"/>
                  <a:pt x="963" y="22"/>
                  <a:pt x="962" y="22"/>
                </a:cubicBezTo>
                <a:cubicBezTo>
                  <a:pt x="962" y="22"/>
                  <a:pt x="962" y="22"/>
                  <a:pt x="962" y="22"/>
                </a:cubicBezTo>
                <a:cubicBezTo>
                  <a:pt x="962" y="22"/>
                  <a:pt x="962" y="22"/>
                  <a:pt x="962" y="22"/>
                </a:cubicBezTo>
                <a:cubicBezTo>
                  <a:pt x="962" y="22"/>
                  <a:pt x="962" y="22"/>
                  <a:pt x="962" y="22"/>
                </a:cubicBezTo>
                <a:cubicBezTo>
                  <a:pt x="962" y="22"/>
                  <a:pt x="962" y="22"/>
                  <a:pt x="962" y="23"/>
                </a:cubicBezTo>
                <a:cubicBezTo>
                  <a:pt x="962" y="23"/>
                  <a:pt x="962" y="23"/>
                  <a:pt x="962" y="23"/>
                </a:cubicBezTo>
                <a:cubicBezTo>
                  <a:pt x="961" y="23"/>
                  <a:pt x="961" y="23"/>
                  <a:pt x="961" y="24"/>
                </a:cubicBezTo>
                <a:cubicBezTo>
                  <a:pt x="961" y="24"/>
                  <a:pt x="961" y="24"/>
                  <a:pt x="961" y="24"/>
                </a:cubicBezTo>
                <a:cubicBezTo>
                  <a:pt x="961" y="24"/>
                  <a:pt x="961" y="24"/>
                  <a:pt x="961" y="24"/>
                </a:cubicBezTo>
                <a:cubicBezTo>
                  <a:pt x="961" y="24"/>
                  <a:pt x="961" y="24"/>
                  <a:pt x="961" y="24"/>
                </a:cubicBezTo>
                <a:cubicBezTo>
                  <a:pt x="961" y="24"/>
                  <a:pt x="960" y="24"/>
                  <a:pt x="960" y="24"/>
                </a:cubicBezTo>
                <a:cubicBezTo>
                  <a:pt x="960" y="24"/>
                  <a:pt x="960" y="24"/>
                  <a:pt x="960" y="24"/>
                </a:cubicBezTo>
                <a:cubicBezTo>
                  <a:pt x="960" y="24"/>
                  <a:pt x="960" y="25"/>
                  <a:pt x="960" y="25"/>
                </a:cubicBezTo>
                <a:cubicBezTo>
                  <a:pt x="960" y="25"/>
                  <a:pt x="960" y="25"/>
                  <a:pt x="960" y="25"/>
                </a:cubicBezTo>
                <a:cubicBezTo>
                  <a:pt x="960" y="25"/>
                  <a:pt x="960" y="25"/>
                  <a:pt x="960" y="25"/>
                </a:cubicBezTo>
                <a:cubicBezTo>
                  <a:pt x="960" y="25"/>
                  <a:pt x="960" y="25"/>
                  <a:pt x="960" y="25"/>
                </a:cubicBezTo>
                <a:cubicBezTo>
                  <a:pt x="959" y="25"/>
                  <a:pt x="960" y="26"/>
                  <a:pt x="959" y="26"/>
                </a:cubicBezTo>
                <a:cubicBezTo>
                  <a:pt x="959" y="26"/>
                  <a:pt x="959" y="26"/>
                  <a:pt x="959" y="26"/>
                </a:cubicBezTo>
                <a:cubicBezTo>
                  <a:pt x="959" y="26"/>
                  <a:pt x="959" y="26"/>
                  <a:pt x="959" y="26"/>
                </a:cubicBezTo>
                <a:cubicBezTo>
                  <a:pt x="959" y="26"/>
                  <a:pt x="959" y="26"/>
                  <a:pt x="959" y="26"/>
                </a:cubicBezTo>
                <a:cubicBezTo>
                  <a:pt x="959" y="26"/>
                  <a:pt x="959" y="27"/>
                  <a:pt x="959" y="27"/>
                </a:cubicBezTo>
                <a:cubicBezTo>
                  <a:pt x="959" y="27"/>
                  <a:pt x="959" y="27"/>
                  <a:pt x="959" y="27"/>
                </a:cubicBezTo>
                <a:cubicBezTo>
                  <a:pt x="958" y="27"/>
                  <a:pt x="958" y="27"/>
                  <a:pt x="958" y="27"/>
                </a:cubicBezTo>
                <a:cubicBezTo>
                  <a:pt x="958" y="27"/>
                  <a:pt x="958" y="27"/>
                  <a:pt x="958" y="27"/>
                </a:cubicBezTo>
                <a:cubicBezTo>
                  <a:pt x="958" y="28"/>
                  <a:pt x="958" y="28"/>
                  <a:pt x="958" y="28"/>
                </a:cubicBezTo>
                <a:cubicBezTo>
                  <a:pt x="958" y="28"/>
                  <a:pt x="958" y="28"/>
                  <a:pt x="958" y="28"/>
                </a:cubicBezTo>
                <a:cubicBezTo>
                  <a:pt x="958" y="28"/>
                  <a:pt x="958" y="29"/>
                  <a:pt x="958" y="29"/>
                </a:cubicBezTo>
                <a:cubicBezTo>
                  <a:pt x="958" y="29"/>
                  <a:pt x="958" y="29"/>
                  <a:pt x="958" y="29"/>
                </a:cubicBezTo>
                <a:cubicBezTo>
                  <a:pt x="957" y="29"/>
                  <a:pt x="957" y="29"/>
                  <a:pt x="957" y="29"/>
                </a:cubicBezTo>
                <a:cubicBezTo>
                  <a:pt x="957" y="29"/>
                  <a:pt x="957" y="29"/>
                  <a:pt x="957" y="29"/>
                </a:cubicBezTo>
                <a:cubicBezTo>
                  <a:pt x="957" y="30"/>
                  <a:pt x="957" y="30"/>
                  <a:pt x="957" y="30"/>
                </a:cubicBezTo>
                <a:cubicBezTo>
                  <a:pt x="957" y="30"/>
                  <a:pt x="957" y="30"/>
                  <a:pt x="957" y="30"/>
                </a:cubicBezTo>
                <a:cubicBezTo>
                  <a:pt x="957" y="30"/>
                  <a:pt x="957" y="30"/>
                  <a:pt x="957" y="30"/>
                </a:cubicBezTo>
                <a:cubicBezTo>
                  <a:pt x="957" y="30"/>
                  <a:pt x="957" y="30"/>
                  <a:pt x="957" y="31"/>
                </a:cubicBezTo>
                <a:cubicBezTo>
                  <a:pt x="957" y="31"/>
                  <a:pt x="957" y="31"/>
                  <a:pt x="957" y="31"/>
                </a:cubicBezTo>
                <a:cubicBezTo>
                  <a:pt x="956" y="31"/>
                  <a:pt x="956" y="31"/>
                  <a:pt x="956" y="31"/>
                </a:cubicBezTo>
                <a:cubicBezTo>
                  <a:pt x="956" y="31"/>
                  <a:pt x="956" y="31"/>
                  <a:pt x="956" y="31"/>
                </a:cubicBezTo>
                <a:cubicBezTo>
                  <a:pt x="956" y="31"/>
                  <a:pt x="956" y="32"/>
                  <a:pt x="956" y="32"/>
                </a:cubicBezTo>
                <a:cubicBezTo>
                  <a:pt x="956" y="32"/>
                  <a:pt x="956" y="32"/>
                  <a:pt x="956" y="32"/>
                </a:cubicBezTo>
                <a:cubicBezTo>
                  <a:pt x="956" y="32"/>
                  <a:pt x="956" y="32"/>
                  <a:pt x="956" y="32"/>
                </a:cubicBezTo>
                <a:cubicBezTo>
                  <a:pt x="956" y="32"/>
                  <a:pt x="956" y="33"/>
                  <a:pt x="956" y="33"/>
                </a:cubicBezTo>
                <a:cubicBezTo>
                  <a:pt x="956" y="33"/>
                  <a:pt x="956" y="33"/>
                  <a:pt x="956" y="33"/>
                </a:cubicBezTo>
                <a:cubicBezTo>
                  <a:pt x="955" y="33"/>
                  <a:pt x="955" y="33"/>
                  <a:pt x="955" y="33"/>
                </a:cubicBezTo>
                <a:cubicBezTo>
                  <a:pt x="955" y="33"/>
                  <a:pt x="955" y="33"/>
                  <a:pt x="955" y="34"/>
                </a:cubicBezTo>
                <a:cubicBezTo>
                  <a:pt x="955" y="34"/>
                  <a:pt x="955" y="34"/>
                  <a:pt x="955" y="34"/>
                </a:cubicBezTo>
                <a:cubicBezTo>
                  <a:pt x="955" y="34"/>
                  <a:pt x="955" y="34"/>
                  <a:pt x="955" y="34"/>
                </a:cubicBezTo>
                <a:cubicBezTo>
                  <a:pt x="955" y="34"/>
                  <a:pt x="955" y="34"/>
                  <a:pt x="955" y="34"/>
                </a:cubicBezTo>
                <a:cubicBezTo>
                  <a:pt x="955" y="35"/>
                  <a:pt x="955" y="35"/>
                  <a:pt x="954" y="35"/>
                </a:cubicBezTo>
                <a:cubicBezTo>
                  <a:pt x="955" y="35"/>
                  <a:pt x="955" y="35"/>
                  <a:pt x="955" y="35"/>
                </a:cubicBezTo>
                <a:cubicBezTo>
                  <a:pt x="954" y="35"/>
                  <a:pt x="954" y="35"/>
                  <a:pt x="954" y="35"/>
                </a:cubicBezTo>
                <a:cubicBezTo>
                  <a:pt x="954" y="36"/>
                  <a:pt x="954" y="36"/>
                  <a:pt x="954" y="36"/>
                </a:cubicBezTo>
                <a:cubicBezTo>
                  <a:pt x="954" y="36"/>
                  <a:pt x="954" y="36"/>
                  <a:pt x="954" y="36"/>
                </a:cubicBezTo>
                <a:cubicBezTo>
                  <a:pt x="954" y="36"/>
                  <a:pt x="954" y="37"/>
                  <a:pt x="954" y="37"/>
                </a:cubicBezTo>
                <a:cubicBezTo>
                  <a:pt x="954" y="37"/>
                  <a:pt x="954" y="37"/>
                  <a:pt x="954" y="37"/>
                </a:cubicBezTo>
                <a:cubicBezTo>
                  <a:pt x="953" y="37"/>
                  <a:pt x="954" y="38"/>
                  <a:pt x="953" y="38"/>
                </a:cubicBezTo>
                <a:cubicBezTo>
                  <a:pt x="953" y="38"/>
                  <a:pt x="953" y="38"/>
                  <a:pt x="953" y="38"/>
                </a:cubicBezTo>
                <a:cubicBezTo>
                  <a:pt x="953" y="38"/>
                  <a:pt x="953" y="39"/>
                  <a:pt x="953" y="39"/>
                </a:cubicBezTo>
                <a:cubicBezTo>
                  <a:pt x="953" y="39"/>
                  <a:pt x="953" y="39"/>
                  <a:pt x="953" y="39"/>
                </a:cubicBezTo>
                <a:cubicBezTo>
                  <a:pt x="953" y="40"/>
                  <a:pt x="953" y="40"/>
                  <a:pt x="953" y="40"/>
                </a:cubicBezTo>
                <a:cubicBezTo>
                  <a:pt x="953" y="41"/>
                  <a:pt x="953" y="41"/>
                  <a:pt x="953" y="41"/>
                </a:cubicBezTo>
                <a:cubicBezTo>
                  <a:pt x="953" y="41"/>
                  <a:pt x="953" y="41"/>
                  <a:pt x="953" y="41"/>
                </a:cubicBezTo>
                <a:cubicBezTo>
                  <a:pt x="952" y="41"/>
                  <a:pt x="953" y="41"/>
                  <a:pt x="952" y="42"/>
                </a:cubicBezTo>
                <a:cubicBezTo>
                  <a:pt x="952" y="42"/>
                  <a:pt x="952" y="42"/>
                  <a:pt x="952" y="42"/>
                </a:cubicBezTo>
                <a:cubicBezTo>
                  <a:pt x="952" y="42"/>
                  <a:pt x="952" y="43"/>
                  <a:pt x="952" y="43"/>
                </a:cubicBezTo>
                <a:cubicBezTo>
                  <a:pt x="952" y="43"/>
                  <a:pt x="952" y="43"/>
                  <a:pt x="952" y="43"/>
                </a:cubicBezTo>
                <a:cubicBezTo>
                  <a:pt x="952" y="43"/>
                  <a:pt x="952" y="43"/>
                  <a:pt x="952" y="43"/>
                </a:cubicBezTo>
                <a:cubicBezTo>
                  <a:pt x="952" y="44"/>
                  <a:pt x="952" y="44"/>
                  <a:pt x="952" y="45"/>
                </a:cubicBezTo>
                <a:cubicBezTo>
                  <a:pt x="952" y="45"/>
                  <a:pt x="952" y="45"/>
                  <a:pt x="952" y="45"/>
                </a:cubicBezTo>
                <a:cubicBezTo>
                  <a:pt x="951" y="46"/>
                  <a:pt x="952" y="46"/>
                  <a:pt x="951" y="47"/>
                </a:cubicBezTo>
                <a:cubicBezTo>
                  <a:pt x="951" y="47"/>
                  <a:pt x="951" y="47"/>
                  <a:pt x="951" y="48"/>
                </a:cubicBezTo>
                <a:cubicBezTo>
                  <a:pt x="951" y="48"/>
                  <a:pt x="951" y="49"/>
                  <a:pt x="951" y="50"/>
                </a:cubicBezTo>
                <a:cubicBezTo>
                  <a:pt x="951" y="50"/>
                  <a:pt x="951" y="50"/>
                  <a:pt x="951" y="50"/>
                </a:cubicBezTo>
                <a:cubicBezTo>
                  <a:pt x="951" y="54"/>
                  <a:pt x="951" y="58"/>
                  <a:pt x="951" y="62"/>
                </a:cubicBezTo>
                <a:cubicBezTo>
                  <a:pt x="951" y="62"/>
                  <a:pt x="951" y="63"/>
                  <a:pt x="951" y="63"/>
                </a:cubicBezTo>
                <a:cubicBezTo>
                  <a:pt x="951" y="63"/>
                  <a:pt x="951" y="64"/>
                  <a:pt x="951" y="65"/>
                </a:cubicBezTo>
                <a:cubicBezTo>
                  <a:pt x="951" y="65"/>
                  <a:pt x="951" y="65"/>
                  <a:pt x="951" y="66"/>
                </a:cubicBezTo>
                <a:cubicBezTo>
                  <a:pt x="952" y="66"/>
                  <a:pt x="951" y="67"/>
                  <a:pt x="952" y="67"/>
                </a:cubicBezTo>
                <a:cubicBezTo>
                  <a:pt x="952" y="67"/>
                  <a:pt x="952" y="67"/>
                  <a:pt x="952" y="67"/>
                </a:cubicBezTo>
                <a:cubicBezTo>
                  <a:pt x="952" y="68"/>
                  <a:pt x="952" y="68"/>
                  <a:pt x="952" y="68"/>
                </a:cubicBezTo>
                <a:cubicBezTo>
                  <a:pt x="952" y="68"/>
                  <a:pt x="952" y="69"/>
                  <a:pt x="952" y="69"/>
                </a:cubicBezTo>
                <a:cubicBezTo>
                  <a:pt x="952" y="69"/>
                  <a:pt x="952" y="69"/>
                  <a:pt x="952" y="69"/>
                </a:cubicBezTo>
                <a:cubicBezTo>
                  <a:pt x="952" y="69"/>
                  <a:pt x="952" y="69"/>
                  <a:pt x="952" y="69"/>
                </a:cubicBezTo>
                <a:cubicBezTo>
                  <a:pt x="952" y="70"/>
                  <a:pt x="952" y="70"/>
                  <a:pt x="952" y="71"/>
                </a:cubicBezTo>
                <a:cubicBezTo>
                  <a:pt x="952" y="71"/>
                  <a:pt x="952" y="71"/>
                  <a:pt x="952" y="71"/>
                </a:cubicBezTo>
                <a:cubicBezTo>
                  <a:pt x="952" y="71"/>
                  <a:pt x="952" y="71"/>
                  <a:pt x="952" y="71"/>
                </a:cubicBezTo>
                <a:cubicBezTo>
                  <a:pt x="953" y="71"/>
                  <a:pt x="952" y="72"/>
                  <a:pt x="953" y="72"/>
                </a:cubicBezTo>
                <a:cubicBezTo>
                  <a:pt x="953" y="72"/>
                  <a:pt x="953" y="72"/>
                  <a:pt x="953" y="72"/>
                </a:cubicBezTo>
                <a:cubicBezTo>
                  <a:pt x="953" y="72"/>
                  <a:pt x="953" y="73"/>
                  <a:pt x="953" y="73"/>
                </a:cubicBezTo>
                <a:cubicBezTo>
                  <a:pt x="953" y="73"/>
                  <a:pt x="953" y="73"/>
                  <a:pt x="953" y="73"/>
                </a:cubicBezTo>
                <a:cubicBezTo>
                  <a:pt x="953" y="73"/>
                  <a:pt x="953" y="74"/>
                  <a:pt x="953" y="74"/>
                </a:cubicBezTo>
                <a:cubicBezTo>
                  <a:pt x="953" y="74"/>
                  <a:pt x="953" y="74"/>
                  <a:pt x="953" y="74"/>
                </a:cubicBezTo>
                <a:cubicBezTo>
                  <a:pt x="954" y="75"/>
                  <a:pt x="954" y="75"/>
                  <a:pt x="954" y="75"/>
                </a:cubicBezTo>
                <a:cubicBezTo>
                  <a:pt x="954" y="75"/>
                  <a:pt x="954" y="75"/>
                  <a:pt x="954" y="75"/>
                </a:cubicBezTo>
                <a:cubicBezTo>
                  <a:pt x="954" y="76"/>
                  <a:pt x="954" y="76"/>
                  <a:pt x="954" y="76"/>
                </a:cubicBezTo>
                <a:cubicBezTo>
                  <a:pt x="954" y="76"/>
                  <a:pt x="954" y="76"/>
                  <a:pt x="954" y="76"/>
                </a:cubicBezTo>
                <a:cubicBezTo>
                  <a:pt x="954" y="76"/>
                  <a:pt x="954" y="77"/>
                  <a:pt x="954" y="77"/>
                </a:cubicBezTo>
                <a:cubicBezTo>
                  <a:pt x="954" y="77"/>
                  <a:pt x="954" y="77"/>
                  <a:pt x="954" y="77"/>
                </a:cubicBezTo>
                <a:cubicBezTo>
                  <a:pt x="955" y="77"/>
                  <a:pt x="955" y="78"/>
                  <a:pt x="955" y="78"/>
                </a:cubicBezTo>
                <a:cubicBezTo>
                  <a:pt x="955" y="78"/>
                  <a:pt x="955" y="78"/>
                  <a:pt x="955" y="78"/>
                </a:cubicBezTo>
                <a:cubicBezTo>
                  <a:pt x="955" y="78"/>
                  <a:pt x="955" y="78"/>
                  <a:pt x="955" y="79"/>
                </a:cubicBezTo>
                <a:cubicBezTo>
                  <a:pt x="955" y="79"/>
                  <a:pt x="955" y="79"/>
                  <a:pt x="955" y="79"/>
                </a:cubicBezTo>
                <a:cubicBezTo>
                  <a:pt x="955" y="79"/>
                  <a:pt x="955" y="79"/>
                  <a:pt x="955" y="79"/>
                </a:cubicBezTo>
                <a:cubicBezTo>
                  <a:pt x="955" y="79"/>
                  <a:pt x="955" y="79"/>
                  <a:pt x="956" y="80"/>
                </a:cubicBezTo>
                <a:cubicBezTo>
                  <a:pt x="956" y="80"/>
                  <a:pt x="956" y="80"/>
                  <a:pt x="956" y="80"/>
                </a:cubicBezTo>
                <a:cubicBezTo>
                  <a:pt x="956" y="80"/>
                  <a:pt x="956" y="80"/>
                  <a:pt x="956" y="80"/>
                </a:cubicBezTo>
                <a:cubicBezTo>
                  <a:pt x="956" y="80"/>
                  <a:pt x="956" y="80"/>
                  <a:pt x="956" y="80"/>
                </a:cubicBezTo>
                <a:cubicBezTo>
                  <a:pt x="956" y="80"/>
                  <a:pt x="956" y="81"/>
                  <a:pt x="956" y="81"/>
                </a:cubicBezTo>
                <a:cubicBezTo>
                  <a:pt x="956" y="81"/>
                  <a:pt x="956" y="81"/>
                  <a:pt x="956" y="81"/>
                </a:cubicBezTo>
                <a:cubicBezTo>
                  <a:pt x="956" y="81"/>
                  <a:pt x="956" y="81"/>
                  <a:pt x="957" y="82"/>
                </a:cubicBezTo>
                <a:cubicBezTo>
                  <a:pt x="957" y="82"/>
                  <a:pt x="957" y="82"/>
                  <a:pt x="957" y="82"/>
                </a:cubicBezTo>
                <a:cubicBezTo>
                  <a:pt x="957" y="82"/>
                  <a:pt x="957" y="82"/>
                  <a:pt x="957" y="82"/>
                </a:cubicBezTo>
                <a:cubicBezTo>
                  <a:pt x="957" y="82"/>
                  <a:pt x="957" y="82"/>
                  <a:pt x="957" y="82"/>
                </a:cubicBezTo>
                <a:cubicBezTo>
                  <a:pt x="957" y="82"/>
                  <a:pt x="957" y="82"/>
                  <a:pt x="957" y="82"/>
                </a:cubicBezTo>
                <a:cubicBezTo>
                  <a:pt x="957" y="82"/>
                  <a:pt x="957" y="83"/>
                  <a:pt x="957" y="83"/>
                </a:cubicBezTo>
                <a:cubicBezTo>
                  <a:pt x="957" y="83"/>
                  <a:pt x="957" y="83"/>
                  <a:pt x="957" y="83"/>
                </a:cubicBezTo>
                <a:cubicBezTo>
                  <a:pt x="957" y="83"/>
                  <a:pt x="957" y="83"/>
                  <a:pt x="958" y="83"/>
                </a:cubicBezTo>
                <a:cubicBezTo>
                  <a:pt x="958" y="83"/>
                  <a:pt x="958" y="83"/>
                  <a:pt x="958" y="83"/>
                </a:cubicBezTo>
                <a:cubicBezTo>
                  <a:pt x="958" y="84"/>
                  <a:pt x="958" y="84"/>
                  <a:pt x="958" y="84"/>
                </a:cubicBezTo>
                <a:cubicBezTo>
                  <a:pt x="958" y="84"/>
                  <a:pt x="958" y="84"/>
                  <a:pt x="958" y="84"/>
                </a:cubicBezTo>
                <a:cubicBezTo>
                  <a:pt x="958" y="84"/>
                  <a:pt x="958" y="84"/>
                  <a:pt x="958" y="84"/>
                </a:cubicBezTo>
                <a:cubicBezTo>
                  <a:pt x="958" y="84"/>
                  <a:pt x="958" y="84"/>
                  <a:pt x="958" y="84"/>
                </a:cubicBezTo>
                <a:cubicBezTo>
                  <a:pt x="958" y="85"/>
                  <a:pt x="958" y="85"/>
                  <a:pt x="959" y="85"/>
                </a:cubicBezTo>
                <a:cubicBezTo>
                  <a:pt x="959" y="85"/>
                  <a:pt x="959" y="85"/>
                  <a:pt x="959" y="85"/>
                </a:cubicBezTo>
                <a:cubicBezTo>
                  <a:pt x="959" y="85"/>
                  <a:pt x="959" y="85"/>
                  <a:pt x="959" y="86"/>
                </a:cubicBezTo>
                <a:cubicBezTo>
                  <a:pt x="959" y="86"/>
                  <a:pt x="959" y="86"/>
                  <a:pt x="959" y="86"/>
                </a:cubicBezTo>
                <a:cubicBezTo>
                  <a:pt x="959" y="86"/>
                  <a:pt x="959" y="86"/>
                  <a:pt x="959" y="86"/>
                </a:cubicBezTo>
                <a:cubicBezTo>
                  <a:pt x="959" y="86"/>
                  <a:pt x="959" y="86"/>
                  <a:pt x="959" y="86"/>
                </a:cubicBezTo>
                <a:cubicBezTo>
                  <a:pt x="959" y="86"/>
                  <a:pt x="960" y="86"/>
                  <a:pt x="960" y="87"/>
                </a:cubicBezTo>
                <a:cubicBezTo>
                  <a:pt x="960" y="87"/>
                  <a:pt x="960" y="87"/>
                  <a:pt x="960" y="87"/>
                </a:cubicBezTo>
                <a:cubicBezTo>
                  <a:pt x="960" y="87"/>
                  <a:pt x="960" y="87"/>
                  <a:pt x="960" y="87"/>
                </a:cubicBezTo>
                <a:cubicBezTo>
                  <a:pt x="960" y="87"/>
                  <a:pt x="960" y="87"/>
                  <a:pt x="960" y="87"/>
                </a:cubicBezTo>
                <a:cubicBezTo>
                  <a:pt x="960" y="87"/>
                  <a:pt x="960" y="87"/>
                  <a:pt x="960" y="88"/>
                </a:cubicBezTo>
                <a:cubicBezTo>
                  <a:pt x="960" y="87"/>
                  <a:pt x="960" y="87"/>
                  <a:pt x="960" y="87"/>
                </a:cubicBezTo>
                <a:cubicBezTo>
                  <a:pt x="960" y="88"/>
                  <a:pt x="961" y="88"/>
                  <a:pt x="961" y="88"/>
                </a:cubicBezTo>
                <a:cubicBezTo>
                  <a:pt x="961" y="88"/>
                  <a:pt x="961" y="88"/>
                  <a:pt x="961" y="88"/>
                </a:cubicBezTo>
                <a:cubicBezTo>
                  <a:pt x="961" y="88"/>
                  <a:pt x="961" y="88"/>
                  <a:pt x="961" y="88"/>
                </a:cubicBezTo>
                <a:cubicBezTo>
                  <a:pt x="961" y="88"/>
                  <a:pt x="961" y="88"/>
                  <a:pt x="961" y="88"/>
                </a:cubicBezTo>
                <a:cubicBezTo>
                  <a:pt x="961" y="89"/>
                  <a:pt x="961" y="89"/>
                  <a:pt x="962" y="89"/>
                </a:cubicBezTo>
                <a:cubicBezTo>
                  <a:pt x="962" y="89"/>
                  <a:pt x="962" y="89"/>
                  <a:pt x="962" y="89"/>
                </a:cubicBezTo>
                <a:cubicBezTo>
                  <a:pt x="962" y="89"/>
                  <a:pt x="962" y="90"/>
                  <a:pt x="962" y="90"/>
                </a:cubicBezTo>
                <a:cubicBezTo>
                  <a:pt x="962" y="90"/>
                  <a:pt x="962" y="90"/>
                  <a:pt x="962" y="90"/>
                </a:cubicBezTo>
                <a:cubicBezTo>
                  <a:pt x="962" y="90"/>
                  <a:pt x="962" y="90"/>
                  <a:pt x="963" y="90"/>
                </a:cubicBezTo>
                <a:cubicBezTo>
                  <a:pt x="962" y="90"/>
                  <a:pt x="962" y="90"/>
                  <a:pt x="962" y="90"/>
                </a:cubicBezTo>
                <a:cubicBezTo>
                  <a:pt x="963" y="90"/>
                  <a:pt x="963" y="90"/>
                  <a:pt x="963" y="90"/>
                </a:cubicBezTo>
                <a:cubicBezTo>
                  <a:pt x="963" y="90"/>
                  <a:pt x="963" y="90"/>
                  <a:pt x="963" y="90"/>
                </a:cubicBezTo>
                <a:cubicBezTo>
                  <a:pt x="963" y="90"/>
                  <a:pt x="963" y="91"/>
                  <a:pt x="963" y="91"/>
                </a:cubicBezTo>
                <a:cubicBezTo>
                  <a:pt x="963" y="91"/>
                  <a:pt x="963" y="91"/>
                  <a:pt x="963" y="91"/>
                </a:cubicBezTo>
                <a:cubicBezTo>
                  <a:pt x="963" y="91"/>
                  <a:pt x="963" y="91"/>
                  <a:pt x="964" y="91"/>
                </a:cubicBezTo>
                <a:cubicBezTo>
                  <a:pt x="964" y="91"/>
                  <a:pt x="964" y="91"/>
                  <a:pt x="964" y="91"/>
                </a:cubicBezTo>
                <a:cubicBezTo>
                  <a:pt x="964" y="91"/>
                  <a:pt x="964" y="91"/>
                  <a:pt x="964" y="91"/>
                </a:cubicBezTo>
                <a:cubicBezTo>
                  <a:pt x="964" y="91"/>
                  <a:pt x="964" y="91"/>
                  <a:pt x="964" y="91"/>
                </a:cubicBezTo>
                <a:cubicBezTo>
                  <a:pt x="964" y="92"/>
                  <a:pt x="964" y="92"/>
                  <a:pt x="964" y="92"/>
                </a:cubicBezTo>
                <a:cubicBezTo>
                  <a:pt x="964" y="92"/>
                  <a:pt x="964" y="92"/>
                  <a:pt x="964" y="92"/>
                </a:cubicBezTo>
                <a:cubicBezTo>
                  <a:pt x="964" y="92"/>
                  <a:pt x="964" y="92"/>
                  <a:pt x="965" y="92"/>
                </a:cubicBezTo>
                <a:cubicBezTo>
                  <a:pt x="965" y="92"/>
                  <a:pt x="965" y="92"/>
                  <a:pt x="965" y="92"/>
                </a:cubicBezTo>
                <a:cubicBezTo>
                  <a:pt x="965" y="92"/>
                  <a:pt x="965" y="92"/>
                  <a:pt x="965" y="92"/>
                </a:cubicBezTo>
                <a:cubicBezTo>
                  <a:pt x="965" y="92"/>
                  <a:pt x="965" y="92"/>
                  <a:pt x="965" y="92"/>
                </a:cubicBezTo>
                <a:cubicBezTo>
                  <a:pt x="965" y="93"/>
                  <a:pt x="965" y="93"/>
                  <a:pt x="965" y="93"/>
                </a:cubicBezTo>
                <a:cubicBezTo>
                  <a:pt x="965" y="93"/>
                  <a:pt x="965" y="93"/>
                  <a:pt x="965" y="93"/>
                </a:cubicBezTo>
                <a:cubicBezTo>
                  <a:pt x="965" y="93"/>
                  <a:pt x="966" y="93"/>
                  <a:pt x="966" y="94"/>
                </a:cubicBezTo>
                <a:cubicBezTo>
                  <a:pt x="966" y="94"/>
                  <a:pt x="966" y="94"/>
                  <a:pt x="966" y="94"/>
                </a:cubicBezTo>
                <a:cubicBezTo>
                  <a:pt x="966"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5"/>
                  <a:pt x="968" y="95"/>
                  <a:pt x="968" y="95"/>
                </a:cubicBezTo>
                <a:cubicBezTo>
                  <a:pt x="968" y="95"/>
                  <a:pt x="968" y="95"/>
                  <a:pt x="968" y="95"/>
                </a:cubicBezTo>
                <a:cubicBezTo>
                  <a:pt x="968" y="95"/>
                  <a:pt x="968" y="95"/>
                  <a:pt x="968" y="95"/>
                </a:cubicBezTo>
                <a:cubicBezTo>
                  <a:pt x="968" y="95"/>
                  <a:pt x="968" y="95"/>
                  <a:pt x="968" y="95"/>
                </a:cubicBezTo>
                <a:cubicBezTo>
                  <a:pt x="969" y="96"/>
                  <a:pt x="969" y="96"/>
                  <a:pt x="969" y="96"/>
                </a:cubicBezTo>
                <a:cubicBezTo>
                  <a:pt x="969" y="96"/>
                  <a:pt x="969" y="96"/>
                  <a:pt x="969" y="96"/>
                </a:cubicBezTo>
                <a:cubicBezTo>
                  <a:pt x="970" y="96"/>
                  <a:pt x="970" y="96"/>
                  <a:pt x="971" y="97"/>
                </a:cubicBezTo>
                <a:cubicBezTo>
                  <a:pt x="970" y="97"/>
                  <a:pt x="970" y="97"/>
                  <a:pt x="970" y="97"/>
                </a:cubicBezTo>
                <a:cubicBezTo>
                  <a:pt x="971" y="97"/>
                  <a:pt x="971" y="97"/>
                  <a:pt x="971" y="97"/>
                </a:cubicBezTo>
                <a:cubicBezTo>
                  <a:pt x="971" y="97"/>
                  <a:pt x="971" y="97"/>
                  <a:pt x="971" y="97"/>
                </a:cubicBezTo>
                <a:cubicBezTo>
                  <a:pt x="971" y="97"/>
                  <a:pt x="971" y="97"/>
                  <a:pt x="972" y="97"/>
                </a:cubicBezTo>
                <a:cubicBezTo>
                  <a:pt x="972" y="97"/>
                  <a:pt x="972" y="97"/>
                  <a:pt x="972" y="97"/>
                </a:cubicBezTo>
                <a:cubicBezTo>
                  <a:pt x="972" y="98"/>
                  <a:pt x="972" y="97"/>
                  <a:pt x="972" y="98"/>
                </a:cubicBezTo>
                <a:cubicBezTo>
                  <a:pt x="972" y="98"/>
                  <a:pt x="972" y="98"/>
                  <a:pt x="972" y="98"/>
                </a:cubicBezTo>
                <a:cubicBezTo>
                  <a:pt x="972" y="98"/>
                  <a:pt x="973" y="98"/>
                  <a:pt x="973" y="98"/>
                </a:cubicBezTo>
                <a:cubicBezTo>
                  <a:pt x="973" y="98"/>
                  <a:pt x="973" y="98"/>
                  <a:pt x="973" y="98"/>
                </a:cubicBezTo>
                <a:cubicBezTo>
                  <a:pt x="973" y="98"/>
                  <a:pt x="973" y="98"/>
                  <a:pt x="974" y="98"/>
                </a:cubicBezTo>
                <a:cubicBezTo>
                  <a:pt x="974" y="98"/>
                  <a:pt x="974" y="98"/>
                  <a:pt x="974" y="98"/>
                </a:cubicBezTo>
                <a:cubicBezTo>
                  <a:pt x="974" y="99"/>
                  <a:pt x="974" y="99"/>
                  <a:pt x="974" y="99"/>
                </a:cubicBezTo>
                <a:cubicBezTo>
                  <a:pt x="974" y="99"/>
                  <a:pt x="974" y="99"/>
                  <a:pt x="974" y="99"/>
                </a:cubicBezTo>
                <a:cubicBezTo>
                  <a:pt x="974" y="99"/>
                  <a:pt x="975" y="99"/>
                  <a:pt x="975" y="99"/>
                </a:cubicBezTo>
                <a:cubicBezTo>
                  <a:pt x="975" y="99"/>
                  <a:pt x="975" y="99"/>
                  <a:pt x="975" y="99"/>
                </a:cubicBezTo>
                <a:cubicBezTo>
                  <a:pt x="975" y="99"/>
                  <a:pt x="975" y="99"/>
                  <a:pt x="976" y="99"/>
                </a:cubicBezTo>
                <a:cubicBezTo>
                  <a:pt x="976" y="99"/>
                  <a:pt x="976" y="99"/>
                  <a:pt x="976" y="99"/>
                </a:cubicBezTo>
                <a:cubicBezTo>
                  <a:pt x="976" y="100"/>
                  <a:pt x="976" y="100"/>
                  <a:pt x="977" y="100"/>
                </a:cubicBezTo>
                <a:cubicBezTo>
                  <a:pt x="977" y="100"/>
                  <a:pt x="977" y="100"/>
                  <a:pt x="977" y="100"/>
                </a:cubicBezTo>
                <a:cubicBezTo>
                  <a:pt x="977" y="100"/>
                  <a:pt x="977" y="100"/>
                  <a:pt x="977" y="100"/>
                </a:cubicBezTo>
                <a:cubicBezTo>
                  <a:pt x="977" y="100"/>
                  <a:pt x="977" y="100"/>
                  <a:pt x="977" y="100"/>
                </a:cubicBezTo>
                <a:cubicBezTo>
                  <a:pt x="977" y="100"/>
                  <a:pt x="977" y="100"/>
                  <a:pt x="977" y="100"/>
                </a:cubicBezTo>
                <a:cubicBezTo>
                  <a:pt x="978" y="100"/>
                  <a:pt x="978" y="100"/>
                  <a:pt x="978" y="100"/>
                </a:cubicBezTo>
                <a:cubicBezTo>
                  <a:pt x="978" y="100"/>
                  <a:pt x="978" y="100"/>
                  <a:pt x="978" y="100"/>
                </a:cubicBezTo>
                <a:cubicBezTo>
                  <a:pt x="978" y="100"/>
                  <a:pt x="978" y="100"/>
                  <a:pt x="978" y="100"/>
                </a:cubicBezTo>
                <a:cubicBezTo>
                  <a:pt x="979" y="101"/>
                  <a:pt x="979" y="101"/>
                  <a:pt x="979" y="101"/>
                </a:cubicBezTo>
                <a:cubicBezTo>
                  <a:pt x="979" y="101"/>
                  <a:pt x="979" y="101"/>
                  <a:pt x="979" y="101"/>
                </a:cubicBezTo>
                <a:cubicBezTo>
                  <a:pt x="980" y="101"/>
                  <a:pt x="980" y="101"/>
                  <a:pt x="980" y="101"/>
                </a:cubicBezTo>
                <a:cubicBezTo>
                  <a:pt x="980" y="101"/>
                  <a:pt x="980" y="101"/>
                  <a:pt x="980" y="101"/>
                </a:cubicBezTo>
                <a:cubicBezTo>
                  <a:pt x="980" y="101"/>
                  <a:pt x="980" y="101"/>
                  <a:pt x="980" y="101"/>
                </a:cubicBezTo>
                <a:cubicBezTo>
                  <a:pt x="981" y="101"/>
                  <a:pt x="981" y="101"/>
                  <a:pt x="981" y="101"/>
                </a:cubicBezTo>
                <a:cubicBezTo>
                  <a:pt x="981" y="101"/>
                  <a:pt x="981" y="101"/>
                  <a:pt x="982" y="102"/>
                </a:cubicBezTo>
                <a:cubicBezTo>
                  <a:pt x="982" y="101"/>
                  <a:pt x="982" y="101"/>
                  <a:pt x="982" y="101"/>
                </a:cubicBezTo>
                <a:cubicBezTo>
                  <a:pt x="982" y="102"/>
                  <a:pt x="982" y="102"/>
                  <a:pt x="983" y="102"/>
                </a:cubicBezTo>
                <a:cubicBezTo>
                  <a:pt x="983" y="102"/>
                  <a:pt x="983" y="102"/>
                  <a:pt x="983" y="102"/>
                </a:cubicBezTo>
                <a:cubicBezTo>
                  <a:pt x="983" y="102"/>
                  <a:pt x="983" y="102"/>
                  <a:pt x="983" y="102"/>
                </a:cubicBezTo>
                <a:cubicBezTo>
                  <a:pt x="983" y="102"/>
                  <a:pt x="984" y="102"/>
                  <a:pt x="984" y="102"/>
                </a:cubicBezTo>
                <a:cubicBezTo>
                  <a:pt x="985" y="102"/>
                  <a:pt x="985" y="102"/>
                  <a:pt x="985" y="102"/>
                </a:cubicBezTo>
                <a:cubicBezTo>
                  <a:pt x="985" y="102"/>
                  <a:pt x="985" y="102"/>
                  <a:pt x="985" y="102"/>
                </a:cubicBezTo>
                <a:cubicBezTo>
                  <a:pt x="985" y="103"/>
                  <a:pt x="986" y="102"/>
                  <a:pt x="986" y="103"/>
                </a:cubicBezTo>
                <a:cubicBezTo>
                  <a:pt x="986" y="102"/>
                  <a:pt x="986" y="102"/>
                  <a:pt x="986" y="102"/>
                </a:cubicBezTo>
                <a:cubicBezTo>
                  <a:pt x="986" y="103"/>
                  <a:pt x="986" y="103"/>
                  <a:pt x="986" y="103"/>
                </a:cubicBezTo>
                <a:cubicBezTo>
                  <a:pt x="987" y="103"/>
                  <a:pt x="988" y="103"/>
                  <a:pt x="989" y="103"/>
                </a:cubicBezTo>
                <a:cubicBezTo>
                  <a:pt x="989" y="103"/>
                  <a:pt x="989" y="103"/>
                  <a:pt x="989" y="103"/>
                </a:cubicBezTo>
                <a:cubicBezTo>
                  <a:pt x="991" y="103"/>
                  <a:pt x="992" y="103"/>
                  <a:pt x="993" y="103"/>
                </a:cubicBezTo>
                <a:cubicBezTo>
                  <a:pt x="995" y="103"/>
                  <a:pt x="996" y="103"/>
                  <a:pt x="997" y="103"/>
                </a:cubicBezTo>
                <a:cubicBezTo>
                  <a:pt x="999" y="103"/>
                  <a:pt x="1000" y="103"/>
                  <a:pt x="1002" y="103"/>
                </a:cubicBezTo>
                <a:cubicBezTo>
                  <a:pt x="1002" y="103"/>
                  <a:pt x="1002" y="103"/>
                  <a:pt x="1003" y="103"/>
                </a:cubicBezTo>
                <a:cubicBezTo>
                  <a:pt x="1004" y="102"/>
                  <a:pt x="1004" y="103"/>
                  <a:pt x="1005" y="103"/>
                </a:cubicBezTo>
                <a:cubicBezTo>
                  <a:pt x="1005" y="102"/>
                  <a:pt x="1005" y="102"/>
                  <a:pt x="1005" y="102"/>
                </a:cubicBezTo>
                <a:cubicBezTo>
                  <a:pt x="1006" y="103"/>
                  <a:pt x="1006" y="103"/>
                  <a:pt x="1006" y="103"/>
                </a:cubicBezTo>
                <a:cubicBezTo>
                  <a:pt x="1006" y="102"/>
                  <a:pt x="1007" y="103"/>
                  <a:pt x="1007" y="102"/>
                </a:cubicBezTo>
                <a:cubicBezTo>
                  <a:pt x="1007" y="102"/>
                  <a:pt x="1007" y="102"/>
                  <a:pt x="1007" y="102"/>
                </a:cubicBezTo>
                <a:cubicBezTo>
                  <a:pt x="1008" y="102"/>
                  <a:pt x="1008" y="102"/>
                  <a:pt x="1008" y="102"/>
                </a:cubicBezTo>
                <a:cubicBezTo>
                  <a:pt x="1008" y="102"/>
                  <a:pt x="1009" y="102"/>
                  <a:pt x="1009" y="102"/>
                </a:cubicBezTo>
                <a:cubicBezTo>
                  <a:pt x="1009" y="102"/>
                  <a:pt x="1009" y="102"/>
                  <a:pt x="1009" y="102"/>
                </a:cubicBezTo>
                <a:cubicBezTo>
                  <a:pt x="1009" y="102"/>
                  <a:pt x="1009" y="102"/>
                  <a:pt x="1009" y="102"/>
                </a:cubicBezTo>
                <a:cubicBezTo>
                  <a:pt x="1010" y="102"/>
                  <a:pt x="1010" y="102"/>
                  <a:pt x="1011" y="102"/>
                </a:cubicBezTo>
                <a:cubicBezTo>
                  <a:pt x="1011" y="101"/>
                  <a:pt x="1011" y="101"/>
                  <a:pt x="1011" y="101"/>
                </a:cubicBezTo>
                <a:cubicBezTo>
                  <a:pt x="1011" y="101"/>
                  <a:pt x="1011" y="101"/>
                  <a:pt x="1011" y="101"/>
                </a:cubicBezTo>
                <a:cubicBezTo>
                  <a:pt x="1011" y="101"/>
                  <a:pt x="1012" y="101"/>
                  <a:pt x="1012" y="101"/>
                </a:cubicBezTo>
                <a:cubicBezTo>
                  <a:pt x="1012" y="101"/>
                  <a:pt x="1012" y="101"/>
                  <a:pt x="1012" y="101"/>
                </a:cubicBezTo>
                <a:cubicBezTo>
                  <a:pt x="1013" y="101"/>
                  <a:pt x="1013" y="101"/>
                  <a:pt x="1013" y="101"/>
                </a:cubicBezTo>
                <a:cubicBezTo>
                  <a:pt x="1013" y="101"/>
                  <a:pt x="1013" y="101"/>
                  <a:pt x="1013" y="101"/>
                </a:cubicBezTo>
                <a:cubicBezTo>
                  <a:pt x="1013" y="101"/>
                  <a:pt x="1013" y="101"/>
                  <a:pt x="1013" y="101"/>
                </a:cubicBezTo>
                <a:cubicBezTo>
                  <a:pt x="1014" y="101"/>
                  <a:pt x="1014" y="101"/>
                  <a:pt x="1014" y="101"/>
                </a:cubicBezTo>
                <a:cubicBezTo>
                  <a:pt x="1014" y="100"/>
                  <a:pt x="1014" y="100"/>
                  <a:pt x="1014" y="100"/>
                </a:cubicBezTo>
                <a:cubicBezTo>
                  <a:pt x="1015" y="100"/>
                  <a:pt x="1015" y="100"/>
                  <a:pt x="1015" y="100"/>
                </a:cubicBezTo>
                <a:cubicBezTo>
                  <a:pt x="1015" y="100"/>
                  <a:pt x="1015" y="100"/>
                  <a:pt x="1015" y="100"/>
                </a:cubicBezTo>
                <a:cubicBezTo>
                  <a:pt x="1015" y="100"/>
                  <a:pt x="1015" y="100"/>
                  <a:pt x="1015" y="100"/>
                </a:cubicBezTo>
                <a:cubicBezTo>
                  <a:pt x="1016" y="100"/>
                  <a:pt x="1016" y="100"/>
                  <a:pt x="1016" y="100"/>
                </a:cubicBezTo>
                <a:cubicBezTo>
                  <a:pt x="1016" y="100"/>
                  <a:pt x="1016" y="100"/>
                  <a:pt x="1016" y="100"/>
                </a:cubicBezTo>
                <a:cubicBezTo>
                  <a:pt x="1016" y="100"/>
                  <a:pt x="1016" y="100"/>
                  <a:pt x="1016" y="100"/>
                </a:cubicBezTo>
                <a:cubicBezTo>
                  <a:pt x="1017" y="99"/>
                  <a:pt x="1017" y="100"/>
                  <a:pt x="1017" y="99"/>
                </a:cubicBezTo>
                <a:cubicBezTo>
                  <a:pt x="1017" y="99"/>
                  <a:pt x="1017" y="99"/>
                  <a:pt x="1017" y="99"/>
                </a:cubicBezTo>
                <a:cubicBezTo>
                  <a:pt x="1018" y="99"/>
                  <a:pt x="1018" y="99"/>
                  <a:pt x="1018" y="99"/>
                </a:cubicBezTo>
                <a:cubicBezTo>
                  <a:pt x="1018" y="99"/>
                  <a:pt x="1018" y="99"/>
                  <a:pt x="1018" y="99"/>
                </a:cubicBezTo>
                <a:cubicBezTo>
                  <a:pt x="1018" y="99"/>
                  <a:pt x="1019" y="99"/>
                  <a:pt x="1019" y="99"/>
                </a:cubicBezTo>
                <a:cubicBezTo>
                  <a:pt x="1019" y="99"/>
                  <a:pt x="1019" y="99"/>
                  <a:pt x="1019" y="99"/>
                </a:cubicBezTo>
                <a:cubicBezTo>
                  <a:pt x="1019" y="99"/>
                  <a:pt x="1019" y="99"/>
                  <a:pt x="1019" y="99"/>
                </a:cubicBezTo>
                <a:cubicBezTo>
                  <a:pt x="1019" y="99"/>
                  <a:pt x="1019" y="99"/>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1" y="98"/>
                  <a:pt x="1021" y="98"/>
                  <a:pt x="1021" y="98"/>
                </a:cubicBezTo>
                <a:cubicBezTo>
                  <a:pt x="1021" y="98"/>
                  <a:pt x="1021" y="98"/>
                  <a:pt x="1021" y="98"/>
                </a:cubicBezTo>
                <a:cubicBezTo>
                  <a:pt x="1021" y="94"/>
                  <a:pt x="1021" y="91"/>
                  <a:pt x="1021" y="87"/>
                </a:cubicBezTo>
                <a:cubicBezTo>
                  <a:pt x="1021" y="87"/>
                  <a:pt x="1021" y="87"/>
                  <a:pt x="1021" y="87"/>
                </a:cubicBezTo>
                <a:cubicBezTo>
                  <a:pt x="1021" y="87"/>
                  <a:pt x="1021" y="87"/>
                  <a:pt x="1021" y="87"/>
                </a:cubicBezTo>
                <a:cubicBezTo>
                  <a:pt x="1020" y="87"/>
                  <a:pt x="1020" y="87"/>
                  <a:pt x="1020" y="87"/>
                </a:cubicBezTo>
                <a:cubicBezTo>
                  <a:pt x="1020" y="87"/>
                  <a:pt x="1020" y="87"/>
                  <a:pt x="1020" y="87"/>
                </a:cubicBezTo>
                <a:cubicBezTo>
                  <a:pt x="1020" y="87"/>
                  <a:pt x="1019" y="87"/>
                  <a:pt x="1019" y="88"/>
                </a:cubicBezTo>
                <a:cubicBezTo>
                  <a:pt x="1019" y="88"/>
                  <a:pt x="1019" y="88"/>
                  <a:pt x="1019" y="88"/>
                </a:cubicBezTo>
                <a:cubicBezTo>
                  <a:pt x="1019" y="88"/>
                  <a:pt x="1019" y="88"/>
                  <a:pt x="1019" y="88"/>
                </a:cubicBezTo>
                <a:cubicBezTo>
                  <a:pt x="1019" y="88"/>
                  <a:pt x="1019" y="88"/>
                  <a:pt x="1019" y="88"/>
                </a:cubicBezTo>
                <a:cubicBezTo>
                  <a:pt x="1018" y="88"/>
                  <a:pt x="1018" y="88"/>
                  <a:pt x="1018" y="88"/>
                </a:cubicBezTo>
                <a:cubicBezTo>
                  <a:pt x="1018" y="88"/>
                  <a:pt x="1018" y="88"/>
                  <a:pt x="1018" y="88"/>
                </a:cubicBezTo>
                <a:cubicBezTo>
                  <a:pt x="1018" y="88"/>
                  <a:pt x="1018" y="88"/>
                  <a:pt x="1018" y="88"/>
                </a:cubicBezTo>
                <a:cubicBezTo>
                  <a:pt x="1018" y="88"/>
                  <a:pt x="1018" y="88"/>
                  <a:pt x="1017" y="89"/>
                </a:cubicBezTo>
                <a:cubicBezTo>
                  <a:pt x="1017" y="89"/>
                  <a:pt x="1017" y="89"/>
                  <a:pt x="1017" y="89"/>
                </a:cubicBezTo>
                <a:cubicBezTo>
                  <a:pt x="1017" y="89"/>
                  <a:pt x="1017" y="89"/>
                  <a:pt x="1017" y="89"/>
                </a:cubicBezTo>
                <a:cubicBezTo>
                  <a:pt x="1017" y="89"/>
                  <a:pt x="1017" y="89"/>
                  <a:pt x="1016" y="89"/>
                </a:cubicBezTo>
                <a:cubicBezTo>
                  <a:pt x="1016" y="89"/>
                  <a:pt x="1016" y="89"/>
                  <a:pt x="1016" y="89"/>
                </a:cubicBezTo>
                <a:cubicBezTo>
                  <a:pt x="1016" y="89"/>
                  <a:pt x="1016" y="89"/>
                  <a:pt x="1016" y="89"/>
                </a:cubicBezTo>
                <a:cubicBezTo>
                  <a:pt x="1016" y="89"/>
                  <a:pt x="1016" y="89"/>
                  <a:pt x="1016" y="89"/>
                </a:cubicBezTo>
                <a:cubicBezTo>
                  <a:pt x="1016" y="90"/>
                  <a:pt x="1015" y="89"/>
                  <a:pt x="1015" y="90"/>
                </a:cubicBezTo>
                <a:cubicBezTo>
                  <a:pt x="1015" y="90"/>
                  <a:pt x="1015" y="90"/>
                  <a:pt x="1015" y="90"/>
                </a:cubicBezTo>
                <a:cubicBezTo>
                  <a:pt x="1015" y="90"/>
                  <a:pt x="1014" y="90"/>
                  <a:pt x="1014" y="90"/>
                </a:cubicBezTo>
                <a:cubicBezTo>
                  <a:pt x="1014" y="90"/>
                  <a:pt x="1014" y="90"/>
                  <a:pt x="1014" y="90"/>
                </a:cubicBezTo>
                <a:cubicBezTo>
                  <a:pt x="1014" y="90"/>
                  <a:pt x="1013" y="90"/>
                  <a:pt x="1013" y="90"/>
                </a:cubicBezTo>
                <a:cubicBezTo>
                  <a:pt x="1013" y="90"/>
                  <a:pt x="1013" y="90"/>
                  <a:pt x="1013" y="90"/>
                </a:cubicBezTo>
                <a:cubicBezTo>
                  <a:pt x="1013" y="91"/>
                  <a:pt x="1012" y="91"/>
                  <a:pt x="1012" y="91"/>
                </a:cubicBezTo>
                <a:cubicBezTo>
                  <a:pt x="1012" y="91"/>
                  <a:pt x="1012" y="91"/>
                  <a:pt x="1012" y="91"/>
                </a:cubicBezTo>
                <a:cubicBezTo>
                  <a:pt x="1012" y="91"/>
                  <a:pt x="1011" y="91"/>
                  <a:pt x="1011" y="91"/>
                </a:cubicBezTo>
                <a:cubicBezTo>
                  <a:pt x="1011" y="91"/>
                  <a:pt x="1011" y="91"/>
                  <a:pt x="1011" y="91"/>
                </a:cubicBezTo>
                <a:cubicBezTo>
                  <a:pt x="1011" y="91"/>
                  <a:pt x="1010" y="91"/>
                  <a:pt x="1010" y="91"/>
                </a:cubicBezTo>
                <a:cubicBezTo>
                  <a:pt x="1010" y="92"/>
                  <a:pt x="1010" y="92"/>
                  <a:pt x="1010" y="91"/>
                </a:cubicBezTo>
                <a:cubicBezTo>
                  <a:pt x="1009" y="92"/>
                  <a:pt x="1009" y="91"/>
                  <a:pt x="1008" y="92"/>
                </a:cubicBezTo>
                <a:cubicBezTo>
                  <a:pt x="1008" y="92"/>
                  <a:pt x="1008" y="92"/>
                  <a:pt x="1008" y="92"/>
                </a:cubicBezTo>
                <a:cubicBezTo>
                  <a:pt x="1008" y="92"/>
                  <a:pt x="1007" y="92"/>
                  <a:pt x="1007" y="92"/>
                </a:cubicBezTo>
                <a:cubicBezTo>
                  <a:pt x="1007" y="92"/>
                  <a:pt x="1006" y="92"/>
                  <a:pt x="1006" y="92"/>
                </a:cubicBezTo>
                <a:cubicBezTo>
                  <a:pt x="1006" y="92"/>
                  <a:pt x="1005" y="92"/>
                  <a:pt x="1005" y="92"/>
                </a:cubicBezTo>
                <a:cubicBezTo>
                  <a:pt x="1004" y="93"/>
                  <a:pt x="1004" y="93"/>
                  <a:pt x="1004" y="92"/>
                </a:cubicBezTo>
                <a:cubicBezTo>
                  <a:pt x="1003" y="93"/>
                  <a:pt x="1003" y="92"/>
                  <a:pt x="1002" y="93"/>
                </a:cubicBezTo>
                <a:cubicBezTo>
                  <a:pt x="1001" y="93"/>
                  <a:pt x="1001" y="93"/>
                  <a:pt x="1001" y="93"/>
                </a:cubicBezTo>
                <a:cubicBezTo>
                  <a:pt x="998" y="93"/>
                  <a:pt x="996" y="93"/>
                  <a:pt x="993" y="93"/>
                </a:cubicBezTo>
                <a:cubicBezTo>
                  <a:pt x="993" y="93"/>
                  <a:pt x="993" y="93"/>
                  <a:pt x="992" y="93"/>
                </a:cubicBezTo>
                <a:cubicBezTo>
                  <a:pt x="992" y="92"/>
                  <a:pt x="991" y="93"/>
                  <a:pt x="990" y="92"/>
                </a:cubicBezTo>
                <a:cubicBezTo>
                  <a:pt x="990" y="93"/>
                  <a:pt x="990" y="93"/>
                  <a:pt x="990" y="93"/>
                </a:cubicBezTo>
                <a:cubicBezTo>
                  <a:pt x="990" y="92"/>
                  <a:pt x="990" y="92"/>
                  <a:pt x="990" y="92"/>
                </a:cubicBezTo>
                <a:cubicBezTo>
                  <a:pt x="989" y="92"/>
                  <a:pt x="989" y="92"/>
                  <a:pt x="988" y="92"/>
                </a:cubicBezTo>
                <a:cubicBezTo>
                  <a:pt x="988" y="92"/>
                  <a:pt x="988" y="92"/>
                  <a:pt x="988" y="92"/>
                </a:cubicBezTo>
                <a:cubicBezTo>
                  <a:pt x="988" y="92"/>
                  <a:pt x="988" y="92"/>
                  <a:pt x="988" y="92"/>
                </a:cubicBezTo>
                <a:cubicBezTo>
                  <a:pt x="988" y="92"/>
                  <a:pt x="987" y="92"/>
                  <a:pt x="987" y="92"/>
                </a:cubicBezTo>
                <a:cubicBezTo>
                  <a:pt x="987" y="92"/>
                  <a:pt x="987" y="92"/>
                  <a:pt x="987" y="92"/>
                </a:cubicBezTo>
                <a:cubicBezTo>
                  <a:pt x="986" y="91"/>
                  <a:pt x="986" y="92"/>
                  <a:pt x="986" y="91"/>
                </a:cubicBezTo>
                <a:cubicBezTo>
                  <a:pt x="986" y="92"/>
                  <a:pt x="985" y="91"/>
                  <a:pt x="985" y="91"/>
                </a:cubicBezTo>
                <a:cubicBezTo>
                  <a:pt x="985" y="91"/>
                  <a:pt x="985" y="91"/>
                  <a:pt x="985" y="91"/>
                </a:cubicBezTo>
                <a:cubicBezTo>
                  <a:pt x="985" y="91"/>
                  <a:pt x="984" y="91"/>
                  <a:pt x="984" y="91"/>
                </a:cubicBezTo>
                <a:cubicBezTo>
                  <a:pt x="984" y="91"/>
                  <a:pt x="984" y="91"/>
                  <a:pt x="984" y="91"/>
                </a:cubicBezTo>
                <a:cubicBezTo>
                  <a:pt x="984" y="91"/>
                  <a:pt x="984" y="91"/>
                  <a:pt x="984" y="91"/>
                </a:cubicBezTo>
                <a:cubicBezTo>
                  <a:pt x="983" y="91"/>
                  <a:pt x="983" y="91"/>
                  <a:pt x="983" y="90"/>
                </a:cubicBezTo>
                <a:cubicBezTo>
                  <a:pt x="983" y="90"/>
                  <a:pt x="983" y="90"/>
                  <a:pt x="983" y="90"/>
                </a:cubicBezTo>
                <a:cubicBezTo>
                  <a:pt x="983" y="90"/>
                  <a:pt x="983" y="90"/>
                  <a:pt x="983" y="90"/>
                </a:cubicBezTo>
                <a:cubicBezTo>
                  <a:pt x="982" y="90"/>
                  <a:pt x="982" y="90"/>
                  <a:pt x="982" y="90"/>
                </a:cubicBezTo>
                <a:cubicBezTo>
                  <a:pt x="982" y="90"/>
                  <a:pt x="982" y="90"/>
                  <a:pt x="982" y="90"/>
                </a:cubicBezTo>
                <a:cubicBezTo>
                  <a:pt x="982" y="90"/>
                  <a:pt x="981" y="90"/>
                  <a:pt x="981" y="90"/>
                </a:cubicBezTo>
                <a:cubicBezTo>
                  <a:pt x="981" y="90"/>
                  <a:pt x="981" y="90"/>
                  <a:pt x="981" y="90"/>
                </a:cubicBezTo>
                <a:cubicBezTo>
                  <a:pt x="981" y="89"/>
                  <a:pt x="981" y="90"/>
                  <a:pt x="981" y="89"/>
                </a:cubicBezTo>
                <a:cubicBezTo>
                  <a:pt x="981" y="89"/>
                  <a:pt x="981" y="89"/>
                  <a:pt x="981" y="89"/>
                </a:cubicBezTo>
                <a:cubicBezTo>
                  <a:pt x="980" y="89"/>
                  <a:pt x="980" y="89"/>
                  <a:pt x="980" y="89"/>
                </a:cubicBezTo>
                <a:cubicBezTo>
                  <a:pt x="980" y="89"/>
                  <a:pt x="980" y="89"/>
                  <a:pt x="980" y="89"/>
                </a:cubicBezTo>
                <a:cubicBezTo>
                  <a:pt x="980" y="89"/>
                  <a:pt x="979" y="89"/>
                  <a:pt x="979" y="89"/>
                </a:cubicBezTo>
                <a:cubicBezTo>
                  <a:pt x="979" y="89"/>
                  <a:pt x="979" y="89"/>
                  <a:pt x="979" y="89"/>
                </a:cubicBezTo>
                <a:cubicBezTo>
                  <a:pt x="979" y="88"/>
                  <a:pt x="979" y="88"/>
                  <a:pt x="979" y="88"/>
                </a:cubicBezTo>
                <a:cubicBezTo>
                  <a:pt x="979" y="88"/>
                  <a:pt x="979" y="88"/>
                  <a:pt x="979" y="88"/>
                </a:cubicBezTo>
                <a:cubicBezTo>
                  <a:pt x="978" y="88"/>
                  <a:pt x="978" y="88"/>
                  <a:pt x="978" y="88"/>
                </a:cubicBezTo>
                <a:cubicBezTo>
                  <a:pt x="978" y="88"/>
                  <a:pt x="978" y="88"/>
                  <a:pt x="978" y="88"/>
                </a:cubicBezTo>
                <a:cubicBezTo>
                  <a:pt x="978" y="88"/>
                  <a:pt x="978" y="88"/>
                  <a:pt x="978" y="88"/>
                </a:cubicBezTo>
                <a:cubicBezTo>
                  <a:pt x="978" y="88"/>
                  <a:pt x="978" y="88"/>
                  <a:pt x="977" y="88"/>
                </a:cubicBezTo>
                <a:cubicBezTo>
                  <a:pt x="977" y="88"/>
                  <a:pt x="977" y="88"/>
                  <a:pt x="977" y="88"/>
                </a:cubicBezTo>
                <a:cubicBezTo>
                  <a:pt x="977" y="87"/>
                  <a:pt x="977" y="87"/>
                  <a:pt x="977" y="87"/>
                </a:cubicBezTo>
                <a:cubicBezTo>
                  <a:pt x="977" y="87"/>
                  <a:pt x="977" y="87"/>
                  <a:pt x="977" y="87"/>
                </a:cubicBezTo>
                <a:cubicBezTo>
                  <a:pt x="977" y="87"/>
                  <a:pt x="977" y="87"/>
                  <a:pt x="976" y="87"/>
                </a:cubicBezTo>
                <a:cubicBezTo>
                  <a:pt x="976" y="87"/>
                  <a:pt x="976" y="87"/>
                  <a:pt x="976" y="87"/>
                </a:cubicBezTo>
                <a:cubicBezTo>
                  <a:pt x="976" y="87"/>
                  <a:pt x="976" y="87"/>
                  <a:pt x="976" y="87"/>
                </a:cubicBezTo>
                <a:cubicBezTo>
                  <a:pt x="976" y="87"/>
                  <a:pt x="976" y="87"/>
                  <a:pt x="976" y="87"/>
                </a:cubicBezTo>
                <a:cubicBezTo>
                  <a:pt x="976" y="86"/>
                  <a:pt x="976" y="86"/>
                  <a:pt x="976" y="86"/>
                </a:cubicBezTo>
                <a:cubicBezTo>
                  <a:pt x="976" y="86"/>
                  <a:pt x="976" y="86"/>
                  <a:pt x="976" y="86"/>
                </a:cubicBezTo>
                <a:cubicBezTo>
                  <a:pt x="975" y="86"/>
                  <a:pt x="975" y="86"/>
                  <a:pt x="975" y="85"/>
                </a:cubicBezTo>
                <a:cubicBezTo>
                  <a:pt x="975" y="85"/>
                  <a:pt x="975" y="85"/>
                  <a:pt x="975" y="85"/>
                </a:cubicBezTo>
                <a:cubicBezTo>
                  <a:pt x="975" y="85"/>
                  <a:pt x="974" y="85"/>
                  <a:pt x="974" y="85"/>
                </a:cubicBezTo>
                <a:cubicBezTo>
                  <a:pt x="974" y="85"/>
                  <a:pt x="974" y="85"/>
                  <a:pt x="974" y="85"/>
                </a:cubicBezTo>
                <a:cubicBezTo>
                  <a:pt x="974" y="85"/>
                  <a:pt x="974" y="85"/>
                  <a:pt x="974" y="85"/>
                </a:cubicBezTo>
                <a:cubicBezTo>
                  <a:pt x="974" y="85"/>
                  <a:pt x="974" y="85"/>
                  <a:pt x="974" y="85"/>
                </a:cubicBezTo>
                <a:cubicBezTo>
                  <a:pt x="974" y="85"/>
                  <a:pt x="974" y="85"/>
                  <a:pt x="974" y="84"/>
                </a:cubicBezTo>
                <a:cubicBezTo>
                  <a:pt x="974" y="85"/>
                  <a:pt x="974" y="85"/>
                  <a:pt x="974" y="85"/>
                </a:cubicBezTo>
                <a:cubicBezTo>
                  <a:pt x="973" y="84"/>
                  <a:pt x="973" y="84"/>
                  <a:pt x="973" y="84"/>
                </a:cubicBezTo>
                <a:cubicBezTo>
                  <a:pt x="973" y="84"/>
                  <a:pt x="973" y="84"/>
                  <a:pt x="973" y="84"/>
                </a:cubicBezTo>
                <a:cubicBezTo>
                  <a:pt x="973" y="84"/>
                  <a:pt x="973" y="84"/>
                  <a:pt x="973" y="84"/>
                </a:cubicBezTo>
                <a:cubicBezTo>
                  <a:pt x="973" y="84"/>
                  <a:pt x="973" y="84"/>
                  <a:pt x="973" y="84"/>
                </a:cubicBezTo>
                <a:cubicBezTo>
                  <a:pt x="973" y="84"/>
                  <a:pt x="973" y="84"/>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2"/>
                  <a:pt x="971" y="82"/>
                </a:cubicBezTo>
                <a:cubicBezTo>
                  <a:pt x="971" y="82"/>
                  <a:pt x="971" y="82"/>
                  <a:pt x="971" y="82"/>
                </a:cubicBezTo>
                <a:cubicBezTo>
                  <a:pt x="971" y="82"/>
                  <a:pt x="971" y="82"/>
                  <a:pt x="971" y="82"/>
                </a:cubicBezTo>
                <a:cubicBezTo>
                  <a:pt x="971" y="82"/>
                  <a:pt x="971" y="82"/>
                  <a:pt x="971" y="82"/>
                </a:cubicBezTo>
                <a:cubicBezTo>
                  <a:pt x="971" y="82"/>
                  <a:pt x="971" y="81"/>
                  <a:pt x="970" y="81"/>
                </a:cubicBezTo>
                <a:cubicBezTo>
                  <a:pt x="970" y="81"/>
                  <a:pt x="970" y="81"/>
                  <a:pt x="970" y="81"/>
                </a:cubicBezTo>
                <a:cubicBezTo>
                  <a:pt x="970" y="81"/>
                  <a:pt x="970" y="81"/>
                  <a:pt x="970" y="81"/>
                </a:cubicBezTo>
                <a:cubicBezTo>
                  <a:pt x="970" y="81"/>
                  <a:pt x="970" y="81"/>
                  <a:pt x="970" y="81"/>
                </a:cubicBezTo>
                <a:cubicBezTo>
                  <a:pt x="970" y="81"/>
                  <a:pt x="970" y="80"/>
                  <a:pt x="970" y="80"/>
                </a:cubicBezTo>
                <a:cubicBezTo>
                  <a:pt x="970" y="80"/>
                  <a:pt x="970" y="80"/>
                  <a:pt x="970" y="80"/>
                </a:cubicBezTo>
                <a:cubicBezTo>
                  <a:pt x="970" y="80"/>
                  <a:pt x="970" y="80"/>
                  <a:pt x="969" y="80"/>
                </a:cubicBezTo>
                <a:cubicBezTo>
                  <a:pt x="969" y="80"/>
                  <a:pt x="969" y="80"/>
                  <a:pt x="969" y="80"/>
                </a:cubicBezTo>
                <a:cubicBezTo>
                  <a:pt x="969" y="79"/>
                  <a:pt x="969" y="79"/>
                  <a:pt x="969" y="79"/>
                </a:cubicBezTo>
                <a:cubicBezTo>
                  <a:pt x="969" y="79"/>
                  <a:pt x="969" y="79"/>
                  <a:pt x="969" y="79"/>
                </a:cubicBezTo>
                <a:cubicBezTo>
                  <a:pt x="969" y="79"/>
                  <a:pt x="969" y="79"/>
                  <a:pt x="969" y="79"/>
                </a:cubicBezTo>
                <a:cubicBezTo>
                  <a:pt x="969" y="79"/>
                  <a:pt x="969" y="79"/>
                  <a:pt x="969" y="79"/>
                </a:cubicBezTo>
                <a:cubicBezTo>
                  <a:pt x="969" y="78"/>
                  <a:pt x="968" y="78"/>
                  <a:pt x="968" y="78"/>
                </a:cubicBezTo>
                <a:cubicBezTo>
                  <a:pt x="968" y="78"/>
                  <a:pt x="968" y="78"/>
                  <a:pt x="968" y="78"/>
                </a:cubicBezTo>
                <a:cubicBezTo>
                  <a:pt x="968" y="78"/>
                  <a:pt x="968" y="78"/>
                  <a:pt x="968" y="78"/>
                </a:cubicBezTo>
                <a:cubicBezTo>
                  <a:pt x="968" y="78"/>
                  <a:pt x="968" y="78"/>
                  <a:pt x="968" y="78"/>
                </a:cubicBezTo>
                <a:cubicBezTo>
                  <a:pt x="968" y="77"/>
                  <a:pt x="968" y="77"/>
                  <a:pt x="968" y="77"/>
                </a:cubicBezTo>
                <a:cubicBezTo>
                  <a:pt x="968" y="77"/>
                  <a:pt x="968" y="77"/>
                  <a:pt x="968" y="77"/>
                </a:cubicBezTo>
                <a:cubicBezTo>
                  <a:pt x="968" y="77"/>
                  <a:pt x="967" y="77"/>
                  <a:pt x="967" y="76"/>
                </a:cubicBezTo>
                <a:cubicBezTo>
                  <a:pt x="967" y="76"/>
                  <a:pt x="967" y="76"/>
                  <a:pt x="967" y="76"/>
                </a:cubicBezTo>
                <a:cubicBezTo>
                  <a:pt x="967" y="76"/>
                  <a:pt x="967" y="76"/>
                  <a:pt x="967" y="76"/>
                </a:cubicBezTo>
                <a:cubicBezTo>
                  <a:pt x="967" y="76"/>
                  <a:pt x="967" y="76"/>
                  <a:pt x="967" y="76"/>
                </a:cubicBezTo>
                <a:cubicBezTo>
                  <a:pt x="967" y="76"/>
                  <a:pt x="967" y="75"/>
                  <a:pt x="967" y="75"/>
                </a:cubicBezTo>
                <a:cubicBezTo>
                  <a:pt x="967" y="75"/>
                  <a:pt x="967" y="75"/>
                  <a:pt x="967" y="75"/>
                </a:cubicBezTo>
                <a:cubicBezTo>
                  <a:pt x="966" y="75"/>
                  <a:pt x="966" y="75"/>
                  <a:pt x="966" y="74"/>
                </a:cubicBezTo>
                <a:cubicBezTo>
                  <a:pt x="966" y="74"/>
                  <a:pt x="966" y="74"/>
                  <a:pt x="966" y="74"/>
                </a:cubicBezTo>
                <a:cubicBezTo>
                  <a:pt x="966" y="74"/>
                  <a:pt x="966" y="74"/>
                  <a:pt x="966" y="74"/>
                </a:cubicBezTo>
                <a:cubicBezTo>
                  <a:pt x="966" y="74"/>
                  <a:pt x="966" y="74"/>
                  <a:pt x="966" y="73"/>
                </a:cubicBezTo>
                <a:cubicBezTo>
                  <a:pt x="966" y="73"/>
                  <a:pt x="966" y="73"/>
                  <a:pt x="966" y="73"/>
                </a:cubicBezTo>
                <a:cubicBezTo>
                  <a:pt x="966" y="73"/>
                  <a:pt x="966" y="73"/>
                  <a:pt x="966" y="73"/>
                </a:cubicBezTo>
                <a:cubicBezTo>
                  <a:pt x="966" y="73"/>
                  <a:pt x="966" y="73"/>
                  <a:pt x="966" y="73"/>
                </a:cubicBezTo>
                <a:cubicBezTo>
                  <a:pt x="965" y="72"/>
                  <a:pt x="965" y="72"/>
                  <a:pt x="965" y="72"/>
                </a:cubicBezTo>
                <a:cubicBezTo>
                  <a:pt x="965" y="72"/>
                  <a:pt x="965" y="72"/>
                  <a:pt x="965" y="72"/>
                </a:cubicBezTo>
                <a:cubicBezTo>
                  <a:pt x="965" y="71"/>
                  <a:pt x="965" y="71"/>
                  <a:pt x="965" y="71"/>
                </a:cubicBezTo>
                <a:cubicBezTo>
                  <a:pt x="965" y="71"/>
                  <a:pt x="965" y="71"/>
                  <a:pt x="965" y="71"/>
                </a:cubicBezTo>
                <a:cubicBezTo>
                  <a:pt x="965" y="71"/>
                  <a:pt x="965" y="71"/>
                  <a:pt x="965" y="71"/>
                </a:cubicBezTo>
                <a:cubicBezTo>
                  <a:pt x="965" y="70"/>
                  <a:pt x="965" y="70"/>
                  <a:pt x="965" y="70"/>
                </a:cubicBezTo>
                <a:cubicBezTo>
                  <a:pt x="964" y="70"/>
                  <a:pt x="964" y="70"/>
                  <a:pt x="964" y="70"/>
                </a:cubicBezTo>
                <a:cubicBezTo>
                  <a:pt x="964" y="70"/>
                  <a:pt x="964" y="70"/>
                  <a:pt x="964" y="70"/>
                </a:cubicBezTo>
                <a:cubicBezTo>
                  <a:pt x="964" y="69"/>
                  <a:pt x="964" y="69"/>
                  <a:pt x="964" y="69"/>
                </a:cubicBezTo>
                <a:cubicBezTo>
                  <a:pt x="964" y="69"/>
                  <a:pt x="964" y="69"/>
                  <a:pt x="964" y="69"/>
                </a:cubicBezTo>
                <a:cubicBezTo>
                  <a:pt x="964" y="68"/>
                  <a:pt x="964" y="68"/>
                  <a:pt x="964" y="67"/>
                </a:cubicBezTo>
                <a:cubicBezTo>
                  <a:pt x="964" y="67"/>
                  <a:pt x="964" y="67"/>
                  <a:pt x="964" y="67"/>
                </a:cubicBezTo>
                <a:cubicBezTo>
                  <a:pt x="964" y="67"/>
                  <a:pt x="964" y="66"/>
                  <a:pt x="964" y="66"/>
                </a:cubicBezTo>
                <a:cubicBezTo>
                  <a:pt x="963" y="66"/>
                  <a:pt x="963" y="66"/>
                  <a:pt x="963" y="66"/>
                </a:cubicBezTo>
                <a:cubicBezTo>
                  <a:pt x="963" y="65"/>
                  <a:pt x="964" y="64"/>
                  <a:pt x="963" y="64"/>
                </a:cubicBezTo>
                <a:cubicBezTo>
                  <a:pt x="963" y="64"/>
                  <a:pt x="963" y="64"/>
                  <a:pt x="963" y="64"/>
                </a:cubicBezTo>
                <a:cubicBezTo>
                  <a:pt x="963" y="64"/>
                  <a:pt x="963" y="64"/>
                  <a:pt x="963" y="64"/>
                </a:cubicBezTo>
                <a:cubicBezTo>
                  <a:pt x="963" y="63"/>
                  <a:pt x="963" y="62"/>
                  <a:pt x="963" y="62"/>
                </a:cubicBezTo>
                <a:cubicBezTo>
                  <a:pt x="963" y="62"/>
                  <a:pt x="963" y="61"/>
                  <a:pt x="963" y="61"/>
                </a:cubicBezTo>
                <a:cubicBezTo>
                  <a:pt x="962" y="60"/>
                  <a:pt x="963" y="58"/>
                  <a:pt x="962" y="57"/>
                </a:cubicBezTo>
                <a:cubicBezTo>
                  <a:pt x="962" y="56"/>
                  <a:pt x="962" y="55"/>
                  <a:pt x="962" y="55"/>
                </a:cubicBezTo>
                <a:cubicBezTo>
                  <a:pt x="963" y="53"/>
                  <a:pt x="962" y="52"/>
                  <a:pt x="963" y="50"/>
                </a:cubicBezTo>
                <a:cubicBezTo>
                  <a:pt x="963" y="50"/>
                  <a:pt x="963" y="50"/>
                  <a:pt x="963" y="49"/>
                </a:cubicBezTo>
                <a:cubicBezTo>
                  <a:pt x="963" y="49"/>
                  <a:pt x="963" y="48"/>
                  <a:pt x="963" y="47"/>
                </a:cubicBezTo>
                <a:cubicBezTo>
                  <a:pt x="963" y="47"/>
                  <a:pt x="963" y="47"/>
                  <a:pt x="963" y="47"/>
                </a:cubicBezTo>
                <a:cubicBezTo>
                  <a:pt x="963" y="46"/>
                  <a:pt x="963" y="46"/>
                  <a:pt x="963" y="45"/>
                </a:cubicBezTo>
                <a:cubicBezTo>
                  <a:pt x="963" y="45"/>
                  <a:pt x="963" y="45"/>
                  <a:pt x="963" y="45"/>
                </a:cubicBezTo>
                <a:cubicBezTo>
                  <a:pt x="963" y="45"/>
                  <a:pt x="963" y="45"/>
                  <a:pt x="963" y="45"/>
                </a:cubicBezTo>
                <a:cubicBezTo>
                  <a:pt x="964" y="45"/>
                  <a:pt x="963" y="44"/>
                  <a:pt x="964" y="44"/>
                </a:cubicBezTo>
                <a:cubicBezTo>
                  <a:pt x="964" y="44"/>
                  <a:pt x="964" y="43"/>
                  <a:pt x="964" y="43"/>
                </a:cubicBezTo>
                <a:cubicBezTo>
                  <a:pt x="964" y="43"/>
                  <a:pt x="964" y="43"/>
                  <a:pt x="964" y="42"/>
                </a:cubicBezTo>
                <a:cubicBezTo>
                  <a:pt x="964" y="42"/>
                  <a:pt x="964" y="42"/>
                  <a:pt x="964" y="42"/>
                </a:cubicBezTo>
                <a:cubicBezTo>
                  <a:pt x="964" y="42"/>
                  <a:pt x="964" y="42"/>
                  <a:pt x="964" y="41"/>
                </a:cubicBezTo>
                <a:cubicBezTo>
                  <a:pt x="964" y="41"/>
                  <a:pt x="964" y="41"/>
                  <a:pt x="964" y="41"/>
                </a:cubicBezTo>
                <a:cubicBezTo>
                  <a:pt x="965" y="41"/>
                  <a:pt x="965" y="41"/>
                  <a:pt x="965" y="41"/>
                </a:cubicBezTo>
                <a:cubicBezTo>
                  <a:pt x="965" y="41"/>
                  <a:pt x="965" y="40"/>
                  <a:pt x="965" y="40"/>
                </a:cubicBezTo>
                <a:cubicBezTo>
                  <a:pt x="965" y="40"/>
                  <a:pt x="965" y="40"/>
                  <a:pt x="965" y="40"/>
                </a:cubicBezTo>
                <a:cubicBezTo>
                  <a:pt x="965" y="40"/>
                  <a:pt x="965" y="40"/>
                  <a:pt x="965" y="40"/>
                </a:cubicBezTo>
                <a:cubicBezTo>
                  <a:pt x="965" y="40"/>
                  <a:pt x="965" y="39"/>
                  <a:pt x="965" y="39"/>
                </a:cubicBezTo>
                <a:cubicBezTo>
                  <a:pt x="965" y="39"/>
                  <a:pt x="965" y="39"/>
                  <a:pt x="965" y="39"/>
                </a:cubicBezTo>
                <a:cubicBezTo>
                  <a:pt x="965" y="39"/>
                  <a:pt x="965" y="39"/>
                  <a:pt x="965" y="39"/>
                </a:cubicBezTo>
                <a:cubicBezTo>
                  <a:pt x="965" y="39"/>
                  <a:pt x="965" y="38"/>
                  <a:pt x="966" y="38"/>
                </a:cubicBezTo>
                <a:cubicBezTo>
                  <a:pt x="966" y="38"/>
                  <a:pt x="966" y="38"/>
                  <a:pt x="966" y="38"/>
                </a:cubicBezTo>
                <a:cubicBezTo>
                  <a:pt x="966" y="38"/>
                  <a:pt x="966" y="38"/>
                  <a:pt x="966" y="37"/>
                </a:cubicBezTo>
                <a:cubicBezTo>
                  <a:pt x="966" y="37"/>
                  <a:pt x="966" y="37"/>
                  <a:pt x="966" y="37"/>
                </a:cubicBezTo>
                <a:cubicBezTo>
                  <a:pt x="966" y="37"/>
                  <a:pt x="966" y="37"/>
                  <a:pt x="966" y="37"/>
                </a:cubicBezTo>
                <a:cubicBezTo>
                  <a:pt x="966" y="37"/>
                  <a:pt x="966" y="37"/>
                  <a:pt x="966" y="36"/>
                </a:cubicBezTo>
                <a:cubicBezTo>
                  <a:pt x="966" y="36"/>
                  <a:pt x="966" y="36"/>
                  <a:pt x="966" y="36"/>
                </a:cubicBezTo>
                <a:cubicBezTo>
                  <a:pt x="966" y="36"/>
                  <a:pt x="966" y="36"/>
                  <a:pt x="967" y="36"/>
                </a:cubicBezTo>
                <a:cubicBezTo>
                  <a:pt x="967" y="36"/>
                  <a:pt x="967" y="36"/>
                  <a:pt x="967" y="36"/>
                </a:cubicBezTo>
                <a:cubicBezTo>
                  <a:pt x="967" y="36"/>
                  <a:pt x="967" y="35"/>
                  <a:pt x="967" y="35"/>
                </a:cubicBezTo>
                <a:cubicBezTo>
                  <a:pt x="967" y="35"/>
                  <a:pt x="967" y="35"/>
                  <a:pt x="967" y="35"/>
                </a:cubicBezTo>
                <a:cubicBezTo>
                  <a:pt x="967" y="35"/>
                  <a:pt x="967" y="35"/>
                  <a:pt x="967" y="34"/>
                </a:cubicBezTo>
                <a:cubicBezTo>
                  <a:pt x="967" y="34"/>
                  <a:pt x="967" y="34"/>
                  <a:pt x="967" y="34"/>
                </a:cubicBezTo>
                <a:cubicBezTo>
                  <a:pt x="968" y="34"/>
                  <a:pt x="967" y="34"/>
                  <a:pt x="968" y="34"/>
                </a:cubicBezTo>
                <a:cubicBezTo>
                  <a:pt x="968" y="34"/>
                  <a:pt x="968" y="34"/>
                  <a:pt x="968" y="34"/>
                </a:cubicBezTo>
                <a:cubicBezTo>
                  <a:pt x="968" y="33"/>
                  <a:pt x="968" y="33"/>
                  <a:pt x="968" y="33"/>
                </a:cubicBezTo>
                <a:cubicBezTo>
                  <a:pt x="968" y="33"/>
                  <a:pt x="968" y="33"/>
                  <a:pt x="968" y="33"/>
                </a:cubicBezTo>
                <a:cubicBezTo>
                  <a:pt x="968" y="33"/>
                  <a:pt x="968" y="32"/>
                  <a:pt x="968" y="32"/>
                </a:cubicBezTo>
                <a:cubicBezTo>
                  <a:pt x="968" y="32"/>
                  <a:pt x="968" y="32"/>
                  <a:pt x="968" y="32"/>
                </a:cubicBezTo>
                <a:cubicBezTo>
                  <a:pt x="968" y="32"/>
                  <a:pt x="969" y="32"/>
                  <a:pt x="969" y="32"/>
                </a:cubicBezTo>
                <a:cubicBezTo>
                  <a:pt x="969" y="32"/>
                  <a:pt x="969" y="32"/>
                  <a:pt x="969" y="32"/>
                </a:cubicBezTo>
                <a:cubicBezTo>
                  <a:pt x="969" y="32"/>
                  <a:pt x="969" y="31"/>
                  <a:pt x="969" y="31"/>
                </a:cubicBezTo>
                <a:cubicBezTo>
                  <a:pt x="969" y="31"/>
                  <a:pt x="969" y="31"/>
                  <a:pt x="969" y="31"/>
                </a:cubicBezTo>
                <a:cubicBezTo>
                  <a:pt x="969" y="31"/>
                  <a:pt x="969" y="31"/>
                  <a:pt x="969" y="31"/>
                </a:cubicBezTo>
                <a:cubicBezTo>
                  <a:pt x="969" y="31"/>
                  <a:pt x="969" y="31"/>
                  <a:pt x="969" y="31"/>
                </a:cubicBezTo>
                <a:cubicBezTo>
                  <a:pt x="970" y="31"/>
                  <a:pt x="970" y="30"/>
                  <a:pt x="970" y="30"/>
                </a:cubicBezTo>
                <a:cubicBezTo>
                  <a:pt x="970" y="30"/>
                  <a:pt x="970" y="30"/>
                  <a:pt x="970" y="30"/>
                </a:cubicBezTo>
                <a:cubicBezTo>
                  <a:pt x="970" y="30"/>
                  <a:pt x="970" y="30"/>
                  <a:pt x="970" y="30"/>
                </a:cubicBezTo>
                <a:cubicBezTo>
                  <a:pt x="970" y="30"/>
                  <a:pt x="970" y="30"/>
                  <a:pt x="970" y="30"/>
                </a:cubicBezTo>
                <a:cubicBezTo>
                  <a:pt x="970" y="30"/>
                  <a:pt x="971" y="29"/>
                  <a:pt x="971" y="29"/>
                </a:cubicBezTo>
                <a:cubicBezTo>
                  <a:pt x="971" y="29"/>
                  <a:pt x="971" y="29"/>
                  <a:pt x="971" y="29"/>
                </a:cubicBezTo>
                <a:cubicBezTo>
                  <a:pt x="971" y="29"/>
                  <a:pt x="971" y="29"/>
                  <a:pt x="971" y="28"/>
                </a:cubicBezTo>
                <a:cubicBezTo>
                  <a:pt x="971" y="28"/>
                  <a:pt x="971" y="28"/>
                  <a:pt x="971" y="28"/>
                </a:cubicBezTo>
                <a:cubicBezTo>
                  <a:pt x="971" y="28"/>
                  <a:pt x="971" y="28"/>
                  <a:pt x="971" y="28"/>
                </a:cubicBezTo>
                <a:cubicBezTo>
                  <a:pt x="971" y="28"/>
                  <a:pt x="971" y="28"/>
                  <a:pt x="971" y="28"/>
                </a:cubicBezTo>
                <a:cubicBezTo>
                  <a:pt x="972" y="28"/>
                  <a:pt x="972" y="27"/>
                  <a:pt x="972" y="27"/>
                </a:cubicBezTo>
                <a:cubicBezTo>
                  <a:pt x="972" y="27"/>
                  <a:pt x="972" y="27"/>
                  <a:pt x="972" y="27"/>
                </a:cubicBezTo>
                <a:cubicBezTo>
                  <a:pt x="972" y="27"/>
                  <a:pt x="972" y="27"/>
                  <a:pt x="973" y="27"/>
                </a:cubicBezTo>
                <a:cubicBezTo>
                  <a:pt x="973" y="27"/>
                  <a:pt x="973" y="27"/>
                  <a:pt x="973" y="27"/>
                </a:cubicBezTo>
                <a:cubicBezTo>
                  <a:pt x="973" y="27"/>
                  <a:pt x="973" y="26"/>
                  <a:pt x="973" y="26"/>
                </a:cubicBezTo>
                <a:cubicBezTo>
                  <a:pt x="973" y="26"/>
                  <a:pt x="973" y="26"/>
                  <a:pt x="973" y="26"/>
                </a:cubicBezTo>
                <a:cubicBezTo>
                  <a:pt x="973" y="26"/>
                  <a:pt x="973" y="26"/>
                  <a:pt x="973" y="26"/>
                </a:cubicBezTo>
                <a:cubicBezTo>
                  <a:pt x="973" y="26"/>
                  <a:pt x="973" y="26"/>
                  <a:pt x="973" y="26"/>
                </a:cubicBezTo>
                <a:cubicBezTo>
                  <a:pt x="973" y="26"/>
                  <a:pt x="973" y="26"/>
                  <a:pt x="974" y="26"/>
                </a:cubicBezTo>
                <a:cubicBezTo>
                  <a:pt x="974" y="26"/>
                  <a:pt x="974" y="26"/>
                  <a:pt x="974" y="26"/>
                </a:cubicBezTo>
                <a:cubicBezTo>
                  <a:pt x="974" y="26"/>
                  <a:pt x="974" y="25"/>
                  <a:pt x="974" y="25"/>
                </a:cubicBezTo>
                <a:cubicBezTo>
                  <a:pt x="974" y="25"/>
                  <a:pt x="974" y="25"/>
                  <a:pt x="974" y="25"/>
                </a:cubicBezTo>
                <a:cubicBezTo>
                  <a:pt x="974" y="25"/>
                  <a:pt x="974" y="25"/>
                  <a:pt x="974" y="25"/>
                </a:cubicBezTo>
                <a:cubicBezTo>
                  <a:pt x="974" y="25"/>
                  <a:pt x="974" y="25"/>
                  <a:pt x="974" y="25"/>
                </a:cubicBezTo>
                <a:cubicBezTo>
                  <a:pt x="974" y="25"/>
                  <a:pt x="975" y="25"/>
                  <a:pt x="975" y="25"/>
                </a:cubicBezTo>
                <a:cubicBezTo>
                  <a:pt x="975" y="25"/>
                  <a:pt x="975" y="25"/>
                  <a:pt x="975" y="25"/>
                </a:cubicBezTo>
                <a:cubicBezTo>
                  <a:pt x="975" y="24"/>
                  <a:pt x="975" y="24"/>
                  <a:pt x="975" y="24"/>
                </a:cubicBezTo>
                <a:cubicBezTo>
                  <a:pt x="975" y="24"/>
                  <a:pt x="975" y="24"/>
                  <a:pt x="975" y="24"/>
                </a:cubicBezTo>
                <a:cubicBezTo>
                  <a:pt x="975" y="24"/>
                  <a:pt x="976" y="24"/>
                  <a:pt x="976" y="23"/>
                </a:cubicBezTo>
                <a:cubicBezTo>
                  <a:pt x="976" y="23"/>
                  <a:pt x="976" y="23"/>
                  <a:pt x="976" y="23"/>
                </a:cubicBezTo>
                <a:cubicBezTo>
                  <a:pt x="976" y="23"/>
                  <a:pt x="976" y="23"/>
                  <a:pt x="976" y="23"/>
                </a:cubicBezTo>
                <a:cubicBezTo>
                  <a:pt x="976" y="23"/>
                  <a:pt x="976" y="23"/>
                  <a:pt x="976" y="23"/>
                </a:cubicBezTo>
                <a:cubicBezTo>
                  <a:pt x="976" y="23"/>
                  <a:pt x="977" y="23"/>
                  <a:pt x="977" y="23"/>
                </a:cubicBezTo>
                <a:cubicBezTo>
                  <a:pt x="977" y="23"/>
                  <a:pt x="977" y="23"/>
                  <a:pt x="977" y="23"/>
                </a:cubicBezTo>
                <a:cubicBezTo>
                  <a:pt x="977" y="23"/>
                  <a:pt x="977" y="23"/>
                  <a:pt x="977" y="22"/>
                </a:cubicBezTo>
                <a:cubicBezTo>
                  <a:pt x="977" y="22"/>
                  <a:pt x="977" y="22"/>
                  <a:pt x="977" y="22"/>
                </a:cubicBezTo>
                <a:cubicBezTo>
                  <a:pt x="978" y="22"/>
                  <a:pt x="978" y="22"/>
                  <a:pt x="978" y="22"/>
                </a:cubicBezTo>
                <a:cubicBezTo>
                  <a:pt x="978" y="22"/>
                  <a:pt x="978" y="22"/>
                  <a:pt x="978" y="22"/>
                </a:cubicBezTo>
                <a:cubicBezTo>
                  <a:pt x="978" y="22"/>
                  <a:pt x="978" y="22"/>
                  <a:pt x="979" y="21"/>
                </a:cubicBezTo>
                <a:cubicBezTo>
                  <a:pt x="979" y="21"/>
                  <a:pt x="979" y="21"/>
                  <a:pt x="979" y="21"/>
                </a:cubicBezTo>
                <a:cubicBezTo>
                  <a:pt x="979" y="21"/>
                  <a:pt x="979" y="21"/>
                  <a:pt x="979" y="21"/>
                </a:cubicBezTo>
                <a:cubicBezTo>
                  <a:pt x="979" y="21"/>
                  <a:pt x="979" y="21"/>
                  <a:pt x="979" y="21"/>
                </a:cubicBezTo>
                <a:cubicBezTo>
                  <a:pt x="980" y="21"/>
                  <a:pt x="980" y="21"/>
                  <a:pt x="980" y="21"/>
                </a:cubicBezTo>
                <a:cubicBezTo>
                  <a:pt x="980" y="21"/>
                  <a:pt x="980" y="21"/>
                  <a:pt x="980" y="21"/>
                </a:cubicBezTo>
                <a:cubicBezTo>
                  <a:pt x="980" y="21"/>
                  <a:pt x="980" y="21"/>
                  <a:pt x="981" y="20"/>
                </a:cubicBezTo>
                <a:cubicBezTo>
                  <a:pt x="981" y="20"/>
                  <a:pt x="981" y="20"/>
                  <a:pt x="981" y="20"/>
                </a:cubicBezTo>
                <a:cubicBezTo>
                  <a:pt x="981" y="20"/>
                  <a:pt x="981" y="20"/>
                  <a:pt x="981" y="20"/>
                </a:cubicBezTo>
                <a:cubicBezTo>
                  <a:pt x="981" y="20"/>
                  <a:pt x="981" y="20"/>
                  <a:pt x="981" y="20"/>
                </a:cubicBezTo>
                <a:cubicBezTo>
                  <a:pt x="981" y="20"/>
                  <a:pt x="982" y="20"/>
                  <a:pt x="982" y="20"/>
                </a:cubicBezTo>
                <a:cubicBezTo>
                  <a:pt x="982" y="20"/>
                  <a:pt x="982" y="20"/>
                  <a:pt x="982" y="20"/>
                </a:cubicBezTo>
                <a:cubicBezTo>
                  <a:pt x="982" y="20"/>
                  <a:pt x="982" y="20"/>
                  <a:pt x="983" y="19"/>
                </a:cubicBezTo>
                <a:cubicBezTo>
                  <a:pt x="983" y="19"/>
                  <a:pt x="983" y="19"/>
                  <a:pt x="983" y="19"/>
                </a:cubicBezTo>
                <a:cubicBezTo>
                  <a:pt x="983" y="19"/>
                  <a:pt x="983" y="19"/>
                  <a:pt x="983" y="19"/>
                </a:cubicBezTo>
                <a:cubicBezTo>
                  <a:pt x="983" y="19"/>
                  <a:pt x="983" y="19"/>
                  <a:pt x="983" y="19"/>
                </a:cubicBezTo>
                <a:cubicBezTo>
                  <a:pt x="984" y="19"/>
                  <a:pt x="984" y="19"/>
                  <a:pt x="984" y="19"/>
                </a:cubicBezTo>
                <a:cubicBezTo>
                  <a:pt x="984" y="19"/>
                  <a:pt x="984" y="19"/>
                  <a:pt x="984" y="19"/>
                </a:cubicBezTo>
                <a:cubicBezTo>
                  <a:pt x="984" y="18"/>
                  <a:pt x="985" y="19"/>
                  <a:pt x="985" y="18"/>
                </a:cubicBezTo>
                <a:cubicBezTo>
                  <a:pt x="985" y="18"/>
                  <a:pt x="985" y="18"/>
                  <a:pt x="985" y="18"/>
                </a:cubicBezTo>
                <a:cubicBezTo>
                  <a:pt x="985" y="18"/>
                  <a:pt x="986" y="18"/>
                  <a:pt x="986" y="18"/>
                </a:cubicBezTo>
                <a:cubicBezTo>
                  <a:pt x="986" y="18"/>
                  <a:pt x="986" y="18"/>
                  <a:pt x="986" y="18"/>
                </a:cubicBezTo>
                <a:cubicBezTo>
                  <a:pt x="986" y="18"/>
                  <a:pt x="986" y="18"/>
                  <a:pt x="986" y="18"/>
                </a:cubicBezTo>
                <a:cubicBezTo>
                  <a:pt x="986" y="18"/>
                  <a:pt x="987" y="18"/>
                  <a:pt x="987" y="18"/>
                </a:cubicBezTo>
                <a:cubicBezTo>
                  <a:pt x="987" y="18"/>
                  <a:pt x="987" y="18"/>
                  <a:pt x="987" y="18"/>
                </a:cubicBezTo>
                <a:cubicBezTo>
                  <a:pt x="987" y="18"/>
                  <a:pt x="987" y="18"/>
                  <a:pt x="987" y="18"/>
                </a:cubicBezTo>
                <a:cubicBezTo>
                  <a:pt x="987" y="17"/>
                  <a:pt x="988" y="18"/>
                  <a:pt x="988" y="17"/>
                </a:cubicBezTo>
                <a:cubicBezTo>
                  <a:pt x="988" y="17"/>
                  <a:pt x="988" y="17"/>
                  <a:pt x="988" y="17"/>
                </a:cubicBezTo>
                <a:cubicBezTo>
                  <a:pt x="988" y="17"/>
                  <a:pt x="989" y="17"/>
                  <a:pt x="989" y="17"/>
                </a:cubicBezTo>
                <a:cubicBezTo>
                  <a:pt x="989" y="17"/>
                  <a:pt x="989" y="17"/>
                  <a:pt x="989" y="17"/>
                </a:cubicBezTo>
                <a:cubicBezTo>
                  <a:pt x="990" y="17"/>
                  <a:pt x="990" y="17"/>
                  <a:pt x="990" y="17"/>
                </a:cubicBezTo>
                <a:cubicBezTo>
                  <a:pt x="990" y="17"/>
                  <a:pt x="991" y="17"/>
                  <a:pt x="991" y="17"/>
                </a:cubicBezTo>
                <a:cubicBezTo>
                  <a:pt x="991" y="17"/>
                  <a:pt x="991" y="17"/>
                  <a:pt x="991" y="17"/>
                </a:cubicBezTo>
                <a:cubicBezTo>
                  <a:pt x="991" y="17"/>
                  <a:pt x="991" y="17"/>
                  <a:pt x="991" y="17"/>
                </a:cubicBezTo>
                <a:cubicBezTo>
                  <a:pt x="992" y="16"/>
                  <a:pt x="993" y="17"/>
                  <a:pt x="993" y="16"/>
                </a:cubicBezTo>
                <a:cubicBezTo>
                  <a:pt x="993" y="16"/>
                  <a:pt x="993" y="16"/>
                  <a:pt x="994" y="16"/>
                </a:cubicBezTo>
                <a:cubicBezTo>
                  <a:pt x="995" y="16"/>
                  <a:pt x="996" y="16"/>
                  <a:pt x="997" y="16"/>
                </a:cubicBezTo>
                <a:cubicBezTo>
                  <a:pt x="998" y="16"/>
                  <a:pt x="999" y="16"/>
                  <a:pt x="1000" y="16"/>
                </a:cubicBezTo>
                <a:cubicBezTo>
                  <a:pt x="1002" y="16"/>
                  <a:pt x="1003" y="16"/>
                  <a:pt x="1004" y="16"/>
                </a:cubicBezTo>
                <a:cubicBezTo>
                  <a:pt x="1004" y="16"/>
                  <a:pt x="1004" y="16"/>
                  <a:pt x="1005" y="16"/>
                </a:cubicBezTo>
                <a:cubicBezTo>
                  <a:pt x="1005" y="17"/>
                  <a:pt x="1006" y="16"/>
                  <a:pt x="1006" y="17"/>
                </a:cubicBezTo>
                <a:cubicBezTo>
                  <a:pt x="1007" y="16"/>
                  <a:pt x="1007" y="16"/>
                  <a:pt x="1007" y="17"/>
                </a:cubicBezTo>
                <a:cubicBezTo>
                  <a:pt x="1007" y="17"/>
                  <a:pt x="1008" y="17"/>
                  <a:pt x="1008" y="17"/>
                </a:cubicBezTo>
                <a:cubicBezTo>
                  <a:pt x="1009" y="17"/>
                  <a:pt x="1009" y="17"/>
                  <a:pt x="1009" y="17"/>
                </a:cubicBezTo>
                <a:cubicBezTo>
                  <a:pt x="1009" y="17"/>
                  <a:pt x="1009" y="17"/>
                  <a:pt x="1009" y="17"/>
                </a:cubicBezTo>
                <a:cubicBezTo>
                  <a:pt x="1009" y="17"/>
                  <a:pt x="1010" y="17"/>
                  <a:pt x="1010" y="17"/>
                </a:cubicBezTo>
                <a:close/>
                <a:moveTo>
                  <a:pt x="1066" y="103"/>
                </a:moveTo>
                <a:cubicBezTo>
                  <a:pt x="1066" y="103"/>
                  <a:pt x="1066" y="103"/>
                  <a:pt x="1066" y="103"/>
                </a:cubicBezTo>
                <a:cubicBezTo>
                  <a:pt x="1067" y="103"/>
                  <a:pt x="1068" y="103"/>
                  <a:pt x="1069" y="103"/>
                </a:cubicBezTo>
                <a:cubicBezTo>
                  <a:pt x="1069" y="102"/>
                  <a:pt x="1069" y="102"/>
                  <a:pt x="1069" y="102"/>
                </a:cubicBezTo>
                <a:cubicBezTo>
                  <a:pt x="1069" y="103"/>
                  <a:pt x="1069" y="103"/>
                  <a:pt x="1069" y="103"/>
                </a:cubicBezTo>
                <a:cubicBezTo>
                  <a:pt x="1069" y="102"/>
                  <a:pt x="1070" y="103"/>
                  <a:pt x="1070" y="102"/>
                </a:cubicBezTo>
                <a:cubicBezTo>
                  <a:pt x="1070" y="102"/>
                  <a:pt x="1070" y="102"/>
                  <a:pt x="1070" y="102"/>
                </a:cubicBezTo>
                <a:cubicBezTo>
                  <a:pt x="1071" y="102"/>
                  <a:pt x="1071" y="102"/>
                  <a:pt x="1071" y="102"/>
                </a:cubicBezTo>
                <a:cubicBezTo>
                  <a:pt x="1071" y="102"/>
                  <a:pt x="1071" y="102"/>
                  <a:pt x="1072" y="102"/>
                </a:cubicBezTo>
                <a:cubicBezTo>
                  <a:pt x="1072" y="102"/>
                  <a:pt x="1072" y="102"/>
                  <a:pt x="1072" y="102"/>
                </a:cubicBezTo>
                <a:cubicBezTo>
                  <a:pt x="1072" y="102"/>
                  <a:pt x="1072" y="102"/>
                  <a:pt x="1072" y="102"/>
                </a:cubicBezTo>
                <a:cubicBezTo>
                  <a:pt x="1072" y="102"/>
                  <a:pt x="1073" y="102"/>
                  <a:pt x="1073" y="102"/>
                </a:cubicBezTo>
                <a:cubicBezTo>
                  <a:pt x="1073" y="101"/>
                  <a:pt x="1073" y="101"/>
                  <a:pt x="1073" y="101"/>
                </a:cubicBezTo>
                <a:cubicBezTo>
                  <a:pt x="1073" y="101"/>
                  <a:pt x="1073" y="101"/>
                  <a:pt x="1073" y="101"/>
                </a:cubicBezTo>
                <a:cubicBezTo>
                  <a:pt x="1074" y="101"/>
                  <a:pt x="1074" y="101"/>
                  <a:pt x="1075" y="101"/>
                </a:cubicBezTo>
                <a:cubicBezTo>
                  <a:pt x="1074" y="101"/>
                  <a:pt x="1074" y="101"/>
                  <a:pt x="1074" y="101"/>
                </a:cubicBezTo>
                <a:cubicBezTo>
                  <a:pt x="1075" y="101"/>
                  <a:pt x="1075" y="101"/>
                  <a:pt x="1076" y="101"/>
                </a:cubicBezTo>
                <a:cubicBezTo>
                  <a:pt x="1076" y="101"/>
                  <a:pt x="1076" y="101"/>
                  <a:pt x="1076" y="101"/>
                </a:cubicBezTo>
                <a:cubicBezTo>
                  <a:pt x="1076" y="101"/>
                  <a:pt x="1076" y="101"/>
                  <a:pt x="1076" y="100"/>
                </a:cubicBezTo>
                <a:cubicBezTo>
                  <a:pt x="1076" y="100"/>
                  <a:pt x="1076" y="100"/>
                  <a:pt x="1076" y="100"/>
                </a:cubicBezTo>
                <a:cubicBezTo>
                  <a:pt x="1076" y="100"/>
                  <a:pt x="1076" y="100"/>
                  <a:pt x="1076" y="100"/>
                </a:cubicBezTo>
                <a:cubicBezTo>
                  <a:pt x="1077" y="100"/>
                  <a:pt x="1077" y="100"/>
                  <a:pt x="1077" y="100"/>
                </a:cubicBezTo>
                <a:cubicBezTo>
                  <a:pt x="1077" y="100"/>
                  <a:pt x="1077" y="100"/>
                  <a:pt x="1077" y="100"/>
                </a:cubicBezTo>
                <a:cubicBezTo>
                  <a:pt x="1077" y="100"/>
                  <a:pt x="1078" y="100"/>
                  <a:pt x="1078" y="100"/>
                </a:cubicBezTo>
                <a:cubicBezTo>
                  <a:pt x="1078" y="100"/>
                  <a:pt x="1078" y="100"/>
                  <a:pt x="1078" y="100"/>
                </a:cubicBezTo>
                <a:cubicBezTo>
                  <a:pt x="1078" y="100"/>
                  <a:pt x="1079" y="100"/>
                  <a:pt x="1079" y="99"/>
                </a:cubicBezTo>
                <a:cubicBezTo>
                  <a:pt x="1079" y="99"/>
                  <a:pt x="1079" y="99"/>
                  <a:pt x="1079" y="99"/>
                </a:cubicBezTo>
                <a:cubicBezTo>
                  <a:pt x="1079" y="99"/>
                  <a:pt x="1079" y="99"/>
                  <a:pt x="1079" y="99"/>
                </a:cubicBezTo>
                <a:cubicBezTo>
                  <a:pt x="1079" y="99"/>
                  <a:pt x="1079" y="99"/>
                  <a:pt x="1079" y="99"/>
                </a:cubicBezTo>
                <a:cubicBezTo>
                  <a:pt x="1080" y="99"/>
                  <a:pt x="1080" y="99"/>
                  <a:pt x="1080" y="99"/>
                </a:cubicBezTo>
                <a:cubicBezTo>
                  <a:pt x="1080" y="99"/>
                  <a:pt x="1080" y="99"/>
                  <a:pt x="1080" y="99"/>
                </a:cubicBezTo>
                <a:cubicBezTo>
                  <a:pt x="1080" y="99"/>
                  <a:pt x="1081" y="99"/>
                  <a:pt x="1081" y="98"/>
                </a:cubicBezTo>
                <a:cubicBezTo>
                  <a:pt x="1081" y="98"/>
                  <a:pt x="1081" y="98"/>
                  <a:pt x="1081" y="98"/>
                </a:cubicBezTo>
                <a:cubicBezTo>
                  <a:pt x="1081" y="98"/>
                  <a:pt x="1081" y="98"/>
                  <a:pt x="1081" y="98"/>
                </a:cubicBezTo>
                <a:cubicBezTo>
                  <a:pt x="1081" y="98"/>
                  <a:pt x="1081" y="98"/>
                  <a:pt x="1081" y="98"/>
                </a:cubicBezTo>
                <a:cubicBezTo>
                  <a:pt x="1081" y="98"/>
                  <a:pt x="1082" y="98"/>
                  <a:pt x="1082" y="98"/>
                </a:cubicBezTo>
                <a:cubicBezTo>
                  <a:pt x="1082" y="98"/>
                  <a:pt x="1082" y="98"/>
                  <a:pt x="1082" y="98"/>
                </a:cubicBezTo>
                <a:cubicBezTo>
                  <a:pt x="1082" y="97"/>
                  <a:pt x="1082" y="98"/>
                  <a:pt x="1082" y="97"/>
                </a:cubicBezTo>
                <a:cubicBezTo>
                  <a:pt x="1082" y="97"/>
                  <a:pt x="1082" y="97"/>
                  <a:pt x="1082" y="97"/>
                </a:cubicBezTo>
                <a:cubicBezTo>
                  <a:pt x="1083" y="97"/>
                  <a:pt x="1083" y="97"/>
                  <a:pt x="1083" y="97"/>
                </a:cubicBezTo>
                <a:cubicBezTo>
                  <a:pt x="1083" y="97"/>
                  <a:pt x="1083" y="97"/>
                  <a:pt x="1083" y="97"/>
                </a:cubicBezTo>
                <a:cubicBezTo>
                  <a:pt x="1083" y="97"/>
                  <a:pt x="1083" y="97"/>
                  <a:pt x="1083" y="97"/>
                </a:cubicBezTo>
                <a:cubicBezTo>
                  <a:pt x="1083" y="93"/>
                  <a:pt x="1083" y="90"/>
                  <a:pt x="1083" y="87"/>
                </a:cubicBezTo>
                <a:cubicBezTo>
                  <a:pt x="1083" y="86"/>
                  <a:pt x="1083" y="86"/>
                  <a:pt x="1083" y="87"/>
                </a:cubicBezTo>
                <a:cubicBezTo>
                  <a:pt x="1083" y="87"/>
                  <a:pt x="1083" y="87"/>
                  <a:pt x="1083" y="87"/>
                </a:cubicBezTo>
                <a:cubicBezTo>
                  <a:pt x="1083" y="87"/>
                  <a:pt x="1083" y="87"/>
                  <a:pt x="1083" y="87"/>
                </a:cubicBezTo>
                <a:cubicBezTo>
                  <a:pt x="1083" y="87"/>
                  <a:pt x="1083" y="87"/>
                  <a:pt x="1083" y="87"/>
                </a:cubicBezTo>
                <a:cubicBezTo>
                  <a:pt x="1082" y="87"/>
                  <a:pt x="1082" y="87"/>
                  <a:pt x="1082" y="87"/>
                </a:cubicBezTo>
                <a:cubicBezTo>
                  <a:pt x="1082" y="87"/>
                  <a:pt x="1082" y="87"/>
                  <a:pt x="1082" y="87"/>
                </a:cubicBezTo>
                <a:cubicBezTo>
                  <a:pt x="1082" y="87"/>
                  <a:pt x="1082" y="87"/>
                  <a:pt x="1082" y="88"/>
                </a:cubicBezTo>
                <a:cubicBezTo>
                  <a:pt x="1082" y="88"/>
                  <a:pt x="1082" y="88"/>
                  <a:pt x="1082" y="88"/>
                </a:cubicBezTo>
                <a:cubicBezTo>
                  <a:pt x="1081" y="88"/>
                  <a:pt x="1081" y="88"/>
                  <a:pt x="1081" y="88"/>
                </a:cubicBezTo>
                <a:cubicBezTo>
                  <a:pt x="1081" y="88"/>
                  <a:pt x="1081" y="88"/>
                  <a:pt x="1081" y="88"/>
                </a:cubicBezTo>
                <a:cubicBezTo>
                  <a:pt x="1081" y="88"/>
                  <a:pt x="1081" y="88"/>
                  <a:pt x="1080" y="88"/>
                </a:cubicBezTo>
                <a:cubicBezTo>
                  <a:pt x="1080" y="88"/>
                  <a:pt x="1080" y="88"/>
                  <a:pt x="1080" y="88"/>
                </a:cubicBezTo>
                <a:cubicBezTo>
                  <a:pt x="1080" y="88"/>
                  <a:pt x="1080" y="88"/>
                  <a:pt x="1080" y="89"/>
                </a:cubicBezTo>
                <a:cubicBezTo>
                  <a:pt x="1080" y="89"/>
                  <a:pt x="1080" y="89"/>
                  <a:pt x="1080" y="89"/>
                </a:cubicBezTo>
                <a:cubicBezTo>
                  <a:pt x="1080" y="89"/>
                  <a:pt x="1080" y="89"/>
                  <a:pt x="1079" y="89"/>
                </a:cubicBezTo>
                <a:cubicBezTo>
                  <a:pt x="1079" y="89"/>
                  <a:pt x="1079" y="89"/>
                  <a:pt x="1079" y="89"/>
                </a:cubicBezTo>
                <a:cubicBezTo>
                  <a:pt x="1079" y="89"/>
                  <a:pt x="1079" y="89"/>
                  <a:pt x="1079" y="89"/>
                </a:cubicBezTo>
                <a:cubicBezTo>
                  <a:pt x="1079" y="89"/>
                  <a:pt x="1079" y="89"/>
                  <a:pt x="1079" y="89"/>
                </a:cubicBezTo>
                <a:cubicBezTo>
                  <a:pt x="1079" y="90"/>
                  <a:pt x="1078" y="89"/>
                  <a:pt x="1078" y="90"/>
                </a:cubicBezTo>
                <a:cubicBezTo>
                  <a:pt x="1078" y="90"/>
                  <a:pt x="1078" y="90"/>
                  <a:pt x="1078" y="90"/>
                </a:cubicBezTo>
                <a:cubicBezTo>
                  <a:pt x="1078" y="90"/>
                  <a:pt x="1078" y="90"/>
                  <a:pt x="1078" y="90"/>
                </a:cubicBezTo>
                <a:cubicBezTo>
                  <a:pt x="1078" y="90"/>
                  <a:pt x="1078" y="90"/>
                  <a:pt x="1078" y="90"/>
                </a:cubicBezTo>
                <a:cubicBezTo>
                  <a:pt x="1077" y="90"/>
                  <a:pt x="1077" y="90"/>
                  <a:pt x="1077" y="90"/>
                </a:cubicBezTo>
                <a:cubicBezTo>
                  <a:pt x="1077" y="90"/>
                  <a:pt x="1077" y="90"/>
                  <a:pt x="1077" y="90"/>
                </a:cubicBezTo>
                <a:cubicBezTo>
                  <a:pt x="1077" y="90"/>
                  <a:pt x="1077" y="90"/>
                  <a:pt x="1077" y="90"/>
                </a:cubicBezTo>
                <a:cubicBezTo>
                  <a:pt x="1077" y="91"/>
                  <a:pt x="1076" y="91"/>
                  <a:pt x="1076" y="91"/>
                </a:cubicBezTo>
                <a:cubicBezTo>
                  <a:pt x="1076" y="91"/>
                  <a:pt x="1076" y="91"/>
                  <a:pt x="1076" y="91"/>
                </a:cubicBezTo>
                <a:cubicBezTo>
                  <a:pt x="1076" y="91"/>
                  <a:pt x="1076" y="91"/>
                  <a:pt x="1076" y="91"/>
                </a:cubicBezTo>
                <a:cubicBezTo>
                  <a:pt x="1076" y="91"/>
                  <a:pt x="1075" y="91"/>
                  <a:pt x="1075" y="91"/>
                </a:cubicBezTo>
                <a:cubicBezTo>
                  <a:pt x="1075" y="91"/>
                  <a:pt x="1075" y="91"/>
                  <a:pt x="1075" y="91"/>
                </a:cubicBezTo>
                <a:cubicBezTo>
                  <a:pt x="1075" y="91"/>
                  <a:pt x="1075" y="91"/>
                  <a:pt x="1075" y="91"/>
                </a:cubicBezTo>
                <a:cubicBezTo>
                  <a:pt x="1075" y="91"/>
                  <a:pt x="1075" y="91"/>
                  <a:pt x="1075" y="91"/>
                </a:cubicBezTo>
                <a:cubicBezTo>
                  <a:pt x="1074" y="92"/>
                  <a:pt x="1074" y="92"/>
                  <a:pt x="1074" y="92"/>
                </a:cubicBezTo>
                <a:cubicBezTo>
                  <a:pt x="1074" y="92"/>
                  <a:pt x="1074" y="92"/>
                  <a:pt x="1074" y="92"/>
                </a:cubicBezTo>
                <a:cubicBezTo>
                  <a:pt x="1073" y="92"/>
                  <a:pt x="1073" y="92"/>
                  <a:pt x="1073" y="92"/>
                </a:cubicBezTo>
                <a:cubicBezTo>
                  <a:pt x="1073" y="92"/>
                  <a:pt x="1073" y="92"/>
                  <a:pt x="1073" y="92"/>
                </a:cubicBezTo>
                <a:cubicBezTo>
                  <a:pt x="1073" y="92"/>
                  <a:pt x="1073" y="92"/>
                  <a:pt x="1073" y="92"/>
                </a:cubicBezTo>
                <a:cubicBezTo>
                  <a:pt x="1072" y="92"/>
                  <a:pt x="1072" y="92"/>
                  <a:pt x="1072" y="92"/>
                </a:cubicBezTo>
                <a:cubicBezTo>
                  <a:pt x="1072" y="93"/>
                  <a:pt x="1072" y="93"/>
                  <a:pt x="1071" y="92"/>
                </a:cubicBezTo>
                <a:cubicBezTo>
                  <a:pt x="1071" y="93"/>
                  <a:pt x="1071" y="93"/>
                  <a:pt x="1070" y="93"/>
                </a:cubicBezTo>
                <a:cubicBezTo>
                  <a:pt x="1070" y="93"/>
                  <a:pt x="1070" y="93"/>
                  <a:pt x="1070" y="93"/>
                </a:cubicBezTo>
                <a:cubicBezTo>
                  <a:pt x="1070" y="93"/>
                  <a:pt x="1070" y="93"/>
                  <a:pt x="1070" y="93"/>
                </a:cubicBezTo>
                <a:cubicBezTo>
                  <a:pt x="1070" y="93"/>
                  <a:pt x="1069" y="93"/>
                  <a:pt x="1069" y="93"/>
                </a:cubicBezTo>
                <a:cubicBezTo>
                  <a:pt x="1069" y="93"/>
                  <a:pt x="1069" y="93"/>
                  <a:pt x="1069" y="93"/>
                </a:cubicBezTo>
                <a:cubicBezTo>
                  <a:pt x="1068" y="94"/>
                  <a:pt x="1067" y="93"/>
                  <a:pt x="1067" y="93"/>
                </a:cubicBezTo>
                <a:cubicBezTo>
                  <a:pt x="1067" y="94"/>
                  <a:pt x="1067" y="94"/>
                  <a:pt x="1066" y="94"/>
                </a:cubicBezTo>
                <a:cubicBezTo>
                  <a:pt x="1064" y="94"/>
                  <a:pt x="1061" y="94"/>
                  <a:pt x="1058" y="94"/>
                </a:cubicBezTo>
                <a:cubicBezTo>
                  <a:pt x="1058" y="94"/>
                  <a:pt x="1058" y="93"/>
                  <a:pt x="1058" y="93"/>
                </a:cubicBezTo>
                <a:cubicBezTo>
                  <a:pt x="1057" y="93"/>
                  <a:pt x="1057" y="93"/>
                  <a:pt x="1056" y="93"/>
                </a:cubicBezTo>
                <a:cubicBezTo>
                  <a:pt x="1056" y="93"/>
                  <a:pt x="1056" y="93"/>
                  <a:pt x="1056" y="93"/>
                </a:cubicBezTo>
                <a:cubicBezTo>
                  <a:pt x="1056" y="93"/>
                  <a:pt x="1055" y="93"/>
                  <a:pt x="1055" y="93"/>
                </a:cubicBezTo>
                <a:cubicBezTo>
                  <a:pt x="1055" y="93"/>
                  <a:pt x="1055" y="93"/>
                  <a:pt x="1055" y="93"/>
                </a:cubicBezTo>
                <a:cubicBezTo>
                  <a:pt x="1054" y="93"/>
                  <a:pt x="1054" y="93"/>
                  <a:pt x="1054" y="93"/>
                </a:cubicBezTo>
                <a:cubicBezTo>
                  <a:pt x="1054" y="93"/>
                  <a:pt x="1054" y="93"/>
                  <a:pt x="1054" y="92"/>
                </a:cubicBezTo>
                <a:cubicBezTo>
                  <a:pt x="1053" y="92"/>
                  <a:pt x="1053" y="92"/>
                  <a:pt x="1053" y="92"/>
                </a:cubicBezTo>
                <a:cubicBezTo>
                  <a:pt x="1053" y="92"/>
                  <a:pt x="1053" y="92"/>
                  <a:pt x="1053" y="92"/>
                </a:cubicBezTo>
                <a:cubicBezTo>
                  <a:pt x="1053" y="92"/>
                  <a:pt x="1052" y="92"/>
                  <a:pt x="1052" y="92"/>
                </a:cubicBezTo>
                <a:cubicBezTo>
                  <a:pt x="1052" y="92"/>
                  <a:pt x="1052" y="92"/>
                  <a:pt x="1052" y="92"/>
                </a:cubicBezTo>
                <a:cubicBezTo>
                  <a:pt x="1052" y="92"/>
                  <a:pt x="1052" y="92"/>
                  <a:pt x="1051" y="91"/>
                </a:cubicBezTo>
                <a:cubicBezTo>
                  <a:pt x="1051" y="91"/>
                  <a:pt x="1051" y="91"/>
                  <a:pt x="1051" y="91"/>
                </a:cubicBezTo>
                <a:cubicBezTo>
                  <a:pt x="1051" y="91"/>
                  <a:pt x="1051" y="91"/>
                  <a:pt x="1051" y="91"/>
                </a:cubicBezTo>
                <a:cubicBezTo>
                  <a:pt x="1051" y="91"/>
                  <a:pt x="1051" y="91"/>
                  <a:pt x="1051" y="91"/>
                </a:cubicBezTo>
                <a:cubicBezTo>
                  <a:pt x="1051" y="91"/>
                  <a:pt x="1051" y="91"/>
                  <a:pt x="1051" y="91"/>
                </a:cubicBezTo>
                <a:cubicBezTo>
                  <a:pt x="1051" y="91"/>
                  <a:pt x="1050" y="91"/>
                  <a:pt x="1050" y="91"/>
                </a:cubicBezTo>
                <a:cubicBezTo>
                  <a:pt x="1050" y="91"/>
                  <a:pt x="1050" y="91"/>
                  <a:pt x="1050" y="91"/>
                </a:cubicBezTo>
                <a:cubicBezTo>
                  <a:pt x="1050" y="91"/>
                  <a:pt x="1050" y="91"/>
                  <a:pt x="1050"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89"/>
                  <a:pt x="1048" y="90"/>
                  <a:pt x="1048" y="89"/>
                </a:cubicBezTo>
                <a:cubicBezTo>
                  <a:pt x="1048" y="89"/>
                  <a:pt x="1048" y="89"/>
                  <a:pt x="1048" y="89"/>
                </a:cubicBezTo>
                <a:cubicBezTo>
                  <a:pt x="1048" y="89"/>
                  <a:pt x="1048" y="89"/>
                  <a:pt x="1048" y="89"/>
                </a:cubicBezTo>
                <a:cubicBezTo>
                  <a:pt x="1048" y="89"/>
                  <a:pt x="1048" y="89"/>
                  <a:pt x="1048" y="89"/>
                </a:cubicBezTo>
                <a:cubicBezTo>
                  <a:pt x="1048" y="89"/>
                  <a:pt x="1047" y="89"/>
                  <a:pt x="1047" y="89"/>
                </a:cubicBezTo>
                <a:cubicBezTo>
                  <a:pt x="1047" y="89"/>
                  <a:pt x="1047" y="89"/>
                  <a:pt x="1047" y="89"/>
                </a:cubicBezTo>
                <a:cubicBezTo>
                  <a:pt x="1047" y="89"/>
                  <a:pt x="1047" y="88"/>
                  <a:pt x="1047" y="88"/>
                </a:cubicBezTo>
                <a:cubicBezTo>
                  <a:pt x="1047" y="88"/>
                  <a:pt x="1047" y="88"/>
                  <a:pt x="1047" y="88"/>
                </a:cubicBezTo>
                <a:cubicBezTo>
                  <a:pt x="1047" y="88"/>
                  <a:pt x="1047" y="88"/>
                  <a:pt x="1047" y="88"/>
                </a:cubicBezTo>
                <a:cubicBezTo>
                  <a:pt x="1047" y="88"/>
                  <a:pt x="1047" y="88"/>
                  <a:pt x="1047" y="88"/>
                </a:cubicBezTo>
                <a:cubicBezTo>
                  <a:pt x="1047" y="88"/>
                  <a:pt x="1046" y="88"/>
                  <a:pt x="1046" y="88"/>
                </a:cubicBezTo>
                <a:cubicBezTo>
                  <a:pt x="1046" y="88"/>
                  <a:pt x="1046" y="88"/>
                  <a:pt x="1046" y="88"/>
                </a:cubicBezTo>
                <a:cubicBezTo>
                  <a:pt x="1046" y="87"/>
                  <a:pt x="1046" y="87"/>
                  <a:pt x="1046" y="87"/>
                </a:cubicBezTo>
                <a:cubicBezTo>
                  <a:pt x="1046" y="87"/>
                  <a:pt x="1046" y="87"/>
                  <a:pt x="1046" y="87"/>
                </a:cubicBezTo>
                <a:cubicBezTo>
                  <a:pt x="1046" y="87"/>
                  <a:pt x="1046" y="87"/>
                  <a:pt x="1046" y="87"/>
                </a:cubicBezTo>
                <a:cubicBezTo>
                  <a:pt x="1046" y="87"/>
                  <a:pt x="1046" y="87"/>
                  <a:pt x="1046" y="87"/>
                </a:cubicBezTo>
                <a:cubicBezTo>
                  <a:pt x="1045" y="87"/>
                  <a:pt x="1046" y="86"/>
                  <a:pt x="1045" y="86"/>
                </a:cubicBezTo>
                <a:cubicBezTo>
                  <a:pt x="1045" y="86"/>
                  <a:pt x="1045" y="86"/>
                  <a:pt x="1045" y="86"/>
                </a:cubicBezTo>
                <a:cubicBezTo>
                  <a:pt x="1045" y="86"/>
                  <a:pt x="1045" y="86"/>
                  <a:pt x="1045" y="86"/>
                </a:cubicBezTo>
                <a:cubicBezTo>
                  <a:pt x="1045" y="86"/>
                  <a:pt x="1045" y="86"/>
                  <a:pt x="1045" y="86"/>
                </a:cubicBezTo>
                <a:cubicBezTo>
                  <a:pt x="1045" y="86"/>
                  <a:pt x="1045" y="86"/>
                  <a:pt x="1045" y="85"/>
                </a:cubicBezTo>
                <a:cubicBezTo>
                  <a:pt x="1045" y="85"/>
                  <a:pt x="1045" y="85"/>
                  <a:pt x="1045" y="85"/>
                </a:cubicBezTo>
                <a:cubicBezTo>
                  <a:pt x="1044" y="85"/>
                  <a:pt x="1044" y="85"/>
                  <a:pt x="1044" y="85"/>
                </a:cubicBezTo>
                <a:cubicBezTo>
                  <a:pt x="1044" y="85"/>
                  <a:pt x="1044" y="85"/>
                  <a:pt x="1044" y="85"/>
                </a:cubicBezTo>
                <a:cubicBezTo>
                  <a:pt x="1044" y="85"/>
                  <a:pt x="1044" y="84"/>
                  <a:pt x="1044" y="84"/>
                </a:cubicBezTo>
                <a:cubicBezTo>
                  <a:pt x="1044" y="84"/>
                  <a:pt x="1044" y="84"/>
                  <a:pt x="1044" y="84"/>
                </a:cubicBezTo>
                <a:cubicBezTo>
                  <a:pt x="1044" y="84"/>
                  <a:pt x="1044" y="84"/>
                  <a:pt x="1044" y="84"/>
                </a:cubicBezTo>
                <a:cubicBezTo>
                  <a:pt x="1044" y="84"/>
                  <a:pt x="1044" y="84"/>
                  <a:pt x="1044" y="84"/>
                </a:cubicBezTo>
                <a:cubicBezTo>
                  <a:pt x="1043" y="84"/>
                  <a:pt x="1043" y="83"/>
                  <a:pt x="1043" y="83"/>
                </a:cubicBezTo>
                <a:cubicBezTo>
                  <a:pt x="1043" y="83"/>
                  <a:pt x="1043" y="83"/>
                  <a:pt x="1043" y="83"/>
                </a:cubicBezTo>
                <a:cubicBezTo>
                  <a:pt x="1043" y="83"/>
                  <a:pt x="1043" y="83"/>
                  <a:pt x="1043" y="82"/>
                </a:cubicBezTo>
                <a:cubicBezTo>
                  <a:pt x="1043" y="82"/>
                  <a:pt x="1043" y="82"/>
                  <a:pt x="1043" y="82"/>
                </a:cubicBezTo>
                <a:cubicBezTo>
                  <a:pt x="1043" y="82"/>
                  <a:pt x="1043" y="82"/>
                  <a:pt x="1043" y="82"/>
                </a:cubicBezTo>
                <a:cubicBezTo>
                  <a:pt x="1043" y="82"/>
                  <a:pt x="1043" y="82"/>
                  <a:pt x="1042" y="81"/>
                </a:cubicBezTo>
                <a:cubicBezTo>
                  <a:pt x="1042" y="81"/>
                  <a:pt x="1042" y="81"/>
                  <a:pt x="1042" y="81"/>
                </a:cubicBezTo>
                <a:cubicBezTo>
                  <a:pt x="1042" y="81"/>
                  <a:pt x="1042" y="81"/>
                  <a:pt x="1042" y="81"/>
                </a:cubicBezTo>
                <a:cubicBezTo>
                  <a:pt x="1042" y="81"/>
                  <a:pt x="1042" y="80"/>
                  <a:pt x="1042" y="80"/>
                </a:cubicBezTo>
                <a:cubicBezTo>
                  <a:pt x="1042" y="80"/>
                  <a:pt x="1042" y="80"/>
                  <a:pt x="1042" y="79"/>
                </a:cubicBezTo>
                <a:cubicBezTo>
                  <a:pt x="1042" y="79"/>
                  <a:pt x="1042" y="79"/>
                  <a:pt x="1042" y="79"/>
                </a:cubicBezTo>
                <a:cubicBezTo>
                  <a:pt x="1042" y="79"/>
                  <a:pt x="1042" y="79"/>
                  <a:pt x="1041" y="78"/>
                </a:cubicBezTo>
                <a:cubicBezTo>
                  <a:pt x="1041" y="78"/>
                  <a:pt x="1041" y="78"/>
                  <a:pt x="1041" y="78"/>
                </a:cubicBezTo>
                <a:cubicBezTo>
                  <a:pt x="1041" y="77"/>
                  <a:pt x="1041" y="77"/>
                  <a:pt x="1041" y="76"/>
                </a:cubicBezTo>
                <a:cubicBezTo>
                  <a:pt x="1041" y="76"/>
                  <a:pt x="1041" y="76"/>
                  <a:pt x="1041" y="76"/>
                </a:cubicBezTo>
                <a:cubicBezTo>
                  <a:pt x="1041" y="76"/>
                  <a:pt x="1041" y="75"/>
                  <a:pt x="1041" y="74"/>
                </a:cubicBezTo>
                <a:cubicBezTo>
                  <a:pt x="1041" y="74"/>
                  <a:pt x="1041" y="74"/>
                  <a:pt x="1041" y="73"/>
                </a:cubicBezTo>
                <a:cubicBezTo>
                  <a:pt x="1040" y="71"/>
                  <a:pt x="1040" y="71"/>
                  <a:pt x="1043" y="71"/>
                </a:cubicBezTo>
                <a:cubicBezTo>
                  <a:pt x="1057" y="71"/>
                  <a:pt x="1072" y="71"/>
                  <a:pt x="1086" y="71"/>
                </a:cubicBezTo>
                <a:cubicBezTo>
                  <a:pt x="1086" y="71"/>
                  <a:pt x="1087" y="71"/>
                  <a:pt x="1087" y="71"/>
                </a:cubicBezTo>
                <a:cubicBezTo>
                  <a:pt x="1088" y="71"/>
                  <a:pt x="1088" y="70"/>
                  <a:pt x="1088" y="70"/>
                </a:cubicBezTo>
                <a:cubicBezTo>
                  <a:pt x="1088" y="67"/>
                  <a:pt x="1088" y="64"/>
                  <a:pt x="1088" y="60"/>
                </a:cubicBezTo>
                <a:cubicBezTo>
                  <a:pt x="1088" y="60"/>
                  <a:pt x="1088" y="60"/>
                  <a:pt x="1088" y="60"/>
                </a:cubicBezTo>
                <a:cubicBezTo>
                  <a:pt x="1087" y="59"/>
                  <a:pt x="1088" y="58"/>
                  <a:pt x="1087" y="57"/>
                </a:cubicBezTo>
                <a:cubicBezTo>
                  <a:pt x="1087" y="57"/>
                  <a:pt x="1087" y="57"/>
                  <a:pt x="1087" y="57"/>
                </a:cubicBezTo>
                <a:cubicBezTo>
                  <a:pt x="1087" y="56"/>
                  <a:pt x="1087" y="56"/>
                  <a:pt x="1087" y="55"/>
                </a:cubicBezTo>
                <a:cubicBezTo>
                  <a:pt x="1087" y="55"/>
                  <a:pt x="1087" y="55"/>
                  <a:pt x="1087" y="55"/>
                </a:cubicBezTo>
                <a:cubicBezTo>
                  <a:pt x="1087" y="54"/>
                  <a:pt x="1087" y="54"/>
                  <a:pt x="1087" y="53"/>
                </a:cubicBezTo>
                <a:cubicBezTo>
                  <a:pt x="1087" y="53"/>
                  <a:pt x="1087" y="53"/>
                  <a:pt x="1087" y="53"/>
                </a:cubicBezTo>
                <a:cubicBezTo>
                  <a:pt x="1087" y="53"/>
                  <a:pt x="1087" y="53"/>
                  <a:pt x="1087" y="53"/>
                </a:cubicBezTo>
                <a:cubicBezTo>
                  <a:pt x="1086" y="53"/>
                  <a:pt x="1087" y="52"/>
                  <a:pt x="1086" y="52"/>
                </a:cubicBezTo>
                <a:cubicBezTo>
                  <a:pt x="1086" y="52"/>
                  <a:pt x="1086" y="52"/>
                  <a:pt x="1086" y="52"/>
                </a:cubicBezTo>
                <a:cubicBezTo>
                  <a:pt x="1086" y="52"/>
                  <a:pt x="1086" y="51"/>
                  <a:pt x="1086" y="51"/>
                </a:cubicBezTo>
                <a:cubicBezTo>
                  <a:pt x="1086" y="51"/>
                  <a:pt x="1086" y="51"/>
                  <a:pt x="1086" y="51"/>
                </a:cubicBezTo>
                <a:cubicBezTo>
                  <a:pt x="1086" y="51"/>
                  <a:pt x="1086" y="51"/>
                  <a:pt x="1086" y="51"/>
                </a:cubicBezTo>
                <a:cubicBezTo>
                  <a:pt x="1086" y="51"/>
                  <a:pt x="1086" y="50"/>
                  <a:pt x="1086" y="50"/>
                </a:cubicBezTo>
                <a:cubicBezTo>
                  <a:pt x="1086" y="50"/>
                  <a:pt x="1086" y="50"/>
                  <a:pt x="1086" y="50"/>
                </a:cubicBezTo>
                <a:cubicBezTo>
                  <a:pt x="1086" y="50"/>
                  <a:pt x="1086" y="50"/>
                  <a:pt x="1086" y="50"/>
                </a:cubicBezTo>
                <a:cubicBezTo>
                  <a:pt x="1086" y="50"/>
                  <a:pt x="1086" y="49"/>
                  <a:pt x="1085" y="49"/>
                </a:cubicBezTo>
                <a:cubicBezTo>
                  <a:pt x="1085" y="49"/>
                  <a:pt x="1085" y="49"/>
                  <a:pt x="1085" y="49"/>
                </a:cubicBezTo>
                <a:cubicBezTo>
                  <a:pt x="1085" y="49"/>
                  <a:pt x="1085" y="48"/>
                  <a:pt x="1085" y="48"/>
                </a:cubicBezTo>
                <a:cubicBezTo>
                  <a:pt x="1085" y="48"/>
                  <a:pt x="1085" y="48"/>
                  <a:pt x="1085" y="48"/>
                </a:cubicBezTo>
                <a:cubicBezTo>
                  <a:pt x="1085" y="48"/>
                  <a:pt x="1085" y="48"/>
                  <a:pt x="1085" y="48"/>
                </a:cubicBezTo>
                <a:cubicBezTo>
                  <a:pt x="1085" y="48"/>
                  <a:pt x="1085" y="47"/>
                  <a:pt x="1085" y="47"/>
                </a:cubicBezTo>
                <a:cubicBezTo>
                  <a:pt x="1085" y="47"/>
                  <a:pt x="1085" y="47"/>
                  <a:pt x="1085" y="47"/>
                </a:cubicBezTo>
                <a:cubicBezTo>
                  <a:pt x="1084" y="47"/>
                  <a:pt x="1084" y="47"/>
                  <a:pt x="1084" y="47"/>
                </a:cubicBezTo>
                <a:cubicBezTo>
                  <a:pt x="1084" y="47"/>
                  <a:pt x="1084" y="47"/>
                  <a:pt x="1084" y="47"/>
                </a:cubicBezTo>
                <a:cubicBezTo>
                  <a:pt x="1084" y="46"/>
                  <a:pt x="1084" y="46"/>
                  <a:pt x="1084" y="46"/>
                </a:cubicBezTo>
                <a:cubicBezTo>
                  <a:pt x="1084" y="46"/>
                  <a:pt x="1084" y="46"/>
                  <a:pt x="1084" y="46"/>
                </a:cubicBezTo>
                <a:cubicBezTo>
                  <a:pt x="1084" y="46"/>
                  <a:pt x="1084" y="45"/>
                  <a:pt x="1083" y="45"/>
                </a:cubicBezTo>
                <a:cubicBezTo>
                  <a:pt x="1084" y="45"/>
                  <a:pt x="1084" y="45"/>
                  <a:pt x="1084" y="45"/>
                </a:cubicBezTo>
                <a:cubicBezTo>
                  <a:pt x="1084" y="45"/>
                  <a:pt x="1083" y="45"/>
                  <a:pt x="1083" y="45"/>
                </a:cubicBezTo>
                <a:cubicBezTo>
                  <a:pt x="1083" y="45"/>
                  <a:pt x="1083" y="45"/>
                  <a:pt x="1083" y="45"/>
                </a:cubicBezTo>
                <a:cubicBezTo>
                  <a:pt x="1083" y="45"/>
                  <a:pt x="1083" y="44"/>
                  <a:pt x="1083" y="44"/>
                </a:cubicBezTo>
                <a:cubicBezTo>
                  <a:pt x="1083" y="44"/>
                  <a:pt x="1083" y="44"/>
                  <a:pt x="1083" y="44"/>
                </a:cubicBezTo>
                <a:cubicBezTo>
                  <a:pt x="1083" y="44"/>
                  <a:pt x="1082" y="43"/>
                  <a:pt x="1082" y="43"/>
                </a:cubicBezTo>
                <a:cubicBezTo>
                  <a:pt x="1082" y="43"/>
                  <a:pt x="1082" y="43"/>
                  <a:pt x="1082" y="43"/>
                </a:cubicBezTo>
                <a:cubicBezTo>
                  <a:pt x="1082" y="43"/>
                  <a:pt x="1082" y="43"/>
                  <a:pt x="1082" y="43"/>
                </a:cubicBezTo>
                <a:cubicBezTo>
                  <a:pt x="1082" y="43"/>
                  <a:pt x="1082" y="43"/>
                  <a:pt x="1082" y="43"/>
                </a:cubicBezTo>
                <a:cubicBezTo>
                  <a:pt x="1082" y="43"/>
                  <a:pt x="1082" y="42"/>
                  <a:pt x="1081" y="42"/>
                </a:cubicBezTo>
                <a:cubicBezTo>
                  <a:pt x="1081" y="42"/>
                  <a:pt x="1081" y="42"/>
                  <a:pt x="1081" y="42"/>
                </a:cubicBezTo>
                <a:cubicBezTo>
                  <a:pt x="1081" y="42"/>
                  <a:pt x="1081" y="42"/>
                  <a:pt x="1081" y="42"/>
                </a:cubicBezTo>
                <a:cubicBezTo>
                  <a:pt x="1081" y="42"/>
                  <a:pt x="1081" y="42"/>
                  <a:pt x="1081" y="42"/>
                </a:cubicBezTo>
                <a:cubicBezTo>
                  <a:pt x="1081" y="42"/>
                  <a:pt x="1081" y="41"/>
                  <a:pt x="1081" y="41"/>
                </a:cubicBezTo>
                <a:cubicBezTo>
                  <a:pt x="1081" y="41"/>
                  <a:pt x="1081" y="41"/>
                  <a:pt x="1081" y="41"/>
                </a:cubicBezTo>
                <a:cubicBezTo>
                  <a:pt x="1081" y="41"/>
                  <a:pt x="1081" y="41"/>
                  <a:pt x="1080" y="41"/>
                </a:cubicBezTo>
                <a:cubicBezTo>
                  <a:pt x="1080" y="41"/>
                  <a:pt x="1080" y="41"/>
                  <a:pt x="1080" y="41"/>
                </a:cubicBezTo>
                <a:cubicBezTo>
                  <a:pt x="1080" y="40"/>
                  <a:pt x="1079" y="39"/>
                  <a:pt x="1078" y="39"/>
                </a:cubicBezTo>
                <a:cubicBezTo>
                  <a:pt x="1078" y="38"/>
                  <a:pt x="1078" y="38"/>
                  <a:pt x="1078" y="38"/>
                </a:cubicBezTo>
                <a:cubicBezTo>
                  <a:pt x="1078" y="38"/>
                  <a:pt x="1078" y="38"/>
                  <a:pt x="1078" y="38"/>
                </a:cubicBezTo>
                <a:cubicBezTo>
                  <a:pt x="1078" y="38"/>
                  <a:pt x="1078" y="38"/>
                  <a:pt x="1078" y="38"/>
                </a:cubicBezTo>
                <a:cubicBezTo>
                  <a:pt x="1078" y="38"/>
                  <a:pt x="1077" y="38"/>
                  <a:pt x="1077" y="38"/>
                </a:cubicBezTo>
                <a:cubicBezTo>
                  <a:pt x="1077" y="38"/>
                  <a:pt x="1077" y="38"/>
                  <a:pt x="1077" y="38"/>
                </a:cubicBezTo>
                <a:cubicBezTo>
                  <a:pt x="1077" y="38"/>
                  <a:pt x="1077" y="37"/>
                  <a:pt x="1076" y="37"/>
                </a:cubicBezTo>
                <a:cubicBezTo>
                  <a:pt x="1076" y="37"/>
                  <a:pt x="1076" y="37"/>
                  <a:pt x="1076" y="37"/>
                </a:cubicBezTo>
                <a:cubicBezTo>
                  <a:pt x="1076" y="37"/>
                  <a:pt x="1076" y="37"/>
                  <a:pt x="1076" y="37"/>
                </a:cubicBezTo>
                <a:cubicBezTo>
                  <a:pt x="1076" y="37"/>
                  <a:pt x="1076" y="37"/>
                  <a:pt x="1076" y="37"/>
                </a:cubicBezTo>
                <a:cubicBezTo>
                  <a:pt x="1076" y="37"/>
                  <a:pt x="1075" y="37"/>
                  <a:pt x="1075" y="36"/>
                </a:cubicBezTo>
                <a:cubicBezTo>
                  <a:pt x="1075" y="36"/>
                  <a:pt x="1075" y="36"/>
                  <a:pt x="1075" y="36"/>
                </a:cubicBezTo>
                <a:cubicBezTo>
                  <a:pt x="1075" y="36"/>
                  <a:pt x="1075" y="36"/>
                  <a:pt x="1075" y="36"/>
                </a:cubicBezTo>
                <a:cubicBezTo>
                  <a:pt x="1075" y="36"/>
                  <a:pt x="1075" y="36"/>
                  <a:pt x="1075" y="36"/>
                </a:cubicBezTo>
                <a:cubicBezTo>
                  <a:pt x="1075" y="36"/>
                  <a:pt x="1075" y="36"/>
                  <a:pt x="1075" y="36"/>
                </a:cubicBezTo>
                <a:cubicBezTo>
                  <a:pt x="1074" y="36"/>
                  <a:pt x="1074" y="36"/>
                  <a:pt x="1074" y="36"/>
                </a:cubicBezTo>
                <a:cubicBezTo>
                  <a:pt x="1074" y="36"/>
                  <a:pt x="1074" y="36"/>
                  <a:pt x="1074" y="36"/>
                </a:cubicBezTo>
                <a:cubicBezTo>
                  <a:pt x="1074" y="35"/>
                  <a:pt x="1074" y="36"/>
                  <a:pt x="1073" y="35"/>
                </a:cubicBezTo>
                <a:cubicBezTo>
                  <a:pt x="1073" y="35"/>
                  <a:pt x="1073" y="35"/>
                  <a:pt x="1073" y="35"/>
                </a:cubicBezTo>
                <a:cubicBezTo>
                  <a:pt x="1073" y="35"/>
                  <a:pt x="1073" y="35"/>
                  <a:pt x="1073" y="35"/>
                </a:cubicBezTo>
                <a:cubicBezTo>
                  <a:pt x="1073" y="35"/>
                  <a:pt x="1073" y="35"/>
                  <a:pt x="1073" y="35"/>
                </a:cubicBezTo>
                <a:cubicBezTo>
                  <a:pt x="1073" y="35"/>
                  <a:pt x="1072" y="35"/>
                  <a:pt x="1072" y="35"/>
                </a:cubicBezTo>
                <a:cubicBezTo>
                  <a:pt x="1072" y="35"/>
                  <a:pt x="1072" y="35"/>
                  <a:pt x="1072" y="35"/>
                </a:cubicBezTo>
                <a:cubicBezTo>
                  <a:pt x="1072" y="35"/>
                  <a:pt x="1072" y="35"/>
                  <a:pt x="1072" y="35"/>
                </a:cubicBezTo>
                <a:cubicBezTo>
                  <a:pt x="1072" y="34"/>
                  <a:pt x="1071" y="35"/>
                  <a:pt x="1071" y="34"/>
                </a:cubicBezTo>
                <a:cubicBezTo>
                  <a:pt x="1071" y="34"/>
                  <a:pt x="1071" y="34"/>
                  <a:pt x="1071" y="34"/>
                </a:cubicBezTo>
                <a:cubicBezTo>
                  <a:pt x="1071" y="34"/>
                  <a:pt x="1070" y="34"/>
                  <a:pt x="1070" y="34"/>
                </a:cubicBezTo>
                <a:cubicBezTo>
                  <a:pt x="1070" y="34"/>
                  <a:pt x="1070" y="34"/>
                  <a:pt x="1070" y="34"/>
                </a:cubicBezTo>
                <a:cubicBezTo>
                  <a:pt x="1070" y="34"/>
                  <a:pt x="1069" y="34"/>
                  <a:pt x="1069" y="34"/>
                </a:cubicBezTo>
                <a:cubicBezTo>
                  <a:pt x="1069" y="34"/>
                  <a:pt x="1069" y="34"/>
                  <a:pt x="1069" y="34"/>
                </a:cubicBezTo>
                <a:cubicBezTo>
                  <a:pt x="1068" y="33"/>
                  <a:pt x="1068" y="34"/>
                  <a:pt x="1068" y="33"/>
                </a:cubicBezTo>
                <a:cubicBezTo>
                  <a:pt x="1067" y="33"/>
                  <a:pt x="1067" y="33"/>
                  <a:pt x="1067" y="33"/>
                </a:cubicBezTo>
                <a:cubicBezTo>
                  <a:pt x="1067" y="33"/>
                  <a:pt x="1066" y="33"/>
                  <a:pt x="1066" y="33"/>
                </a:cubicBezTo>
                <a:cubicBezTo>
                  <a:pt x="1066" y="33"/>
                  <a:pt x="1066" y="33"/>
                  <a:pt x="1065" y="33"/>
                </a:cubicBezTo>
                <a:cubicBezTo>
                  <a:pt x="1065" y="33"/>
                  <a:pt x="1064" y="33"/>
                  <a:pt x="1063" y="33"/>
                </a:cubicBezTo>
                <a:cubicBezTo>
                  <a:pt x="1061" y="33"/>
                  <a:pt x="1059" y="33"/>
                  <a:pt x="1058" y="33"/>
                </a:cubicBezTo>
                <a:cubicBezTo>
                  <a:pt x="1057" y="33"/>
                  <a:pt x="1056" y="33"/>
                  <a:pt x="1055" y="33"/>
                </a:cubicBezTo>
                <a:cubicBezTo>
                  <a:pt x="1055" y="33"/>
                  <a:pt x="1055" y="33"/>
                  <a:pt x="1055" y="33"/>
                </a:cubicBezTo>
                <a:cubicBezTo>
                  <a:pt x="1054" y="33"/>
                  <a:pt x="1054" y="33"/>
                  <a:pt x="1053" y="33"/>
                </a:cubicBezTo>
                <a:cubicBezTo>
                  <a:pt x="1053" y="33"/>
                  <a:pt x="1053" y="33"/>
                  <a:pt x="1053" y="33"/>
                </a:cubicBezTo>
                <a:cubicBezTo>
                  <a:pt x="1053" y="34"/>
                  <a:pt x="1052" y="33"/>
                  <a:pt x="1052" y="34"/>
                </a:cubicBezTo>
                <a:cubicBezTo>
                  <a:pt x="1052" y="34"/>
                  <a:pt x="1052" y="34"/>
                  <a:pt x="1052" y="34"/>
                </a:cubicBezTo>
                <a:cubicBezTo>
                  <a:pt x="1052" y="34"/>
                  <a:pt x="1051" y="34"/>
                  <a:pt x="1051" y="34"/>
                </a:cubicBezTo>
                <a:cubicBezTo>
                  <a:pt x="1051" y="34"/>
                  <a:pt x="1051" y="34"/>
                  <a:pt x="1051" y="34"/>
                </a:cubicBezTo>
                <a:cubicBezTo>
                  <a:pt x="1051" y="34"/>
                  <a:pt x="1050" y="34"/>
                  <a:pt x="1050" y="34"/>
                </a:cubicBezTo>
                <a:cubicBezTo>
                  <a:pt x="1050" y="34"/>
                  <a:pt x="1050" y="34"/>
                  <a:pt x="1050" y="34"/>
                </a:cubicBezTo>
                <a:cubicBezTo>
                  <a:pt x="1050" y="35"/>
                  <a:pt x="1049" y="34"/>
                  <a:pt x="1049" y="35"/>
                </a:cubicBezTo>
                <a:cubicBezTo>
                  <a:pt x="1049" y="35"/>
                  <a:pt x="1049" y="35"/>
                  <a:pt x="1049" y="35"/>
                </a:cubicBezTo>
                <a:cubicBezTo>
                  <a:pt x="1049" y="35"/>
                  <a:pt x="1048" y="35"/>
                  <a:pt x="1048" y="35"/>
                </a:cubicBezTo>
                <a:cubicBezTo>
                  <a:pt x="1048" y="35"/>
                  <a:pt x="1048" y="35"/>
                  <a:pt x="1048" y="35"/>
                </a:cubicBezTo>
                <a:cubicBezTo>
                  <a:pt x="1048" y="35"/>
                  <a:pt x="1048" y="35"/>
                  <a:pt x="1047" y="35"/>
                </a:cubicBezTo>
                <a:cubicBezTo>
                  <a:pt x="1047" y="35"/>
                  <a:pt x="1047" y="35"/>
                  <a:pt x="1047" y="35"/>
                </a:cubicBezTo>
                <a:cubicBezTo>
                  <a:pt x="1047" y="36"/>
                  <a:pt x="1047" y="36"/>
                  <a:pt x="1047" y="36"/>
                </a:cubicBezTo>
                <a:cubicBezTo>
                  <a:pt x="1047" y="36"/>
                  <a:pt x="1047" y="36"/>
                  <a:pt x="1047" y="36"/>
                </a:cubicBezTo>
                <a:cubicBezTo>
                  <a:pt x="1047" y="36"/>
                  <a:pt x="1046" y="36"/>
                  <a:pt x="1046" y="36"/>
                </a:cubicBezTo>
                <a:cubicBezTo>
                  <a:pt x="1046" y="36"/>
                  <a:pt x="1046" y="36"/>
                  <a:pt x="1046" y="36"/>
                </a:cubicBezTo>
                <a:cubicBezTo>
                  <a:pt x="1046" y="36"/>
                  <a:pt x="1045" y="36"/>
                  <a:pt x="1045" y="36"/>
                </a:cubicBezTo>
                <a:cubicBezTo>
                  <a:pt x="1045" y="36"/>
                  <a:pt x="1045" y="36"/>
                  <a:pt x="1045" y="36"/>
                </a:cubicBezTo>
                <a:cubicBezTo>
                  <a:pt x="1045" y="36"/>
                  <a:pt x="1045" y="37"/>
                  <a:pt x="1045" y="37"/>
                </a:cubicBezTo>
                <a:cubicBezTo>
                  <a:pt x="1045" y="37"/>
                  <a:pt x="1045" y="37"/>
                  <a:pt x="1045" y="37"/>
                </a:cubicBezTo>
                <a:cubicBezTo>
                  <a:pt x="1045" y="37"/>
                  <a:pt x="1044" y="37"/>
                  <a:pt x="1044" y="37"/>
                </a:cubicBezTo>
                <a:cubicBezTo>
                  <a:pt x="1044" y="37"/>
                  <a:pt x="1044" y="37"/>
                  <a:pt x="1044" y="37"/>
                </a:cubicBezTo>
                <a:cubicBezTo>
                  <a:pt x="1044" y="37"/>
                  <a:pt x="1044" y="37"/>
                  <a:pt x="1044" y="38"/>
                </a:cubicBezTo>
                <a:cubicBezTo>
                  <a:pt x="1044" y="38"/>
                  <a:pt x="1044" y="38"/>
                  <a:pt x="1044" y="38"/>
                </a:cubicBezTo>
                <a:cubicBezTo>
                  <a:pt x="1043" y="38"/>
                  <a:pt x="1043" y="38"/>
                  <a:pt x="1043" y="38"/>
                </a:cubicBezTo>
                <a:cubicBezTo>
                  <a:pt x="1043" y="38"/>
                  <a:pt x="1043" y="38"/>
                  <a:pt x="1043" y="38"/>
                </a:cubicBezTo>
                <a:cubicBezTo>
                  <a:pt x="1043" y="38"/>
                  <a:pt x="1043" y="38"/>
                  <a:pt x="1043" y="38"/>
                </a:cubicBezTo>
                <a:cubicBezTo>
                  <a:pt x="1043" y="38"/>
                  <a:pt x="1043" y="38"/>
                  <a:pt x="1043" y="38"/>
                </a:cubicBezTo>
                <a:cubicBezTo>
                  <a:pt x="1043" y="38"/>
                  <a:pt x="1042" y="38"/>
                  <a:pt x="1042" y="39"/>
                </a:cubicBezTo>
                <a:cubicBezTo>
                  <a:pt x="1042" y="39"/>
                  <a:pt x="1042" y="39"/>
                  <a:pt x="1042" y="39"/>
                </a:cubicBezTo>
                <a:cubicBezTo>
                  <a:pt x="1042" y="39"/>
                  <a:pt x="1042" y="39"/>
                  <a:pt x="1042" y="39"/>
                </a:cubicBezTo>
                <a:cubicBezTo>
                  <a:pt x="1042" y="39"/>
                  <a:pt x="1042" y="39"/>
                  <a:pt x="1042" y="39"/>
                </a:cubicBezTo>
                <a:cubicBezTo>
                  <a:pt x="1042" y="39"/>
                  <a:pt x="1042" y="39"/>
                  <a:pt x="1041" y="39"/>
                </a:cubicBezTo>
                <a:cubicBezTo>
                  <a:pt x="1041" y="39"/>
                  <a:pt x="1041" y="39"/>
                  <a:pt x="1041" y="39"/>
                </a:cubicBezTo>
                <a:cubicBezTo>
                  <a:pt x="1041" y="40"/>
                  <a:pt x="1040" y="40"/>
                  <a:pt x="1040" y="40"/>
                </a:cubicBezTo>
                <a:cubicBezTo>
                  <a:pt x="1040" y="40"/>
                  <a:pt x="1040" y="40"/>
                  <a:pt x="1040" y="40"/>
                </a:cubicBezTo>
                <a:cubicBezTo>
                  <a:pt x="1040" y="40"/>
                  <a:pt x="1040" y="40"/>
                  <a:pt x="1040" y="41"/>
                </a:cubicBezTo>
                <a:cubicBezTo>
                  <a:pt x="1040" y="41"/>
                  <a:pt x="1040" y="41"/>
                  <a:pt x="1040" y="41"/>
                </a:cubicBezTo>
                <a:cubicBezTo>
                  <a:pt x="1040" y="41"/>
                  <a:pt x="1039" y="41"/>
                  <a:pt x="1039" y="41"/>
                </a:cubicBezTo>
                <a:cubicBezTo>
                  <a:pt x="1039" y="41"/>
                  <a:pt x="1039" y="41"/>
                  <a:pt x="1039" y="41"/>
                </a:cubicBezTo>
                <a:cubicBezTo>
                  <a:pt x="1039" y="41"/>
                  <a:pt x="1039" y="41"/>
                  <a:pt x="1039" y="41"/>
                </a:cubicBezTo>
                <a:cubicBezTo>
                  <a:pt x="1039" y="41"/>
                  <a:pt x="1039" y="41"/>
                  <a:pt x="1039" y="41"/>
                </a:cubicBezTo>
                <a:cubicBezTo>
                  <a:pt x="1039" y="41"/>
                  <a:pt x="1039" y="42"/>
                  <a:pt x="1039" y="42"/>
                </a:cubicBezTo>
                <a:cubicBezTo>
                  <a:pt x="1039" y="42"/>
                  <a:pt x="1039" y="42"/>
                  <a:pt x="1039" y="42"/>
                </a:cubicBezTo>
                <a:cubicBezTo>
                  <a:pt x="1039" y="42"/>
                  <a:pt x="1038" y="42"/>
                  <a:pt x="1038" y="42"/>
                </a:cubicBezTo>
                <a:cubicBezTo>
                  <a:pt x="1038" y="42"/>
                  <a:pt x="1038" y="42"/>
                  <a:pt x="1038" y="42"/>
                </a:cubicBezTo>
                <a:cubicBezTo>
                  <a:pt x="1038" y="42"/>
                  <a:pt x="1038" y="43"/>
                  <a:pt x="1038" y="43"/>
                </a:cubicBezTo>
                <a:cubicBezTo>
                  <a:pt x="1038" y="43"/>
                  <a:pt x="1038" y="43"/>
                  <a:pt x="1038" y="43"/>
                </a:cubicBezTo>
                <a:cubicBezTo>
                  <a:pt x="1038" y="43"/>
                  <a:pt x="1037" y="43"/>
                  <a:pt x="1037" y="43"/>
                </a:cubicBezTo>
                <a:cubicBezTo>
                  <a:pt x="1037" y="43"/>
                  <a:pt x="1037" y="43"/>
                  <a:pt x="1037" y="43"/>
                </a:cubicBezTo>
                <a:cubicBezTo>
                  <a:pt x="1037" y="44"/>
                  <a:pt x="1037" y="44"/>
                  <a:pt x="1037" y="44"/>
                </a:cubicBezTo>
                <a:cubicBezTo>
                  <a:pt x="1037" y="44"/>
                  <a:pt x="1037" y="44"/>
                  <a:pt x="1037" y="44"/>
                </a:cubicBezTo>
                <a:cubicBezTo>
                  <a:pt x="1037" y="44"/>
                  <a:pt x="1037" y="44"/>
                  <a:pt x="1036" y="45"/>
                </a:cubicBezTo>
                <a:cubicBezTo>
                  <a:pt x="1036" y="45"/>
                  <a:pt x="1036" y="45"/>
                  <a:pt x="1036" y="45"/>
                </a:cubicBezTo>
                <a:cubicBezTo>
                  <a:pt x="1036" y="45"/>
                  <a:pt x="1036" y="45"/>
                  <a:pt x="1036" y="45"/>
                </a:cubicBezTo>
                <a:cubicBezTo>
                  <a:pt x="1036" y="45"/>
                  <a:pt x="1036" y="45"/>
                  <a:pt x="1036" y="45"/>
                </a:cubicBezTo>
                <a:cubicBezTo>
                  <a:pt x="1036" y="45"/>
                  <a:pt x="1036" y="46"/>
                  <a:pt x="1036" y="46"/>
                </a:cubicBezTo>
                <a:cubicBezTo>
                  <a:pt x="1036" y="46"/>
                  <a:pt x="1036" y="46"/>
                  <a:pt x="1036" y="46"/>
                </a:cubicBezTo>
                <a:cubicBezTo>
                  <a:pt x="1035" y="46"/>
                  <a:pt x="1035" y="46"/>
                  <a:pt x="1035" y="46"/>
                </a:cubicBezTo>
                <a:cubicBezTo>
                  <a:pt x="1035" y="46"/>
                  <a:pt x="1035" y="46"/>
                  <a:pt x="1035" y="46"/>
                </a:cubicBezTo>
                <a:cubicBezTo>
                  <a:pt x="1035" y="46"/>
                  <a:pt x="1035" y="47"/>
                  <a:pt x="1035" y="47"/>
                </a:cubicBezTo>
                <a:cubicBezTo>
                  <a:pt x="1035" y="47"/>
                  <a:pt x="1035" y="47"/>
                  <a:pt x="1035" y="47"/>
                </a:cubicBezTo>
                <a:cubicBezTo>
                  <a:pt x="1035" y="47"/>
                  <a:pt x="1035" y="47"/>
                  <a:pt x="1035" y="47"/>
                </a:cubicBezTo>
                <a:cubicBezTo>
                  <a:pt x="1035" y="47"/>
                  <a:pt x="1035" y="47"/>
                  <a:pt x="1035" y="47"/>
                </a:cubicBezTo>
                <a:cubicBezTo>
                  <a:pt x="1034" y="47"/>
                  <a:pt x="1034" y="48"/>
                  <a:pt x="1034" y="48"/>
                </a:cubicBezTo>
                <a:cubicBezTo>
                  <a:pt x="1034" y="48"/>
                  <a:pt x="1034" y="48"/>
                  <a:pt x="1034" y="48"/>
                </a:cubicBezTo>
                <a:cubicBezTo>
                  <a:pt x="1034" y="48"/>
                  <a:pt x="1034" y="48"/>
                  <a:pt x="1034" y="49"/>
                </a:cubicBezTo>
                <a:cubicBezTo>
                  <a:pt x="1034" y="49"/>
                  <a:pt x="1034" y="49"/>
                  <a:pt x="1034" y="49"/>
                </a:cubicBezTo>
                <a:cubicBezTo>
                  <a:pt x="1034" y="49"/>
                  <a:pt x="1034" y="49"/>
                  <a:pt x="1033" y="49"/>
                </a:cubicBezTo>
                <a:cubicBezTo>
                  <a:pt x="1033" y="49"/>
                  <a:pt x="1033" y="49"/>
                  <a:pt x="1033" y="49"/>
                </a:cubicBezTo>
                <a:cubicBezTo>
                  <a:pt x="1033" y="49"/>
                  <a:pt x="1033" y="50"/>
                  <a:pt x="1033" y="50"/>
                </a:cubicBezTo>
                <a:cubicBezTo>
                  <a:pt x="1033" y="50"/>
                  <a:pt x="1033" y="50"/>
                  <a:pt x="1033" y="50"/>
                </a:cubicBezTo>
                <a:cubicBezTo>
                  <a:pt x="1033" y="50"/>
                  <a:pt x="1033" y="51"/>
                  <a:pt x="1033" y="51"/>
                </a:cubicBezTo>
                <a:cubicBezTo>
                  <a:pt x="1033" y="51"/>
                  <a:pt x="1033" y="51"/>
                  <a:pt x="1033" y="51"/>
                </a:cubicBezTo>
                <a:cubicBezTo>
                  <a:pt x="1033" y="51"/>
                  <a:pt x="1033" y="51"/>
                  <a:pt x="1032" y="51"/>
                </a:cubicBezTo>
                <a:cubicBezTo>
                  <a:pt x="1032" y="51"/>
                  <a:pt x="1032" y="51"/>
                  <a:pt x="1032" y="51"/>
                </a:cubicBezTo>
                <a:cubicBezTo>
                  <a:pt x="1032" y="52"/>
                  <a:pt x="1032" y="52"/>
                  <a:pt x="1032" y="52"/>
                </a:cubicBezTo>
                <a:cubicBezTo>
                  <a:pt x="1032" y="52"/>
                  <a:pt x="1032" y="52"/>
                  <a:pt x="1032" y="52"/>
                </a:cubicBezTo>
                <a:cubicBezTo>
                  <a:pt x="1032" y="53"/>
                  <a:pt x="1032" y="53"/>
                  <a:pt x="1032" y="53"/>
                </a:cubicBezTo>
                <a:cubicBezTo>
                  <a:pt x="1032" y="53"/>
                  <a:pt x="1032" y="53"/>
                  <a:pt x="1032" y="53"/>
                </a:cubicBezTo>
                <a:cubicBezTo>
                  <a:pt x="1031" y="53"/>
                  <a:pt x="1032" y="54"/>
                  <a:pt x="1031" y="54"/>
                </a:cubicBezTo>
                <a:cubicBezTo>
                  <a:pt x="1031" y="54"/>
                  <a:pt x="1031" y="54"/>
                  <a:pt x="1031" y="54"/>
                </a:cubicBezTo>
                <a:cubicBezTo>
                  <a:pt x="1031" y="54"/>
                  <a:pt x="1031" y="55"/>
                  <a:pt x="1031" y="55"/>
                </a:cubicBezTo>
                <a:cubicBezTo>
                  <a:pt x="1031" y="55"/>
                  <a:pt x="1031" y="55"/>
                  <a:pt x="1031" y="55"/>
                </a:cubicBezTo>
                <a:cubicBezTo>
                  <a:pt x="1031" y="56"/>
                  <a:pt x="1031" y="56"/>
                  <a:pt x="1031" y="56"/>
                </a:cubicBezTo>
                <a:cubicBezTo>
                  <a:pt x="1031" y="56"/>
                  <a:pt x="1031" y="57"/>
                  <a:pt x="1031" y="57"/>
                </a:cubicBezTo>
                <a:cubicBezTo>
                  <a:pt x="1030" y="57"/>
                  <a:pt x="1031" y="57"/>
                  <a:pt x="1030" y="58"/>
                </a:cubicBezTo>
                <a:cubicBezTo>
                  <a:pt x="1030" y="58"/>
                  <a:pt x="1030" y="58"/>
                  <a:pt x="1030" y="58"/>
                </a:cubicBezTo>
                <a:cubicBezTo>
                  <a:pt x="1030" y="58"/>
                  <a:pt x="1030" y="59"/>
                  <a:pt x="1030" y="59"/>
                </a:cubicBezTo>
                <a:cubicBezTo>
                  <a:pt x="1030" y="59"/>
                  <a:pt x="1030" y="59"/>
                  <a:pt x="1030" y="59"/>
                </a:cubicBezTo>
                <a:cubicBezTo>
                  <a:pt x="1030" y="59"/>
                  <a:pt x="1030" y="59"/>
                  <a:pt x="1030" y="59"/>
                </a:cubicBezTo>
                <a:cubicBezTo>
                  <a:pt x="1030" y="60"/>
                  <a:pt x="1030" y="61"/>
                  <a:pt x="1030" y="61"/>
                </a:cubicBezTo>
                <a:cubicBezTo>
                  <a:pt x="1030" y="61"/>
                  <a:pt x="1030" y="61"/>
                  <a:pt x="1030" y="61"/>
                </a:cubicBezTo>
                <a:cubicBezTo>
                  <a:pt x="1029" y="62"/>
                  <a:pt x="1030" y="63"/>
                  <a:pt x="1029" y="64"/>
                </a:cubicBezTo>
                <a:cubicBezTo>
                  <a:pt x="1029" y="64"/>
                  <a:pt x="1029" y="65"/>
                  <a:pt x="1029" y="65"/>
                </a:cubicBezTo>
                <a:cubicBezTo>
                  <a:pt x="1029" y="67"/>
                  <a:pt x="1029" y="70"/>
                  <a:pt x="1029" y="72"/>
                </a:cubicBezTo>
                <a:cubicBezTo>
                  <a:pt x="1029" y="72"/>
                  <a:pt x="1029" y="73"/>
                  <a:pt x="1029" y="73"/>
                </a:cubicBezTo>
                <a:cubicBezTo>
                  <a:pt x="1030" y="74"/>
                  <a:pt x="1029" y="75"/>
                  <a:pt x="1030" y="76"/>
                </a:cubicBezTo>
                <a:cubicBezTo>
                  <a:pt x="1030" y="76"/>
                  <a:pt x="1030" y="76"/>
                  <a:pt x="1030" y="76"/>
                </a:cubicBezTo>
                <a:cubicBezTo>
                  <a:pt x="1030" y="77"/>
                  <a:pt x="1030" y="77"/>
                  <a:pt x="1030" y="78"/>
                </a:cubicBezTo>
                <a:cubicBezTo>
                  <a:pt x="1030" y="78"/>
                  <a:pt x="1030" y="78"/>
                  <a:pt x="1030" y="78"/>
                </a:cubicBezTo>
                <a:cubicBezTo>
                  <a:pt x="1030" y="79"/>
                  <a:pt x="1030" y="79"/>
                  <a:pt x="1030" y="80"/>
                </a:cubicBezTo>
                <a:cubicBezTo>
                  <a:pt x="1030" y="80"/>
                  <a:pt x="1030" y="80"/>
                  <a:pt x="1030" y="80"/>
                </a:cubicBezTo>
                <a:cubicBezTo>
                  <a:pt x="1031" y="80"/>
                  <a:pt x="1030" y="81"/>
                  <a:pt x="1031" y="81"/>
                </a:cubicBezTo>
                <a:cubicBezTo>
                  <a:pt x="1031" y="81"/>
                  <a:pt x="1031" y="81"/>
                  <a:pt x="1031" y="81"/>
                </a:cubicBezTo>
                <a:cubicBezTo>
                  <a:pt x="1031" y="82"/>
                  <a:pt x="1031" y="82"/>
                  <a:pt x="1031" y="82"/>
                </a:cubicBezTo>
                <a:cubicBezTo>
                  <a:pt x="1031" y="82"/>
                  <a:pt x="1031" y="82"/>
                  <a:pt x="1031" y="82"/>
                </a:cubicBezTo>
                <a:cubicBezTo>
                  <a:pt x="1031" y="83"/>
                  <a:pt x="1031" y="83"/>
                  <a:pt x="1031" y="83"/>
                </a:cubicBezTo>
                <a:cubicBezTo>
                  <a:pt x="1031" y="83"/>
                  <a:pt x="1031" y="83"/>
                  <a:pt x="1031" y="83"/>
                </a:cubicBezTo>
                <a:cubicBezTo>
                  <a:pt x="1031" y="83"/>
                  <a:pt x="1031" y="83"/>
                  <a:pt x="1031" y="83"/>
                </a:cubicBezTo>
                <a:cubicBezTo>
                  <a:pt x="1031" y="84"/>
                  <a:pt x="1031" y="84"/>
                  <a:pt x="1031" y="84"/>
                </a:cubicBezTo>
                <a:cubicBezTo>
                  <a:pt x="1032" y="84"/>
                  <a:pt x="1032" y="84"/>
                  <a:pt x="1032" y="84"/>
                </a:cubicBezTo>
                <a:cubicBezTo>
                  <a:pt x="1032" y="84"/>
                  <a:pt x="1032" y="84"/>
                  <a:pt x="1032" y="84"/>
                </a:cubicBezTo>
                <a:cubicBezTo>
                  <a:pt x="1032" y="85"/>
                  <a:pt x="1032" y="85"/>
                  <a:pt x="1032" y="85"/>
                </a:cubicBezTo>
                <a:cubicBezTo>
                  <a:pt x="1032" y="85"/>
                  <a:pt x="1032" y="85"/>
                  <a:pt x="1032" y="85"/>
                </a:cubicBezTo>
                <a:cubicBezTo>
                  <a:pt x="1032" y="86"/>
                  <a:pt x="1032" y="86"/>
                  <a:pt x="1032" y="86"/>
                </a:cubicBezTo>
                <a:cubicBezTo>
                  <a:pt x="1032" y="86"/>
                  <a:pt x="1032" y="86"/>
                  <a:pt x="1032" y="86"/>
                </a:cubicBezTo>
                <a:cubicBezTo>
                  <a:pt x="1033" y="86"/>
                  <a:pt x="1033" y="87"/>
                  <a:pt x="1033" y="87"/>
                </a:cubicBezTo>
                <a:cubicBezTo>
                  <a:pt x="1033" y="87"/>
                  <a:pt x="1033" y="87"/>
                  <a:pt x="1033" y="87"/>
                </a:cubicBezTo>
                <a:cubicBezTo>
                  <a:pt x="1033" y="87"/>
                  <a:pt x="1033" y="87"/>
                  <a:pt x="1033" y="87"/>
                </a:cubicBezTo>
                <a:cubicBezTo>
                  <a:pt x="1033" y="87"/>
                  <a:pt x="1033" y="87"/>
                  <a:pt x="1033" y="88"/>
                </a:cubicBezTo>
                <a:cubicBezTo>
                  <a:pt x="1033" y="88"/>
                  <a:pt x="1033" y="88"/>
                  <a:pt x="1033" y="88"/>
                </a:cubicBezTo>
                <a:cubicBezTo>
                  <a:pt x="1033" y="88"/>
                  <a:pt x="1033" y="88"/>
                  <a:pt x="1033" y="88"/>
                </a:cubicBezTo>
                <a:cubicBezTo>
                  <a:pt x="1033" y="88"/>
                  <a:pt x="1033" y="88"/>
                  <a:pt x="1033" y="88"/>
                </a:cubicBezTo>
                <a:cubicBezTo>
                  <a:pt x="1034" y="88"/>
                  <a:pt x="1034" y="88"/>
                  <a:pt x="1034" y="88"/>
                </a:cubicBezTo>
                <a:cubicBezTo>
                  <a:pt x="1034" y="88"/>
                  <a:pt x="1034" y="88"/>
                  <a:pt x="1034" y="88"/>
                </a:cubicBezTo>
                <a:cubicBezTo>
                  <a:pt x="1034" y="89"/>
                  <a:pt x="1034" y="89"/>
                  <a:pt x="1034" y="89"/>
                </a:cubicBezTo>
                <a:cubicBezTo>
                  <a:pt x="1034" y="89"/>
                  <a:pt x="1034" y="89"/>
                  <a:pt x="1034" y="89"/>
                </a:cubicBezTo>
                <a:cubicBezTo>
                  <a:pt x="1034" y="89"/>
                  <a:pt x="1034" y="90"/>
                  <a:pt x="1034" y="90"/>
                </a:cubicBezTo>
                <a:cubicBezTo>
                  <a:pt x="1034" y="90"/>
                  <a:pt x="1034" y="90"/>
                  <a:pt x="1034" y="90"/>
                </a:cubicBezTo>
                <a:cubicBezTo>
                  <a:pt x="1034" y="90"/>
                  <a:pt x="1034" y="90"/>
                  <a:pt x="1035" y="90"/>
                </a:cubicBezTo>
                <a:cubicBezTo>
                  <a:pt x="1035" y="90"/>
                  <a:pt x="1035" y="90"/>
                  <a:pt x="1035" y="90"/>
                </a:cubicBezTo>
                <a:cubicBezTo>
                  <a:pt x="1035" y="90"/>
                  <a:pt x="1035" y="91"/>
                  <a:pt x="1035" y="91"/>
                </a:cubicBezTo>
                <a:cubicBezTo>
                  <a:pt x="1035" y="91"/>
                  <a:pt x="1035" y="91"/>
                  <a:pt x="1035" y="91"/>
                </a:cubicBezTo>
                <a:cubicBezTo>
                  <a:pt x="1035" y="91"/>
                  <a:pt x="1035" y="91"/>
                  <a:pt x="1035" y="91"/>
                </a:cubicBezTo>
                <a:cubicBezTo>
                  <a:pt x="1035" y="91"/>
                  <a:pt x="1035" y="91"/>
                  <a:pt x="1035" y="91"/>
                </a:cubicBezTo>
                <a:cubicBezTo>
                  <a:pt x="1035" y="92"/>
                  <a:pt x="1035" y="92"/>
                  <a:pt x="1036" y="92"/>
                </a:cubicBezTo>
                <a:cubicBezTo>
                  <a:pt x="1036" y="92"/>
                  <a:pt x="1036" y="92"/>
                  <a:pt x="1036" y="92"/>
                </a:cubicBezTo>
                <a:cubicBezTo>
                  <a:pt x="1036" y="92"/>
                  <a:pt x="1036" y="92"/>
                  <a:pt x="1036" y="92"/>
                </a:cubicBezTo>
                <a:cubicBezTo>
                  <a:pt x="1036" y="92"/>
                  <a:pt x="1036" y="92"/>
                  <a:pt x="1036" y="92"/>
                </a:cubicBezTo>
                <a:cubicBezTo>
                  <a:pt x="1036" y="93"/>
                  <a:pt x="1036" y="93"/>
                  <a:pt x="1036" y="93"/>
                </a:cubicBezTo>
                <a:cubicBezTo>
                  <a:pt x="1036" y="93"/>
                  <a:pt x="1036" y="93"/>
                  <a:pt x="1036" y="93"/>
                </a:cubicBezTo>
                <a:cubicBezTo>
                  <a:pt x="1036" y="93"/>
                  <a:pt x="1036" y="93"/>
                  <a:pt x="1037" y="93"/>
                </a:cubicBezTo>
                <a:cubicBezTo>
                  <a:pt x="1037" y="93"/>
                  <a:pt x="1037" y="93"/>
                  <a:pt x="1037" y="93"/>
                </a:cubicBezTo>
                <a:cubicBezTo>
                  <a:pt x="1037" y="93"/>
                  <a:pt x="1037" y="93"/>
                  <a:pt x="1037" y="94"/>
                </a:cubicBezTo>
                <a:cubicBezTo>
                  <a:pt x="1037" y="94"/>
                  <a:pt x="1037" y="94"/>
                  <a:pt x="1037" y="94"/>
                </a:cubicBezTo>
                <a:cubicBezTo>
                  <a:pt x="1037" y="94"/>
                  <a:pt x="1037" y="94"/>
                  <a:pt x="1038" y="94"/>
                </a:cubicBezTo>
                <a:cubicBezTo>
                  <a:pt x="1038" y="94"/>
                  <a:pt x="1038" y="94"/>
                  <a:pt x="1038" y="94"/>
                </a:cubicBezTo>
                <a:cubicBezTo>
                  <a:pt x="1038" y="95"/>
                  <a:pt x="1038" y="95"/>
                  <a:pt x="1038" y="95"/>
                </a:cubicBezTo>
                <a:cubicBezTo>
                  <a:pt x="1038" y="95"/>
                  <a:pt x="1038" y="95"/>
                  <a:pt x="1038" y="95"/>
                </a:cubicBezTo>
                <a:cubicBezTo>
                  <a:pt x="1038" y="95"/>
                  <a:pt x="1038" y="95"/>
                  <a:pt x="1038" y="95"/>
                </a:cubicBezTo>
                <a:cubicBezTo>
                  <a:pt x="1038" y="95"/>
                  <a:pt x="1038" y="95"/>
                  <a:pt x="1038" y="95"/>
                </a:cubicBezTo>
                <a:cubicBezTo>
                  <a:pt x="1038" y="95"/>
                  <a:pt x="1039" y="95"/>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40" y="97"/>
                  <a:pt x="1040" y="97"/>
                  <a:pt x="1040" y="97"/>
                </a:cubicBezTo>
                <a:cubicBezTo>
                  <a:pt x="1040" y="97"/>
                  <a:pt x="1040" y="97"/>
                  <a:pt x="1040" y="97"/>
                </a:cubicBezTo>
                <a:cubicBezTo>
                  <a:pt x="1041" y="97"/>
                  <a:pt x="1041" y="97"/>
                  <a:pt x="1041" y="97"/>
                </a:cubicBezTo>
                <a:cubicBezTo>
                  <a:pt x="1041" y="97"/>
                  <a:pt x="1041" y="97"/>
                  <a:pt x="1041" y="97"/>
                </a:cubicBezTo>
                <a:cubicBezTo>
                  <a:pt x="1041" y="97"/>
                  <a:pt x="1041" y="98"/>
                  <a:pt x="1041" y="98"/>
                </a:cubicBezTo>
                <a:cubicBezTo>
                  <a:pt x="1041" y="98"/>
                  <a:pt x="1041" y="98"/>
                  <a:pt x="1041" y="98"/>
                </a:cubicBezTo>
                <a:cubicBezTo>
                  <a:pt x="1041" y="98"/>
                  <a:pt x="1042" y="98"/>
                  <a:pt x="1042" y="98"/>
                </a:cubicBezTo>
                <a:cubicBezTo>
                  <a:pt x="1042" y="98"/>
                  <a:pt x="1042" y="98"/>
                  <a:pt x="1042" y="98"/>
                </a:cubicBezTo>
                <a:cubicBezTo>
                  <a:pt x="1042" y="98"/>
                  <a:pt x="1042" y="98"/>
                  <a:pt x="1042" y="98"/>
                </a:cubicBezTo>
                <a:cubicBezTo>
                  <a:pt x="1042" y="98"/>
                  <a:pt x="1042" y="98"/>
                  <a:pt x="1042" y="98"/>
                </a:cubicBezTo>
                <a:cubicBezTo>
                  <a:pt x="1042" y="99"/>
                  <a:pt x="1043" y="98"/>
                  <a:pt x="1043" y="99"/>
                </a:cubicBezTo>
                <a:cubicBezTo>
                  <a:pt x="1043" y="99"/>
                  <a:pt x="1043" y="99"/>
                  <a:pt x="1043" y="99"/>
                </a:cubicBezTo>
                <a:cubicBezTo>
                  <a:pt x="1043" y="99"/>
                  <a:pt x="1043" y="99"/>
                  <a:pt x="1043" y="99"/>
                </a:cubicBezTo>
                <a:cubicBezTo>
                  <a:pt x="1043" y="99"/>
                  <a:pt x="1043" y="99"/>
                  <a:pt x="1043" y="99"/>
                </a:cubicBezTo>
                <a:cubicBezTo>
                  <a:pt x="1043" y="99"/>
                  <a:pt x="1044" y="99"/>
                  <a:pt x="1044" y="99"/>
                </a:cubicBezTo>
                <a:cubicBezTo>
                  <a:pt x="1044" y="99"/>
                  <a:pt x="1044" y="99"/>
                  <a:pt x="1044" y="99"/>
                </a:cubicBezTo>
                <a:cubicBezTo>
                  <a:pt x="1044" y="100"/>
                  <a:pt x="1044" y="100"/>
                  <a:pt x="1045" y="100"/>
                </a:cubicBezTo>
                <a:cubicBezTo>
                  <a:pt x="1045" y="100"/>
                  <a:pt x="1045" y="100"/>
                  <a:pt x="1045" y="100"/>
                </a:cubicBezTo>
                <a:cubicBezTo>
                  <a:pt x="1045" y="100"/>
                  <a:pt x="1045" y="100"/>
                  <a:pt x="1045" y="100"/>
                </a:cubicBezTo>
                <a:cubicBezTo>
                  <a:pt x="1045" y="100"/>
                  <a:pt x="1045" y="100"/>
                  <a:pt x="1045" y="100"/>
                </a:cubicBezTo>
                <a:cubicBezTo>
                  <a:pt x="1045" y="100"/>
                  <a:pt x="1045" y="100"/>
                  <a:pt x="1045" y="100"/>
                </a:cubicBezTo>
                <a:cubicBezTo>
                  <a:pt x="1045" y="100"/>
                  <a:pt x="1046" y="100"/>
                  <a:pt x="1046" y="100"/>
                </a:cubicBezTo>
                <a:cubicBezTo>
                  <a:pt x="1046" y="100"/>
                  <a:pt x="1046" y="100"/>
                  <a:pt x="1046" y="100"/>
                </a:cubicBezTo>
                <a:cubicBezTo>
                  <a:pt x="1046" y="100"/>
                  <a:pt x="1046" y="100"/>
                  <a:pt x="1046" y="100"/>
                </a:cubicBezTo>
                <a:cubicBezTo>
                  <a:pt x="1046" y="101"/>
                  <a:pt x="1047" y="101"/>
                  <a:pt x="1047" y="101"/>
                </a:cubicBezTo>
                <a:cubicBezTo>
                  <a:pt x="1047" y="101"/>
                  <a:pt x="1047" y="101"/>
                  <a:pt x="1047" y="101"/>
                </a:cubicBezTo>
                <a:cubicBezTo>
                  <a:pt x="1047" y="101"/>
                  <a:pt x="1047" y="101"/>
                  <a:pt x="1047" y="101"/>
                </a:cubicBezTo>
                <a:cubicBezTo>
                  <a:pt x="1047" y="101"/>
                  <a:pt x="1047" y="101"/>
                  <a:pt x="1047" y="101"/>
                </a:cubicBezTo>
                <a:cubicBezTo>
                  <a:pt x="1048" y="102"/>
                  <a:pt x="1048" y="101"/>
                  <a:pt x="1048" y="101"/>
                </a:cubicBezTo>
                <a:cubicBezTo>
                  <a:pt x="1048" y="101"/>
                  <a:pt x="1048" y="101"/>
                  <a:pt x="1048" y="101"/>
                </a:cubicBezTo>
                <a:cubicBezTo>
                  <a:pt x="1049" y="102"/>
                  <a:pt x="1049" y="102"/>
                  <a:pt x="1050" y="102"/>
                </a:cubicBezTo>
                <a:cubicBezTo>
                  <a:pt x="1049" y="102"/>
                  <a:pt x="1049" y="102"/>
                  <a:pt x="1049" y="102"/>
                </a:cubicBezTo>
                <a:cubicBezTo>
                  <a:pt x="1050" y="102"/>
                  <a:pt x="1050" y="102"/>
                  <a:pt x="1051" y="102"/>
                </a:cubicBezTo>
                <a:cubicBezTo>
                  <a:pt x="1051" y="102"/>
                  <a:pt x="1051" y="102"/>
                  <a:pt x="1051" y="102"/>
                </a:cubicBezTo>
                <a:cubicBezTo>
                  <a:pt x="1051" y="102"/>
                  <a:pt x="1051" y="102"/>
                  <a:pt x="1051" y="102"/>
                </a:cubicBezTo>
                <a:cubicBezTo>
                  <a:pt x="1051" y="103"/>
                  <a:pt x="1052" y="102"/>
                  <a:pt x="1052" y="103"/>
                </a:cubicBezTo>
                <a:cubicBezTo>
                  <a:pt x="1052" y="102"/>
                  <a:pt x="1052" y="102"/>
                  <a:pt x="1052" y="102"/>
                </a:cubicBezTo>
                <a:cubicBezTo>
                  <a:pt x="1053" y="103"/>
                  <a:pt x="1053" y="103"/>
                  <a:pt x="1053" y="103"/>
                </a:cubicBezTo>
                <a:cubicBezTo>
                  <a:pt x="1053" y="103"/>
                  <a:pt x="1054" y="103"/>
                  <a:pt x="1054" y="103"/>
                </a:cubicBezTo>
                <a:cubicBezTo>
                  <a:pt x="1054" y="103"/>
                  <a:pt x="1055" y="103"/>
                  <a:pt x="1055" y="103"/>
                </a:cubicBezTo>
                <a:cubicBezTo>
                  <a:pt x="1056" y="103"/>
                  <a:pt x="1057" y="103"/>
                  <a:pt x="1058" y="103"/>
                </a:cubicBezTo>
                <a:cubicBezTo>
                  <a:pt x="1059" y="103"/>
                  <a:pt x="1060" y="103"/>
                  <a:pt x="1062" y="103"/>
                </a:cubicBezTo>
                <a:cubicBezTo>
                  <a:pt x="1063" y="103"/>
                  <a:pt x="1064" y="103"/>
                  <a:pt x="1066" y="103"/>
                </a:cubicBezTo>
                <a:close/>
                <a:moveTo>
                  <a:pt x="749" y="83"/>
                </a:moveTo>
                <a:cubicBezTo>
                  <a:pt x="749" y="83"/>
                  <a:pt x="749" y="83"/>
                  <a:pt x="749" y="83"/>
                </a:cubicBezTo>
                <a:cubicBezTo>
                  <a:pt x="749" y="83"/>
                  <a:pt x="749" y="84"/>
                  <a:pt x="749" y="84"/>
                </a:cubicBezTo>
                <a:cubicBezTo>
                  <a:pt x="749" y="84"/>
                  <a:pt x="749" y="84"/>
                  <a:pt x="749" y="84"/>
                </a:cubicBezTo>
                <a:cubicBezTo>
                  <a:pt x="750" y="84"/>
                  <a:pt x="750" y="85"/>
                  <a:pt x="750" y="85"/>
                </a:cubicBezTo>
                <a:cubicBezTo>
                  <a:pt x="750" y="85"/>
                  <a:pt x="750" y="85"/>
                  <a:pt x="750" y="85"/>
                </a:cubicBezTo>
                <a:cubicBezTo>
                  <a:pt x="750" y="85"/>
                  <a:pt x="750" y="85"/>
                  <a:pt x="750" y="85"/>
                </a:cubicBezTo>
                <a:cubicBezTo>
                  <a:pt x="750" y="85"/>
                  <a:pt x="750" y="86"/>
                  <a:pt x="750" y="86"/>
                </a:cubicBezTo>
                <a:cubicBezTo>
                  <a:pt x="750" y="86"/>
                  <a:pt x="750" y="86"/>
                  <a:pt x="750" y="86"/>
                </a:cubicBezTo>
                <a:cubicBezTo>
                  <a:pt x="750" y="86"/>
                  <a:pt x="750" y="86"/>
                  <a:pt x="750" y="87"/>
                </a:cubicBezTo>
                <a:cubicBezTo>
                  <a:pt x="750" y="87"/>
                  <a:pt x="750" y="87"/>
                  <a:pt x="750" y="87"/>
                </a:cubicBezTo>
                <a:cubicBezTo>
                  <a:pt x="751" y="87"/>
                  <a:pt x="751" y="87"/>
                  <a:pt x="751" y="87"/>
                </a:cubicBezTo>
                <a:cubicBezTo>
                  <a:pt x="751" y="87"/>
                  <a:pt x="751" y="87"/>
                  <a:pt x="751" y="87"/>
                </a:cubicBezTo>
                <a:cubicBezTo>
                  <a:pt x="751" y="87"/>
                  <a:pt x="751" y="87"/>
                  <a:pt x="751" y="87"/>
                </a:cubicBezTo>
                <a:cubicBezTo>
                  <a:pt x="751" y="88"/>
                  <a:pt x="751" y="88"/>
                  <a:pt x="751" y="88"/>
                </a:cubicBezTo>
                <a:cubicBezTo>
                  <a:pt x="751" y="88"/>
                  <a:pt x="751" y="88"/>
                  <a:pt x="751" y="88"/>
                </a:cubicBezTo>
                <a:cubicBezTo>
                  <a:pt x="751" y="88"/>
                  <a:pt x="751" y="88"/>
                  <a:pt x="751" y="88"/>
                </a:cubicBezTo>
                <a:cubicBezTo>
                  <a:pt x="751" y="88"/>
                  <a:pt x="751" y="88"/>
                  <a:pt x="751" y="89"/>
                </a:cubicBezTo>
                <a:cubicBezTo>
                  <a:pt x="751" y="89"/>
                  <a:pt x="751" y="89"/>
                  <a:pt x="751" y="89"/>
                </a:cubicBezTo>
                <a:cubicBezTo>
                  <a:pt x="752" y="89"/>
                  <a:pt x="752" y="89"/>
                  <a:pt x="752" y="89"/>
                </a:cubicBezTo>
                <a:cubicBezTo>
                  <a:pt x="752" y="89"/>
                  <a:pt x="752" y="89"/>
                  <a:pt x="752" y="89"/>
                </a:cubicBezTo>
                <a:cubicBezTo>
                  <a:pt x="752" y="90"/>
                  <a:pt x="752" y="90"/>
                  <a:pt x="752" y="90"/>
                </a:cubicBezTo>
                <a:cubicBezTo>
                  <a:pt x="752" y="90"/>
                  <a:pt x="752" y="90"/>
                  <a:pt x="752" y="90"/>
                </a:cubicBezTo>
                <a:cubicBezTo>
                  <a:pt x="752" y="90"/>
                  <a:pt x="753" y="91"/>
                  <a:pt x="753" y="91"/>
                </a:cubicBezTo>
                <a:cubicBezTo>
                  <a:pt x="753" y="91"/>
                  <a:pt x="753" y="91"/>
                  <a:pt x="753" y="91"/>
                </a:cubicBezTo>
                <a:cubicBezTo>
                  <a:pt x="753" y="91"/>
                  <a:pt x="753" y="92"/>
                  <a:pt x="754" y="92"/>
                </a:cubicBezTo>
                <a:cubicBezTo>
                  <a:pt x="754" y="92"/>
                  <a:pt x="754" y="92"/>
                  <a:pt x="754" y="92"/>
                </a:cubicBezTo>
                <a:cubicBezTo>
                  <a:pt x="754" y="92"/>
                  <a:pt x="754" y="92"/>
                  <a:pt x="754" y="92"/>
                </a:cubicBezTo>
                <a:cubicBezTo>
                  <a:pt x="754" y="92"/>
                  <a:pt x="754" y="92"/>
                  <a:pt x="754" y="92"/>
                </a:cubicBezTo>
                <a:cubicBezTo>
                  <a:pt x="754" y="93"/>
                  <a:pt x="754" y="93"/>
                  <a:pt x="755" y="93"/>
                </a:cubicBezTo>
                <a:cubicBezTo>
                  <a:pt x="755" y="93"/>
                  <a:pt x="755" y="93"/>
                  <a:pt x="755" y="93"/>
                </a:cubicBezTo>
                <a:cubicBezTo>
                  <a:pt x="755" y="94"/>
                  <a:pt x="755" y="94"/>
                  <a:pt x="755" y="94"/>
                </a:cubicBezTo>
                <a:cubicBezTo>
                  <a:pt x="755" y="94"/>
                  <a:pt x="755" y="94"/>
                  <a:pt x="755" y="94"/>
                </a:cubicBezTo>
                <a:cubicBezTo>
                  <a:pt x="755" y="94"/>
                  <a:pt x="755" y="94"/>
                  <a:pt x="755" y="94"/>
                </a:cubicBezTo>
                <a:cubicBezTo>
                  <a:pt x="755" y="94"/>
                  <a:pt x="755" y="94"/>
                  <a:pt x="755" y="94"/>
                </a:cubicBezTo>
                <a:cubicBezTo>
                  <a:pt x="755" y="94"/>
                  <a:pt x="756" y="94"/>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7" y="95"/>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8" y="96"/>
                  <a:pt x="758" y="97"/>
                  <a:pt x="758" y="97"/>
                </a:cubicBezTo>
                <a:cubicBezTo>
                  <a:pt x="758" y="97"/>
                  <a:pt x="758" y="97"/>
                  <a:pt x="758" y="97"/>
                </a:cubicBezTo>
                <a:cubicBezTo>
                  <a:pt x="758" y="97"/>
                  <a:pt x="758" y="97"/>
                  <a:pt x="758" y="97"/>
                </a:cubicBezTo>
                <a:cubicBezTo>
                  <a:pt x="758" y="97"/>
                  <a:pt x="758" y="97"/>
                  <a:pt x="758" y="97"/>
                </a:cubicBezTo>
                <a:cubicBezTo>
                  <a:pt x="758" y="97"/>
                  <a:pt x="759" y="97"/>
                  <a:pt x="759" y="98"/>
                </a:cubicBezTo>
                <a:cubicBezTo>
                  <a:pt x="759" y="98"/>
                  <a:pt x="759" y="98"/>
                  <a:pt x="759" y="98"/>
                </a:cubicBezTo>
                <a:cubicBezTo>
                  <a:pt x="759" y="98"/>
                  <a:pt x="759" y="98"/>
                  <a:pt x="760" y="98"/>
                </a:cubicBezTo>
                <a:cubicBezTo>
                  <a:pt x="760" y="98"/>
                  <a:pt x="760" y="98"/>
                  <a:pt x="760" y="98"/>
                </a:cubicBezTo>
                <a:cubicBezTo>
                  <a:pt x="760" y="98"/>
                  <a:pt x="760" y="98"/>
                  <a:pt x="761" y="99"/>
                </a:cubicBezTo>
                <a:cubicBezTo>
                  <a:pt x="761" y="99"/>
                  <a:pt x="761" y="99"/>
                  <a:pt x="761" y="99"/>
                </a:cubicBezTo>
                <a:cubicBezTo>
                  <a:pt x="761" y="99"/>
                  <a:pt x="761" y="99"/>
                  <a:pt x="761" y="99"/>
                </a:cubicBezTo>
                <a:cubicBezTo>
                  <a:pt x="761" y="99"/>
                  <a:pt x="761" y="99"/>
                  <a:pt x="761" y="99"/>
                </a:cubicBezTo>
                <a:cubicBezTo>
                  <a:pt x="761" y="99"/>
                  <a:pt x="761" y="99"/>
                  <a:pt x="762" y="99"/>
                </a:cubicBezTo>
                <a:cubicBezTo>
                  <a:pt x="762" y="99"/>
                  <a:pt x="762" y="99"/>
                  <a:pt x="762" y="99"/>
                </a:cubicBezTo>
                <a:cubicBezTo>
                  <a:pt x="762" y="100"/>
                  <a:pt x="762" y="100"/>
                  <a:pt x="762" y="100"/>
                </a:cubicBezTo>
                <a:cubicBezTo>
                  <a:pt x="762" y="100"/>
                  <a:pt x="762" y="100"/>
                  <a:pt x="762" y="100"/>
                </a:cubicBezTo>
                <a:cubicBezTo>
                  <a:pt x="762" y="100"/>
                  <a:pt x="763" y="100"/>
                  <a:pt x="763" y="100"/>
                </a:cubicBezTo>
                <a:cubicBezTo>
                  <a:pt x="763" y="100"/>
                  <a:pt x="763" y="100"/>
                  <a:pt x="763" y="100"/>
                </a:cubicBezTo>
                <a:cubicBezTo>
                  <a:pt x="763" y="100"/>
                  <a:pt x="764" y="100"/>
                  <a:pt x="764" y="100"/>
                </a:cubicBezTo>
                <a:cubicBezTo>
                  <a:pt x="764" y="100"/>
                  <a:pt x="764" y="100"/>
                  <a:pt x="764" y="100"/>
                </a:cubicBezTo>
                <a:cubicBezTo>
                  <a:pt x="764" y="101"/>
                  <a:pt x="764" y="101"/>
                  <a:pt x="764" y="101"/>
                </a:cubicBezTo>
                <a:cubicBezTo>
                  <a:pt x="764" y="101"/>
                  <a:pt x="764" y="101"/>
                  <a:pt x="764" y="101"/>
                </a:cubicBezTo>
                <a:cubicBezTo>
                  <a:pt x="765" y="101"/>
                  <a:pt x="765" y="101"/>
                  <a:pt x="765" y="101"/>
                </a:cubicBezTo>
                <a:cubicBezTo>
                  <a:pt x="765" y="101"/>
                  <a:pt x="765" y="101"/>
                  <a:pt x="765" y="101"/>
                </a:cubicBezTo>
                <a:cubicBezTo>
                  <a:pt x="766" y="101"/>
                  <a:pt x="766" y="101"/>
                  <a:pt x="766" y="101"/>
                </a:cubicBezTo>
                <a:cubicBezTo>
                  <a:pt x="766" y="101"/>
                  <a:pt x="766" y="101"/>
                  <a:pt x="766" y="101"/>
                </a:cubicBezTo>
                <a:cubicBezTo>
                  <a:pt x="766" y="102"/>
                  <a:pt x="766" y="102"/>
                  <a:pt x="766" y="102"/>
                </a:cubicBezTo>
                <a:cubicBezTo>
                  <a:pt x="767" y="102"/>
                  <a:pt x="767" y="102"/>
                  <a:pt x="767" y="102"/>
                </a:cubicBezTo>
                <a:cubicBezTo>
                  <a:pt x="767" y="102"/>
                  <a:pt x="767" y="102"/>
                  <a:pt x="767" y="102"/>
                </a:cubicBezTo>
                <a:cubicBezTo>
                  <a:pt x="768" y="102"/>
                  <a:pt x="768" y="102"/>
                  <a:pt x="768" y="102"/>
                </a:cubicBezTo>
                <a:cubicBezTo>
                  <a:pt x="768" y="102"/>
                  <a:pt x="768" y="102"/>
                  <a:pt x="769" y="102"/>
                </a:cubicBezTo>
                <a:cubicBezTo>
                  <a:pt x="769" y="102"/>
                  <a:pt x="769" y="102"/>
                  <a:pt x="769" y="102"/>
                </a:cubicBezTo>
                <a:cubicBezTo>
                  <a:pt x="769" y="102"/>
                  <a:pt x="769" y="102"/>
                  <a:pt x="769" y="102"/>
                </a:cubicBezTo>
                <a:cubicBezTo>
                  <a:pt x="769" y="102"/>
                  <a:pt x="770" y="102"/>
                  <a:pt x="770" y="103"/>
                </a:cubicBezTo>
                <a:cubicBezTo>
                  <a:pt x="770" y="102"/>
                  <a:pt x="770" y="102"/>
                  <a:pt x="770" y="102"/>
                </a:cubicBezTo>
                <a:cubicBezTo>
                  <a:pt x="770" y="103"/>
                  <a:pt x="770" y="103"/>
                  <a:pt x="770" y="103"/>
                </a:cubicBezTo>
                <a:cubicBezTo>
                  <a:pt x="771" y="103"/>
                  <a:pt x="772" y="103"/>
                  <a:pt x="772" y="103"/>
                </a:cubicBezTo>
                <a:cubicBezTo>
                  <a:pt x="772" y="103"/>
                  <a:pt x="773" y="103"/>
                  <a:pt x="773" y="103"/>
                </a:cubicBezTo>
                <a:cubicBezTo>
                  <a:pt x="774" y="103"/>
                  <a:pt x="775" y="103"/>
                  <a:pt x="776" y="103"/>
                </a:cubicBezTo>
                <a:cubicBezTo>
                  <a:pt x="777" y="103"/>
                  <a:pt x="778" y="103"/>
                  <a:pt x="779" y="103"/>
                </a:cubicBezTo>
                <a:cubicBezTo>
                  <a:pt x="781" y="103"/>
                  <a:pt x="782" y="103"/>
                  <a:pt x="784" y="103"/>
                </a:cubicBezTo>
                <a:cubicBezTo>
                  <a:pt x="784" y="103"/>
                  <a:pt x="784" y="103"/>
                  <a:pt x="784" y="103"/>
                </a:cubicBezTo>
                <a:cubicBezTo>
                  <a:pt x="785" y="103"/>
                  <a:pt x="786" y="103"/>
                  <a:pt x="786" y="103"/>
                </a:cubicBezTo>
                <a:cubicBezTo>
                  <a:pt x="786" y="102"/>
                  <a:pt x="786" y="102"/>
                  <a:pt x="786" y="102"/>
                </a:cubicBezTo>
                <a:cubicBezTo>
                  <a:pt x="787" y="103"/>
                  <a:pt x="787" y="103"/>
                  <a:pt x="787" y="103"/>
                </a:cubicBezTo>
                <a:cubicBezTo>
                  <a:pt x="787" y="102"/>
                  <a:pt x="788" y="103"/>
                  <a:pt x="788" y="102"/>
                </a:cubicBezTo>
                <a:cubicBezTo>
                  <a:pt x="788" y="102"/>
                  <a:pt x="788" y="102"/>
                  <a:pt x="788" y="102"/>
                </a:cubicBezTo>
                <a:cubicBezTo>
                  <a:pt x="789" y="102"/>
                  <a:pt x="789" y="102"/>
                  <a:pt x="789" y="102"/>
                </a:cubicBezTo>
                <a:cubicBezTo>
                  <a:pt x="789" y="102"/>
                  <a:pt x="789" y="102"/>
                  <a:pt x="790" y="102"/>
                </a:cubicBezTo>
                <a:cubicBezTo>
                  <a:pt x="790" y="102"/>
                  <a:pt x="790" y="102"/>
                  <a:pt x="790" y="102"/>
                </a:cubicBezTo>
                <a:cubicBezTo>
                  <a:pt x="790" y="102"/>
                  <a:pt x="790" y="102"/>
                  <a:pt x="790" y="102"/>
                </a:cubicBezTo>
                <a:cubicBezTo>
                  <a:pt x="790" y="102"/>
                  <a:pt x="791" y="102"/>
                  <a:pt x="791" y="101"/>
                </a:cubicBezTo>
                <a:cubicBezTo>
                  <a:pt x="791" y="102"/>
                  <a:pt x="791" y="102"/>
                  <a:pt x="791" y="102"/>
                </a:cubicBezTo>
                <a:cubicBezTo>
                  <a:pt x="791" y="101"/>
                  <a:pt x="792" y="101"/>
                  <a:pt x="792" y="101"/>
                </a:cubicBezTo>
                <a:cubicBezTo>
                  <a:pt x="792" y="101"/>
                  <a:pt x="792" y="101"/>
                  <a:pt x="792" y="101"/>
                </a:cubicBezTo>
                <a:cubicBezTo>
                  <a:pt x="792" y="101"/>
                  <a:pt x="792" y="101"/>
                  <a:pt x="792" y="101"/>
                </a:cubicBezTo>
                <a:cubicBezTo>
                  <a:pt x="793" y="101"/>
                  <a:pt x="793" y="101"/>
                  <a:pt x="793" y="101"/>
                </a:cubicBezTo>
                <a:cubicBezTo>
                  <a:pt x="793" y="101"/>
                  <a:pt x="793" y="101"/>
                  <a:pt x="793" y="101"/>
                </a:cubicBezTo>
                <a:cubicBezTo>
                  <a:pt x="794" y="100"/>
                  <a:pt x="794" y="101"/>
                  <a:pt x="794" y="100"/>
                </a:cubicBezTo>
                <a:cubicBezTo>
                  <a:pt x="794" y="100"/>
                  <a:pt x="794" y="100"/>
                  <a:pt x="794" y="100"/>
                </a:cubicBezTo>
                <a:cubicBezTo>
                  <a:pt x="794" y="100"/>
                  <a:pt x="795" y="100"/>
                  <a:pt x="795" y="100"/>
                </a:cubicBezTo>
                <a:cubicBezTo>
                  <a:pt x="795" y="100"/>
                  <a:pt x="795" y="100"/>
                  <a:pt x="795" y="100"/>
                </a:cubicBezTo>
                <a:cubicBezTo>
                  <a:pt x="795" y="100"/>
                  <a:pt x="795" y="100"/>
                  <a:pt x="795" y="100"/>
                </a:cubicBezTo>
                <a:cubicBezTo>
                  <a:pt x="795" y="100"/>
                  <a:pt x="796" y="100"/>
                  <a:pt x="796" y="100"/>
                </a:cubicBezTo>
                <a:cubicBezTo>
                  <a:pt x="796" y="100"/>
                  <a:pt x="796" y="100"/>
                  <a:pt x="796" y="100"/>
                </a:cubicBezTo>
                <a:cubicBezTo>
                  <a:pt x="796" y="100"/>
                  <a:pt x="797" y="100"/>
                  <a:pt x="797" y="99"/>
                </a:cubicBezTo>
                <a:cubicBezTo>
                  <a:pt x="797" y="99"/>
                  <a:pt x="797" y="99"/>
                  <a:pt x="797" y="99"/>
                </a:cubicBezTo>
                <a:cubicBezTo>
                  <a:pt x="797" y="99"/>
                  <a:pt x="797" y="99"/>
                  <a:pt x="797" y="99"/>
                </a:cubicBezTo>
                <a:cubicBezTo>
                  <a:pt x="797" y="99"/>
                  <a:pt x="797" y="99"/>
                  <a:pt x="797" y="99"/>
                </a:cubicBezTo>
                <a:cubicBezTo>
                  <a:pt x="798" y="99"/>
                  <a:pt x="798" y="99"/>
                  <a:pt x="798" y="99"/>
                </a:cubicBezTo>
                <a:cubicBezTo>
                  <a:pt x="798" y="99"/>
                  <a:pt x="798" y="99"/>
                  <a:pt x="798" y="99"/>
                </a:cubicBezTo>
                <a:cubicBezTo>
                  <a:pt x="798" y="99"/>
                  <a:pt x="798" y="98"/>
                  <a:pt x="798" y="98"/>
                </a:cubicBezTo>
                <a:cubicBezTo>
                  <a:pt x="799" y="98"/>
                  <a:pt x="799" y="98"/>
                  <a:pt x="799" y="98"/>
                </a:cubicBezTo>
                <a:cubicBezTo>
                  <a:pt x="799" y="98"/>
                  <a:pt x="799" y="98"/>
                  <a:pt x="799" y="98"/>
                </a:cubicBezTo>
                <a:cubicBezTo>
                  <a:pt x="799" y="98"/>
                  <a:pt x="799" y="98"/>
                  <a:pt x="799" y="98"/>
                </a:cubicBezTo>
                <a:cubicBezTo>
                  <a:pt x="799" y="98"/>
                  <a:pt x="800" y="98"/>
                  <a:pt x="800" y="98"/>
                </a:cubicBezTo>
                <a:cubicBezTo>
                  <a:pt x="800" y="98"/>
                  <a:pt x="800" y="98"/>
                  <a:pt x="800" y="98"/>
                </a:cubicBezTo>
                <a:cubicBezTo>
                  <a:pt x="800" y="98"/>
                  <a:pt x="800" y="97"/>
                  <a:pt x="800" y="97"/>
                </a:cubicBezTo>
                <a:cubicBezTo>
                  <a:pt x="800" y="97"/>
                  <a:pt x="800" y="97"/>
                  <a:pt x="800" y="97"/>
                </a:cubicBezTo>
                <a:cubicBezTo>
                  <a:pt x="801" y="97"/>
                  <a:pt x="801" y="96"/>
                  <a:pt x="801" y="96"/>
                </a:cubicBezTo>
                <a:cubicBezTo>
                  <a:pt x="801" y="93"/>
                  <a:pt x="801" y="90"/>
                  <a:pt x="801" y="87"/>
                </a:cubicBezTo>
                <a:cubicBezTo>
                  <a:pt x="801" y="87"/>
                  <a:pt x="801" y="87"/>
                  <a:pt x="801" y="87"/>
                </a:cubicBezTo>
                <a:cubicBezTo>
                  <a:pt x="801" y="87"/>
                  <a:pt x="801" y="87"/>
                  <a:pt x="801" y="87"/>
                </a:cubicBezTo>
                <a:cubicBezTo>
                  <a:pt x="800" y="87"/>
                  <a:pt x="800" y="87"/>
                  <a:pt x="800" y="87"/>
                </a:cubicBezTo>
                <a:cubicBezTo>
                  <a:pt x="800" y="87"/>
                  <a:pt x="800" y="87"/>
                  <a:pt x="800" y="87"/>
                </a:cubicBezTo>
                <a:cubicBezTo>
                  <a:pt x="800" y="87"/>
                  <a:pt x="800" y="87"/>
                  <a:pt x="800" y="87"/>
                </a:cubicBezTo>
                <a:cubicBezTo>
                  <a:pt x="800" y="87"/>
                  <a:pt x="800" y="87"/>
                  <a:pt x="800" y="87"/>
                </a:cubicBezTo>
                <a:cubicBezTo>
                  <a:pt x="800" y="87"/>
                  <a:pt x="799" y="87"/>
                  <a:pt x="799" y="88"/>
                </a:cubicBezTo>
                <a:cubicBezTo>
                  <a:pt x="799" y="88"/>
                  <a:pt x="799" y="88"/>
                  <a:pt x="799" y="88"/>
                </a:cubicBezTo>
                <a:cubicBezTo>
                  <a:pt x="799" y="88"/>
                  <a:pt x="799" y="88"/>
                  <a:pt x="799" y="88"/>
                </a:cubicBezTo>
                <a:cubicBezTo>
                  <a:pt x="799" y="88"/>
                  <a:pt x="799" y="88"/>
                  <a:pt x="799" y="88"/>
                </a:cubicBezTo>
                <a:cubicBezTo>
                  <a:pt x="799" y="88"/>
                  <a:pt x="798" y="88"/>
                  <a:pt x="798" y="88"/>
                </a:cubicBezTo>
                <a:cubicBezTo>
                  <a:pt x="798" y="88"/>
                  <a:pt x="798" y="88"/>
                  <a:pt x="798" y="88"/>
                </a:cubicBezTo>
                <a:cubicBezTo>
                  <a:pt x="798" y="88"/>
                  <a:pt x="798" y="89"/>
                  <a:pt x="798" y="89"/>
                </a:cubicBezTo>
                <a:cubicBezTo>
                  <a:pt x="798" y="89"/>
                  <a:pt x="798" y="89"/>
                  <a:pt x="798" y="89"/>
                </a:cubicBezTo>
                <a:cubicBezTo>
                  <a:pt x="798" y="89"/>
                  <a:pt x="797" y="89"/>
                  <a:pt x="797" y="89"/>
                </a:cubicBezTo>
                <a:cubicBezTo>
                  <a:pt x="797" y="89"/>
                  <a:pt x="797" y="89"/>
                  <a:pt x="797" y="89"/>
                </a:cubicBezTo>
                <a:cubicBezTo>
                  <a:pt x="797" y="89"/>
                  <a:pt x="797" y="89"/>
                  <a:pt x="797" y="89"/>
                </a:cubicBezTo>
                <a:cubicBezTo>
                  <a:pt x="797" y="89"/>
                  <a:pt x="797" y="89"/>
                  <a:pt x="797" y="89"/>
                </a:cubicBezTo>
                <a:cubicBezTo>
                  <a:pt x="797" y="90"/>
                  <a:pt x="796" y="89"/>
                  <a:pt x="796" y="90"/>
                </a:cubicBezTo>
                <a:cubicBezTo>
                  <a:pt x="796" y="90"/>
                  <a:pt x="796" y="90"/>
                  <a:pt x="796" y="90"/>
                </a:cubicBezTo>
                <a:cubicBezTo>
                  <a:pt x="796" y="90"/>
                  <a:pt x="796" y="90"/>
                  <a:pt x="795" y="90"/>
                </a:cubicBezTo>
                <a:cubicBezTo>
                  <a:pt x="795" y="90"/>
                  <a:pt x="795" y="90"/>
                  <a:pt x="795" y="90"/>
                </a:cubicBezTo>
                <a:cubicBezTo>
                  <a:pt x="795" y="90"/>
                  <a:pt x="795" y="90"/>
                  <a:pt x="795" y="90"/>
                </a:cubicBezTo>
                <a:cubicBezTo>
                  <a:pt x="795" y="90"/>
                  <a:pt x="795" y="90"/>
                  <a:pt x="795" y="90"/>
                </a:cubicBezTo>
                <a:cubicBezTo>
                  <a:pt x="794" y="91"/>
                  <a:pt x="794" y="91"/>
                  <a:pt x="794" y="91"/>
                </a:cubicBezTo>
                <a:cubicBezTo>
                  <a:pt x="794" y="91"/>
                  <a:pt x="794" y="91"/>
                  <a:pt x="794" y="91"/>
                </a:cubicBezTo>
                <a:cubicBezTo>
                  <a:pt x="794" y="91"/>
                  <a:pt x="793" y="91"/>
                  <a:pt x="793" y="91"/>
                </a:cubicBezTo>
                <a:cubicBezTo>
                  <a:pt x="793" y="91"/>
                  <a:pt x="793" y="91"/>
                  <a:pt x="793" y="91"/>
                </a:cubicBezTo>
                <a:cubicBezTo>
                  <a:pt x="793" y="91"/>
                  <a:pt x="793" y="91"/>
                  <a:pt x="793" y="91"/>
                </a:cubicBezTo>
                <a:cubicBezTo>
                  <a:pt x="793" y="91"/>
                  <a:pt x="792" y="92"/>
                  <a:pt x="792" y="91"/>
                </a:cubicBezTo>
                <a:cubicBezTo>
                  <a:pt x="792" y="92"/>
                  <a:pt x="792" y="92"/>
                  <a:pt x="792" y="92"/>
                </a:cubicBezTo>
                <a:cubicBezTo>
                  <a:pt x="792" y="92"/>
                  <a:pt x="792" y="92"/>
                  <a:pt x="792" y="92"/>
                </a:cubicBezTo>
                <a:cubicBezTo>
                  <a:pt x="791" y="92"/>
                  <a:pt x="791" y="92"/>
                  <a:pt x="791" y="92"/>
                </a:cubicBezTo>
                <a:cubicBezTo>
                  <a:pt x="791" y="92"/>
                  <a:pt x="791" y="92"/>
                  <a:pt x="791" y="92"/>
                </a:cubicBezTo>
                <a:cubicBezTo>
                  <a:pt x="790" y="92"/>
                  <a:pt x="790" y="92"/>
                  <a:pt x="789" y="92"/>
                </a:cubicBezTo>
                <a:cubicBezTo>
                  <a:pt x="789" y="92"/>
                  <a:pt x="789" y="92"/>
                  <a:pt x="789" y="92"/>
                </a:cubicBezTo>
                <a:cubicBezTo>
                  <a:pt x="789" y="93"/>
                  <a:pt x="789" y="93"/>
                  <a:pt x="788" y="93"/>
                </a:cubicBezTo>
                <a:cubicBezTo>
                  <a:pt x="788" y="93"/>
                  <a:pt x="788" y="93"/>
                  <a:pt x="788" y="93"/>
                </a:cubicBezTo>
                <a:cubicBezTo>
                  <a:pt x="788" y="93"/>
                  <a:pt x="787" y="93"/>
                  <a:pt x="787" y="93"/>
                </a:cubicBezTo>
                <a:cubicBezTo>
                  <a:pt x="787" y="93"/>
                  <a:pt x="787" y="93"/>
                  <a:pt x="787" y="93"/>
                </a:cubicBezTo>
                <a:cubicBezTo>
                  <a:pt x="786" y="93"/>
                  <a:pt x="786" y="93"/>
                  <a:pt x="786" y="93"/>
                </a:cubicBezTo>
                <a:cubicBezTo>
                  <a:pt x="786" y="93"/>
                  <a:pt x="785" y="93"/>
                  <a:pt x="785" y="93"/>
                </a:cubicBezTo>
                <a:cubicBezTo>
                  <a:pt x="785" y="94"/>
                  <a:pt x="784" y="94"/>
                  <a:pt x="784" y="94"/>
                </a:cubicBezTo>
                <a:cubicBezTo>
                  <a:pt x="782" y="94"/>
                  <a:pt x="779" y="94"/>
                  <a:pt x="776" y="94"/>
                </a:cubicBezTo>
                <a:cubicBezTo>
                  <a:pt x="776" y="94"/>
                  <a:pt x="776" y="94"/>
                  <a:pt x="776" y="93"/>
                </a:cubicBezTo>
                <a:cubicBezTo>
                  <a:pt x="775" y="93"/>
                  <a:pt x="775" y="93"/>
                  <a:pt x="774" y="93"/>
                </a:cubicBezTo>
                <a:cubicBezTo>
                  <a:pt x="774" y="93"/>
                  <a:pt x="774" y="93"/>
                  <a:pt x="774" y="93"/>
                </a:cubicBezTo>
                <a:cubicBezTo>
                  <a:pt x="774" y="93"/>
                  <a:pt x="774" y="93"/>
                  <a:pt x="774" y="93"/>
                </a:cubicBezTo>
                <a:cubicBezTo>
                  <a:pt x="774" y="93"/>
                  <a:pt x="773" y="93"/>
                  <a:pt x="773" y="93"/>
                </a:cubicBezTo>
                <a:cubicBezTo>
                  <a:pt x="773" y="93"/>
                  <a:pt x="773" y="93"/>
                  <a:pt x="773" y="93"/>
                </a:cubicBezTo>
                <a:cubicBezTo>
                  <a:pt x="773" y="93"/>
                  <a:pt x="773" y="93"/>
                  <a:pt x="773" y="93"/>
                </a:cubicBezTo>
                <a:cubicBezTo>
                  <a:pt x="772" y="93"/>
                  <a:pt x="772" y="93"/>
                  <a:pt x="772" y="92"/>
                </a:cubicBezTo>
                <a:cubicBezTo>
                  <a:pt x="772" y="92"/>
                  <a:pt x="772" y="92"/>
                  <a:pt x="772" y="92"/>
                </a:cubicBezTo>
                <a:cubicBezTo>
                  <a:pt x="771" y="92"/>
                  <a:pt x="771" y="92"/>
                  <a:pt x="771" y="92"/>
                </a:cubicBezTo>
                <a:cubicBezTo>
                  <a:pt x="771" y="92"/>
                  <a:pt x="771" y="92"/>
                  <a:pt x="771" y="92"/>
                </a:cubicBezTo>
                <a:cubicBezTo>
                  <a:pt x="771" y="92"/>
                  <a:pt x="771" y="92"/>
                  <a:pt x="771" y="92"/>
                </a:cubicBezTo>
                <a:cubicBezTo>
                  <a:pt x="770" y="92"/>
                  <a:pt x="770" y="92"/>
                  <a:pt x="770" y="92"/>
                </a:cubicBezTo>
                <a:cubicBezTo>
                  <a:pt x="770" y="92"/>
                  <a:pt x="770" y="92"/>
                  <a:pt x="770" y="92"/>
                </a:cubicBezTo>
                <a:cubicBezTo>
                  <a:pt x="770" y="92"/>
                  <a:pt x="769" y="92"/>
                  <a:pt x="769" y="91"/>
                </a:cubicBezTo>
                <a:cubicBezTo>
                  <a:pt x="769" y="91"/>
                  <a:pt x="769" y="91"/>
                  <a:pt x="769" y="91"/>
                </a:cubicBezTo>
                <a:cubicBezTo>
                  <a:pt x="769" y="91"/>
                  <a:pt x="769" y="91"/>
                  <a:pt x="769" y="91"/>
                </a:cubicBezTo>
                <a:cubicBezTo>
                  <a:pt x="769" y="91"/>
                  <a:pt x="769" y="91"/>
                  <a:pt x="769" y="91"/>
                </a:cubicBezTo>
                <a:cubicBezTo>
                  <a:pt x="768" y="91"/>
                  <a:pt x="768" y="91"/>
                  <a:pt x="768" y="91"/>
                </a:cubicBezTo>
                <a:cubicBezTo>
                  <a:pt x="768" y="91"/>
                  <a:pt x="768" y="91"/>
                  <a:pt x="768" y="91"/>
                </a:cubicBezTo>
                <a:cubicBezTo>
                  <a:pt x="768" y="90"/>
                  <a:pt x="768" y="91"/>
                  <a:pt x="767" y="90"/>
                </a:cubicBezTo>
                <a:cubicBezTo>
                  <a:pt x="767" y="90"/>
                  <a:pt x="767" y="90"/>
                  <a:pt x="767" y="90"/>
                </a:cubicBezTo>
                <a:cubicBezTo>
                  <a:pt x="767" y="90"/>
                  <a:pt x="767" y="90"/>
                  <a:pt x="766" y="90"/>
                </a:cubicBezTo>
                <a:cubicBezTo>
                  <a:pt x="766" y="90"/>
                  <a:pt x="766" y="90"/>
                  <a:pt x="766" y="90"/>
                </a:cubicBezTo>
                <a:cubicBezTo>
                  <a:pt x="766" y="90"/>
                  <a:pt x="766" y="89"/>
                  <a:pt x="766" y="89"/>
                </a:cubicBezTo>
                <a:cubicBezTo>
                  <a:pt x="766" y="89"/>
                  <a:pt x="766" y="89"/>
                  <a:pt x="766" y="89"/>
                </a:cubicBezTo>
                <a:cubicBezTo>
                  <a:pt x="766" y="89"/>
                  <a:pt x="766" y="89"/>
                  <a:pt x="766" y="89"/>
                </a:cubicBezTo>
                <a:cubicBezTo>
                  <a:pt x="766" y="89"/>
                  <a:pt x="766" y="89"/>
                  <a:pt x="766" y="89"/>
                </a:cubicBezTo>
                <a:cubicBezTo>
                  <a:pt x="765" y="88"/>
                  <a:pt x="765" y="88"/>
                  <a:pt x="764" y="87"/>
                </a:cubicBezTo>
                <a:cubicBezTo>
                  <a:pt x="764" y="87"/>
                  <a:pt x="764" y="87"/>
                  <a:pt x="764" y="87"/>
                </a:cubicBezTo>
                <a:cubicBezTo>
                  <a:pt x="764" y="87"/>
                  <a:pt x="764" y="87"/>
                  <a:pt x="764" y="87"/>
                </a:cubicBezTo>
                <a:cubicBezTo>
                  <a:pt x="764" y="87"/>
                  <a:pt x="764" y="87"/>
                  <a:pt x="764" y="87"/>
                </a:cubicBezTo>
                <a:cubicBezTo>
                  <a:pt x="764" y="87"/>
                  <a:pt x="763" y="87"/>
                  <a:pt x="763" y="87"/>
                </a:cubicBezTo>
                <a:cubicBezTo>
                  <a:pt x="763" y="87"/>
                  <a:pt x="763" y="87"/>
                  <a:pt x="763" y="87"/>
                </a:cubicBezTo>
                <a:cubicBezTo>
                  <a:pt x="763" y="86"/>
                  <a:pt x="763" y="86"/>
                  <a:pt x="763" y="86"/>
                </a:cubicBezTo>
                <a:cubicBezTo>
                  <a:pt x="763" y="86"/>
                  <a:pt x="763" y="86"/>
                  <a:pt x="763" y="86"/>
                </a:cubicBezTo>
                <a:cubicBezTo>
                  <a:pt x="763" y="86"/>
                  <a:pt x="763" y="86"/>
                  <a:pt x="763" y="86"/>
                </a:cubicBezTo>
                <a:cubicBezTo>
                  <a:pt x="763" y="86"/>
                  <a:pt x="763" y="86"/>
                  <a:pt x="763" y="86"/>
                </a:cubicBezTo>
                <a:cubicBezTo>
                  <a:pt x="763" y="85"/>
                  <a:pt x="762" y="85"/>
                  <a:pt x="762" y="85"/>
                </a:cubicBezTo>
                <a:cubicBezTo>
                  <a:pt x="762" y="85"/>
                  <a:pt x="762" y="85"/>
                  <a:pt x="762" y="85"/>
                </a:cubicBezTo>
                <a:cubicBezTo>
                  <a:pt x="762" y="85"/>
                  <a:pt x="762" y="85"/>
                  <a:pt x="762" y="84"/>
                </a:cubicBezTo>
                <a:cubicBezTo>
                  <a:pt x="762" y="85"/>
                  <a:pt x="762" y="85"/>
                  <a:pt x="762" y="85"/>
                </a:cubicBezTo>
                <a:cubicBezTo>
                  <a:pt x="762" y="84"/>
                  <a:pt x="762" y="84"/>
                  <a:pt x="762" y="84"/>
                </a:cubicBezTo>
                <a:cubicBezTo>
                  <a:pt x="762" y="84"/>
                  <a:pt x="762" y="84"/>
                  <a:pt x="762" y="84"/>
                </a:cubicBezTo>
                <a:cubicBezTo>
                  <a:pt x="762" y="84"/>
                  <a:pt x="762" y="84"/>
                  <a:pt x="762" y="84"/>
                </a:cubicBezTo>
                <a:cubicBezTo>
                  <a:pt x="762" y="84"/>
                  <a:pt x="761" y="84"/>
                  <a:pt x="761" y="83"/>
                </a:cubicBezTo>
                <a:cubicBezTo>
                  <a:pt x="761" y="83"/>
                  <a:pt x="761" y="83"/>
                  <a:pt x="761" y="83"/>
                </a:cubicBezTo>
                <a:cubicBezTo>
                  <a:pt x="761" y="83"/>
                  <a:pt x="761" y="83"/>
                  <a:pt x="761" y="83"/>
                </a:cubicBezTo>
                <a:cubicBezTo>
                  <a:pt x="761" y="83"/>
                  <a:pt x="761" y="83"/>
                  <a:pt x="761" y="83"/>
                </a:cubicBezTo>
                <a:cubicBezTo>
                  <a:pt x="761" y="83"/>
                  <a:pt x="761" y="83"/>
                  <a:pt x="761" y="83"/>
                </a:cubicBezTo>
                <a:cubicBezTo>
                  <a:pt x="761" y="82"/>
                  <a:pt x="761" y="82"/>
                  <a:pt x="760" y="82"/>
                </a:cubicBezTo>
                <a:cubicBezTo>
                  <a:pt x="761" y="82"/>
                  <a:pt x="761" y="82"/>
                  <a:pt x="761" y="82"/>
                </a:cubicBezTo>
                <a:cubicBezTo>
                  <a:pt x="760" y="81"/>
                  <a:pt x="760" y="81"/>
                  <a:pt x="760" y="81"/>
                </a:cubicBezTo>
                <a:cubicBezTo>
                  <a:pt x="760" y="81"/>
                  <a:pt x="760" y="81"/>
                  <a:pt x="760" y="81"/>
                </a:cubicBezTo>
                <a:cubicBezTo>
                  <a:pt x="760" y="81"/>
                  <a:pt x="760" y="80"/>
                  <a:pt x="760" y="80"/>
                </a:cubicBezTo>
                <a:cubicBezTo>
                  <a:pt x="760" y="80"/>
                  <a:pt x="760" y="80"/>
                  <a:pt x="760" y="80"/>
                </a:cubicBezTo>
                <a:cubicBezTo>
                  <a:pt x="760" y="80"/>
                  <a:pt x="760" y="79"/>
                  <a:pt x="760" y="79"/>
                </a:cubicBezTo>
                <a:cubicBezTo>
                  <a:pt x="759" y="79"/>
                  <a:pt x="759" y="79"/>
                  <a:pt x="759" y="79"/>
                </a:cubicBezTo>
                <a:cubicBezTo>
                  <a:pt x="759" y="78"/>
                  <a:pt x="759" y="78"/>
                  <a:pt x="759" y="77"/>
                </a:cubicBezTo>
                <a:cubicBezTo>
                  <a:pt x="759" y="77"/>
                  <a:pt x="759" y="77"/>
                  <a:pt x="759" y="77"/>
                </a:cubicBezTo>
                <a:cubicBezTo>
                  <a:pt x="759" y="77"/>
                  <a:pt x="759" y="76"/>
                  <a:pt x="759" y="75"/>
                </a:cubicBezTo>
                <a:cubicBezTo>
                  <a:pt x="759" y="75"/>
                  <a:pt x="759" y="75"/>
                  <a:pt x="759" y="75"/>
                </a:cubicBezTo>
                <a:cubicBezTo>
                  <a:pt x="758" y="74"/>
                  <a:pt x="759" y="73"/>
                  <a:pt x="758" y="72"/>
                </a:cubicBezTo>
                <a:cubicBezTo>
                  <a:pt x="758" y="72"/>
                  <a:pt x="758" y="71"/>
                  <a:pt x="759" y="71"/>
                </a:cubicBezTo>
                <a:cubicBezTo>
                  <a:pt x="759" y="71"/>
                  <a:pt x="760" y="71"/>
                  <a:pt x="760" y="71"/>
                </a:cubicBezTo>
                <a:cubicBezTo>
                  <a:pt x="775" y="71"/>
                  <a:pt x="789" y="71"/>
                  <a:pt x="804" y="71"/>
                </a:cubicBezTo>
                <a:cubicBezTo>
                  <a:pt x="805" y="71"/>
                  <a:pt x="805" y="71"/>
                  <a:pt x="806" y="70"/>
                </a:cubicBezTo>
                <a:cubicBezTo>
                  <a:pt x="806" y="68"/>
                  <a:pt x="806" y="65"/>
                  <a:pt x="806" y="62"/>
                </a:cubicBezTo>
                <a:cubicBezTo>
                  <a:pt x="805" y="61"/>
                  <a:pt x="806" y="60"/>
                  <a:pt x="805" y="59"/>
                </a:cubicBezTo>
                <a:cubicBezTo>
                  <a:pt x="805" y="58"/>
                  <a:pt x="805" y="58"/>
                  <a:pt x="805" y="58"/>
                </a:cubicBezTo>
                <a:cubicBezTo>
                  <a:pt x="805" y="58"/>
                  <a:pt x="805" y="57"/>
                  <a:pt x="805" y="56"/>
                </a:cubicBezTo>
                <a:cubicBezTo>
                  <a:pt x="805" y="56"/>
                  <a:pt x="805" y="56"/>
                  <a:pt x="805" y="56"/>
                </a:cubicBezTo>
                <a:cubicBezTo>
                  <a:pt x="805" y="55"/>
                  <a:pt x="805" y="55"/>
                  <a:pt x="805" y="54"/>
                </a:cubicBezTo>
                <a:cubicBezTo>
                  <a:pt x="805" y="54"/>
                  <a:pt x="805" y="54"/>
                  <a:pt x="805" y="54"/>
                </a:cubicBezTo>
                <a:cubicBezTo>
                  <a:pt x="805" y="54"/>
                  <a:pt x="805" y="54"/>
                  <a:pt x="805" y="54"/>
                </a:cubicBezTo>
                <a:cubicBezTo>
                  <a:pt x="805" y="54"/>
                  <a:pt x="805" y="53"/>
                  <a:pt x="804" y="53"/>
                </a:cubicBezTo>
                <a:cubicBezTo>
                  <a:pt x="804" y="53"/>
                  <a:pt x="804" y="53"/>
                  <a:pt x="804" y="53"/>
                </a:cubicBezTo>
                <a:cubicBezTo>
                  <a:pt x="804" y="53"/>
                  <a:pt x="804" y="53"/>
                  <a:pt x="804" y="53"/>
                </a:cubicBezTo>
                <a:cubicBezTo>
                  <a:pt x="804" y="52"/>
                  <a:pt x="804" y="52"/>
                  <a:pt x="804" y="51"/>
                </a:cubicBezTo>
                <a:cubicBezTo>
                  <a:pt x="804" y="51"/>
                  <a:pt x="804" y="51"/>
                  <a:pt x="804" y="51"/>
                </a:cubicBezTo>
                <a:cubicBezTo>
                  <a:pt x="804" y="51"/>
                  <a:pt x="804" y="51"/>
                  <a:pt x="804" y="50"/>
                </a:cubicBezTo>
                <a:cubicBezTo>
                  <a:pt x="804" y="50"/>
                  <a:pt x="804" y="50"/>
                  <a:pt x="804" y="50"/>
                </a:cubicBezTo>
                <a:cubicBezTo>
                  <a:pt x="803" y="50"/>
                  <a:pt x="804" y="50"/>
                  <a:pt x="803" y="49"/>
                </a:cubicBezTo>
                <a:cubicBezTo>
                  <a:pt x="803" y="49"/>
                  <a:pt x="803" y="49"/>
                  <a:pt x="803" y="49"/>
                </a:cubicBezTo>
                <a:cubicBezTo>
                  <a:pt x="803" y="49"/>
                  <a:pt x="803" y="49"/>
                  <a:pt x="803" y="49"/>
                </a:cubicBezTo>
                <a:cubicBezTo>
                  <a:pt x="803" y="49"/>
                  <a:pt x="803" y="49"/>
                  <a:pt x="803" y="49"/>
                </a:cubicBezTo>
                <a:cubicBezTo>
                  <a:pt x="803" y="48"/>
                  <a:pt x="803" y="48"/>
                  <a:pt x="803" y="48"/>
                </a:cubicBezTo>
                <a:cubicBezTo>
                  <a:pt x="803" y="48"/>
                  <a:pt x="803" y="48"/>
                  <a:pt x="803" y="48"/>
                </a:cubicBezTo>
                <a:cubicBezTo>
                  <a:pt x="802" y="47"/>
                  <a:pt x="803" y="47"/>
                  <a:pt x="802" y="47"/>
                </a:cubicBezTo>
                <a:cubicBezTo>
                  <a:pt x="802" y="47"/>
                  <a:pt x="802" y="47"/>
                  <a:pt x="802" y="47"/>
                </a:cubicBezTo>
                <a:cubicBezTo>
                  <a:pt x="802" y="47"/>
                  <a:pt x="802" y="46"/>
                  <a:pt x="802" y="46"/>
                </a:cubicBezTo>
                <a:cubicBezTo>
                  <a:pt x="802" y="46"/>
                  <a:pt x="802" y="46"/>
                  <a:pt x="802" y="46"/>
                </a:cubicBezTo>
                <a:cubicBezTo>
                  <a:pt x="802" y="46"/>
                  <a:pt x="802" y="46"/>
                  <a:pt x="802" y="46"/>
                </a:cubicBezTo>
                <a:cubicBezTo>
                  <a:pt x="802" y="46"/>
                  <a:pt x="802" y="46"/>
                  <a:pt x="802" y="46"/>
                </a:cubicBezTo>
                <a:cubicBezTo>
                  <a:pt x="802" y="45"/>
                  <a:pt x="801" y="45"/>
                  <a:pt x="801" y="45"/>
                </a:cubicBezTo>
                <a:cubicBezTo>
                  <a:pt x="801" y="45"/>
                  <a:pt x="801" y="45"/>
                  <a:pt x="801" y="45"/>
                </a:cubicBezTo>
                <a:cubicBezTo>
                  <a:pt x="801" y="45"/>
                  <a:pt x="801" y="45"/>
                  <a:pt x="801" y="45"/>
                </a:cubicBezTo>
                <a:cubicBezTo>
                  <a:pt x="801" y="45"/>
                  <a:pt x="801" y="45"/>
                  <a:pt x="801" y="44"/>
                </a:cubicBezTo>
                <a:cubicBezTo>
                  <a:pt x="801" y="44"/>
                  <a:pt x="801" y="44"/>
                  <a:pt x="801" y="44"/>
                </a:cubicBezTo>
                <a:cubicBezTo>
                  <a:pt x="801" y="44"/>
                  <a:pt x="801" y="44"/>
                  <a:pt x="801" y="44"/>
                </a:cubicBezTo>
                <a:cubicBezTo>
                  <a:pt x="801" y="44"/>
                  <a:pt x="801" y="44"/>
                  <a:pt x="801" y="44"/>
                </a:cubicBezTo>
                <a:cubicBezTo>
                  <a:pt x="800" y="44"/>
                  <a:pt x="800" y="44"/>
                  <a:pt x="800" y="43"/>
                </a:cubicBezTo>
                <a:cubicBezTo>
                  <a:pt x="800" y="43"/>
                  <a:pt x="800" y="43"/>
                  <a:pt x="800" y="43"/>
                </a:cubicBezTo>
                <a:cubicBezTo>
                  <a:pt x="800" y="43"/>
                  <a:pt x="800" y="43"/>
                  <a:pt x="800" y="43"/>
                </a:cubicBezTo>
                <a:cubicBezTo>
                  <a:pt x="800" y="43"/>
                  <a:pt x="800" y="43"/>
                  <a:pt x="800" y="43"/>
                </a:cubicBezTo>
                <a:cubicBezTo>
                  <a:pt x="800" y="43"/>
                  <a:pt x="800" y="42"/>
                  <a:pt x="800" y="42"/>
                </a:cubicBezTo>
                <a:cubicBezTo>
                  <a:pt x="800" y="42"/>
                  <a:pt x="800" y="42"/>
                  <a:pt x="800" y="42"/>
                </a:cubicBezTo>
                <a:cubicBezTo>
                  <a:pt x="799" y="42"/>
                  <a:pt x="799" y="42"/>
                  <a:pt x="799" y="42"/>
                </a:cubicBezTo>
                <a:cubicBezTo>
                  <a:pt x="799" y="42"/>
                  <a:pt x="799" y="42"/>
                  <a:pt x="799" y="42"/>
                </a:cubicBezTo>
                <a:cubicBezTo>
                  <a:pt x="799" y="42"/>
                  <a:pt x="799" y="41"/>
                  <a:pt x="799" y="41"/>
                </a:cubicBezTo>
                <a:cubicBezTo>
                  <a:pt x="799" y="41"/>
                  <a:pt x="799" y="41"/>
                  <a:pt x="799" y="41"/>
                </a:cubicBezTo>
                <a:cubicBezTo>
                  <a:pt x="799" y="41"/>
                  <a:pt x="799" y="41"/>
                  <a:pt x="798" y="41"/>
                </a:cubicBezTo>
                <a:cubicBezTo>
                  <a:pt x="798" y="41"/>
                  <a:pt x="798" y="41"/>
                  <a:pt x="798" y="41"/>
                </a:cubicBezTo>
                <a:cubicBezTo>
                  <a:pt x="798" y="41"/>
                  <a:pt x="798" y="41"/>
                  <a:pt x="798" y="41"/>
                </a:cubicBezTo>
                <a:cubicBezTo>
                  <a:pt x="798" y="41"/>
                  <a:pt x="798" y="41"/>
                  <a:pt x="798" y="41"/>
                </a:cubicBezTo>
                <a:cubicBezTo>
                  <a:pt x="798" y="40"/>
                  <a:pt x="798" y="40"/>
                  <a:pt x="798" y="40"/>
                </a:cubicBezTo>
                <a:cubicBezTo>
                  <a:pt x="798" y="40"/>
                  <a:pt x="798" y="40"/>
                  <a:pt x="798" y="40"/>
                </a:cubicBezTo>
                <a:cubicBezTo>
                  <a:pt x="798" y="40"/>
                  <a:pt x="798" y="40"/>
                  <a:pt x="797" y="40"/>
                </a:cubicBezTo>
                <a:cubicBezTo>
                  <a:pt x="797" y="40"/>
                  <a:pt x="797" y="40"/>
                  <a:pt x="797" y="40"/>
                </a:cubicBezTo>
                <a:cubicBezTo>
                  <a:pt x="797" y="40"/>
                  <a:pt x="797" y="40"/>
                  <a:pt x="797" y="40"/>
                </a:cubicBezTo>
                <a:cubicBezTo>
                  <a:pt x="797" y="40"/>
                  <a:pt x="797" y="40"/>
                  <a:pt x="797" y="40"/>
                </a:cubicBezTo>
                <a:cubicBezTo>
                  <a:pt x="797" y="39"/>
                  <a:pt x="797" y="39"/>
                  <a:pt x="797" y="39"/>
                </a:cubicBezTo>
                <a:cubicBezTo>
                  <a:pt x="797" y="39"/>
                  <a:pt x="797" y="39"/>
                  <a:pt x="797" y="39"/>
                </a:cubicBezTo>
                <a:cubicBezTo>
                  <a:pt x="797" y="39"/>
                  <a:pt x="797" y="39"/>
                  <a:pt x="796" y="39"/>
                </a:cubicBezTo>
                <a:cubicBezTo>
                  <a:pt x="796" y="39"/>
                  <a:pt x="796" y="39"/>
                  <a:pt x="796" y="39"/>
                </a:cubicBezTo>
                <a:cubicBezTo>
                  <a:pt x="796" y="39"/>
                  <a:pt x="796" y="39"/>
                  <a:pt x="796" y="39"/>
                </a:cubicBezTo>
                <a:cubicBezTo>
                  <a:pt x="796" y="39"/>
                  <a:pt x="796" y="39"/>
                  <a:pt x="796" y="39"/>
                </a:cubicBezTo>
                <a:cubicBezTo>
                  <a:pt x="796" y="38"/>
                  <a:pt x="796" y="38"/>
                  <a:pt x="796" y="38"/>
                </a:cubicBezTo>
                <a:cubicBezTo>
                  <a:pt x="796" y="38"/>
                  <a:pt x="796" y="38"/>
                  <a:pt x="796" y="38"/>
                </a:cubicBezTo>
                <a:cubicBezTo>
                  <a:pt x="796" y="38"/>
                  <a:pt x="795" y="38"/>
                  <a:pt x="795" y="38"/>
                </a:cubicBezTo>
                <a:cubicBezTo>
                  <a:pt x="795" y="38"/>
                  <a:pt x="795" y="38"/>
                  <a:pt x="795" y="38"/>
                </a:cubicBezTo>
                <a:cubicBezTo>
                  <a:pt x="795" y="38"/>
                  <a:pt x="795" y="38"/>
                  <a:pt x="795" y="37"/>
                </a:cubicBezTo>
                <a:cubicBezTo>
                  <a:pt x="795" y="37"/>
                  <a:pt x="795" y="37"/>
                  <a:pt x="795" y="37"/>
                </a:cubicBezTo>
                <a:cubicBezTo>
                  <a:pt x="795" y="37"/>
                  <a:pt x="794" y="37"/>
                  <a:pt x="794" y="37"/>
                </a:cubicBezTo>
                <a:cubicBezTo>
                  <a:pt x="794" y="37"/>
                  <a:pt x="794" y="37"/>
                  <a:pt x="794" y="37"/>
                </a:cubicBezTo>
                <a:cubicBezTo>
                  <a:pt x="794" y="37"/>
                  <a:pt x="794" y="37"/>
                  <a:pt x="794" y="37"/>
                </a:cubicBezTo>
                <a:cubicBezTo>
                  <a:pt x="794" y="37"/>
                  <a:pt x="794" y="37"/>
                  <a:pt x="794" y="37"/>
                </a:cubicBezTo>
                <a:cubicBezTo>
                  <a:pt x="793" y="37"/>
                  <a:pt x="793" y="36"/>
                  <a:pt x="793" y="36"/>
                </a:cubicBezTo>
                <a:cubicBezTo>
                  <a:pt x="793" y="37"/>
                  <a:pt x="793" y="37"/>
                  <a:pt x="793" y="37"/>
                </a:cubicBezTo>
                <a:cubicBezTo>
                  <a:pt x="793" y="36"/>
                  <a:pt x="793" y="36"/>
                  <a:pt x="793" y="36"/>
                </a:cubicBezTo>
                <a:cubicBezTo>
                  <a:pt x="793" y="36"/>
                  <a:pt x="793" y="36"/>
                  <a:pt x="793" y="36"/>
                </a:cubicBezTo>
                <a:cubicBezTo>
                  <a:pt x="792" y="36"/>
                  <a:pt x="792" y="36"/>
                  <a:pt x="792" y="36"/>
                </a:cubicBezTo>
                <a:cubicBezTo>
                  <a:pt x="792" y="36"/>
                  <a:pt x="792" y="36"/>
                  <a:pt x="792" y="36"/>
                </a:cubicBezTo>
                <a:cubicBezTo>
                  <a:pt x="792" y="36"/>
                  <a:pt x="791" y="36"/>
                  <a:pt x="791" y="35"/>
                </a:cubicBezTo>
                <a:cubicBezTo>
                  <a:pt x="791" y="35"/>
                  <a:pt x="791" y="35"/>
                  <a:pt x="791" y="35"/>
                </a:cubicBezTo>
                <a:cubicBezTo>
                  <a:pt x="791" y="35"/>
                  <a:pt x="791" y="35"/>
                  <a:pt x="790" y="35"/>
                </a:cubicBezTo>
                <a:cubicBezTo>
                  <a:pt x="790" y="35"/>
                  <a:pt x="790" y="35"/>
                  <a:pt x="790" y="35"/>
                </a:cubicBezTo>
                <a:cubicBezTo>
                  <a:pt x="790" y="35"/>
                  <a:pt x="790" y="35"/>
                  <a:pt x="790" y="35"/>
                </a:cubicBezTo>
                <a:cubicBezTo>
                  <a:pt x="790" y="35"/>
                  <a:pt x="790" y="35"/>
                  <a:pt x="790" y="35"/>
                </a:cubicBezTo>
                <a:cubicBezTo>
                  <a:pt x="790" y="34"/>
                  <a:pt x="789" y="34"/>
                  <a:pt x="789" y="34"/>
                </a:cubicBezTo>
                <a:cubicBezTo>
                  <a:pt x="789" y="34"/>
                  <a:pt x="789" y="34"/>
                  <a:pt x="789" y="34"/>
                </a:cubicBezTo>
                <a:cubicBezTo>
                  <a:pt x="789" y="34"/>
                  <a:pt x="789" y="34"/>
                  <a:pt x="789" y="34"/>
                </a:cubicBezTo>
                <a:cubicBezTo>
                  <a:pt x="789" y="34"/>
                  <a:pt x="788" y="34"/>
                  <a:pt x="788" y="34"/>
                </a:cubicBezTo>
                <a:cubicBezTo>
                  <a:pt x="788" y="34"/>
                  <a:pt x="788" y="34"/>
                  <a:pt x="788" y="34"/>
                </a:cubicBezTo>
                <a:cubicBezTo>
                  <a:pt x="787" y="34"/>
                  <a:pt x="787" y="34"/>
                  <a:pt x="787" y="34"/>
                </a:cubicBezTo>
                <a:cubicBezTo>
                  <a:pt x="787" y="34"/>
                  <a:pt x="787" y="34"/>
                  <a:pt x="787" y="34"/>
                </a:cubicBezTo>
                <a:cubicBezTo>
                  <a:pt x="787" y="34"/>
                  <a:pt x="787" y="34"/>
                  <a:pt x="787" y="34"/>
                </a:cubicBezTo>
                <a:cubicBezTo>
                  <a:pt x="786" y="33"/>
                  <a:pt x="786" y="34"/>
                  <a:pt x="785" y="33"/>
                </a:cubicBezTo>
                <a:cubicBezTo>
                  <a:pt x="785" y="33"/>
                  <a:pt x="785" y="33"/>
                  <a:pt x="785" y="33"/>
                </a:cubicBezTo>
                <a:cubicBezTo>
                  <a:pt x="785" y="33"/>
                  <a:pt x="785" y="33"/>
                  <a:pt x="785" y="33"/>
                </a:cubicBezTo>
                <a:cubicBezTo>
                  <a:pt x="785" y="33"/>
                  <a:pt x="784" y="33"/>
                  <a:pt x="784" y="33"/>
                </a:cubicBezTo>
                <a:cubicBezTo>
                  <a:pt x="784" y="33"/>
                  <a:pt x="783" y="33"/>
                  <a:pt x="783" y="33"/>
                </a:cubicBezTo>
                <a:cubicBezTo>
                  <a:pt x="782" y="33"/>
                  <a:pt x="781" y="33"/>
                  <a:pt x="781" y="33"/>
                </a:cubicBezTo>
                <a:cubicBezTo>
                  <a:pt x="779" y="33"/>
                  <a:pt x="777" y="33"/>
                  <a:pt x="776" y="33"/>
                </a:cubicBezTo>
                <a:cubicBezTo>
                  <a:pt x="775" y="33"/>
                  <a:pt x="774" y="33"/>
                  <a:pt x="773" y="33"/>
                </a:cubicBezTo>
                <a:cubicBezTo>
                  <a:pt x="773" y="33"/>
                  <a:pt x="773" y="33"/>
                  <a:pt x="773" y="33"/>
                </a:cubicBezTo>
                <a:cubicBezTo>
                  <a:pt x="772" y="33"/>
                  <a:pt x="772" y="33"/>
                  <a:pt x="771" y="33"/>
                </a:cubicBezTo>
                <a:cubicBezTo>
                  <a:pt x="771" y="33"/>
                  <a:pt x="771" y="33"/>
                  <a:pt x="771" y="33"/>
                </a:cubicBezTo>
                <a:cubicBezTo>
                  <a:pt x="771" y="34"/>
                  <a:pt x="770" y="33"/>
                  <a:pt x="770" y="34"/>
                </a:cubicBezTo>
                <a:cubicBezTo>
                  <a:pt x="770" y="34"/>
                  <a:pt x="770" y="34"/>
                  <a:pt x="770" y="34"/>
                </a:cubicBezTo>
                <a:cubicBezTo>
                  <a:pt x="770" y="34"/>
                  <a:pt x="770" y="34"/>
                  <a:pt x="770" y="34"/>
                </a:cubicBezTo>
                <a:cubicBezTo>
                  <a:pt x="769" y="34"/>
                  <a:pt x="769" y="34"/>
                  <a:pt x="769" y="34"/>
                </a:cubicBezTo>
                <a:cubicBezTo>
                  <a:pt x="769" y="34"/>
                  <a:pt x="769" y="34"/>
                  <a:pt x="769" y="34"/>
                </a:cubicBezTo>
                <a:cubicBezTo>
                  <a:pt x="768" y="34"/>
                  <a:pt x="768" y="34"/>
                  <a:pt x="768" y="34"/>
                </a:cubicBezTo>
                <a:cubicBezTo>
                  <a:pt x="768" y="34"/>
                  <a:pt x="768" y="34"/>
                  <a:pt x="768" y="34"/>
                </a:cubicBezTo>
                <a:cubicBezTo>
                  <a:pt x="767" y="34"/>
                  <a:pt x="767" y="34"/>
                  <a:pt x="767" y="35"/>
                </a:cubicBezTo>
                <a:cubicBezTo>
                  <a:pt x="767" y="35"/>
                  <a:pt x="767" y="35"/>
                  <a:pt x="767" y="35"/>
                </a:cubicBezTo>
                <a:cubicBezTo>
                  <a:pt x="767" y="35"/>
                  <a:pt x="766" y="35"/>
                  <a:pt x="766" y="35"/>
                </a:cubicBezTo>
                <a:cubicBezTo>
                  <a:pt x="766" y="35"/>
                  <a:pt x="766" y="35"/>
                  <a:pt x="766" y="35"/>
                </a:cubicBezTo>
                <a:cubicBezTo>
                  <a:pt x="766" y="35"/>
                  <a:pt x="766" y="35"/>
                  <a:pt x="766" y="35"/>
                </a:cubicBezTo>
                <a:cubicBezTo>
                  <a:pt x="766" y="35"/>
                  <a:pt x="765" y="35"/>
                  <a:pt x="765" y="35"/>
                </a:cubicBezTo>
                <a:cubicBezTo>
                  <a:pt x="765" y="35"/>
                  <a:pt x="765" y="35"/>
                  <a:pt x="765" y="35"/>
                </a:cubicBezTo>
                <a:cubicBezTo>
                  <a:pt x="765" y="36"/>
                  <a:pt x="765" y="35"/>
                  <a:pt x="764" y="36"/>
                </a:cubicBezTo>
                <a:cubicBezTo>
                  <a:pt x="764" y="36"/>
                  <a:pt x="764" y="36"/>
                  <a:pt x="764" y="36"/>
                </a:cubicBezTo>
                <a:cubicBezTo>
                  <a:pt x="764" y="36"/>
                  <a:pt x="764" y="36"/>
                  <a:pt x="764" y="36"/>
                </a:cubicBezTo>
                <a:cubicBezTo>
                  <a:pt x="764" y="36"/>
                  <a:pt x="764" y="36"/>
                  <a:pt x="764" y="36"/>
                </a:cubicBezTo>
                <a:cubicBezTo>
                  <a:pt x="764" y="36"/>
                  <a:pt x="764" y="36"/>
                  <a:pt x="764" y="36"/>
                </a:cubicBezTo>
                <a:cubicBezTo>
                  <a:pt x="764" y="36"/>
                  <a:pt x="763" y="36"/>
                  <a:pt x="763" y="36"/>
                </a:cubicBezTo>
                <a:cubicBezTo>
                  <a:pt x="763" y="36"/>
                  <a:pt x="763" y="36"/>
                  <a:pt x="763" y="36"/>
                </a:cubicBezTo>
                <a:cubicBezTo>
                  <a:pt x="763" y="37"/>
                  <a:pt x="763" y="37"/>
                  <a:pt x="763" y="37"/>
                </a:cubicBezTo>
                <a:cubicBezTo>
                  <a:pt x="763" y="37"/>
                  <a:pt x="763" y="37"/>
                  <a:pt x="763" y="37"/>
                </a:cubicBezTo>
                <a:cubicBezTo>
                  <a:pt x="762" y="37"/>
                  <a:pt x="762" y="37"/>
                  <a:pt x="762" y="37"/>
                </a:cubicBezTo>
                <a:cubicBezTo>
                  <a:pt x="762" y="37"/>
                  <a:pt x="762" y="37"/>
                  <a:pt x="762" y="37"/>
                </a:cubicBezTo>
                <a:cubicBezTo>
                  <a:pt x="762" y="37"/>
                  <a:pt x="762" y="37"/>
                  <a:pt x="762" y="37"/>
                </a:cubicBezTo>
                <a:cubicBezTo>
                  <a:pt x="762" y="37"/>
                  <a:pt x="762" y="37"/>
                  <a:pt x="762" y="37"/>
                </a:cubicBezTo>
                <a:cubicBezTo>
                  <a:pt x="761" y="38"/>
                  <a:pt x="761" y="38"/>
                  <a:pt x="761" y="38"/>
                </a:cubicBezTo>
                <a:cubicBezTo>
                  <a:pt x="761" y="38"/>
                  <a:pt x="761" y="38"/>
                  <a:pt x="761" y="38"/>
                </a:cubicBezTo>
                <a:cubicBezTo>
                  <a:pt x="760" y="38"/>
                  <a:pt x="760" y="38"/>
                  <a:pt x="760" y="39"/>
                </a:cubicBezTo>
                <a:cubicBezTo>
                  <a:pt x="760" y="39"/>
                  <a:pt x="760" y="39"/>
                  <a:pt x="760" y="39"/>
                </a:cubicBezTo>
                <a:cubicBezTo>
                  <a:pt x="760" y="39"/>
                  <a:pt x="759" y="39"/>
                  <a:pt x="759" y="39"/>
                </a:cubicBezTo>
                <a:cubicBezTo>
                  <a:pt x="759" y="39"/>
                  <a:pt x="759" y="39"/>
                  <a:pt x="759" y="39"/>
                </a:cubicBezTo>
                <a:cubicBezTo>
                  <a:pt x="759" y="39"/>
                  <a:pt x="759" y="39"/>
                  <a:pt x="759" y="40"/>
                </a:cubicBezTo>
                <a:cubicBezTo>
                  <a:pt x="759" y="40"/>
                  <a:pt x="759" y="40"/>
                  <a:pt x="759" y="40"/>
                </a:cubicBezTo>
                <a:cubicBezTo>
                  <a:pt x="759" y="40"/>
                  <a:pt x="759" y="40"/>
                  <a:pt x="758" y="40"/>
                </a:cubicBezTo>
                <a:cubicBezTo>
                  <a:pt x="758" y="40"/>
                  <a:pt x="758" y="40"/>
                  <a:pt x="758" y="40"/>
                </a:cubicBezTo>
                <a:cubicBezTo>
                  <a:pt x="758" y="40"/>
                  <a:pt x="758" y="40"/>
                  <a:pt x="758" y="40"/>
                </a:cubicBezTo>
                <a:cubicBezTo>
                  <a:pt x="758" y="40"/>
                  <a:pt x="758" y="40"/>
                  <a:pt x="758" y="40"/>
                </a:cubicBezTo>
                <a:cubicBezTo>
                  <a:pt x="758" y="40"/>
                  <a:pt x="758" y="40"/>
                  <a:pt x="758" y="41"/>
                </a:cubicBezTo>
                <a:cubicBezTo>
                  <a:pt x="758" y="41"/>
                  <a:pt x="758" y="41"/>
                  <a:pt x="758" y="41"/>
                </a:cubicBezTo>
                <a:cubicBezTo>
                  <a:pt x="758" y="41"/>
                  <a:pt x="758" y="41"/>
                  <a:pt x="757" y="41"/>
                </a:cubicBezTo>
                <a:cubicBezTo>
                  <a:pt x="757" y="41"/>
                  <a:pt x="757" y="41"/>
                  <a:pt x="757" y="41"/>
                </a:cubicBezTo>
                <a:cubicBezTo>
                  <a:pt x="757" y="41"/>
                  <a:pt x="757" y="41"/>
                  <a:pt x="757" y="41"/>
                </a:cubicBezTo>
                <a:cubicBezTo>
                  <a:pt x="757" y="41"/>
                  <a:pt x="757" y="41"/>
                  <a:pt x="757" y="41"/>
                </a:cubicBezTo>
                <a:cubicBezTo>
                  <a:pt x="757" y="41"/>
                  <a:pt x="757" y="42"/>
                  <a:pt x="757" y="42"/>
                </a:cubicBezTo>
                <a:cubicBezTo>
                  <a:pt x="757" y="42"/>
                  <a:pt x="757" y="42"/>
                  <a:pt x="757" y="42"/>
                </a:cubicBezTo>
                <a:cubicBezTo>
                  <a:pt x="757" y="42"/>
                  <a:pt x="756" y="42"/>
                  <a:pt x="756" y="42"/>
                </a:cubicBezTo>
                <a:cubicBezTo>
                  <a:pt x="756" y="42"/>
                  <a:pt x="756" y="42"/>
                  <a:pt x="756" y="42"/>
                </a:cubicBezTo>
                <a:cubicBezTo>
                  <a:pt x="756" y="42"/>
                  <a:pt x="756" y="42"/>
                  <a:pt x="756" y="42"/>
                </a:cubicBezTo>
                <a:cubicBezTo>
                  <a:pt x="756" y="42"/>
                  <a:pt x="756" y="42"/>
                  <a:pt x="756" y="42"/>
                </a:cubicBezTo>
                <a:cubicBezTo>
                  <a:pt x="756" y="42"/>
                  <a:pt x="756" y="43"/>
                  <a:pt x="756" y="43"/>
                </a:cubicBezTo>
                <a:cubicBezTo>
                  <a:pt x="756" y="43"/>
                  <a:pt x="756" y="43"/>
                  <a:pt x="756" y="43"/>
                </a:cubicBezTo>
                <a:cubicBezTo>
                  <a:pt x="756" y="43"/>
                  <a:pt x="755" y="43"/>
                  <a:pt x="755" y="43"/>
                </a:cubicBezTo>
                <a:cubicBezTo>
                  <a:pt x="755" y="43"/>
                  <a:pt x="755" y="43"/>
                  <a:pt x="755" y="43"/>
                </a:cubicBezTo>
                <a:cubicBezTo>
                  <a:pt x="755" y="43"/>
                  <a:pt x="755" y="44"/>
                  <a:pt x="755" y="44"/>
                </a:cubicBezTo>
                <a:cubicBezTo>
                  <a:pt x="755" y="44"/>
                  <a:pt x="755" y="44"/>
                  <a:pt x="755" y="44"/>
                </a:cubicBezTo>
                <a:cubicBezTo>
                  <a:pt x="755" y="44"/>
                  <a:pt x="754" y="44"/>
                  <a:pt x="754" y="44"/>
                </a:cubicBezTo>
                <a:cubicBezTo>
                  <a:pt x="754" y="44"/>
                  <a:pt x="754" y="44"/>
                  <a:pt x="754" y="44"/>
                </a:cubicBezTo>
                <a:cubicBezTo>
                  <a:pt x="754" y="45"/>
                  <a:pt x="754" y="45"/>
                  <a:pt x="754" y="45"/>
                </a:cubicBezTo>
                <a:cubicBezTo>
                  <a:pt x="754" y="45"/>
                  <a:pt x="754" y="45"/>
                  <a:pt x="754" y="45"/>
                </a:cubicBezTo>
                <a:cubicBezTo>
                  <a:pt x="753" y="46"/>
                  <a:pt x="753" y="46"/>
                  <a:pt x="753" y="46"/>
                </a:cubicBezTo>
                <a:cubicBezTo>
                  <a:pt x="753" y="46"/>
                  <a:pt x="753" y="46"/>
                  <a:pt x="753" y="46"/>
                </a:cubicBezTo>
                <a:cubicBezTo>
                  <a:pt x="753" y="46"/>
                  <a:pt x="753" y="46"/>
                  <a:pt x="753" y="47"/>
                </a:cubicBezTo>
                <a:cubicBezTo>
                  <a:pt x="753" y="47"/>
                  <a:pt x="753" y="47"/>
                  <a:pt x="753" y="47"/>
                </a:cubicBezTo>
                <a:cubicBezTo>
                  <a:pt x="753" y="47"/>
                  <a:pt x="753" y="47"/>
                  <a:pt x="753" y="47"/>
                </a:cubicBezTo>
                <a:cubicBezTo>
                  <a:pt x="753" y="47"/>
                  <a:pt x="753" y="47"/>
                  <a:pt x="753" y="47"/>
                </a:cubicBezTo>
                <a:cubicBezTo>
                  <a:pt x="752" y="47"/>
                  <a:pt x="752" y="47"/>
                  <a:pt x="752" y="48"/>
                </a:cubicBezTo>
                <a:cubicBezTo>
                  <a:pt x="752" y="48"/>
                  <a:pt x="752" y="48"/>
                  <a:pt x="752" y="48"/>
                </a:cubicBezTo>
                <a:cubicBezTo>
                  <a:pt x="752" y="48"/>
                  <a:pt x="752" y="48"/>
                  <a:pt x="752" y="48"/>
                </a:cubicBezTo>
                <a:cubicBezTo>
                  <a:pt x="752" y="48"/>
                  <a:pt x="752" y="48"/>
                  <a:pt x="752" y="48"/>
                </a:cubicBezTo>
                <a:cubicBezTo>
                  <a:pt x="752" y="48"/>
                  <a:pt x="752" y="49"/>
                  <a:pt x="752" y="49"/>
                </a:cubicBezTo>
                <a:cubicBezTo>
                  <a:pt x="752" y="49"/>
                  <a:pt x="752" y="49"/>
                  <a:pt x="752" y="49"/>
                </a:cubicBezTo>
                <a:cubicBezTo>
                  <a:pt x="751" y="49"/>
                  <a:pt x="751" y="49"/>
                  <a:pt x="751" y="50"/>
                </a:cubicBezTo>
                <a:cubicBezTo>
                  <a:pt x="751" y="50"/>
                  <a:pt x="751" y="50"/>
                  <a:pt x="751" y="50"/>
                </a:cubicBezTo>
                <a:cubicBezTo>
                  <a:pt x="751" y="50"/>
                  <a:pt x="751" y="50"/>
                  <a:pt x="751" y="50"/>
                </a:cubicBezTo>
                <a:cubicBezTo>
                  <a:pt x="751" y="50"/>
                  <a:pt x="751" y="50"/>
                  <a:pt x="751" y="50"/>
                </a:cubicBezTo>
                <a:cubicBezTo>
                  <a:pt x="751" y="51"/>
                  <a:pt x="751" y="51"/>
                  <a:pt x="750" y="51"/>
                </a:cubicBezTo>
                <a:cubicBezTo>
                  <a:pt x="751" y="51"/>
                  <a:pt x="751" y="51"/>
                  <a:pt x="751" y="51"/>
                </a:cubicBezTo>
                <a:cubicBezTo>
                  <a:pt x="750" y="51"/>
                  <a:pt x="750" y="52"/>
                  <a:pt x="750" y="52"/>
                </a:cubicBezTo>
                <a:cubicBezTo>
                  <a:pt x="750" y="52"/>
                  <a:pt x="750" y="52"/>
                  <a:pt x="750" y="52"/>
                </a:cubicBezTo>
                <a:cubicBezTo>
                  <a:pt x="750" y="52"/>
                  <a:pt x="750" y="52"/>
                  <a:pt x="750" y="52"/>
                </a:cubicBezTo>
                <a:cubicBezTo>
                  <a:pt x="750" y="52"/>
                  <a:pt x="750" y="53"/>
                  <a:pt x="750" y="53"/>
                </a:cubicBezTo>
                <a:cubicBezTo>
                  <a:pt x="750" y="53"/>
                  <a:pt x="750" y="53"/>
                  <a:pt x="750" y="53"/>
                </a:cubicBezTo>
                <a:cubicBezTo>
                  <a:pt x="750" y="53"/>
                  <a:pt x="750" y="53"/>
                  <a:pt x="749" y="54"/>
                </a:cubicBezTo>
                <a:cubicBezTo>
                  <a:pt x="749" y="54"/>
                  <a:pt x="749" y="54"/>
                  <a:pt x="749" y="54"/>
                </a:cubicBezTo>
                <a:cubicBezTo>
                  <a:pt x="749" y="54"/>
                  <a:pt x="749" y="54"/>
                  <a:pt x="749" y="54"/>
                </a:cubicBezTo>
                <a:cubicBezTo>
                  <a:pt x="749" y="54"/>
                  <a:pt x="749" y="54"/>
                  <a:pt x="749" y="55"/>
                </a:cubicBezTo>
                <a:cubicBezTo>
                  <a:pt x="749" y="55"/>
                  <a:pt x="749" y="55"/>
                  <a:pt x="749" y="55"/>
                </a:cubicBezTo>
                <a:cubicBezTo>
                  <a:pt x="749" y="55"/>
                  <a:pt x="749" y="55"/>
                  <a:pt x="749" y="56"/>
                </a:cubicBezTo>
                <a:cubicBezTo>
                  <a:pt x="749" y="56"/>
                  <a:pt x="749" y="56"/>
                  <a:pt x="749" y="56"/>
                </a:cubicBezTo>
                <a:cubicBezTo>
                  <a:pt x="749" y="56"/>
                  <a:pt x="749" y="56"/>
                  <a:pt x="749" y="56"/>
                </a:cubicBezTo>
                <a:cubicBezTo>
                  <a:pt x="748" y="56"/>
                  <a:pt x="749" y="57"/>
                  <a:pt x="748" y="57"/>
                </a:cubicBezTo>
                <a:cubicBezTo>
                  <a:pt x="748" y="57"/>
                  <a:pt x="748" y="57"/>
                  <a:pt x="748" y="57"/>
                </a:cubicBezTo>
                <a:cubicBezTo>
                  <a:pt x="748" y="58"/>
                  <a:pt x="748" y="58"/>
                  <a:pt x="748" y="58"/>
                </a:cubicBezTo>
                <a:cubicBezTo>
                  <a:pt x="748" y="59"/>
                  <a:pt x="748" y="59"/>
                  <a:pt x="748" y="59"/>
                </a:cubicBezTo>
                <a:cubicBezTo>
                  <a:pt x="748" y="59"/>
                  <a:pt x="748" y="60"/>
                  <a:pt x="748" y="60"/>
                </a:cubicBezTo>
                <a:cubicBezTo>
                  <a:pt x="748" y="60"/>
                  <a:pt x="748" y="60"/>
                  <a:pt x="748" y="60"/>
                </a:cubicBezTo>
                <a:cubicBezTo>
                  <a:pt x="747" y="61"/>
                  <a:pt x="748" y="62"/>
                  <a:pt x="747" y="62"/>
                </a:cubicBezTo>
                <a:cubicBezTo>
                  <a:pt x="747" y="63"/>
                  <a:pt x="747" y="63"/>
                  <a:pt x="747" y="63"/>
                </a:cubicBezTo>
                <a:cubicBezTo>
                  <a:pt x="747" y="64"/>
                  <a:pt x="747" y="66"/>
                  <a:pt x="747" y="67"/>
                </a:cubicBezTo>
                <a:cubicBezTo>
                  <a:pt x="747" y="68"/>
                  <a:pt x="747" y="69"/>
                  <a:pt x="747" y="69"/>
                </a:cubicBezTo>
                <a:cubicBezTo>
                  <a:pt x="747" y="71"/>
                  <a:pt x="747" y="72"/>
                  <a:pt x="747" y="74"/>
                </a:cubicBezTo>
                <a:cubicBezTo>
                  <a:pt x="747" y="74"/>
                  <a:pt x="747" y="75"/>
                  <a:pt x="747" y="75"/>
                </a:cubicBezTo>
                <a:cubicBezTo>
                  <a:pt x="748" y="75"/>
                  <a:pt x="747" y="76"/>
                  <a:pt x="748" y="77"/>
                </a:cubicBezTo>
                <a:cubicBezTo>
                  <a:pt x="748" y="77"/>
                  <a:pt x="748" y="77"/>
                  <a:pt x="748" y="77"/>
                </a:cubicBezTo>
                <a:cubicBezTo>
                  <a:pt x="748" y="78"/>
                  <a:pt x="748" y="78"/>
                  <a:pt x="748" y="79"/>
                </a:cubicBezTo>
                <a:cubicBezTo>
                  <a:pt x="748" y="79"/>
                  <a:pt x="748" y="79"/>
                  <a:pt x="748" y="79"/>
                </a:cubicBezTo>
                <a:cubicBezTo>
                  <a:pt x="748" y="79"/>
                  <a:pt x="748" y="79"/>
                  <a:pt x="748" y="79"/>
                </a:cubicBezTo>
                <a:cubicBezTo>
                  <a:pt x="748" y="79"/>
                  <a:pt x="748" y="80"/>
                  <a:pt x="748" y="80"/>
                </a:cubicBezTo>
                <a:cubicBezTo>
                  <a:pt x="748" y="80"/>
                  <a:pt x="748" y="80"/>
                  <a:pt x="748" y="81"/>
                </a:cubicBezTo>
                <a:cubicBezTo>
                  <a:pt x="749" y="81"/>
                  <a:pt x="748" y="81"/>
                  <a:pt x="749" y="82"/>
                </a:cubicBezTo>
                <a:cubicBezTo>
                  <a:pt x="749" y="82"/>
                  <a:pt x="749" y="82"/>
                  <a:pt x="749" y="82"/>
                </a:cubicBezTo>
                <a:cubicBezTo>
                  <a:pt x="749" y="82"/>
                  <a:pt x="749" y="83"/>
                  <a:pt x="749" y="83"/>
                </a:cubicBezTo>
                <a:close/>
                <a:moveTo>
                  <a:pt x="1231" y="92"/>
                </a:moveTo>
                <a:cubicBezTo>
                  <a:pt x="1231" y="92"/>
                  <a:pt x="1231" y="92"/>
                  <a:pt x="1231" y="92"/>
                </a:cubicBezTo>
                <a:cubicBezTo>
                  <a:pt x="1231" y="92"/>
                  <a:pt x="1230" y="92"/>
                  <a:pt x="1230" y="92"/>
                </a:cubicBezTo>
                <a:cubicBezTo>
                  <a:pt x="1230" y="92"/>
                  <a:pt x="1230" y="92"/>
                  <a:pt x="1230" y="92"/>
                </a:cubicBezTo>
                <a:cubicBezTo>
                  <a:pt x="1230" y="92"/>
                  <a:pt x="1230" y="92"/>
                  <a:pt x="1230" y="92"/>
                </a:cubicBezTo>
                <a:cubicBezTo>
                  <a:pt x="1230" y="92"/>
                  <a:pt x="1229" y="92"/>
                  <a:pt x="1229" y="91"/>
                </a:cubicBezTo>
                <a:cubicBezTo>
                  <a:pt x="1229" y="91"/>
                  <a:pt x="1229" y="91"/>
                  <a:pt x="1229" y="91"/>
                </a:cubicBezTo>
                <a:cubicBezTo>
                  <a:pt x="1229" y="91"/>
                  <a:pt x="1229" y="91"/>
                  <a:pt x="1229" y="91"/>
                </a:cubicBezTo>
                <a:cubicBezTo>
                  <a:pt x="1229" y="91"/>
                  <a:pt x="1229" y="91"/>
                  <a:pt x="1229" y="91"/>
                </a:cubicBezTo>
                <a:cubicBezTo>
                  <a:pt x="1229" y="91"/>
                  <a:pt x="1228" y="91"/>
                  <a:pt x="1228" y="91"/>
                </a:cubicBezTo>
                <a:cubicBezTo>
                  <a:pt x="1228" y="91"/>
                  <a:pt x="1228" y="91"/>
                  <a:pt x="1228" y="91"/>
                </a:cubicBezTo>
                <a:cubicBezTo>
                  <a:pt x="1228" y="91"/>
                  <a:pt x="1228" y="91"/>
                  <a:pt x="1227" y="90"/>
                </a:cubicBezTo>
                <a:cubicBezTo>
                  <a:pt x="1227" y="90"/>
                  <a:pt x="1227" y="90"/>
                  <a:pt x="1227" y="90"/>
                </a:cubicBezTo>
                <a:cubicBezTo>
                  <a:pt x="1227" y="90"/>
                  <a:pt x="1227" y="90"/>
                  <a:pt x="1227" y="90"/>
                </a:cubicBezTo>
                <a:cubicBezTo>
                  <a:pt x="1227" y="90"/>
                  <a:pt x="1227" y="90"/>
                  <a:pt x="1227" y="90"/>
                </a:cubicBezTo>
                <a:cubicBezTo>
                  <a:pt x="1227" y="90"/>
                  <a:pt x="1226" y="90"/>
                  <a:pt x="1226" y="89"/>
                </a:cubicBezTo>
                <a:cubicBezTo>
                  <a:pt x="1226" y="89"/>
                  <a:pt x="1226" y="89"/>
                  <a:pt x="1226" y="89"/>
                </a:cubicBezTo>
                <a:cubicBezTo>
                  <a:pt x="1226" y="89"/>
                  <a:pt x="1226" y="89"/>
                  <a:pt x="1226" y="89"/>
                </a:cubicBezTo>
                <a:cubicBezTo>
                  <a:pt x="1226" y="89"/>
                  <a:pt x="1226" y="89"/>
                  <a:pt x="1226" y="89"/>
                </a:cubicBezTo>
                <a:cubicBezTo>
                  <a:pt x="1225" y="89"/>
                  <a:pt x="1225" y="89"/>
                  <a:pt x="1225" y="89"/>
                </a:cubicBezTo>
                <a:cubicBezTo>
                  <a:pt x="1225" y="89"/>
                  <a:pt x="1225" y="89"/>
                  <a:pt x="1225" y="89"/>
                </a:cubicBezTo>
                <a:cubicBezTo>
                  <a:pt x="1225" y="89"/>
                  <a:pt x="1225" y="88"/>
                  <a:pt x="1225" y="88"/>
                </a:cubicBezTo>
                <a:cubicBezTo>
                  <a:pt x="1225" y="88"/>
                  <a:pt x="1225" y="88"/>
                  <a:pt x="1225" y="88"/>
                </a:cubicBezTo>
                <a:cubicBezTo>
                  <a:pt x="1225" y="88"/>
                  <a:pt x="1225" y="88"/>
                  <a:pt x="1224" y="88"/>
                </a:cubicBezTo>
                <a:cubicBezTo>
                  <a:pt x="1225" y="88"/>
                  <a:pt x="1225" y="88"/>
                  <a:pt x="1225" y="88"/>
                </a:cubicBezTo>
                <a:cubicBezTo>
                  <a:pt x="1224" y="88"/>
                  <a:pt x="1224" y="88"/>
                  <a:pt x="1224" y="88"/>
                </a:cubicBezTo>
                <a:cubicBezTo>
                  <a:pt x="1224" y="88"/>
                  <a:pt x="1224" y="88"/>
                  <a:pt x="1224" y="88"/>
                </a:cubicBezTo>
                <a:cubicBezTo>
                  <a:pt x="1224" y="87"/>
                  <a:pt x="1224" y="87"/>
                  <a:pt x="1224" y="87"/>
                </a:cubicBezTo>
                <a:cubicBezTo>
                  <a:pt x="1224" y="87"/>
                  <a:pt x="1224" y="87"/>
                  <a:pt x="1224" y="87"/>
                </a:cubicBezTo>
                <a:cubicBezTo>
                  <a:pt x="1224" y="87"/>
                  <a:pt x="1224" y="87"/>
                  <a:pt x="1224" y="87"/>
                </a:cubicBezTo>
                <a:cubicBezTo>
                  <a:pt x="1224" y="87"/>
                  <a:pt x="1224" y="87"/>
                  <a:pt x="1224" y="87"/>
                </a:cubicBezTo>
                <a:cubicBezTo>
                  <a:pt x="1223" y="87"/>
                  <a:pt x="1223" y="86"/>
                  <a:pt x="1223" y="86"/>
                </a:cubicBezTo>
                <a:cubicBezTo>
                  <a:pt x="1223" y="86"/>
                  <a:pt x="1223" y="86"/>
                  <a:pt x="1223" y="86"/>
                </a:cubicBezTo>
                <a:cubicBezTo>
                  <a:pt x="1223" y="86"/>
                  <a:pt x="1223" y="86"/>
                  <a:pt x="1222" y="86"/>
                </a:cubicBezTo>
                <a:cubicBezTo>
                  <a:pt x="1222" y="86"/>
                  <a:pt x="1222" y="86"/>
                  <a:pt x="1222" y="86"/>
                </a:cubicBezTo>
                <a:cubicBezTo>
                  <a:pt x="1222" y="85"/>
                  <a:pt x="1222" y="85"/>
                  <a:pt x="1222" y="85"/>
                </a:cubicBezTo>
                <a:cubicBezTo>
                  <a:pt x="1222" y="85"/>
                  <a:pt x="1222" y="85"/>
                  <a:pt x="1222" y="85"/>
                </a:cubicBezTo>
                <a:cubicBezTo>
                  <a:pt x="1222" y="85"/>
                  <a:pt x="1222" y="85"/>
                  <a:pt x="1222" y="84"/>
                </a:cubicBezTo>
                <a:cubicBezTo>
                  <a:pt x="1222" y="84"/>
                  <a:pt x="1222" y="84"/>
                  <a:pt x="1222" y="84"/>
                </a:cubicBezTo>
                <a:cubicBezTo>
                  <a:pt x="1222" y="84"/>
                  <a:pt x="1222" y="84"/>
                  <a:pt x="1221" y="84"/>
                </a:cubicBezTo>
                <a:cubicBezTo>
                  <a:pt x="1221" y="84"/>
                  <a:pt x="1221" y="84"/>
                  <a:pt x="1221" y="84"/>
                </a:cubicBezTo>
                <a:cubicBezTo>
                  <a:pt x="1221" y="84"/>
                  <a:pt x="1221" y="83"/>
                  <a:pt x="1221" y="83"/>
                </a:cubicBezTo>
                <a:cubicBezTo>
                  <a:pt x="1221" y="83"/>
                  <a:pt x="1221" y="83"/>
                  <a:pt x="1221" y="83"/>
                </a:cubicBezTo>
                <a:cubicBezTo>
                  <a:pt x="1221" y="83"/>
                  <a:pt x="1221" y="83"/>
                  <a:pt x="1221" y="82"/>
                </a:cubicBezTo>
                <a:cubicBezTo>
                  <a:pt x="1221" y="82"/>
                  <a:pt x="1221" y="82"/>
                  <a:pt x="1221" y="82"/>
                </a:cubicBezTo>
                <a:cubicBezTo>
                  <a:pt x="1221" y="82"/>
                  <a:pt x="1221" y="82"/>
                  <a:pt x="1220" y="82"/>
                </a:cubicBezTo>
                <a:cubicBezTo>
                  <a:pt x="1220" y="82"/>
                  <a:pt x="1220" y="82"/>
                  <a:pt x="1220" y="81"/>
                </a:cubicBezTo>
                <a:cubicBezTo>
                  <a:pt x="1220" y="81"/>
                  <a:pt x="1220" y="81"/>
                  <a:pt x="1220" y="81"/>
                </a:cubicBezTo>
                <a:cubicBezTo>
                  <a:pt x="1220" y="81"/>
                  <a:pt x="1220" y="81"/>
                  <a:pt x="1220" y="81"/>
                </a:cubicBezTo>
                <a:cubicBezTo>
                  <a:pt x="1220" y="80"/>
                  <a:pt x="1220" y="80"/>
                  <a:pt x="1220" y="80"/>
                </a:cubicBezTo>
                <a:cubicBezTo>
                  <a:pt x="1220" y="80"/>
                  <a:pt x="1220" y="80"/>
                  <a:pt x="1220" y="80"/>
                </a:cubicBezTo>
                <a:cubicBezTo>
                  <a:pt x="1220" y="80"/>
                  <a:pt x="1220" y="80"/>
                  <a:pt x="1220" y="80"/>
                </a:cubicBezTo>
                <a:cubicBezTo>
                  <a:pt x="1220" y="79"/>
                  <a:pt x="1220" y="79"/>
                  <a:pt x="1220" y="79"/>
                </a:cubicBezTo>
                <a:cubicBezTo>
                  <a:pt x="1219" y="79"/>
                  <a:pt x="1220" y="79"/>
                  <a:pt x="1219" y="78"/>
                </a:cubicBezTo>
                <a:cubicBezTo>
                  <a:pt x="1219" y="78"/>
                  <a:pt x="1219" y="78"/>
                  <a:pt x="1219" y="78"/>
                </a:cubicBezTo>
                <a:cubicBezTo>
                  <a:pt x="1219" y="78"/>
                  <a:pt x="1219" y="77"/>
                  <a:pt x="1219" y="77"/>
                </a:cubicBezTo>
                <a:cubicBezTo>
                  <a:pt x="1219" y="77"/>
                  <a:pt x="1219" y="77"/>
                  <a:pt x="1219" y="77"/>
                </a:cubicBezTo>
                <a:cubicBezTo>
                  <a:pt x="1219" y="76"/>
                  <a:pt x="1219" y="75"/>
                  <a:pt x="1219" y="75"/>
                </a:cubicBezTo>
                <a:cubicBezTo>
                  <a:pt x="1219" y="74"/>
                  <a:pt x="1218" y="74"/>
                  <a:pt x="1219" y="74"/>
                </a:cubicBezTo>
                <a:cubicBezTo>
                  <a:pt x="1218" y="71"/>
                  <a:pt x="1218" y="71"/>
                  <a:pt x="1221" y="71"/>
                </a:cubicBezTo>
                <a:cubicBezTo>
                  <a:pt x="1235" y="71"/>
                  <a:pt x="1250" y="71"/>
                  <a:pt x="1264" y="71"/>
                </a:cubicBezTo>
                <a:cubicBezTo>
                  <a:pt x="1264" y="71"/>
                  <a:pt x="1264" y="71"/>
                  <a:pt x="1265" y="71"/>
                </a:cubicBezTo>
                <a:cubicBezTo>
                  <a:pt x="1266" y="71"/>
                  <a:pt x="1266" y="70"/>
                  <a:pt x="1266" y="70"/>
                </a:cubicBezTo>
                <a:cubicBezTo>
                  <a:pt x="1266" y="67"/>
                  <a:pt x="1266" y="64"/>
                  <a:pt x="1266" y="61"/>
                </a:cubicBezTo>
                <a:cubicBezTo>
                  <a:pt x="1266" y="61"/>
                  <a:pt x="1265" y="60"/>
                  <a:pt x="1266" y="60"/>
                </a:cubicBezTo>
                <a:cubicBezTo>
                  <a:pt x="1265" y="59"/>
                  <a:pt x="1266" y="58"/>
                  <a:pt x="1265" y="58"/>
                </a:cubicBezTo>
                <a:cubicBezTo>
                  <a:pt x="1265" y="57"/>
                  <a:pt x="1265" y="57"/>
                  <a:pt x="1265" y="57"/>
                </a:cubicBezTo>
                <a:cubicBezTo>
                  <a:pt x="1265" y="57"/>
                  <a:pt x="1265" y="56"/>
                  <a:pt x="1265" y="56"/>
                </a:cubicBezTo>
                <a:cubicBezTo>
                  <a:pt x="1265" y="55"/>
                  <a:pt x="1265" y="55"/>
                  <a:pt x="1265" y="55"/>
                </a:cubicBezTo>
                <a:cubicBezTo>
                  <a:pt x="1265" y="55"/>
                  <a:pt x="1265" y="54"/>
                  <a:pt x="1265" y="54"/>
                </a:cubicBezTo>
                <a:cubicBezTo>
                  <a:pt x="1265" y="54"/>
                  <a:pt x="1264" y="54"/>
                  <a:pt x="1265" y="54"/>
                </a:cubicBezTo>
                <a:cubicBezTo>
                  <a:pt x="1264" y="53"/>
                  <a:pt x="1265" y="53"/>
                  <a:pt x="1264" y="52"/>
                </a:cubicBezTo>
                <a:cubicBezTo>
                  <a:pt x="1264" y="52"/>
                  <a:pt x="1264" y="52"/>
                  <a:pt x="1264" y="52"/>
                </a:cubicBezTo>
                <a:cubicBezTo>
                  <a:pt x="1264" y="52"/>
                  <a:pt x="1264" y="51"/>
                  <a:pt x="1264" y="51"/>
                </a:cubicBezTo>
                <a:cubicBezTo>
                  <a:pt x="1264" y="51"/>
                  <a:pt x="1264" y="51"/>
                  <a:pt x="1264" y="51"/>
                </a:cubicBezTo>
                <a:cubicBezTo>
                  <a:pt x="1264" y="51"/>
                  <a:pt x="1264" y="50"/>
                  <a:pt x="1264" y="50"/>
                </a:cubicBezTo>
                <a:cubicBezTo>
                  <a:pt x="1264" y="50"/>
                  <a:pt x="1264" y="50"/>
                  <a:pt x="1264" y="50"/>
                </a:cubicBezTo>
                <a:cubicBezTo>
                  <a:pt x="1263" y="50"/>
                  <a:pt x="1264" y="49"/>
                  <a:pt x="1263" y="49"/>
                </a:cubicBezTo>
                <a:cubicBezTo>
                  <a:pt x="1263" y="49"/>
                  <a:pt x="1263" y="49"/>
                  <a:pt x="1263" y="49"/>
                </a:cubicBezTo>
                <a:cubicBezTo>
                  <a:pt x="1263" y="49"/>
                  <a:pt x="1263" y="48"/>
                  <a:pt x="1263" y="48"/>
                </a:cubicBezTo>
                <a:cubicBezTo>
                  <a:pt x="1263" y="48"/>
                  <a:pt x="1263" y="48"/>
                  <a:pt x="1263" y="48"/>
                </a:cubicBezTo>
                <a:cubicBezTo>
                  <a:pt x="1263" y="48"/>
                  <a:pt x="1263" y="48"/>
                  <a:pt x="1263" y="48"/>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6"/>
                  <a:pt x="1262" y="46"/>
                  <a:pt x="1262" y="46"/>
                </a:cubicBezTo>
                <a:cubicBezTo>
                  <a:pt x="1262" y="46"/>
                  <a:pt x="1262" y="46"/>
                  <a:pt x="1262" y="46"/>
                </a:cubicBezTo>
                <a:cubicBezTo>
                  <a:pt x="1262" y="46"/>
                  <a:pt x="1262" y="46"/>
                  <a:pt x="1262" y="46"/>
                </a:cubicBezTo>
                <a:cubicBezTo>
                  <a:pt x="1262" y="46"/>
                  <a:pt x="1262" y="46"/>
                  <a:pt x="1261" y="45"/>
                </a:cubicBezTo>
                <a:cubicBezTo>
                  <a:pt x="1261" y="45"/>
                  <a:pt x="1261" y="45"/>
                  <a:pt x="1261" y="45"/>
                </a:cubicBezTo>
                <a:cubicBezTo>
                  <a:pt x="1261" y="45"/>
                  <a:pt x="1261" y="45"/>
                  <a:pt x="1261" y="45"/>
                </a:cubicBezTo>
                <a:cubicBezTo>
                  <a:pt x="1261" y="45"/>
                  <a:pt x="1261" y="45"/>
                  <a:pt x="1261" y="45"/>
                </a:cubicBezTo>
                <a:cubicBezTo>
                  <a:pt x="1261" y="45"/>
                  <a:pt x="1261" y="44"/>
                  <a:pt x="1261" y="44"/>
                </a:cubicBezTo>
                <a:cubicBezTo>
                  <a:pt x="1261" y="44"/>
                  <a:pt x="1261" y="44"/>
                  <a:pt x="1261" y="44"/>
                </a:cubicBezTo>
                <a:cubicBezTo>
                  <a:pt x="1261" y="44"/>
                  <a:pt x="1261" y="44"/>
                  <a:pt x="1260" y="44"/>
                </a:cubicBezTo>
                <a:cubicBezTo>
                  <a:pt x="1260" y="44"/>
                  <a:pt x="1260" y="44"/>
                  <a:pt x="1260" y="44"/>
                </a:cubicBezTo>
                <a:cubicBezTo>
                  <a:pt x="1260" y="44"/>
                  <a:pt x="1260" y="43"/>
                  <a:pt x="1260" y="43"/>
                </a:cubicBezTo>
                <a:cubicBezTo>
                  <a:pt x="1260" y="43"/>
                  <a:pt x="1260" y="43"/>
                  <a:pt x="1260" y="43"/>
                </a:cubicBezTo>
                <a:cubicBezTo>
                  <a:pt x="1260" y="43"/>
                  <a:pt x="1260" y="43"/>
                  <a:pt x="1260" y="43"/>
                </a:cubicBezTo>
                <a:cubicBezTo>
                  <a:pt x="1260" y="43"/>
                  <a:pt x="1260" y="43"/>
                  <a:pt x="1260" y="43"/>
                </a:cubicBezTo>
                <a:cubicBezTo>
                  <a:pt x="1259" y="42"/>
                  <a:pt x="1259" y="42"/>
                  <a:pt x="1259" y="42"/>
                </a:cubicBezTo>
                <a:cubicBezTo>
                  <a:pt x="1259" y="42"/>
                  <a:pt x="1259" y="42"/>
                  <a:pt x="1259" y="42"/>
                </a:cubicBezTo>
                <a:cubicBezTo>
                  <a:pt x="1259" y="42"/>
                  <a:pt x="1259" y="41"/>
                  <a:pt x="1259" y="41"/>
                </a:cubicBezTo>
                <a:cubicBezTo>
                  <a:pt x="1259" y="41"/>
                  <a:pt x="1259" y="41"/>
                  <a:pt x="1259" y="41"/>
                </a:cubicBezTo>
                <a:cubicBezTo>
                  <a:pt x="1259" y="41"/>
                  <a:pt x="1258" y="41"/>
                  <a:pt x="1258" y="41"/>
                </a:cubicBezTo>
                <a:cubicBezTo>
                  <a:pt x="1258" y="41"/>
                  <a:pt x="1258" y="41"/>
                  <a:pt x="1258" y="41"/>
                </a:cubicBezTo>
                <a:cubicBezTo>
                  <a:pt x="1258" y="41"/>
                  <a:pt x="1258" y="41"/>
                  <a:pt x="1258" y="41"/>
                </a:cubicBezTo>
                <a:cubicBezTo>
                  <a:pt x="1258" y="41"/>
                  <a:pt x="1258" y="41"/>
                  <a:pt x="1258" y="41"/>
                </a:cubicBezTo>
                <a:cubicBezTo>
                  <a:pt x="1257" y="40"/>
                  <a:pt x="1257" y="39"/>
                  <a:pt x="1256" y="39"/>
                </a:cubicBezTo>
                <a:cubicBezTo>
                  <a:pt x="1256" y="39"/>
                  <a:pt x="1256" y="39"/>
                  <a:pt x="1256" y="39"/>
                </a:cubicBezTo>
                <a:cubicBezTo>
                  <a:pt x="1256" y="39"/>
                  <a:pt x="1256" y="39"/>
                  <a:pt x="1256" y="39"/>
                </a:cubicBezTo>
                <a:cubicBezTo>
                  <a:pt x="1256" y="39"/>
                  <a:pt x="1256" y="39"/>
                  <a:pt x="1256" y="39"/>
                </a:cubicBezTo>
                <a:cubicBezTo>
                  <a:pt x="1256" y="38"/>
                  <a:pt x="1256" y="38"/>
                  <a:pt x="1255" y="38"/>
                </a:cubicBezTo>
                <a:cubicBezTo>
                  <a:pt x="1256" y="38"/>
                  <a:pt x="1256" y="38"/>
                  <a:pt x="1256" y="38"/>
                </a:cubicBezTo>
                <a:cubicBezTo>
                  <a:pt x="1255" y="38"/>
                  <a:pt x="1255" y="38"/>
                  <a:pt x="1255" y="38"/>
                </a:cubicBezTo>
                <a:cubicBezTo>
                  <a:pt x="1255" y="38"/>
                  <a:pt x="1255" y="38"/>
                  <a:pt x="1255" y="38"/>
                </a:cubicBezTo>
                <a:cubicBezTo>
                  <a:pt x="1255" y="38"/>
                  <a:pt x="1255" y="38"/>
                  <a:pt x="1255" y="37"/>
                </a:cubicBezTo>
                <a:cubicBezTo>
                  <a:pt x="1255" y="37"/>
                  <a:pt x="1255" y="37"/>
                  <a:pt x="1255" y="37"/>
                </a:cubicBezTo>
                <a:cubicBezTo>
                  <a:pt x="1254" y="37"/>
                  <a:pt x="1254" y="37"/>
                  <a:pt x="1254" y="37"/>
                </a:cubicBezTo>
                <a:cubicBezTo>
                  <a:pt x="1254" y="37"/>
                  <a:pt x="1254" y="37"/>
                  <a:pt x="1254" y="37"/>
                </a:cubicBezTo>
                <a:cubicBezTo>
                  <a:pt x="1254" y="37"/>
                  <a:pt x="1254" y="37"/>
                  <a:pt x="1254" y="37"/>
                </a:cubicBezTo>
                <a:cubicBezTo>
                  <a:pt x="1254" y="37"/>
                  <a:pt x="1254" y="37"/>
                  <a:pt x="1254" y="37"/>
                </a:cubicBezTo>
                <a:cubicBezTo>
                  <a:pt x="1254" y="37"/>
                  <a:pt x="1253" y="37"/>
                  <a:pt x="1253" y="36"/>
                </a:cubicBezTo>
                <a:cubicBezTo>
                  <a:pt x="1253" y="36"/>
                  <a:pt x="1253" y="36"/>
                  <a:pt x="1253" y="36"/>
                </a:cubicBezTo>
                <a:cubicBezTo>
                  <a:pt x="1253" y="36"/>
                  <a:pt x="1253" y="36"/>
                  <a:pt x="1252" y="36"/>
                </a:cubicBezTo>
                <a:cubicBezTo>
                  <a:pt x="1252" y="36"/>
                  <a:pt x="1252" y="36"/>
                  <a:pt x="1252" y="36"/>
                </a:cubicBezTo>
                <a:cubicBezTo>
                  <a:pt x="1252" y="36"/>
                  <a:pt x="1252" y="36"/>
                  <a:pt x="1252" y="36"/>
                </a:cubicBezTo>
                <a:cubicBezTo>
                  <a:pt x="1252" y="36"/>
                  <a:pt x="1252" y="36"/>
                  <a:pt x="1252" y="36"/>
                </a:cubicBezTo>
                <a:cubicBezTo>
                  <a:pt x="1252" y="35"/>
                  <a:pt x="1252" y="36"/>
                  <a:pt x="1251" y="35"/>
                </a:cubicBezTo>
                <a:cubicBezTo>
                  <a:pt x="1251" y="35"/>
                  <a:pt x="1251" y="35"/>
                  <a:pt x="1251" y="35"/>
                </a:cubicBezTo>
                <a:cubicBezTo>
                  <a:pt x="1251" y="35"/>
                  <a:pt x="1251" y="35"/>
                  <a:pt x="1251" y="35"/>
                </a:cubicBezTo>
                <a:cubicBezTo>
                  <a:pt x="1250" y="35"/>
                  <a:pt x="1250" y="35"/>
                  <a:pt x="1250" y="35"/>
                </a:cubicBezTo>
                <a:cubicBezTo>
                  <a:pt x="1250" y="35"/>
                  <a:pt x="1250" y="35"/>
                  <a:pt x="1250" y="35"/>
                </a:cubicBezTo>
                <a:cubicBezTo>
                  <a:pt x="1250" y="35"/>
                  <a:pt x="1250" y="35"/>
                  <a:pt x="1250" y="35"/>
                </a:cubicBezTo>
                <a:cubicBezTo>
                  <a:pt x="1249" y="34"/>
                  <a:pt x="1249" y="35"/>
                  <a:pt x="1249" y="34"/>
                </a:cubicBezTo>
                <a:cubicBezTo>
                  <a:pt x="1249" y="34"/>
                  <a:pt x="1249" y="34"/>
                  <a:pt x="1249" y="34"/>
                </a:cubicBezTo>
                <a:cubicBezTo>
                  <a:pt x="1249" y="34"/>
                  <a:pt x="1248" y="34"/>
                  <a:pt x="1248" y="34"/>
                </a:cubicBezTo>
                <a:cubicBezTo>
                  <a:pt x="1248" y="34"/>
                  <a:pt x="1248" y="34"/>
                  <a:pt x="1248" y="34"/>
                </a:cubicBezTo>
                <a:cubicBezTo>
                  <a:pt x="1248" y="34"/>
                  <a:pt x="1247" y="34"/>
                  <a:pt x="1247" y="34"/>
                </a:cubicBezTo>
                <a:cubicBezTo>
                  <a:pt x="1247" y="34"/>
                  <a:pt x="1247" y="34"/>
                  <a:pt x="1246" y="34"/>
                </a:cubicBezTo>
                <a:cubicBezTo>
                  <a:pt x="1246" y="33"/>
                  <a:pt x="1246" y="34"/>
                  <a:pt x="1245" y="33"/>
                </a:cubicBezTo>
                <a:cubicBezTo>
                  <a:pt x="1245" y="33"/>
                  <a:pt x="1245" y="33"/>
                  <a:pt x="1245" y="33"/>
                </a:cubicBezTo>
                <a:cubicBezTo>
                  <a:pt x="1245" y="33"/>
                  <a:pt x="1244" y="33"/>
                  <a:pt x="1244" y="33"/>
                </a:cubicBezTo>
                <a:cubicBezTo>
                  <a:pt x="1243" y="33"/>
                  <a:pt x="1243" y="33"/>
                  <a:pt x="1243" y="33"/>
                </a:cubicBezTo>
                <a:cubicBezTo>
                  <a:pt x="1242" y="33"/>
                  <a:pt x="1241" y="33"/>
                  <a:pt x="1241" y="33"/>
                </a:cubicBezTo>
                <a:cubicBezTo>
                  <a:pt x="1239" y="33"/>
                  <a:pt x="1237" y="33"/>
                  <a:pt x="1236" y="33"/>
                </a:cubicBezTo>
                <a:cubicBezTo>
                  <a:pt x="1235" y="33"/>
                  <a:pt x="1234" y="33"/>
                  <a:pt x="1233" y="33"/>
                </a:cubicBezTo>
                <a:cubicBezTo>
                  <a:pt x="1233" y="33"/>
                  <a:pt x="1233" y="33"/>
                  <a:pt x="1233" y="33"/>
                </a:cubicBezTo>
                <a:cubicBezTo>
                  <a:pt x="1232" y="33"/>
                  <a:pt x="1232" y="33"/>
                  <a:pt x="1231" y="33"/>
                </a:cubicBezTo>
                <a:cubicBezTo>
                  <a:pt x="1231" y="33"/>
                  <a:pt x="1231" y="33"/>
                  <a:pt x="1231" y="33"/>
                </a:cubicBezTo>
                <a:cubicBezTo>
                  <a:pt x="1231" y="33"/>
                  <a:pt x="1231" y="33"/>
                  <a:pt x="1231" y="33"/>
                </a:cubicBezTo>
                <a:cubicBezTo>
                  <a:pt x="1231" y="34"/>
                  <a:pt x="1230" y="33"/>
                  <a:pt x="1230" y="34"/>
                </a:cubicBezTo>
                <a:cubicBezTo>
                  <a:pt x="1230" y="34"/>
                  <a:pt x="1230" y="34"/>
                  <a:pt x="1230" y="34"/>
                </a:cubicBezTo>
                <a:cubicBezTo>
                  <a:pt x="1230" y="34"/>
                  <a:pt x="1229" y="34"/>
                  <a:pt x="1229" y="34"/>
                </a:cubicBezTo>
                <a:cubicBezTo>
                  <a:pt x="1229" y="34"/>
                  <a:pt x="1229" y="34"/>
                  <a:pt x="1229" y="34"/>
                </a:cubicBezTo>
                <a:cubicBezTo>
                  <a:pt x="1229" y="34"/>
                  <a:pt x="1229" y="34"/>
                  <a:pt x="1229" y="34"/>
                </a:cubicBezTo>
                <a:cubicBezTo>
                  <a:pt x="1228" y="34"/>
                  <a:pt x="1228" y="34"/>
                  <a:pt x="1228" y="34"/>
                </a:cubicBezTo>
                <a:cubicBezTo>
                  <a:pt x="1228" y="34"/>
                  <a:pt x="1228" y="34"/>
                  <a:pt x="1228" y="34"/>
                </a:cubicBezTo>
                <a:cubicBezTo>
                  <a:pt x="1227" y="35"/>
                  <a:pt x="1227" y="34"/>
                  <a:pt x="1227" y="35"/>
                </a:cubicBezTo>
                <a:cubicBezTo>
                  <a:pt x="1227" y="35"/>
                  <a:pt x="1227" y="35"/>
                  <a:pt x="1227" y="35"/>
                </a:cubicBezTo>
                <a:cubicBezTo>
                  <a:pt x="1226" y="35"/>
                  <a:pt x="1226" y="35"/>
                  <a:pt x="1226" y="35"/>
                </a:cubicBezTo>
                <a:cubicBezTo>
                  <a:pt x="1226" y="35"/>
                  <a:pt x="1226" y="35"/>
                  <a:pt x="1226" y="35"/>
                </a:cubicBezTo>
                <a:cubicBezTo>
                  <a:pt x="1226" y="35"/>
                  <a:pt x="1225" y="35"/>
                  <a:pt x="1225" y="35"/>
                </a:cubicBezTo>
                <a:cubicBezTo>
                  <a:pt x="1225" y="35"/>
                  <a:pt x="1225" y="35"/>
                  <a:pt x="1225" y="35"/>
                </a:cubicBezTo>
                <a:cubicBezTo>
                  <a:pt x="1225" y="36"/>
                  <a:pt x="1225" y="36"/>
                  <a:pt x="1225" y="36"/>
                </a:cubicBezTo>
                <a:cubicBezTo>
                  <a:pt x="1225" y="36"/>
                  <a:pt x="1225" y="36"/>
                  <a:pt x="1225" y="36"/>
                </a:cubicBezTo>
                <a:cubicBezTo>
                  <a:pt x="1224" y="36"/>
                  <a:pt x="1224" y="36"/>
                  <a:pt x="1224" y="36"/>
                </a:cubicBezTo>
                <a:cubicBezTo>
                  <a:pt x="1224" y="36"/>
                  <a:pt x="1224" y="36"/>
                  <a:pt x="1224" y="36"/>
                </a:cubicBezTo>
                <a:cubicBezTo>
                  <a:pt x="1224" y="36"/>
                  <a:pt x="1223" y="36"/>
                  <a:pt x="1223" y="36"/>
                </a:cubicBezTo>
                <a:cubicBezTo>
                  <a:pt x="1223" y="36"/>
                  <a:pt x="1223" y="36"/>
                  <a:pt x="1223" y="36"/>
                </a:cubicBezTo>
                <a:cubicBezTo>
                  <a:pt x="1223" y="37"/>
                  <a:pt x="1223" y="37"/>
                  <a:pt x="1223" y="37"/>
                </a:cubicBezTo>
                <a:cubicBezTo>
                  <a:pt x="1223" y="37"/>
                  <a:pt x="1223" y="37"/>
                  <a:pt x="1223" y="37"/>
                </a:cubicBezTo>
                <a:cubicBezTo>
                  <a:pt x="1222" y="37"/>
                  <a:pt x="1222" y="37"/>
                  <a:pt x="1222" y="37"/>
                </a:cubicBezTo>
                <a:cubicBezTo>
                  <a:pt x="1222" y="37"/>
                  <a:pt x="1222" y="37"/>
                  <a:pt x="1222" y="37"/>
                </a:cubicBezTo>
                <a:cubicBezTo>
                  <a:pt x="1222" y="37"/>
                  <a:pt x="1222" y="37"/>
                  <a:pt x="1221" y="38"/>
                </a:cubicBezTo>
                <a:cubicBezTo>
                  <a:pt x="1222" y="38"/>
                  <a:pt x="1222" y="38"/>
                  <a:pt x="1222" y="38"/>
                </a:cubicBezTo>
                <a:cubicBezTo>
                  <a:pt x="1221" y="38"/>
                  <a:pt x="1221" y="38"/>
                  <a:pt x="1221" y="38"/>
                </a:cubicBezTo>
                <a:cubicBezTo>
                  <a:pt x="1221" y="38"/>
                  <a:pt x="1221" y="38"/>
                  <a:pt x="1221" y="38"/>
                </a:cubicBezTo>
                <a:cubicBezTo>
                  <a:pt x="1221" y="38"/>
                  <a:pt x="1220" y="38"/>
                  <a:pt x="1220" y="39"/>
                </a:cubicBezTo>
                <a:cubicBezTo>
                  <a:pt x="1220" y="39"/>
                  <a:pt x="1220" y="39"/>
                  <a:pt x="1220" y="39"/>
                </a:cubicBezTo>
                <a:cubicBezTo>
                  <a:pt x="1220" y="39"/>
                  <a:pt x="1220" y="39"/>
                  <a:pt x="1220" y="39"/>
                </a:cubicBezTo>
                <a:cubicBezTo>
                  <a:pt x="1220" y="39"/>
                  <a:pt x="1220" y="39"/>
                  <a:pt x="1220" y="39"/>
                </a:cubicBezTo>
                <a:cubicBezTo>
                  <a:pt x="1220" y="39"/>
                  <a:pt x="1219" y="39"/>
                  <a:pt x="1219" y="39"/>
                </a:cubicBezTo>
                <a:cubicBezTo>
                  <a:pt x="1219" y="39"/>
                  <a:pt x="1219" y="39"/>
                  <a:pt x="1219" y="39"/>
                </a:cubicBezTo>
                <a:cubicBezTo>
                  <a:pt x="1219" y="40"/>
                  <a:pt x="1219" y="40"/>
                  <a:pt x="1218" y="40"/>
                </a:cubicBezTo>
                <a:cubicBezTo>
                  <a:pt x="1218" y="40"/>
                  <a:pt x="1218" y="40"/>
                  <a:pt x="1218" y="40"/>
                </a:cubicBezTo>
                <a:cubicBezTo>
                  <a:pt x="1218" y="40"/>
                  <a:pt x="1218" y="40"/>
                  <a:pt x="1218" y="40"/>
                </a:cubicBezTo>
                <a:cubicBezTo>
                  <a:pt x="1218" y="40"/>
                  <a:pt x="1218" y="40"/>
                  <a:pt x="1218" y="40"/>
                </a:cubicBezTo>
                <a:cubicBezTo>
                  <a:pt x="1218" y="40"/>
                  <a:pt x="1218" y="40"/>
                  <a:pt x="1218" y="41"/>
                </a:cubicBezTo>
                <a:cubicBezTo>
                  <a:pt x="1218" y="41"/>
                  <a:pt x="1218" y="41"/>
                  <a:pt x="1218" y="41"/>
                </a:cubicBezTo>
                <a:cubicBezTo>
                  <a:pt x="1217" y="41"/>
                  <a:pt x="1217" y="41"/>
                  <a:pt x="1217" y="41"/>
                </a:cubicBezTo>
                <a:cubicBezTo>
                  <a:pt x="1217" y="41"/>
                  <a:pt x="1217" y="41"/>
                  <a:pt x="1217" y="41"/>
                </a:cubicBezTo>
                <a:cubicBezTo>
                  <a:pt x="1217" y="41"/>
                  <a:pt x="1217" y="41"/>
                  <a:pt x="1217" y="41"/>
                </a:cubicBezTo>
                <a:cubicBezTo>
                  <a:pt x="1217" y="41"/>
                  <a:pt x="1217" y="41"/>
                  <a:pt x="1217" y="41"/>
                </a:cubicBezTo>
                <a:cubicBezTo>
                  <a:pt x="1217" y="41"/>
                  <a:pt x="1217" y="42"/>
                  <a:pt x="1217" y="42"/>
                </a:cubicBezTo>
                <a:cubicBezTo>
                  <a:pt x="1217" y="42"/>
                  <a:pt x="1217" y="42"/>
                  <a:pt x="1217" y="42"/>
                </a:cubicBezTo>
                <a:cubicBezTo>
                  <a:pt x="1216" y="42"/>
                  <a:pt x="1216" y="42"/>
                  <a:pt x="1216" y="42"/>
                </a:cubicBezTo>
                <a:cubicBezTo>
                  <a:pt x="1216" y="42"/>
                  <a:pt x="1216" y="42"/>
                  <a:pt x="1216" y="42"/>
                </a:cubicBezTo>
                <a:cubicBezTo>
                  <a:pt x="1216" y="42"/>
                  <a:pt x="1216" y="42"/>
                  <a:pt x="1216" y="42"/>
                </a:cubicBezTo>
                <a:cubicBezTo>
                  <a:pt x="1216" y="42"/>
                  <a:pt x="1216" y="42"/>
                  <a:pt x="1216" y="42"/>
                </a:cubicBezTo>
                <a:cubicBezTo>
                  <a:pt x="1216" y="43"/>
                  <a:pt x="1215" y="43"/>
                  <a:pt x="1215" y="43"/>
                </a:cubicBezTo>
                <a:cubicBezTo>
                  <a:pt x="1215" y="43"/>
                  <a:pt x="1215" y="43"/>
                  <a:pt x="1215" y="43"/>
                </a:cubicBezTo>
                <a:cubicBezTo>
                  <a:pt x="1215" y="44"/>
                  <a:pt x="1215" y="44"/>
                  <a:pt x="1215" y="44"/>
                </a:cubicBezTo>
                <a:cubicBezTo>
                  <a:pt x="1215" y="44"/>
                  <a:pt x="1215" y="44"/>
                  <a:pt x="1215" y="44"/>
                </a:cubicBezTo>
                <a:cubicBezTo>
                  <a:pt x="1215" y="44"/>
                  <a:pt x="1215" y="44"/>
                  <a:pt x="1215" y="44"/>
                </a:cubicBezTo>
                <a:cubicBezTo>
                  <a:pt x="1215" y="44"/>
                  <a:pt x="1215" y="44"/>
                  <a:pt x="1215" y="44"/>
                </a:cubicBezTo>
                <a:cubicBezTo>
                  <a:pt x="1214" y="44"/>
                  <a:pt x="1214" y="45"/>
                  <a:pt x="1214" y="45"/>
                </a:cubicBezTo>
                <a:cubicBezTo>
                  <a:pt x="1214" y="45"/>
                  <a:pt x="1214" y="45"/>
                  <a:pt x="1214" y="45"/>
                </a:cubicBezTo>
                <a:cubicBezTo>
                  <a:pt x="1214" y="45"/>
                  <a:pt x="1214" y="45"/>
                  <a:pt x="1214" y="45"/>
                </a:cubicBezTo>
                <a:cubicBezTo>
                  <a:pt x="1214" y="45"/>
                  <a:pt x="1214" y="45"/>
                  <a:pt x="1214" y="45"/>
                </a:cubicBezTo>
                <a:cubicBezTo>
                  <a:pt x="1213" y="45"/>
                  <a:pt x="1213" y="46"/>
                  <a:pt x="1213" y="46"/>
                </a:cubicBezTo>
                <a:cubicBezTo>
                  <a:pt x="1213" y="46"/>
                  <a:pt x="1213" y="46"/>
                  <a:pt x="1213" y="46"/>
                </a:cubicBezTo>
                <a:cubicBezTo>
                  <a:pt x="1213" y="46"/>
                  <a:pt x="1213" y="47"/>
                  <a:pt x="1213" y="47"/>
                </a:cubicBezTo>
                <a:cubicBezTo>
                  <a:pt x="1213" y="47"/>
                  <a:pt x="1213" y="47"/>
                  <a:pt x="1213" y="47"/>
                </a:cubicBezTo>
                <a:cubicBezTo>
                  <a:pt x="1213" y="47"/>
                  <a:pt x="1212" y="47"/>
                  <a:pt x="1212" y="47"/>
                </a:cubicBezTo>
                <a:cubicBezTo>
                  <a:pt x="1212" y="47"/>
                  <a:pt x="1212" y="47"/>
                  <a:pt x="1212" y="47"/>
                </a:cubicBezTo>
                <a:cubicBezTo>
                  <a:pt x="1212" y="47"/>
                  <a:pt x="1212" y="48"/>
                  <a:pt x="1212" y="48"/>
                </a:cubicBezTo>
                <a:cubicBezTo>
                  <a:pt x="1212" y="48"/>
                  <a:pt x="1212" y="48"/>
                  <a:pt x="1212" y="48"/>
                </a:cubicBezTo>
                <a:cubicBezTo>
                  <a:pt x="1212" y="48"/>
                  <a:pt x="1212" y="48"/>
                  <a:pt x="1212" y="49"/>
                </a:cubicBezTo>
                <a:cubicBezTo>
                  <a:pt x="1212" y="49"/>
                  <a:pt x="1212" y="49"/>
                  <a:pt x="1212" y="49"/>
                </a:cubicBezTo>
                <a:cubicBezTo>
                  <a:pt x="1211" y="49"/>
                  <a:pt x="1212" y="49"/>
                  <a:pt x="1211" y="49"/>
                </a:cubicBezTo>
                <a:cubicBezTo>
                  <a:pt x="1211" y="49"/>
                  <a:pt x="1211" y="49"/>
                  <a:pt x="1211" y="49"/>
                </a:cubicBezTo>
                <a:cubicBezTo>
                  <a:pt x="1211" y="49"/>
                  <a:pt x="1211" y="50"/>
                  <a:pt x="1211" y="50"/>
                </a:cubicBezTo>
                <a:cubicBezTo>
                  <a:pt x="1211" y="50"/>
                  <a:pt x="1211" y="50"/>
                  <a:pt x="1211" y="50"/>
                </a:cubicBezTo>
                <a:cubicBezTo>
                  <a:pt x="1211" y="50"/>
                  <a:pt x="1211" y="51"/>
                  <a:pt x="1211" y="51"/>
                </a:cubicBezTo>
                <a:cubicBezTo>
                  <a:pt x="1211" y="51"/>
                  <a:pt x="1211" y="51"/>
                  <a:pt x="1211" y="51"/>
                </a:cubicBezTo>
                <a:cubicBezTo>
                  <a:pt x="1210" y="51"/>
                  <a:pt x="1210" y="51"/>
                  <a:pt x="1210" y="51"/>
                </a:cubicBezTo>
                <a:cubicBezTo>
                  <a:pt x="1210" y="51"/>
                  <a:pt x="1210" y="51"/>
                  <a:pt x="1210" y="51"/>
                </a:cubicBezTo>
                <a:cubicBezTo>
                  <a:pt x="1210" y="52"/>
                  <a:pt x="1210" y="52"/>
                  <a:pt x="1210" y="52"/>
                </a:cubicBezTo>
                <a:cubicBezTo>
                  <a:pt x="1210" y="52"/>
                  <a:pt x="1210" y="52"/>
                  <a:pt x="1210" y="52"/>
                </a:cubicBezTo>
                <a:cubicBezTo>
                  <a:pt x="1210" y="53"/>
                  <a:pt x="1210" y="53"/>
                  <a:pt x="1210" y="53"/>
                </a:cubicBezTo>
                <a:cubicBezTo>
                  <a:pt x="1210" y="53"/>
                  <a:pt x="1210" y="53"/>
                  <a:pt x="1210" y="53"/>
                </a:cubicBezTo>
                <a:cubicBezTo>
                  <a:pt x="1209" y="53"/>
                  <a:pt x="1209" y="54"/>
                  <a:pt x="1209" y="54"/>
                </a:cubicBezTo>
                <a:cubicBezTo>
                  <a:pt x="1209" y="54"/>
                  <a:pt x="1209" y="54"/>
                  <a:pt x="1209" y="54"/>
                </a:cubicBezTo>
                <a:cubicBezTo>
                  <a:pt x="1209" y="54"/>
                  <a:pt x="1209" y="54"/>
                  <a:pt x="1209" y="54"/>
                </a:cubicBezTo>
                <a:cubicBezTo>
                  <a:pt x="1209" y="54"/>
                  <a:pt x="1209" y="55"/>
                  <a:pt x="1209" y="55"/>
                </a:cubicBezTo>
                <a:cubicBezTo>
                  <a:pt x="1209" y="55"/>
                  <a:pt x="1209" y="55"/>
                  <a:pt x="1209" y="55"/>
                </a:cubicBezTo>
                <a:cubicBezTo>
                  <a:pt x="1209" y="55"/>
                  <a:pt x="1209" y="55"/>
                  <a:pt x="1209" y="55"/>
                </a:cubicBezTo>
                <a:cubicBezTo>
                  <a:pt x="1209" y="56"/>
                  <a:pt x="1209" y="56"/>
                  <a:pt x="1209" y="56"/>
                </a:cubicBezTo>
                <a:cubicBezTo>
                  <a:pt x="1209" y="56"/>
                  <a:pt x="1209" y="56"/>
                  <a:pt x="1209" y="56"/>
                </a:cubicBezTo>
                <a:cubicBezTo>
                  <a:pt x="1208" y="57"/>
                  <a:pt x="1208" y="57"/>
                  <a:pt x="1208" y="57"/>
                </a:cubicBezTo>
                <a:cubicBezTo>
                  <a:pt x="1208" y="58"/>
                  <a:pt x="1208" y="58"/>
                  <a:pt x="1208" y="58"/>
                </a:cubicBezTo>
                <a:cubicBezTo>
                  <a:pt x="1208" y="58"/>
                  <a:pt x="1208" y="58"/>
                  <a:pt x="1208" y="58"/>
                </a:cubicBezTo>
                <a:cubicBezTo>
                  <a:pt x="1208" y="58"/>
                  <a:pt x="1208" y="59"/>
                  <a:pt x="1208" y="59"/>
                </a:cubicBezTo>
                <a:cubicBezTo>
                  <a:pt x="1208" y="59"/>
                  <a:pt x="1208" y="59"/>
                  <a:pt x="1208" y="59"/>
                </a:cubicBezTo>
                <a:cubicBezTo>
                  <a:pt x="1208" y="60"/>
                  <a:pt x="1208" y="60"/>
                  <a:pt x="1208" y="61"/>
                </a:cubicBezTo>
                <a:cubicBezTo>
                  <a:pt x="1208" y="61"/>
                  <a:pt x="1208" y="61"/>
                  <a:pt x="1207" y="61"/>
                </a:cubicBezTo>
                <a:cubicBezTo>
                  <a:pt x="1207" y="62"/>
                  <a:pt x="1208" y="63"/>
                  <a:pt x="1207" y="63"/>
                </a:cubicBezTo>
                <a:cubicBezTo>
                  <a:pt x="1207" y="64"/>
                  <a:pt x="1207" y="64"/>
                  <a:pt x="1207" y="64"/>
                </a:cubicBezTo>
                <a:cubicBezTo>
                  <a:pt x="1207" y="67"/>
                  <a:pt x="1207" y="70"/>
                  <a:pt x="1207" y="73"/>
                </a:cubicBezTo>
                <a:cubicBezTo>
                  <a:pt x="1207" y="73"/>
                  <a:pt x="1207" y="73"/>
                  <a:pt x="1207" y="74"/>
                </a:cubicBezTo>
                <a:cubicBezTo>
                  <a:pt x="1208" y="74"/>
                  <a:pt x="1207" y="75"/>
                  <a:pt x="1207" y="76"/>
                </a:cubicBezTo>
                <a:cubicBezTo>
                  <a:pt x="1208" y="76"/>
                  <a:pt x="1208" y="76"/>
                  <a:pt x="1208" y="76"/>
                </a:cubicBezTo>
                <a:cubicBezTo>
                  <a:pt x="1208" y="77"/>
                  <a:pt x="1207" y="78"/>
                  <a:pt x="1208" y="78"/>
                </a:cubicBezTo>
                <a:cubicBezTo>
                  <a:pt x="1208" y="78"/>
                  <a:pt x="1208" y="78"/>
                  <a:pt x="1208" y="78"/>
                </a:cubicBezTo>
                <a:cubicBezTo>
                  <a:pt x="1208" y="79"/>
                  <a:pt x="1208" y="79"/>
                  <a:pt x="1208" y="80"/>
                </a:cubicBezTo>
                <a:cubicBezTo>
                  <a:pt x="1208" y="80"/>
                  <a:pt x="1208" y="80"/>
                  <a:pt x="1208" y="80"/>
                </a:cubicBezTo>
                <a:cubicBezTo>
                  <a:pt x="1208" y="80"/>
                  <a:pt x="1208" y="80"/>
                  <a:pt x="1208" y="80"/>
                </a:cubicBezTo>
                <a:cubicBezTo>
                  <a:pt x="1208" y="80"/>
                  <a:pt x="1208" y="81"/>
                  <a:pt x="1209" y="81"/>
                </a:cubicBezTo>
                <a:cubicBezTo>
                  <a:pt x="1209" y="81"/>
                  <a:pt x="1209" y="81"/>
                  <a:pt x="1209" y="81"/>
                </a:cubicBezTo>
                <a:cubicBezTo>
                  <a:pt x="1209" y="82"/>
                  <a:pt x="1209" y="82"/>
                  <a:pt x="1209" y="82"/>
                </a:cubicBezTo>
                <a:cubicBezTo>
                  <a:pt x="1209" y="82"/>
                  <a:pt x="1209" y="82"/>
                  <a:pt x="1209" y="82"/>
                </a:cubicBezTo>
                <a:cubicBezTo>
                  <a:pt x="1209" y="82"/>
                  <a:pt x="1209" y="83"/>
                  <a:pt x="1209" y="83"/>
                </a:cubicBezTo>
                <a:cubicBezTo>
                  <a:pt x="1209" y="83"/>
                  <a:pt x="1209" y="83"/>
                  <a:pt x="1209" y="84"/>
                </a:cubicBezTo>
                <a:cubicBezTo>
                  <a:pt x="1209" y="84"/>
                  <a:pt x="1209" y="84"/>
                  <a:pt x="1209" y="84"/>
                </a:cubicBezTo>
                <a:cubicBezTo>
                  <a:pt x="1209" y="84"/>
                  <a:pt x="1209" y="84"/>
                  <a:pt x="1210" y="84"/>
                </a:cubicBezTo>
                <a:cubicBezTo>
                  <a:pt x="1210" y="85"/>
                  <a:pt x="1210" y="85"/>
                  <a:pt x="1210" y="85"/>
                </a:cubicBezTo>
                <a:cubicBezTo>
                  <a:pt x="1210" y="85"/>
                  <a:pt x="1210" y="85"/>
                  <a:pt x="1210" y="85"/>
                </a:cubicBezTo>
                <a:cubicBezTo>
                  <a:pt x="1210" y="85"/>
                  <a:pt x="1210" y="85"/>
                  <a:pt x="1210" y="85"/>
                </a:cubicBezTo>
                <a:cubicBezTo>
                  <a:pt x="1210" y="86"/>
                  <a:pt x="1210" y="86"/>
                  <a:pt x="1210" y="86"/>
                </a:cubicBezTo>
                <a:cubicBezTo>
                  <a:pt x="1210" y="86"/>
                  <a:pt x="1210" y="86"/>
                  <a:pt x="1210" y="86"/>
                </a:cubicBezTo>
                <a:cubicBezTo>
                  <a:pt x="1210" y="86"/>
                  <a:pt x="1210" y="86"/>
                  <a:pt x="1210" y="86"/>
                </a:cubicBezTo>
                <a:cubicBezTo>
                  <a:pt x="1210" y="87"/>
                  <a:pt x="1210" y="87"/>
                  <a:pt x="1211" y="87"/>
                </a:cubicBezTo>
                <a:cubicBezTo>
                  <a:pt x="1211" y="87"/>
                  <a:pt x="1211" y="87"/>
                  <a:pt x="1211" y="87"/>
                </a:cubicBezTo>
                <a:cubicBezTo>
                  <a:pt x="1211" y="87"/>
                  <a:pt x="1211" y="88"/>
                  <a:pt x="1211" y="88"/>
                </a:cubicBezTo>
                <a:cubicBezTo>
                  <a:pt x="1211" y="88"/>
                  <a:pt x="1211" y="88"/>
                  <a:pt x="1211" y="88"/>
                </a:cubicBezTo>
                <a:cubicBezTo>
                  <a:pt x="1211" y="88"/>
                  <a:pt x="1211" y="88"/>
                  <a:pt x="1211" y="89"/>
                </a:cubicBezTo>
                <a:cubicBezTo>
                  <a:pt x="1211" y="89"/>
                  <a:pt x="1211" y="89"/>
                  <a:pt x="1211" y="89"/>
                </a:cubicBezTo>
                <a:cubicBezTo>
                  <a:pt x="1212" y="89"/>
                  <a:pt x="1211" y="89"/>
                  <a:pt x="1212" y="89"/>
                </a:cubicBezTo>
                <a:cubicBezTo>
                  <a:pt x="1212" y="89"/>
                  <a:pt x="1212" y="89"/>
                  <a:pt x="1212" y="89"/>
                </a:cubicBezTo>
                <a:cubicBezTo>
                  <a:pt x="1212" y="89"/>
                  <a:pt x="1212" y="90"/>
                  <a:pt x="1212" y="90"/>
                </a:cubicBezTo>
                <a:cubicBezTo>
                  <a:pt x="1212" y="90"/>
                  <a:pt x="1212" y="90"/>
                  <a:pt x="1212" y="90"/>
                </a:cubicBezTo>
                <a:cubicBezTo>
                  <a:pt x="1212" y="90"/>
                  <a:pt x="1212" y="90"/>
                  <a:pt x="1212" y="90"/>
                </a:cubicBezTo>
                <a:cubicBezTo>
                  <a:pt x="1212" y="90"/>
                  <a:pt x="1212" y="90"/>
                  <a:pt x="1212" y="90"/>
                </a:cubicBezTo>
                <a:cubicBezTo>
                  <a:pt x="1213" y="91"/>
                  <a:pt x="1213" y="91"/>
                  <a:pt x="1213" y="91"/>
                </a:cubicBezTo>
                <a:cubicBezTo>
                  <a:pt x="1213" y="91"/>
                  <a:pt x="1213" y="91"/>
                  <a:pt x="1213" y="91"/>
                </a:cubicBezTo>
                <a:cubicBezTo>
                  <a:pt x="1213" y="92"/>
                  <a:pt x="1213" y="92"/>
                  <a:pt x="1213" y="92"/>
                </a:cubicBezTo>
                <a:cubicBezTo>
                  <a:pt x="1213" y="92"/>
                  <a:pt x="1213" y="92"/>
                  <a:pt x="1213" y="92"/>
                </a:cubicBezTo>
                <a:cubicBezTo>
                  <a:pt x="1214" y="92"/>
                  <a:pt x="1214" y="92"/>
                  <a:pt x="1214" y="92"/>
                </a:cubicBezTo>
                <a:cubicBezTo>
                  <a:pt x="1214" y="92"/>
                  <a:pt x="1214" y="92"/>
                  <a:pt x="1214" y="92"/>
                </a:cubicBezTo>
                <a:cubicBezTo>
                  <a:pt x="1214" y="93"/>
                  <a:pt x="1214" y="93"/>
                  <a:pt x="1214" y="93"/>
                </a:cubicBezTo>
                <a:cubicBezTo>
                  <a:pt x="1214" y="93"/>
                  <a:pt x="1214" y="93"/>
                  <a:pt x="1214" y="93"/>
                </a:cubicBezTo>
                <a:cubicBezTo>
                  <a:pt x="1214" y="93"/>
                  <a:pt x="1214" y="93"/>
                  <a:pt x="1214" y="93"/>
                </a:cubicBezTo>
                <a:cubicBezTo>
                  <a:pt x="1214" y="93"/>
                  <a:pt x="1214" y="93"/>
                  <a:pt x="1214" y="93"/>
                </a:cubicBezTo>
                <a:cubicBezTo>
                  <a:pt x="1215" y="93"/>
                  <a:pt x="1215" y="94"/>
                  <a:pt x="1215" y="94"/>
                </a:cubicBezTo>
                <a:cubicBezTo>
                  <a:pt x="1215" y="94"/>
                  <a:pt x="1215" y="94"/>
                  <a:pt x="1215" y="94"/>
                </a:cubicBezTo>
                <a:cubicBezTo>
                  <a:pt x="1215" y="94"/>
                  <a:pt x="1215" y="94"/>
                  <a:pt x="1216" y="94"/>
                </a:cubicBezTo>
                <a:cubicBezTo>
                  <a:pt x="1216" y="94"/>
                  <a:pt x="1216" y="94"/>
                  <a:pt x="1216" y="94"/>
                </a:cubicBezTo>
                <a:cubicBezTo>
                  <a:pt x="1216" y="95"/>
                  <a:pt x="1216" y="95"/>
                  <a:pt x="1216" y="95"/>
                </a:cubicBezTo>
                <a:cubicBezTo>
                  <a:pt x="1216" y="95"/>
                  <a:pt x="1216" y="95"/>
                  <a:pt x="1216" y="95"/>
                </a:cubicBezTo>
                <a:cubicBezTo>
                  <a:pt x="1216" y="95"/>
                  <a:pt x="1216" y="95"/>
                  <a:pt x="1216" y="95"/>
                </a:cubicBezTo>
                <a:cubicBezTo>
                  <a:pt x="1216" y="95"/>
                  <a:pt x="1216" y="95"/>
                  <a:pt x="1216" y="95"/>
                </a:cubicBezTo>
                <a:cubicBezTo>
                  <a:pt x="1216" y="95"/>
                  <a:pt x="1216" y="95"/>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7"/>
                  <a:pt x="1218" y="97"/>
                </a:cubicBezTo>
                <a:cubicBezTo>
                  <a:pt x="1218" y="97"/>
                  <a:pt x="1218" y="97"/>
                  <a:pt x="1218" y="97"/>
                </a:cubicBezTo>
                <a:cubicBezTo>
                  <a:pt x="1218" y="97"/>
                  <a:pt x="1218" y="97"/>
                  <a:pt x="1219" y="97"/>
                </a:cubicBezTo>
                <a:cubicBezTo>
                  <a:pt x="1219" y="97"/>
                  <a:pt x="1219" y="97"/>
                  <a:pt x="1219" y="97"/>
                </a:cubicBezTo>
                <a:cubicBezTo>
                  <a:pt x="1219" y="97"/>
                  <a:pt x="1219" y="98"/>
                  <a:pt x="1219" y="98"/>
                </a:cubicBezTo>
                <a:cubicBezTo>
                  <a:pt x="1219" y="98"/>
                  <a:pt x="1219" y="98"/>
                  <a:pt x="1219" y="98"/>
                </a:cubicBezTo>
                <a:cubicBezTo>
                  <a:pt x="1219" y="98"/>
                  <a:pt x="1219" y="98"/>
                  <a:pt x="1219" y="98"/>
                </a:cubicBezTo>
                <a:cubicBezTo>
                  <a:pt x="1219" y="98"/>
                  <a:pt x="1219" y="98"/>
                  <a:pt x="1219" y="98"/>
                </a:cubicBezTo>
                <a:cubicBezTo>
                  <a:pt x="1219" y="98"/>
                  <a:pt x="1220" y="98"/>
                  <a:pt x="1220" y="98"/>
                </a:cubicBezTo>
                <a:cubicBezTo>
                  <a:pt x="1220" y="98"/>
                  <a:pt x="1220" y="98"/>
                  <a:pt x="1220" y="98"/>
                </a:cubicBezTo>
                <a:cubicBezTo>
                  <a:pt x="1220" y="99"/>
                  <a:pt x="1220" y="99"/>
                  <a:pt x="1220" y="99"/>
                </a:cubicBezTo>
                <a:cubicBezTo>
                  <a:pt x="1220" y="99"/>
                  <a:pt x="1220" y="99"/>
                  <a:pt x="1220" y="99"/>
                </a:cubicBezTo>
                <a:cubicBezTo>
                  <a:pt x="1221" y="99"/>
                  <a:pt x="1221" y="99"/>
                  <a:pt x="1221" y="99"/>
                </a:cubicBezTo>
                <a:cubicBezTo>
                  <a:pt x="1221" y="99"/>
                  <a:pt x="1221" y="99"/>
                  <a:pt x="1221" y="99"/>
                </a:cubicBezTo>
                <a:cubicBezTo>
                  <a:pt x="1221" y="99"/>
                  <a:pt x="1222" y="99"/>
                  <a:pt x="1222" y="99"/>
                </a:cubicBezTo>
                <a:cubicBezTo>
                  <a:pt x="1222" y="99"/>
                  <a:pt x="1222" y="99"/>
                  <a:pt x="1222" y="99"/>
                </a:cubicBezTo>
                <a:cubicBezTo>
                  <a:pt x="1222" y="100"/>
                  <a:pt x="1222" y="100"/>
                  <a:pt x="1222" y="100"/>
                </a:cubicBezTo>
                <a:cubicBezTo>
                  <a:pt x="1222" y="100"/>
                  <a:pt x="1222" y="100"/>
                  <a:pt x="1222" y="100"/>
                </a:cubicBezTo>
                <a:cubicBezTo>
                  <a:pt x="1222" y="100"/>
                  <a:pt x="1222" y="100"/>
                  <a:pt x="1222" y="100"/>
                </a:cubicBezTo>
                <a:cubicBezTo>
                  <a:pt x="1223" y="100"/>
                  <a:pt x="1223" y="100"/>
                  <a:pt x="1223" y="100"/>
                </a:cubicBezTo>
                <a:cubicBezTo>
                  <a:pt x="1223" y="100"/>
                  <a:pt x="1223" y="100"/>
                  <a:pt x="1223" y="100"/>
                </a:cubicBezTo>
                <a:cubicBezTo>
                  <a:pt x="1223" y="100"/>
                  <a:pt x="1223" y="100"/>
                  <a:pt x="1224" y="100"/>
                </a:cubicBezTo>
                <a:cubicBezTo>
                  <a:pt x="1224" y="100"/>
                  <a:pt x="1224" y="100"/>
                  <a:pt x="1224" y="100"/>
                </a:cubicBezTo>
                <a:cubicBezTo>
                  <a:pt x="1224" y="101"/>
                  <a:pt x="1224" y="101"/>
                  <a:pt x="1224" y="101"/>
                </a:cubicBezTo>
                <a:cubicBezTo>
                  <a:pt x="1224" y="101"/>
                  <a:pt x="1224" y="101"/>
                  <a:pt x="1225" y="101"/>
                </a:cubicBezTo>
                <a:cubicBezTo>
                  <a:pt x="1225" y="101"/>
                  <a:pt x="1225" y="101"/>
                  <a:pt x="1225" y="101"/>
                </a:cubicBezTo>
                <a:cubicBezTo>
                  <a:pt x="1225" y="101"/>
                  <a:pt x="1225" y="101"/>
                  <a:pt x="1225" y="101"/>
                </a:cubicBezTo>
                <a:cubicBezTo>
                  <a:pt x="1225" y="101"/>
                  <a:pt x="1225" y="101"/>
                  <a:pt x="1225" y="101"/>
                </a:cubicBezTo>
                <a:cubicBezTo>
                  <a:pt x="1226" y="102"/>
                  <a:pt x="1226" y="101"/>
                  <a:pt x="1226" y="101"/>
                </a:cubicBezTo>
                <a:cubicBezTo>
                  <a:pt x="1226" y="101"/>
                  <a:pt x="1226" y="101"/>
                  <a:pt x="1226" y="101"/>
                </a:cubicBezTo>
                <a:cubicBezTo>
                  <a:pt x="1227" y="102"/>
                  <a:pt x="1227" y="102"/>
                  <a:pt x="1227" y="102"/>
                </a:cubicBezTo>
                <a:cubicBezTo>
                  <a:pt x="1227" y="102"/>
                  <a:pt x="1227" y="102"/>
                  <a:pt x="1227" y="102"/>
                </a:cubicBezTo>
                <a:cubicBezTo>
                  <a:pt x="1228" y="102"/>
                  <a:pt x="1228" y="102"/>
                  <a:pt x="1229" y="102"/>
                </a:cubicBezTo>
                <a:cubicBezTo>
                  <a:pt x="1229" y="102"/>
                  <a:pt x="1229" y="102"/>
                  <a:pt x="1229" y="102"/>
                </a:cubicBezTo>
                <a:cubicBezTo>
                  <a:pt x="1229" y="102"/>
                  <a:pt x="1229" y="102"/>
                  <a:pt x="1229" y="102"/>
                </a:cubicBezTo>
                <a:cubicBezTo>
                  <a:pt x="1229" y="103"/>
                  <a:pt x="1230" y="102"/>
                  <a:pt x="1230" y="103"/>
                </a:cubicBezTo>
                <a:cubicBezTo>
                  <a:pt x="1230" y="102"/>
                  <a:pt x="1230" y="102"/>
                  <a:pt x="1230" y="102"/>
                </a:cubicBezTo>
                <a:cubicBezTo>
                  <a:pt x="1230" y="103"/>
                  <a:pt x="1230" y="103"/>
                  <a:pt x="1230" y="103"/>
                </a:cubicBezTo>
                <a:cubicBezTo>
                  <a:pt x="1231" y="103"/>
                  <a:pt x="1232" y="103"/>
                  <a:pt x="1232" y="103"/>
                </a:cubicBezTo>
                <a:cubicBezTo>
                  <a:pt x="1232" y="103"/>
                  <a:pt x="1232" y="103"/>
                  <a:pt x="1233" y="103"/>
                </a:cubicBezTo>
                <a:cubicBezTo>
                  <a:pt x="1234" y="103"/>
                  <a:pt x="1235" y="103"/>
                  <a:pt x="1236" y="103"/>
                </a:cubicBezTo>
                <a:cubicBezTo>
                  <a:pt x="1237" y="103"/>
                  <a:pt x="1238" y="103"/>
                  <a:pt x="1239" y="103"/>
                </a:cubicBezTo>
                <a:cubicBezTo>
                  <a:pt x="1241" y="103"/>
                  <a:pt x="1242" y="103"/>
                  <a:pt x="1244" y="103"/>
                </a:cubicBezTo>
                <a:cubicBezTo>
                  <a:pt x="1244" y="103"/>
                  <a:pt x="1244" y="103"/>
                  <a:pt x="1244" y="103"/>
                </a:cubicBezTo>
                <a:cubicBezTo>
                  <a:pt x="1245" y="103"/>
                  <a:pt x="1246" y="103"/>
                  <a:pt x="1246" y="103"/>
                </a:cubicBezTo>
                <a:cubicBezTo>
                  <a:pt x="1246" y="103"/>
                  <a:pt x="1247" y="103"/>
                  <a:pt x="1247" y="103"/>
                </a:cubicBezTo>
                <a:cubicBezTo>
                  <a:pt x="1247" y="102"/>
                  <a:pt x="1248" y="103"/>
                  <a:pt x="1248" y="102"/>
                </a:cubicBezTo>
                <a:cubicBezTo>
                  <a:pt x="1248" y="102"/>
                  <a:pt x="1248" y="102"/>
                  <a:pt x="1248" y="102"/>
                </a:cubicBezTo>
                <a:cubicBezTo>
                  <a:pt x="1248" y="102"/>
                  <a:pt x="1248" y="102"/>
                  <a:pt x="1248" y="102"/>
                </a:cubicBezTo>
                <a:cubicBezTo>
                  <a:pt x="1249" y="102"/>
                  <a:pt x="1249" y="102"/>
                  <a:pt x="1250" y="102"/>
                </a:cubicBezTo>
                <a:cubicBezTo>
                  <a:pt x="1250" y="102"/>
                  <a:pt x="1250" y="102"/>
                  <a:pt x="1250" y="102"/>
                </a:cubicBezTo>
                <a:cubicBezTo>
                  <a:pt x="1250" y="102"/>
                  <a:pt x="1250" y="102"/>
                  <a:pt x="1250" y="102"/>
                </a:cubicBezTo>
                <a:cubicBezTo>
                  <a:pt x="1250" y="102"/>
                  <a:pt x="1251" y="102"/>
                  <a:pt x="1251" y="102"/>
                </a:cubicBezTo>
                <a:cubicBezTo>
                  <a:pt x="1251" y="101"/>
                  <a:pt x="1251" y="101"/>
                  <a:pt x="1251" y="101"/>
                </a:cubicBezTo>
                <a:cubicBezTo>
                  <a:pt x="1251" y="101"/>
                  <a:pt x="1251" y="101"/>
                  <a:pt x="1251" y="101"/>
                </a:cubicBezTo>
                <a:cubicBezTo>
                  <a:pt x="1252" y="101"/>
                  <a:pt x="1252" y="101"/>
                  <a:pt x="1252" y="101"/>
                </a:cubicBezTo>
                <a:cubicBezTo>
                  <a:pt x="1252" y="101"/>
                  <a:pt x="1252" y="101"/>
                  <a:pt x="1252" y="101"/>
                </a:cubicBezTo>
                <a:cubicBezTo>
                  <a:pt x="1252" y="101"/>
                  <a:pt x="1252" y="101"/>
                  <a:pt x="1252" y="101"/>
                </a:cubicBezTo>
                <a:cubicBezTo>
                  <a:pt x="1253" y="101"/>
                  <a:pt x="1253" y="101"/>
                  <a:pt x="1253" y="101"/>
                </a:cubicBezTo>
                <a:cubicBezTo>
                  <a:pt x="1253" y="101"/>
                  <a:pt x="1253" y="101"/>
                  <a:pt x="1253" y="101"/>
                </a:cubicBezTo>
                <a:cubicBezTo>
                  <a:pt x="1253" y="101"/>
                  <a:pt x="1253" y="101"/>
                  <a:pt x="1253" y="101"/>
                </a:cubicBezTo>
                <a:cubicBezTo>
                  <a:pt x="1254" y="101"/>
                  <a:pt x="1254" y="101"/>
                  <a:pt x="1254" y="100"/>
                </a:cubicBezTo>
                <a:cubicBezTo>
                  <a:pt x="1254" y="100"/>
                  <a:pt x="1254" y="100"/>
                  <a:pt x="1254" y="100"/>
                </a:cubicBezTo>
                <a:cubicBezTo>
                  <a:pt x="1254" y="100"/>
                  <a:pt x="1255" y="100"/>
                  <a:pt x="1255" y="100"/>
                </a:cubicBezTo>
                <a:cubicBezTo>
                  <a:pt x="1255" y="100"/>
                  <a:pt x="1255" y="100"/>
                  <a:pt x="1255" y="100"/>
                </a:cubicBezTo>
                <a:cubicBezTo>
                  <a:pt x="1255" y="100"/>
                  <a:pt x="1256" y="100"/>
                  <a:pt x="1256" y="100"/>
                </a:cubicBezTo>
                <a:cubicBezTo>
                  <a:pt x="1256" y="100"/>
                  <a:pt x="1256" y="100"/>
                  <a:pt x="1256" y="100"/>
                </a:cubicBezTo>
                <a:cubicBezTo>
                  <a:pt x="1256" y="100"/>
                  <a:pt x="1256" y="100"/>
                  <a:pt x="1257" y="99"/>
                </a:cubicBezTo>
                <a:cubicBezTo>
                  <a:pt x="1257" y="99"/>
                  <a:pt x="1257" y="99"/>
                  <a:pt x="1257" y="99"/>
                </a:cubicBezTo>
                <a:cubicBezTo>
                  <a:pt x="1257" y="99"/>
                  <a:pt x="1257" y="99"/>
                  <a:pt x="1257" y="99"/>
                </a:cubicBezTo>
                <a:cubicBezTo>
                  <a:pt x="1257" y="99"/>
                  <a:pt x="1257" y="99"/>
                  <a:pt x="1257" y="99"/>
                </a:cubicBezTo>
                <a:cubicBezTo>
                  <a:pt x="1257" y="99"/>
                  <a:pt x="1258" y="99"/>
                  <a:pt x="1258" y="99"/>
                </a:cubicBezTo>
                <a:cubicBezTo>
                  <a:pt x="1258" y="99"/>
                  <a:pt x="1258" y="99"/>
                  <a:pt x="1258" y="99"/>
                </a:cubicBezTo>
                <a:cubicBezTo>
                  <a:pt x="1258" y="99"/>
                  <a:pt x="1259" y="99"/>
                  <a:pt x="1259" y="98"/>
                </a:cubicBezTo>
                <a:cubicBezTo>
                  <a:pt x="1259" y="98"/>
                  <a:pt x="1259" y="98"/>
                  <a:pt x="1259" y="98"/>
                </a:cubicBezTo>
                <a:cubicBezTo>
                  <a:pt x="1259" y="98"/>
                  <a:pt x="1259" y="98"/>
                  <a:pt x="1259" y="98"/>
                </a:cubicBezTo>
                <a:cubicBezTo>
                  <a:pt x="1259" y="98"/>
                  <a:pt x="1259" y="98"/>
                  <a:pt x="1259" y="98"/>
                </a:cubicBezTo>
                <a:cubicBezTo>
                  <a:pt x="1259" y="98"/>
                  <a:pt x="1260" y="98"/>
                  <a:pt x="1260" y="98"/>
                </a:cubicBezTo>
                <a:cubicBezTo>
                  <a:pt x="1260" y="98"/>
                  <a:pt x="1260" y="98"/>
                  <a:pt x="1260" y="98"/>
                </a:cubicBezTo>
                <a:cubicBezTo>
                  <a:pt x="1260" y="98"/>
                  <a:pt x="1260" y="97"/>
                  <a:pt x="1260" y="97"/>
                </a:cubicBezTo>
                <a:cubicBezTo>
                  <a:pt x="1260" y="97"/>
                  <a:pt x="1260" y="97"/>
                  <a:pt x="1260" y="97"/>
                </a:cubicBezTo>
                <a:cubicBezTo>
                  <a:pt x="1260" y="97"/>
                  <a:pt x="1261" y="97"/>
                  <a:pt x="1261" y="97"/>
                </a:cubicBezTo>
                <a:cubicBezTo>
                  <a:pt x="1261" y="97"/>
                  <a:pt x="1261" y="97"/>
                  <a:pt x="1261" y="97"/>
                </a:cubicBezTo>
                <a:cubicBezTo>
                  <a:pt x="1261" y="94"/>
                  <a:pt x="1261" y="91"/>
                  <a:pt x="1261" y="87"/>
                </a:cubicBezTo>
                <a:cubicBezTo>
                  <a:pt x="1261" y="86"/>
                  <a:pt x="1260" y="87"/>
                  <a:pt x="1260" y="87"/>
                </a:cubicBezTo>
                <a:cubicBezTo>
                  <a:pt x="1260" y="87"/>
                  <a:pt x="1260" y="87"/>
                  <a:pt x="1260" y="87"/>
                </a:cubicBezTo>
                <a:cubicBezTo>
                  <a:pt x="1260" y="87"/>
                  <a:pt x="1260" y="87"/>
                  <a:pt x="1259" y="88"/>
                </a:cubicBezTo>
                <a:cubicBezTo>
                  <a:pt x="1259" y="88"/>
                  <a:pt x="1259" y="88"/>
                  <a:pt x="1259" y="88"/>
                </a:cubicBezTo>
                <a:cubicBezTo>
                  <a:pt x="1259" y="88"/>
                  <a:pt x="1259" y="88"/>
                  <a:pt x="1259" y="88"/>
                </a:cubicBezTo>
                <a:cubicBezTo>
                  <a:pt x="1259" y="88"/>
                  <a:pt x="1259" y="88"/>
                  <a:pt x="1259" y="88"/>
                </a:cubicBezTo>
                <a:cubicBezTo>
                  <a:pt x="1259" y="88"/>
                  <a:pt x="1258" y="88"/>
                  <a:pt x="1258" y="88"/>
                </a:cubicBezTo>
                <a:cubicBezTo>
                  <a:pt x="1258" y="88"/>
                  <a:pt x="1258" y="88"/>
                  <a:pt x="1258" y="88"/>
                </a:cubicBezTo>
                <a:cubicBezTo>
                  <a:pt x="1258" y="88"/>
                  <a:pt x="1258" y="88"/>
                  <a:pt x="1258" y="89"/>
                </a:cubicBezTo>
                <a:cubicBezTo>
                  <a:pt x="1258" y="89"/>
                  <a:pt x="1258" y="89"/>
                  <a:pt x="1258" y="89"/>
                </a:cubicBezTo>
                <a:cubicBezTo>
                  <a:pt x="1258" y="89"/>
                  <a:pt x="1257" y="89"/>
                  <a:pt x="1257" y="89"/>
                </a:cubicBezTo>
                <a:cubicBezTo>
                  <a:pt x="1257" y="89"/>
                  <a:pt x="1257" y="89"/>
                  <a:pt x="1257" y="89"/>
                </a:cubicBezTo>
                <a:cubicBezTo>
                  <a:pt x="1257" y="89"/>
                  <a:pt x="1257" y="89"/>
                  <a:pt x="1257" y="89"/>
                </a:cubicBezTo>
                <a:cubicBezTo>
                  <a:pt x="1257" y="89"/>
                  <a:pt x="1257" y="89"/>
                  <a:pt x="1257" y="89"/>
                </a:cubicBezTo>
                <a:cubicBezTo>
                  <a:pt x="1256" y="90"/>
                  <a:pt x="1256" y="89"/>
                  <a:pt x="1256" y="90"/>
                </a:cubicBezTo>
                <a:cubicBezTo>
                  <a:pt x="1256" y="90"/>
                  <a:pt x="1256" y="90"/>
                  <a:pt x="1256" y="90"/>
                </a:cubicBezTo>
                <a:cubicBezTo>
                  <a:pt x="1256" y="90"/>
                  <a:pt x="1255" y="90"/>
                  <a:pt x="1255" y="90"/>
                </a:cubicBezTo>
                <a:cubicBezTo>
                  <a:pt x="1255" y="90"/>
                  <a:pt x="1255" y="90"/>
                  <a:pt x="1255" y="90"/>
                </a:cubicBezTo>
                <a:cubicBezTo>
                  <a:pt x="1255" y="90"/>
                  <a:pt x="1255" y="90"/>
                  <a:pt x="1255" y="90"/>
                </a:cubicBezTo>
                <a:cubicBezTo>
                  <a:pt x="1255" y="90"/>
                  <a:pt x="1255" y="90"/>
                  <a:pt x="1255" y="90"/>
                </a:cubicBezTo>
                <a:cubicBezTo>
                  <a:pt x="1255" y="90"/>
                  <a:pt x="1255" y="90"/>
                  <a:pt x="1255" y="90"/>
                </a:cubicBezTo>
                <a:cubicBezTo>
                  <a:pt x="1254" y="91"/>
                  <a:pt x="1254" y="90"/>
                  <a:pt x="1254" y="91"/>
                </a:cubicBezTo>
                <a:cubicBezTo>
                  <a:pt x="1254" y="91"/>
                  <a:pt x="1254" y="91"/>
                  <a:pt x="1254" y="91"/>
                </a:cubicBezTo>
                <a:cubicBezTo>
                  <a:pt x="1254" y="91"/>
                  <a:pt x="1253" y="91"/>
                  <a:pt x="1253" y="91"/>
                </a:cubicBezTo>
                <a:cubicBezTo>
                  <a:pt x="1253" y="91"/>
                  <a:pt x="1253" y="91"/>
                  <a:pt x="1253" y="91"/>
                </a:cubicBezTo>
                <a:cubicBezTo>
                  <a:pt x="1253" y="91"/>
                  <a:pt x="1253" y="91"/>
                  <a:pt x="1252" y="91"/>
                </a:cubicBezTo>
                <a:cubicBezTo>
                  <a:pt x="1252" y="91"/>
                  <a:pt x="1252" y="91"/>
                  <a:pt x="1252" y="91"/>
                </a:cubicBezTo>
                <a:cubicBezTo>
                  <a:pt x="1252" y="92"/>
                  <a:pt x="1252" y="91"/>
                  <a:pt x="1251" y="92"/>
                </a:cubicBezTo>
                <a:cubicBezTo>
                  <a:pt x="1251" y="92"/>
                  <a:pt x="1251" y="92"/>
                  <a:pt x="1251" y="92"/>
                </a:cubicBezTo>
                <a:cubicBezTo>
                  <a:pt x="1251" y="92"/>
                  <a:pt x="1251" y="92"/>
                  <a:pt x="1251" y="92"/>
                </a:cubicBezTo>
                <a:cubicBezTo>
                  <a:pt x="1251" y="92"/>
                  <a:pt x="1251" y="92"/>
                  <a:pt x="1250" y="92"/>
                </a:cubicBezTo>
                <a:cubicBezTo>
                  <a:pt x="1250" y="92"/>
                  <a:pt x="1250" y="92"/>
                  <a:pt x="1250" y="92"/>
                </a:cubicBezTo>
                <a:cubicBezTo>
                  <a:pt x="1250" y="93"/>
                  <a:pt x="1249" y="93"/>
                  <a:pt x="1249" y="92"/>
                </a:cubicBezTo>
                <a:cubicBezTo>
                  <a:pt x="1249" y="93"/>
                  <a:pt x="1249" y="93"/>
                  <a:pt x="1248" y="93"/>
                </a:cubicBezTo>
                <a:cubicBezTo>
                  <a:pt x="1248" y="93"/>
                  <a:pt x="1248" y="93"/>
                  <a:pt x="1248" y="93"/>
                </a:cubicBezTo>
                <a:cubicBezTo>
                  <a:pt x="1248" y="93"/>
                  <a:pt x="1247" y="93"/>
                  <a:pt x="1247" y="93"/>
                </a:cubicBezTo>
                <a:cubicBezTo>
                  <a:pt x="1247" y="93"/>
                  <a:pt x="1247" y="93"/>
                  <a:pt x="1246" y="93"/>
                </a:cubicBezTo>
                <a:cubicBezTo>
                  <a:pt x="1246" y="93"/>
                  <a:pt x="1245" y="93"/>
                  <a:pt x="1245" y="93"/>
                </a:cubicBezTo>
                <a:cubicBezTo>
                  <a:pt x="1245" y="94"/>
                  <a:pt x="1244" y="94"/>
                  <a:pt x="1244" y="94"/>
                </a:cubicBezTo>
                <a:cubicBezTo>
                  <a:pt x="1242" y="94"/>
                  <a:pt x="1239" y="94"/>
                  <a:pt x="1236" y="94"/>
                </a:cubicBezTo>
                <a:cubicBezTo>
                  <a:pt x="1236" y="94"/>
                  <a:pt x="1236" y="94"/>
                  <a:pt x="1236" y="93"/>
                </a:cubicBezTo>
                <a:cubicBezTo>
                  <a:pt x="1235" y="93"/>
                  <a:pt x="1235" y="93"/>
                  <a:pt x="1234" y="93"/>
                </a:cubicBezTo>
                <a:cubicBezTo>
                  <a:pt x="1234" y="93"/>
                  <a:pt x="1234" y="93"/>
                  <a:pt x="1234" y="93"/>
                </a:cubicBezTo>
                <a:cubicBezTo>
                  <a:pt x="1234" y="93"/>
                  <a:pt x="1233" y="93"/>
                  <a:pt x="1233" y="93"/>
                </a:cubicBezTo>
                <a:cubicBezTo>
                  <a:pt x="1233" y="93"/>
                  <a:pt x="1233" y="93"/>
                  <a:pt x="1233" y="93"/>
                </a:cubicBezTo>
                <a:cubicBezTo>
                  <a:pt x="1232" y="93"/>
                  <a:pt x="1232" y="93"/>
                  <a:pt x="1232" y="93"/>
                </a:cubicBezTo>
                <a:cubicBezTo>
                  <a:pt x="1232" y="93"/>
                  <a:pt x="1232" y="93"/>
                  <a:pt x="1232" y="93"/>
                </a:cubicBezTo>
                <a:cubicBezTo>
                  <a:pt x="1232" y="92"/>
                  <a:pt x="1232" y="92"/>
                  <a:pt x="1232" y="92"/>
                </a:cubicBezTo>
                <a:cubicBezTo>
                  <a:pt x="1231" y="92"/>
                  <a:pt x="1231" y="92"/>
                  <a:pt x="1231" y="92"/>
                </a:cubicBezTo>
                <a:close/>
                <a:moveTo>
                  <a:pt x="589" y="84"/>
                </a:moveTo>
                <a:cubicBezTo>
                  <a:pt x="589" y="84"/>
                  <a:pt x="589" y="84"/>
                  <a:pt x="589" y="84"/>
                </a:cubicBezTo>
                <a:cubicBezTo>
                  <a:pt x="589" y="84"/>
                  <a:pt x="589" y="83"/>
                  <a:pt x="589" y="83"/>
                </a:cubicBezTo>
                <a:cubicBezTo>
                  <a:pt x="589" y="83"/>
                  <a:pt x="589" y="83"/>
                  <a:pt x="589" y="82"/>
                </a:cubicBezTo>
                <a:cubicBezTo>
                  <a:pt x="589" y="82"/>
                  <a:pt x="589" y="81"/>
                  <a:pt x="589" y="80"/>
                </a:cubicBezTo>
                <a:cubicBezTo>
                  <a:pt x="589" y="79"/>
                  <a:pt x="589" y="77"/>
                  <a:pt x="589" y="76"/>
                </a:cubicBezTo>
                <a:cubicBezTo>
                  <a:pt x="589" y="75"/>
                  <a:pt x="589" y="74"/>
                  <a:pt x="589" y="73"/>
                </a:cubicBezTo>
                <a:cubicBezTo>
                  <a:pt x="589" y="73"/>
                  <a:pt x="589" y="73"/>
                  <a:pt x="589" y="73"/>
                </a:cubicBezTo>
                <a:cubicBezTo>
                  <a:pt x="589" y="73"/>
                  <a:pt x="589" y="73"/>
                  <a:pt x="589" y="73"/>
                </a:cubicBezTo>
                <a:cubicBezTo>
                  <a:pt x="589" y="73"/>
                  <a:pt x="589" y="72"/>
                  <a:pt x="589" y="72"/>
                </a:cubicBezTo>
                <a:cubicBezTo>
                  <a:pt x="589" y="72"/>
                  <a:pt x="588" y="72"/>
                  <a:pt x="589" y="72"/>
                </a:cubicBezTo>
                <a:cubicBezTo>
                  <a:pt x="588" y="71"/>
                  <a:pt x="589" y="71"/>
                  <a:pt x="588" y="71"/>
                </a:cubicBezTo>
                <a:cubicBezTo>
                  <a:pt x="588" y="71"/>
                  <a:pt x="588" y="71"/>
                  <a:pt x="588" y="71"/>
                </a:cubicBezTo>
                <a:cubicBezTo>
                  <a:pt x="588" y="70"/>
                  <a:pt x="588" y="70"/>
                  <a:pt x="588" y="70"/>
                </a:cubicBezTo>
                <a:cubicBezTo>
                  <a:pt x="588" y="70"/>
                  <a:pt x="588" y="70"/>
                  <a:pt x="588" y="70"/>
                </a:cubicBezTo>
                <a:cubicBezTo>
                  <a:pt x="588" y="69"/>
                  <a:pt x="588" y="69"/>
                  <a:pt x="588" y="69"/>
                </a:cubicBezTo>
                <a:cubicBezTo>
                  <a:pt x="588" y="69"/>
                  <a:pt x="588" y="69"/>
                  <a:pt x="588" y="69"/>
                </a:cubicBezTo>
                <a:cubicBezTo>
                  <a:pt x="587" y="69"/>
                  <a:pt x="587" y="68"/>
                  <a:pt x="587" y="68"/>
                </a:cubicBezTo>
                <a:cubicBezTo>
                  <a:pt x="587" y="68"/>
                  <a:pt x="587" y="68"/>
                  <a:pt x="587" y="68"/>
                </a:cubicBezTo>
                <a:cubicBezTo>
                  <a:pt x="587" y="68"/>
                  <a:pt x="587" y="68"/>
                  <a:pt x="587" y="68"/>
                </a:cubicBezTo>
                <a:cubicBezTo>
                  <a:pt x="587" y="68"/>
                  <a:pt x="587" y="68"/>
                  <a:pt x="587" y="67"/>
                </a:cubicBezTo>
                <a:cubicBezTo>
                  <a:pt x="587" y="67"/>
                  <a:pt x="587" y="67"/>
                  <a:pt x="587" y="67"/>
                </a:cubicBezTo>
                <a:cubicBezTo>
                  <a:pt x="587" y="67"/>
                  <a:pt x="587" y="67"/>
                  <a:pt x="587" y="67"/>
                </a:cubicBezTo>
                <a:cubicBezTo>
                  <a:pt x="587" y="67"/>
                  <a:pt x="587" y="67"/>
                  <a:pt x="587" y="67"/>
                </a:cubicBezTo>
                <a:cubicBezTo>
                  <a:pt x="587" y="67"/>
                  <a:pt x="587" y="67"/>
                  <a:pt x="587" y="67"/>
                </a:cubicBezTo>
                <a:cubicBezTo>
                  <a:pt x="586" y="67"/>
                  <a:pt x="586" y="66"/>
                  <a:pt x="586" y="66"/>
                </a:cubicBezTo>
                <a:cubicBezTo>
                  <a:pt x="586" y="66"/>
                  <a:pt x="586" y="66"/>
                  <a:pt x="586" y="66"/>
                </a:cubicBezTo>
                <a:cubicBezTo>
                  <a:pt x="586" y="66"/>
                  <a:pt x="586" y="65"/>
                  <a:pt x="586" y="65"/>
                </a:cubicBezTo>
                <a:cubicBezTo>
                  <a:pt x="586" y="65"/>
                  <a:pt x="586" y="65"/>
                  <a:pt x="586" y="65"/>
                </a:cubicBezTo>
                <a:cubicBezTo>
                  <a:pt x="586" y="65"/>
                  <a:pt x="586" y="65"/>
                  <a:pt x="585" y="65"/>
                </a:cubicBezTo>
                <a:cubicBezTo>
                  <a:pt x="585" y="65"/>
                  <a:pt x="585" y="65"/>
                  <a:pt x="585" y="65"/>
                </a:cubicBezTo>
                <a:cubicBezTo>
                  <a:pt x="585" y="65"/>
                  <a:pt x="585" y="64"/>
                  <a:pt x="585" y="64"/>
                </a:cubicBezTo>
                <a:cubicBezTo>
                  <a:pt x="585" y="64"/>
                  <a:pt x="585" y="64"/>
                  <a:pt x="585" y="64"/>
                </a:cubicBezTo>
                <a:cubicBezTo>
                  <a:pt x="585" y="64"/>
                  <a:pt x="585" y="64"/>
                  <a:pt x="584" y="64"/>
                </a:cubicBezTo>
                <a:cubicBezTo>
                  <a:pt x="584" y="64"/>
                  <a:pt x="584" y="64"/>
                  <a:pt x="584" y="64"/>
                </a:cubicBezTo>
                <a:cubicBezTo>
                  <a:pt x="584" y="63"/>
                  <a:pt x="584" y="63"/>
                  <a:pt x="584" y="63"/>
                </a:cubicBezTo>
                <a:cubicBezTo>
                  <a:pt x="584" y="63"/>
                  <a:pt x="584" y="63"/>
                  <a:pt x="584" y="63"/>
                </a:cubicBezTo>
                <a:cubicBezTo>
                  <a:pt x="584" y="63"/>
                  <a:pt x="584"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0"/>
                  <a:pt x="581" y="60"/>
                  <a:pt x="581" y="60"/>
                </a:cubicBezTo>
                <a:cubicBezTo>
                  <a:pt x="581" y="60"/>
                  <a:pt x="581" y="60"/>
                  <a:pt x="581" y="60"/>
                </a:cubicBezTo>
                <a:cubicBezTo>
                  <a:pt x="581" y="60"/>
                  <a:pt x="581" y="60"/>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79" y="59"/>
                  <a:pt x="579" y="58"/>
                  <a:pt x="579" y="58"/>
                </a:cubicBezTo>
                <a:cubicBezTo>
                  <a:pt x="579" y="58"/>
                  <a:pt x="579" y="58"/>
                  <a:pt x="579" y="58"/>
                </a:cubicBezTo>
                <a:cubicBezTo>
                  <a:pt x="579" y="58"/>
                  <a:pt x="578" y="58"/>
                  <a:pt x="578" y="58"/>
                </a:cubicBezTo>
                <a:cubicBezTo>
                  <a:pt x="578" y="58"/>
                  <a:pt x="578" y="58"/>
                  <a:pt x="578" y="58"/>
                </a:cubicBezTo>
                <a:cubicBezTo>
                  <a:pt x="578" y="58"/>
                  <a:pt x="578" y="57"/>
                  <a:pt x="578" y="57"/>
                </a:cubicBezTo>
                <a:cubicBezTo>
                  <a:pt x="578" y="57"/>
                  <a:pt x="578" y="57"/>
                  <a:pt x="578" y="57"/>
                </a:cubicBezTo>
                <a:cubicBezTo>
                  <a:pt x="578" y="57"/>
                  <a:pt x="578" y="57"/>
                  <a:pt x="577" y="57"/>
                </a:cubicBezTo>
                <a:cubicBezTo>
                  <a:pt x="577" y="57"/>
                  <a:pt x="577" y="57"/>
                  <a:pt x="577" y="57"/>
                </a:cubicBezTo>
                <a:cubicBezTo>
                  <a:pt x="577" y="57"/>
                  <a:pt x="577" y="57"/>
                  <a:pt x="577" y="57"/>
                </a:cubicBezTo>
                <a:cubicBezTo>
                  <a:pt x="577" y="57"/>
                  <a:pt x="577" y="57"/>
                  <a:pt x="577" y="57"/>
                </a:cubicBezTo>
                <a:cubicBezTo>
                  <a:pt x="577" y="56"/>
                  <a:pt x="577" y="56"/>
                  <a:pt x="576" y="56"/>
                </a:cubicBezTo>
                <a:cubicBezTo>
                  <a:pt x="576" y="56"/>
                  <a:pt x="576" y="56"/>
                  <a:pt x="576" y="56"/>
                </a:cubicBezTo>
                <a:cubicBezTo>
                  <a:pt x="576" y="56"/>
                  <a:pt x="576" y="56"/>
                  <a:pt x="575" y="56"/>
                </a:cubicBezTo>
                <a:cubicBezTo>
                  <a:pt x="575" y="56"/>
                  <a:pt x="575" y="56"/>
                  <a:pt x="575" y="56"/>
                </a:cubicBezTo>
                <a:cubicBezTo>
                  <a:pt x="575" y="55"/>
                  <a:pt x="575" y="55"/>
                  <a:pt x="575" y="55"/>
                </a:cubicBezTo>
                <a:cubicBezTo>
                  <a:pt x="575" y="55"/>
                  <a:pt x="575" y="55"/>
                  <a:pt x="575" y="55"/>
                </a:cubicBezTo>
                <a:cubicBezTo>
                  <a:pt x="575" y="55"/>
                  <a:pt x="574" y="55"/>
                  <a:pt x="574" y="55"/>
                </a:cubicBezTo>
                <a:cubicBezTo>
                  <a:pt x="574" y="55"/>
                  <a:pt x="574" y="55"/>
                  <a:pt x="574" y="55"/>
                </a:cubicBezTo>
                <a:cubicBezTo>
                  <a:pt x="574" y="55"/>
                  <a:pt x="574" y="55"/>
                  <a:pt x="574" y="55"/>
                </a:cubicBezTo>
                <a:cubicBezTo>
                  <a:pt x="574" y="55"/>
                  <a:pt x="574" y="55"/>
                  <a:pt x="574" y="55"/>
                </a:cubicBezTo>
                <a:cubicBezTo>
                  <a:pt x="574" y="54"/>
                  <a:pt x="573" y="54"/>
                  <a:pt x="573" y="54"/>
                </a:cubicBezTo>
                <a:cubicBezTo>
                  <a:pt x="573" y="54"/>
                  <a:pt x="573" y="54"/>
                  <a:pt x="573" y="54"/>
                </a:cubicBezTo>
                <a:cubicBezTo>
                  <a:pt x="573" y="54"/>
                  <a:pt x="573" y="54"/>
                  <a:pt x="573" y="54"/>
                </a:cubicBezTo>
                <a:cubicBezTo>
                  <a:pt x="573" y="54"/>
                  <a:pt x="573" y="54"/>
                  <a:pt x="573" y="54"/>
                </a:cubicBezTo>
                <a:cubicBezTo>
                  <a:pt x="573" y="54"/>
                  <a:pt x="572" y="54"/>
                  <a:pt x="572" y="53"/>
                </a:cubicBezTo>
                <a:cubicBezTo>
                  <a:pt x="572" y="54"/>
                  <a:pt x="572" y="54"/>
                  <a:pt x="572" y="54"/>
                </a:cubicBezTo>
                <a:cubicBezTo>
                  <a:pt x="572" y="53"/>
                  <a:pt x="572" y="53"/>
                  <a:pt x="572" y="53"/>
                </a:cubicBezTo>
                <a:cubicBezTo>
                  <a:pt x="572" y="53"/>
                  <a:pt x="572" y="53"/>
                  <a:pt x="572" y="53"/>
                </a:cubicBezTo>
                <a:cubicBezTo>
                  <a:pt x="571" y="53"/>
                  <a:pt x="571" y="53"/>
                  <a:pt x="571" y="53"/>
                </a:cubicBezTo>
                <a:cubicBezTo>
                  <a:pt x="571" y="53"/>
                  <a:pt x="571" y="53"/>
                  <a:pt x="571" y="53"/>
                </a:cubicBezTo>
                <a:cubicBezTo>
                  <a:pt x="571" y="53"/>
                  <a:pt x="571" y="53"/>
                  <a:pt x="570" y="52"/>
                </a:cubicBezTo>
                <a:cubicBezTo>
                  <a:pt x="570" y="52"/>
                  <a:pt x="570" y="52"/>
                  <a:pt x="570" y="52"/>
                </a:cubicBezTo>
                <a:cubicBezTo>
                  <a:pt x="570" y="52"/>
                  <a:pt x="570" y="52"/>
                  <a:pt x="570" y="52"/>
                </a:cubicBezTo>
                <a:cubicBezTo>
                  <a:pt x="570" y="52"/>
                  <a:pt x="570" y="52"/>
                  <a:pt x="570" y="52"/>
                </a:cubicBezTo>
                <a:cubicBezTo>
                  <a:pt x="570" y="52"/>
                  <a:pt x="570" y="52"/>
                  <a:pt x="570" y="52"/>
                </a:cubicBezTo>
                <a:cubicBezTo>
                  <a:pt x="570" y="52"/>
                  <a:pt x="570" y="52"/>
                  <a:pt x="569" y="52"/>
                </a:cubicBezTo>
                <a:cubicBezTo>
                  <a:pt x="569" y="52"/>
                  <a:pt x="569" y="52"/>
                  <a:pt x="569" y="52"/>
                </a:cubicBezTo>
                <a:cubicBezTo>
                  <a:pt x="569" y="52"/>
                  <a:pt x="569" y="52"/>
                  <a:pt x="569" y="51"/>
                </a:cubicBezTo>
                <a:cubicBezTo>
                  <a:pt x="569" y="51"/>
                  <a:pt x="569" y="51"/>
                  <a:pt x="569" y="51"/>
                </a:cubicBezTo>
                <a:cubicBezTo>
                  <a:pt x="569" y="51"/>
                  <a:pt x="568" y="51"/>
                  <a:pt x="568" y="51"/>
                </a:cubicBezTo>
                <a:cubicBezTo>
                  <a:pt x="568" y="51"/>
                  <a:pt x="568" y="51"/>
                  <a:pt x="568" y="51"/>
                </a:cubicBezTo>
                <a:cubicBezTo>
                  <a:pt x="568" y="51"/>
                  <a:pt x="568" y="51"/>
                  <a:pt x="568" y="51"/>
                </a:cubicBezTo>
                <a:cubicBezTo>
                  <a:pt x="568" y="51"/>
                  <a:pt x="568" y="51"/>
                  <a:pt x="568" y="51"/>
                </a:cubicBezTo>
                <a:cubicBezTo>
                  <a:pt x="568" y="50"/>
                  <a:pt x="567" y="51"/>
                  <a:pt x="567" y="50"/>
                </a:cubicBezTo>
                <a:cubicBezTo>
                  <a:pt x="567" y="50"/>
                  <a:pt x="567" y="50"/>
                  <a:pt x="567" y="50"/>
                </a:cubicBezTo>
                <a:cubicBezTo>
                  <a:pt x="567" y="50"/>
                  <a:pt x="566" y="50"/>
                  <a:pt x="566" y="50"/>
                </a:cubicBezTo>
                <a:cubicBezTo>
                  <a:pt x="566" y="50"/>
                  <a:pt x="566" y="50"/>
                  <a:pt x="566" y="50"/>
                </a:cubicBezTo>
                <a:cubicBezTo>
                  <a:pt x="566" y="50"/>
                  <a:pt x="566" y="50"/>
                  <a:pt x="566" y="50"/>
                </a:cubicBezTo>
                <a:cubicBezTo>
                  <a:pt x="566" y="50"/>
                  <a:pt x="566" y="50"/>
                  <a:pt x="566" y="50"/>
                </a:cubicBezTo>
                <a:cubicBezTo>
                  <a:pt x="565" y="50"/>
                  <a:pt x="565" y="49"/>
                  <a:pt x="565" y="49"/>
                </a:cubicBezTo>
                <a:cubicBezTo>
                  <a:pt x="565" y="49"/>
                  <a:pt x="565" y="49"/>
                  <a:pt x="565" y="49"/>
                </a:cubicBezTo>
                <a:cubicBezTo>
                  <a:pt x="565" y="49"/>
                  <a:pt x="565" y="49"/>
                  <a:pt x="565" y="49"/>
                </a:cubicBezTo>
                <a:cubicBezTo>
                  <a:pt x="565" y="49"/>
                  <a:pt x="565" y="49"/>
                  <a:pt x="565" y="49"/>
                </a:cubicBezTo>
                <a:cubicBezTo>
                  <a:pt x="565" y="49"/>
                  <a:pt x="565" y="49"/>
                  <a:pt x="565" y="49"/>
                </a:cubicBezTo>
                <a:cubicBezTo>
                  <a:pt x="564" y="49"/>
                  <a:pt x="564" y="49"/>
                  <a:pt x="564" y="49"/>
                </a:cubicBezTo>
                <a:cubicBezTo>
                  <a:pt x="564" y="49"/>
                  <a:pt x="564" y="49"/>
                  <a:pt x="564" y="49"/>
                </a:cubicBezTo>
                <a:cubicBezTo>
                  <a:pt x="564" y="48"/>
                  <a:pt x="563" y="48"/>
                  <a:pt x="563" y="48"/>
                </a:cubicBezTo>
                <a:cubicBezTo>
                  <a:pt x="563" y="48"/>
                  <a:pt x="563" y="48"/>
                  <a:pt x="563" y="48"/>
                </a:cubicBezTo>
                <a:cubicBezTo>
                  <a:pt x="563" y="48"/>
                  <a:pt x="563" y="48"/>
                  <a:pt x="563" y="48"/>
                </a:cubicBezTo>
                <a:cubicBezTo>
                  <a:pt x="563" y="48"/>
                  <a:pt x="563" y="48"/>
                  <a:pt x="563" y="48"/>
                </a:cubicBezTo>
                <a:cubicBezTo>
                  <a:pt x="563" y="48"/>
                  <a:pt x="562" y="48"/>
                  <a:pt x="562" y="48"/>
                </a:cubicBezTo>
                <a:cubicBezTo>
                  <a:pt x="562" y="48"/>
                  <a:pt x="562" y="48"/>
                  <a:pt x="562" y="48"/>
                </a:cubicBezTo>
                <a:cubicBezTo>
                  <a:pt x="562" y="47"/>
                  <a:pt x="562" y="47"/>
                  <a:pt x="561" y="47"/>
                </a:cubicBezTo>
                <a:cubicBezTo>
                  <a:pt x="561" y="47"/>
                  <a:pt x="561" y="47"/>
                  <a:pt x="561" y="47"/>
                </a:cubicBezTo>
                <a:cubicBezTo>
                  <a:pt x="561" y="47"/>
                  <a:pt x="561" y="47"/>
                  <a:pt x="561" y="47"/>
                </a:cubicBezTo>
                <a:cubicBezTo>
                  <a:pt x="561" y="47"/>
                  <a:pt x="561" y="47"/>
                  <a:pt x="561" y="47"/>
                </a:cubicBezTo>
                <a:cubicBezTo>
                  <a:pt x="561" y="47"/>
                  <a:pt x="561" y="47"/>
                  <a:pt x="560" y="47"/>
                </a:cubicBezTo>
                <a:cubicBezTo>
                  <a:pt x="560" y="47"/>
                  <a:pt x="560" y="47"/>
                  <a:pt x="560" y="47"/>
                </a:cubicBezTo>
                <a:cubicBezTo>
                  <a:pt x="560" y="46"/>
                  <a:pt x="560" y="46"/>
                  <a:pt x="560" y="46"/>
                </a:cubicBezTo>
                <a:cubicBezTo>
                  <a:pt x="560" y="46"/>
                  <a:pt x="560" y="46"/>
                  <a:pt x="560" y="46"/>
                </a:cubicBezTo>
                <a:cubicBezTo>
                  <a:pt x="560" y="46"/>
                  <a:pt x="559" y="46"/>
                  <a:pt x="559" y="46"/>
                </a:cubicBezTo>
                <a:cubicBezTo>
                  <a:pt x="559" y="46"/>
                  <a:pt x="559" y="46"/>
                  <a:pt x="559" y="46"/>
                </a:cubicBezTo>
                <a:cubicBezTo>
                  <a:pt x="559" y="46"/>
                  <a:pt x="559" y="46"/>
                  <a:pt x="559" y="45"/>
                </a:cubicBezTo>
                <a:cubicBezTo>
                  <a:pt x="559" y="45"/>
                  <a:pt x="559" y="45"/>
                  <a:pt x="559" y="45"/>
                </a:cubicBezTo>
                <a:cubicBezTo>
                  <a:pt x="559" y="45"/>
                  <a:pt x="558" y="45"/>
                  <a:pt x="558" y="45"/>
                </a:cubicBezTo>
                <a:cubicBezTo>
                  <a:pt x="558" y="45"/>
                  <a:pt x="558" y="45"/>
                  <a:pt x="558" y="45"/>
                </a:cubicBezTo>
                <a:cubicBezTo>
                  <a:pt x="558" y="45"/>
                  <a:pt x="558" y="45"/>
                  <a:pt x="558" y="45"/>
                </a:cubicBezTo>
                <a:cubicBezTo>
                  <a:pt x="558" y="45"/>
                  <a:pt x="558" y="45"/>
                  <a:pt x="558" y="45"/>
                </a:cubicBezTo>
                <a:cubicBezTo>
                  <a:pt x="557" y="45"/>
                  <a:pt x="557" y="45"/>
                  <a:pt x="557" y="44"/>
                </a:cubicBezTo>
                <a:cubicBezTo>
                  <a:pt x="557" y="45"/>
                  <a:pt x="557" y="45"/>
                  <a:pt x="557" y="45"/>
                </a:cubicBezTo>
                <a:cubicBezTo>
                  <a:pt x="557" y="44"/>
                  <a:pt x="557" y="44"/>
                  <a:pt x="557" y="44"/>
                </a:cubicBezTo>
                <a:cubicBezTo>
                  <a:pt x="557" y="44"/>
                  <a:pt x="557" y="44"/>
                  <a:pt x="557" y="44"/>
                </a:cubicBezTo>
                <a:cubicBezTo>
                  <a:pt x="556" y="44"/>
                  <a:pt x="556" y="44"/>
                  <a:pt x="556" y="44"/>
                </a:cubicBezTo>
                <a:cubicBezTo>
                  <a:pt x="556" y="44"/>
                  <a:pt x="556" y="44"/>
                  <a:pt x="556" y="44"/>
                </a:cubicBezTo>
                <a:cubicBezTo>
                  <a:pt x="556" y="43"/>
                  <a:pt x="555" y="43"/>
                  <a:pt x="555" y="43"/>
                </a:cubicBezTo>
                <a:cubicBezTo>
                  <a:pt x="555" y="43"/>
                  <a:pt x="555" y="43"/>
                  <a:pt x="555" y="43"/>
                </a:cubicBezTo>
                <a:cubicBezTo>
                  <a:pt x="555" y="43"/>
                  <a:pt x="555" y="43"/>
                  <a:pt x="555" y="43"/>
                </a:cubicBezTo>
                <a:cubicBezTo>
                  <a:pt x="555" y="43"/>
                  <a:pt x="555" y="43"/>
                  <a:pt x="555" y="43"/>
                </a:cubicBezTo>
                <a:cubicBezTo>
                  <a:pt x="555" y="43"/>
                  <a:pt x="555" y="42"/>
                  <a:pt x="554" y="42"/>
                </a:cubicBezTo>
                <a:cubicBezTo>
                  <a:pt x="554" y="42"/>
                  <a:pt x="554" y="42"/>
                  <a:pt x="554" y="42"/>
                </a:cubicBezTo>
                <a:cubicBezTo>
                  <a:pt x="554" y="42"/>
                  <a:pt x="554" y="42"/>
                  <a:pt x="553" y="42"/>
                </a:cubicBezTo>
                <a:cubicBezTo>
                  <a:pt x="553" y="42"/>
                  <a:pt x="553" y="42"/>
                  <a:pt x="553" y="42"/>
                </a:cubicBezTo>
                <a:cubicBezTo>
                  <a:pt x="553" y="42"/>
                  <a:pt x="553" y="41"/>
                  <a:pt x="553" y="41"/>
                </a:cubicBezTo>
                <a:cubicBezTo>
                  <a:pt x="553" y="41"/>
                  <a:pt x="553" y="41"/>
                  <a:pt x="553" y="41"/>
                </a:cubicBezTo>
                <a:cubicBezTo>
                  <a:pt x="553" y="41"/>
                  <a:pt x="553" y="41"/>
                  <a:pt x="553" y="41"/>
                </a:cubicBezTo>
                <a:cubicBezTo>
                  <a:pt x="553" y="41"/>
                  <a:pt x="553" y="41"/>
                  <a:pt x="553" y="41"/>
                </a:cubicBezTo>
                <a:cubicBezTo>
                  <a:pt x="553" y="41"/>
                  <a:pt x="553" y="41"/>
                  <a:pt x="552" y="41"/>
                </a:cubicBezTo>
                <a:cubicBezTo>
                  <a:pt x="552" y="41"/>
                  <a:pt x="552" y="41"/>
                  <a:pt x="552" y="41"/>
                </a:cubicBezTo>
                <a:cubicBezTo>
                  <a:pt x="552" y="40"/>
                  <a:pt x="552" y="40"/>
                  <a:pt x="551" y="39"/>
                </a:cubicBezTo>
                <a:cubicBezTo>
                  <a:pt x="551" y="39"/>
                  <a:pt x="551" y="39"/>
                  <a:pt x="551" y="39"/>
                </a:cubicBezTo>
                <a:cubicBezTo>
                  <a:pt x="551" y="39"/>
                  <a:pt x="551" y="39"/>
                  <a:pt x="551" y="39"/>
                </a:cubicBezTo>
                <a:cubicBezTo>
                  <a:pt x="551" y="39"/>
                  <a:pt x="551" y="39"/>
                  <a:pt x="551" y="39"/>
                </a:cubicBezTo>
                <a:cubicBezTo>
                  <a:pt x="551" y="39"/>
                  <a:pt x="551" y="38"/>
                  <a:pt x="551" y="38"/>
                </a:cubicBezTo>
                <a:cubicBezTo>
                  <a:pt x="551" y="38"/>
                  <a:pt x="551" y="38"/>
                  <a:pt x="551" y="38"/>
                </a:cubicBezTo>
                <a:cubicBezTo>
                  <a:pt x="551" y="38"/>
                  <a:pt x="550" y="38"/>
                  <a:pt x="550" y="38"/>
                </a:cubicBezTo>
                <a:cubicBezTo>
                  <a:pt x="550" y="38"/>
                  <a:pt x="550" y="38"/>
                  <a:pt x="550" y="38"/>
                </a:cubicBezTo>
                <a:cubicBezTo>
                  <a:pt x="550" y="38"/>
                  <a:pt x="550" y="37"/>
                  <a:pt x="550" y="37"/>
                </a:cubicBezTo>
                <a:cubicBezTo>
                  <a:pt x="550" y="37"/>
                  <a:pt x="550" y="37"/>
                  <a:pt x="550" y="37"/>
                </a:cubicBezTo>
                <a:cubicBezTo>
                  <a:pt x="550" y="37"/>
                  <a:pt x="550" y="37"/>
                  <a:pt x="550" y="36"/>
                </a:cubicBezTo>
                <a:cubicBezTo>
                  <a:pt x="550" y="36"/>
                  <a:pt x="550" y="36"/>
                  <a:pt x="550" y="36"/>
                </a:cubicBezTo>
                <a:cubicBezTo>
                  <a:pt x="550" y="36"/>
                  <a:pt x="550" y="36"/>
                  <a:pt x="550" y="36"/>
                </a:cubicBezTo>
                <a:cubicBezTo>
                  <a:pt x="549" y="36"/>
                  <a:pt x="549" y="36"/>
                  <a:pt x="549" y="35"/>
                </a:cubicBezTo>
                <a:cubicBezTo>
                  <a:pt x="549" y="35"/>
                  <a:pt x="549" y="35"/>
                  <a:pt x="549" y="35"/>
                </a:cubicBezTo>
                <a:cubicBezTo>
                  <a:pt x="549" y="35"/>
                  <a:pt x="549" y="34"/>
                  <a:pt x="549" y="34"/>
                </a:cubicBezTo>
                <a:cubicBezTo>
                  <a:pt x="549" y="34"/>
                  <a:pt x="549" y="34"/>
                  <a:pt x="549" y="33"/>
                </a:cubicBezTo>
                <a:cubicBezTo>
                  <a:pt x="549" y="31"/>
                  <a:pt x="549" y="29"/>
                  <a:pt x="549" y="27"/>
                </a:cubicBezTo>
                <a:cubicBezTo>
                  <a:pt x="549" y="27"/>
                  <a:pt x="549" y="27"/>
                  <a:pt x="549" y="27"/>
                </a:cubicBezTo>
                <a:cubicBezTo>
                  <a:pt x="549" y="27"/>
                  <a:pt x="549" y="26"/>
                  <a:pt x="549" y="26"/>
                </a:cubicBezTo>
                <a:cubicBezTo>
                  <a:pt x="549" y="26"/>
                  <a:pt x="549" y="26"/>
                  <a:pt x="549" y="26"/>
                </a:cubicBezTo>
                <a:cubicBezTo>
                  <a:pt x="549" y="25"/>
                  <a:pt x="549" y="25"/>
                  <a:pt x="550" y="25"/>
                </a:cubicBezTo>
                <a:cubicBezTo>
                  <a:pt x="550" y="25"/>
                  <a:pt x="550" y="25"/>
                  <a:pt x="550" y="25"/>
                </a:cubicBezTo>
                <a:cubicBezTo>
                  <a:pt x="550" y="25"/>
                  <a:pt x="550" y="24"/>
                  <a:pt x="550" y="24"/>
                </a:cubicBezTo>
                <a:cubicBezTo>
                  <a:pt x="550" y="24"/>
                  <a:pt x="550" y="24"/>
                  <a:pt x="550" y="24"/>
                </a:cubicBezTo>
                <a:cubicBezTo>
                  <a:pt x="550" y="24"/>
                  <a:pt x="550" y="24"/>
                  <a:pt x="550" y="23"/>
                </a:cubicBezTo>
                <a:cubicBezTo>
                  <a:pt x="550" y="24"/>
                  <a:pt x="550" y="24"/>
                  <a:pt x="550" y="24"/>
                </a:cubicBezTo>
                <a:cubicBezTo>
                  <a:pt x="551" y="23"/>
                  <a:pt x="550" y="23"/>
                  <a:pt x="551" y="23"/>
                </a:cubicBezTo>
                <a:cubicBezTo>
                  <a:pt x="551" y="23"/>
                  <a:pt x="551" y="23"/>
                  <a:pt x="551" y="23"/>
                </a:cubicBezTo>
                <a:cubicBezTo>
                  <a:pt x="551" y="23"/>
                  <a:pt x="551" y="23"/>
                  <a:pt x="551" y="22"/>
                </a:cubicBezTo>
                <a:cubicBezTo>
                  <a:pt x="551" y="22"/>
                  <a:pt x="551" y="22"/>
                  <a:pt x="551" y="22"/>
                </a:cubicBezTo>
                <a:cubicBezTo>
                  <a:pt x="551" y="22"/>
                  <a:pt x="551" y="22"/>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3" y="21"/>
                  <a:pt x="553" y="21"/>
                  <a:pt x="553" y="20"/>
                </a:cubicBezTo>
                <a:cubicBezTo>
                  <a:pt x="553" y="20"/>
                  <a:pt x="553" y="20"/>
                  <a:pt x="553" y="20"/>
                </a:cubicBezTo>
                <a:cubicBezTo>
                  <a:pt x="553" y="20"/>
                  <a:pt x="554" y="20"/>
                  <a:pt x="554" y="20"/>
                </a:cubicBezTo>
                <a:cubicBezTo>
                  <a:pt x="554" y="20"/>
                  <a:pt x="554" y="20"/>
                  <a:pt x="554" y="20"/>
                </a:cubicBezTo>
                <a:cubicBezTo>
                  <a:pt x="554" y="20"/>
                  <a:pt x="554" y="19"/>
                  <a:pt x="554" y="19"/>
                </a:cubicBezTo>
                <a:cubicBezTo>
                  <a:pt x="554" y="19"/>
                  <a:pt x="554" y="19"/>
                  <a:pt x="554" y="19"/>
                </a:cubicBezTo>
                <a:cubicBezTo>
                  <a:pt x="554" y="19"/>
                  <a:pt x="554" y="19"/>
                  <a:pt x="554" y="19"/>
                </a:cubicBezTo>
                <a:cubicBezTo>
                  <a:pt x="555" y="19"/>
                  <a:pt x="555" y="19"/>
                  <a:pt x="555" y="19"/>
                </a:cubicBezTo>
                <a:cubicBezTo>
                  <a:pt x="555" y="19"/>
                  <a:pt x="555" y="19"/>
                  <a:pt x="555" y="19"/>
                </a:cubicBezTo>
                <a:cubicBezTo>
                  <a:pt x="555" y="19"/>
                  <a:pt x="555" y="19"/>
                  <a:pt x="555" y="19"/>
                </a:cubicBezTo>
                <a:cubicBezTo>
                  <a:pt x="555" y="18"/>
                  <a:pt x="556" y="19"/>
                  <a:pt x="556" y="18"/>
                </a:cubicBezTo>
                <a:cubicBezTo>
                  <a:pt x="556" y="18"/>
                  <a:pt x="556" y="18"/>
                  <a:pt x="556" y="18"/>
                </a:cubicBezTo>
                <a:cubicBezTo>
                  <a:pt x="556" y="18"/>
                  <a:pt x="556" y="18"/>
                  <a:pt x="557" y="18"/>
                </a:cubicBezTo>
                <a:cubicBezTo>
                  <a:pt x="556" y="18"/>
                  <a:pt x="556" y="18"/>
                  <a:pt x="556" y="18"/>
                </a:cubicBezTo>
                <a:cubicBezTo>
                  <a:pt x="557" y="18"/>
                  <a:pt x="557" y="18"/>
                  <a:pt x="557" y="18"/>
                </a:cubicBezTo>
                <a:cubicBezTo>
                  <a:pt x="557" y="18"/>
                  <a:pt x="557" y="18"/>
                  <a:pt x="557" y="18"/>
                </a:cubicBezTo>
                <a:cubicBezTo>
                  <a:pt x="557" y="17"/>
                  <a:pt x="558" y="17"/>
                  <a:pt x="558" y="17"/>
                </a:cubicBezTo>
                <a:cubicBezTo>
                  <a:pt x="558" y="17"/>
                  <a:pt x="558" y="17"/>
                  <a:pt x="558" y="17"/>
                </a:cubicBezTo>
                <a:cubicBezTo>
                  <a:pt x="558" y="17"/>
                  <a:pt x="559" y="17"/>
                  <a:pt x="559" y="17"/>
                </a:cubicBezTo>
                <a:cubicBezTo>
                  <a:pt x="559" y="17"/>
                  <a:pt x="559" y="17"/>
                  <a:pt x="559" y="17"/>
                </a:cubicBezTo>
                <a:cubicBezTo>
                  <a:pt x="559" y="17"/>
                  <a:pt x="560" y="17"/>
                  <a:pt x="560" y="17"/>
                </a:cubicBezTo>
                <a:cubicBezTo>
                  <a:pt x="560" y="17"/>
                  <a:pt x="560" y="17"/>
                  <a:pt x="560" y="17"/>
                </a:cubicBezTo>
                <a:cubicBezTo>
                  <a:pt x="560" y="17"/>
                  <a:pt x="560" y="17"/>
                  <a:pt x="560" y="17"/>
                </a:cubicBezTo>
                <a:cubicBezTo>
                  <a:pt x="561" y="16"/>
                  <a:pt x="561" y="17"/>
                  <a:pt x="562" y="16"/>
                </a:cubicBezTo>
                <a:cubicBezTo>
                  <a:pt x="562" y="16"/>
                  <a:pt x="562" y="16"/>
                  <a:pt x="562" y="16"/>
                </a:cubicBezTo>
                <a:cubicBezTo>
                  <a:pt x="562" y="16"/>
                  <a:pt x="562" y="16"/>
                  <a:pt x="562" y="16"/>
                </a:cubicBezTo>
                <a:cubicBezTo>
                  <a:pt x="563" y="16"/>
                  <a:pt x="564" y="16"/>
                  <a:pt x="565" y="16"/>
                </a:cubicBezTo>
                <a:cubicBezTo>
                  <a:pt x="566" y="16"/>
                  <a:pt x="567" y="16"/>
                  <a:pt x="568" y="16"/>
                </a:cubicBezTo>
                <a:cubicBezTo>
                  <a:pt x="569" y="16"/>
                  <a:pt x="570" y="16"/>
                  <a:pt x="571" y="16"/>
                </a:cubicBezTo>
                <a:cubicBezTo>
                  <a:pt x="571" y="16"/>
                  <a:pt x="572" y="16"/>
                  <a:pt x="572" y="16"/>
                </a:cubicBezTo>
                <a:cubicBezTo>
                  <a:pt x="572" y="17"/>
                  <a:pt x="573" y="16"/>
                  <a:pt x="573" y="17"/>
                </a:cubicBezTo>
                <a:cubicBezTo>
                  <a:pt x="574" y="16"/>
                  <a:pt x="574" y="16"/>
                  <a:pt x="574" y="16"/>
                </a:cubicBezTo>
                <a:cubicBezTo>
                  <a:pt x="574" y="17"/>
                  <a:pt x="574" y="17"/>
                  <a:pt x="574" y="17"/>
                </a:cubicBezTo>
                <a:cubicBezTo>
                  <a:pt x="574" y="17"/>
                  <a:pt x="575" y="17"/>
                  <a:pt x="575" y="17"/>
                </a:cubicBezTo>
                <a:cubicBezTo>
                  <a:pt x="575" y="17"/>
                  <a:pt x="575" y="17"/>
                  <a:pt x="575" y="17"/>
                </a:cubicBezTo>
                <a:cubicBezTo>
                  <a:pt x="575" y="17"/>
                  <a:pt x="575" y="17"/>
                  <a:pt x="575" y="17"/>
                </a:cubicBezTo>
                <a:cubicBezTo>
                  <a:pt x="576" y="17"/>
                  <a:pt x="576" y="17"/>
                  <a:pt x="576" y="17"/>
                </a:cubicBezTo>
                <a:cubicBezTo>
                  <a:pt x="577" y="17"/>
                  <a:pt x="577" y="17"/>
                  <a:pt x="577" y="17"/>
                </a:cubicBezTo>
                <a:cubicBezTo>
                  <a:pt x="577" y="17"/>
                  <a:pt x="577" y="17"/>
                  <a:pt x="577" y="17"/>
                </a:cubicBezTo>
                <a:cubicBezTo>
                  <a:pt x="577" y="17"/>
                  <a:pt x="577" y="17"/>
                  <a:pt x="578" y="18"/>
                </a:cubicBezTo>
                <a:cubicBezTo>
                  <a:pt x="578" y="18"/>
                  <a:pt x="578" y="18"/>
                  <a:pt x="578" y="18"/>
                </a:cubicBezTo>
                <a:cubicBezTo>
                  <a:pt x="578" y="18"/>
                  <a:pt x="578" y="18"/>
                  <a:pt x="578" y="18"/>
                </a:cubicBezTo>
                <a:cubicBezTo>
                  <a:pt x="578" y="18"/>
                  <a:pt x="578" y="18"/>
                  <a:pt x="579" y="18"/>
                </a:cubicBezTo>
                <a:cubicBezTo>
                  <a:pt x="579" y="18"/>
                  <a:pt x="579" y="18"/>
                  <a:pt x="579" y="18"/>
                </a:cubicBezTo>
                <a:cubicBezTo>
                  <a:pt x="579" y="18"/>
                  <a:pt x="579" y="18"/>
                  <a:pt x="580" y="18"/>
                </a:cubicBezTo>
                <a:cubicBezTo>
                  <a:pt x="580" y="18"/>
                  <a:pt x="580" y="18"/>
                  <a:pt x="580" y="18"/>
                </a:cubicBezTo>
                <a:cubicBezTo>
                  <a:pt x="580" y="19"/>
                  <a:pt x="580" y="18"/>
                  <a:pt x="580" y="19"/>
                </a:cubicBezTo>
                <a:cubicBezTo>
                  <a:pt x="580" y="19"/>
                  <a:pt x="580" y="19"/>
                  <a:pt x="580" y="19"/>
                </a:cubicBezTo>
                <a:cubicBezTo>
                  <a:pt x="580" y="19"/>
                  <a:pt x="581" y="19"/>
                  <a:pt x="581" y="19"/>
                </a:cubicBezTo>
                <a:cubicBezTo>
                  <a:pt x="581" y="19"/>
                  <a:pt x="581" y="19"/>
                  <a:pt x="581" y="19"/>
                </a:cubicBezTo>
                <a:cubicBezTo>
                  <a:pt x="581" y="19"/>
                  <a:pt x="581" y="19"/>
                  <a:pt x="582" y="19"/>
                </a:cubicBezTo>
                <a:cubicBezTo>
                  <a:pt x="582" y="19"/>
                  <a:pt x="582" y="19"/>
                  <a:pt x="582" y="19"/>
                </a:cubicBezTo>
                <a:cubicBezTo>
                  <a:pt x="582" y="20"/>
                  <a:pt x="582" y="19"/>
                  <a:pt x="582" y="20"/>
                </a:cubicBezTo>
                <a:cubicBezTo>
                  <a:pt x="582" y="20"/>
                  <a:pt x="582" y="20"/>
                  <a:pt x="582" y="20"/>
                </a:cubicBezTo>
                <a:cubicBezTo>
                  <a:pt x="582" y="20"/>
                  <a:pt x="583" y="20"/>
                  <a:pt x="583" y="20"/>
                </a:cubicBezTo>
                <a:cubicBezTo>
                  <a:pt x="583" y="20"/>
                  <a:pt x="583" y="20"/>
                  <a:pt x="583" y="20"/>
                </a:cubicBezTo>
                <a:cubicBezTo>
                  <a:pt x="583" y="20"/>
                  <a:pt x="583" y="20"/>
                  <a:pt x="583" y="20"/>
                </a:cubicBezTo>
                <a:cubicBezTo>
                  <a:pt x="583" y="20"/>
                  <a:pt x="583" y="20"/>
                  <a:pt x="583" y="20"/>
                </a:cubicBezTo>
                <a:cubicBezTo>
                  <a:pt x="584" y="21"/>
                  <a:pt x="584" y="21"/>
                  <a:pt x="584" y="21"/>
                </a:cubicBezTo>
                <a:cubicBezTo>
                  <a:pt x="584" y="21"/>
                  <a:pt x="584" y="21"/>
                  <a:pt x="584" y="21"/>
                </a:cubicBezTo>
                <a:cubicBezTo>
                  <a:pt x="584" y="21"/>
                  <a:pt x="584" y="21"/>
                  <a:pt x="584" y="21"/>
                </a:cubicBezTo>
                <a:cubicBezTo>
                  <a:pt x="584" y="21"/>
                  <a:pt x="584" y="21"/>
                  <a:pt x="584" y="21"/>
                </a:cubicBezTo>
                <a:cubicBezTo>
                  <a:pt x="585" y="21"/>
                  <a:pt x="585" y="21"/>
                  <a:pt x="585" y="21"/>
                </a:cubicBezTo>
                <a:cubicBezTo>
                  <a:pt x="585" y="21"/>
                  <a:pt x="585" y="21"/>
                  <a:pt x="585" y="21"/>
                </a:cubicBezTo>
                <a:cubicBezTo>
                  <a:pt x="586" y="21"/>
                  <a:pt x="585" y="21"/>
                  <a:pt x="585" y="20"/>
                </a:cubicBezTo>
                <a:cubicBezTo>
                  <a:pt x="585" y="18"/>
                  <a:pt x="585" y="15"/>
                  <a:pt x="585" y="13"/>
                </a:cubicBezTo>
                <a:cubicBezTo>
                  <a:pt x="585" y="11"/>
                  <a:pt x="586" y="10"/>
                  <a:pt x="585" y="9"/>
                </a:cubicBezTo>
                <a:cubicBezTo>
                  <a:pt x="585" y="9"/>
                  <a:pt x="585" y="9"/>
                  <a:pt x="585" y="9"/>
                </a:cubicBezTo>
                <a:cubicBezTo>
                  <a:pt x="585" y="9"/>
                  <a:pt x="585" y="9"/>
                  <a:pt x="584" y="9"/>
                </a:cubicBezTo>
                <a:cubicBezTo>
                  <a:pt x="584" y="9"/>
                  <a:pt x="584" y="9"/>
                  <a:pt x="584" y="9"/>
                </a:cubicBezTo>
                <a:cubicBezTo>
                  <a:pt x="584" y="8"/>
                  <a:pt x="584" y="8"/>
                  <a:pt x="584" y="8"/>
                </a:cubicBezTo>
                <a:cubicBezTo>
                  <a:pt x="584" y="8"/>
                  <a:pt x="584" y="8"/>
                  <a:pt x="584" y="8"/>
                </a:cubicBezTo>
                <a:cubicBezTo>
                  <a:pt x="583" y="8"/>
                  <a:pt x="583" y="8"/>
                  <a:pt x="583" y="8"/>
                </a:cubicBezTo>
                <a:cubicBezTo>
                  <a:pt x="583" y="8"/>
                  <a:pt x="583" y="8"/>
                  <a:pt x="583" y="8"/>
                </a:cubicBezTo>
                <a:cubicBezTo>
                  <a:pt x="583" y="8"/>
                  <a:pt x="583" y="8"/>
                  <a:pt x="583" y="8"/>
                </a:cubicBezTo>
                <a:cubicBezTo>
                  <a:pt x="582" y="8"/>
                  <a:pt x="582" y="8"/>
                  <a:pt x="582" y="8"/>
                </a:cubicBezTo>
                <a:cubicBezTo>
                  <a:pt x="582" y="8"/>
                  <a:pt x="582" y="8"/>
                  <a:pt x="582" y="8"/>
                </a:cubicBezTo>
                <a:cubicBezTo>
                  <a:pt x="582" y="8"/>
                  <a:pt x="582" y="8"/>
                  <a:pt x="582" y="8"/>
                </a:cubicBezTo>
                <a:cubicBezTo>
                  <a:pt x="581" y="7"/>
                  <a:pt x="581" y="7"/>
                  <a:pt x="581" y="7"/>
                </a:cubicBezTo>
                <a:cubicBezTo>
                  <a:pt x="581" y="7"/>
                  <a:pt x="581" y="7"/>
                  <a:pt x="581" y="7"/>
                </a:cubicBezTo>
                <a:cubicBezTo>
                  <a:pt x="580" y="7"/>
                  <a:pt x="580" y="7"/>
                  <a:pt x="579" y="7"/>
                </a:cubicBezTo>
                <a:cubicBezTo>
                  <a:pt x="579" y="7"/>
                  <a:pt x="579" y="7"/>
                  <a:pt x="579" y="7"/>
                </a:cubicBezTo>
                <a:cubicBezTo>
                  <a:pt x="578" y="7"/>
                  <a:pt x="578" y="7"/>
                  <a:pt x="577" y="7"/>
                </a:cubicBezTo>
                <a:cubicBezTo>
                  <a:pt x="577" y="7"/>
                  <a:pt x="577" y="7"/>
                  <a:pt x="577" y="6"/>
                </a:cubicBezTo>
                <a:cubicBezTo>
                  <a:pt x="577" y="6"/>
                  <a:pt x="576" y="6"/>
                  <a:pt x="575" y="6"/>
                </a:cubicBezTo>
                <a:cubicBezTo>
                  <a:pt x="575" y="6"/>
                  <a:pt x="575" y="6"/>
                  <a:pt x="575" y="6"/>
                </a:cubicBezTo>
                <a:cubicBezTo>
                  <a:pt x="573" y="6"/>
                  <a:pt x="572" y="6"/>
                  <a:pt x="571" y="6"/>
                </a:cubicBezTo>
                <a:cubicBezTo>
                  <a:pt x="570" y="6"/>
                  <a:pt x="569" y="6"/>
                  <a:pt x="568" y="6"/>
                </a:cubicBezTo>
                <a:cubicBezTo>
                  <a:pt x="567" y="6"/>
                  <a:pt x="567" y="6"/>
                  <a:pt x="566" y="6"/>
                </a:cubicBezTo>
                <a:cubicBezTo>
                  <a:pt x="565" y="6"/>
                  <a:pt x="564" y="6"/>
                  <a:pt x="564" y="6"/>
                </a:cubicBezTo>
                <a:cubicBezTo>
                  <a:pt x="563" y="6"/>
                  <a:pt x="562" y="6"/>
                  <a:pt x="561" y="6"/>
                </a:cubicBezTo>
                <a:cubicBezTo>
                  <a:pt x="561" y="6"/>
                  <a:pt x="561" y="6"/>
                  <a:pt x="560" y="6"/>
                </a:cubicBezTo>
                <a:cubicBezTo>
                  <a:pt x="560" y="7"/>
                  <a:pt x="559" y="6"/>
                  <a:pt x="559" y="6"/>
                </a:cubicBezTo>
                <a:cubicBezTo>
                  <a:pt x="559" y="7"/>
                  <a:pt x="559" y="7"/>
                  <a:pt x="558" y="7"/>
                </a:cubicBezTo>
                <a:cubicBezTo>
                  <a:pt x="558" y="7"/>
                  <a:pt x="557" y="6"/>
                  <a:pt x="557" y="7"/>
                </a:cubicBezTo>
                <a:cubicBezTo>
                  <a:pt x="557" y="7"/>
                  <a:pt x="557" y="7"/>
                  <a:pt x="557" y="7"/>
                </a:cubicBezTo>
                <a:cubicBezTo>
                  <a:pt x="557" y="7"/>
                  <a:pt x="556" y="7"/>
                  <a:pt x="556" y="7"/>
                </a:cubicBezTo>
                <a:cubicBezTo>
                  <a:pt x="556" y="7"/>
                  <a:pt x="556" y="7"/>
                  <a:pt x="556" y="7"/>
                </a:cubicBezTo>
                <a:cubicBezTo>
                  <a:pt x="555" y="7"/>
                  <a:pt x="555" y="7"/>
                  <a:pt x="555" y="8"/>
                </a:cubicBezTo>
                <a:cubicBezTo>
                  <a:pt x="555" y="8"/>
                  <a:pt x="555" y="8"/>
                  <a:pt x="555" y="8"/>
                </a:cubicBezTo>
                <a:cubicBezTo>
                  <a:pt x="554" y="8"/>
                  <a:pt x="554" y="8"/>
                  <a:pt x="553" y="8"/>
                </a:cubicBezTo>
                <a:cubicBezTo>
                  <a:pt x="553" y="8"/>
                  <a:pt x="553" y="8"/>
                  <a:pt x="553" y="8"/>
                </a:cubicBezTo>
                <a:cubicBezTo>
                  <a:pt x="553" y="8"/>
                  <a:pt x="553" y="8"/>
                  <a:pt x="553" y="8"/>
                </a:cubicBezTo>
                <a:cubicBezTo>
                  <a:pt x="553" y="8"/>
                  <a:pt x="553" y="8"/>
                  <a:pt x="553" y="8"/>
                </a:cubicBezTo>
                <a:cubicBezTo>
                  <a:pt x="552" y="9"/>
                  <a:pt x="552" y="8"/>
                  <a:pt x="552" y="9"/>
                </a:cubicBezTo>
                <a:cubicBezTo>
                  <a:pt x="552" y="9"/>
                  <a:pt x="552" y="9"/>
                  <a:pt x="552" y="9"/>
                </a:cubicBezTo>
                <a:cubicBezTo>
                  <a:pt x="552" y="9"/>
                  <a:pt x="551" y="9"/>
                  <a:pt x="551" y="9"/>
                </a:cubicBezTo>
                <a:cubicBezTo>
                  <a:pt x="551" y="9"/>
                  <a:pt x="551" y="9"/>
                  <a:pt x="551" y="9"/>
                </a:cubicBezTo>
                <a:cubicBezTo>
                  <a:pt x="551" y="9"/>
                  <a:pt x="550" y="9"/>
                  <a:pt x="550" y="9"/>
                </a:cubicBezTo>
                <a:cubicBezTo>
                  <a:pt x="550" y="9"/>
                  <a:pt x="550" y="9"/>
                  <a:pt x="550" y="9"/>
                </a:cubicBezTo>
                <a:cubicBezTo>
                  <a:pt x="550" y="9"/>
                  <a:pt x="550" y="9"/>
                  <a:pt x="550" y="10"/>
                </a:cubicBezTo>
                <a:cubicBezTo>
                  <a:pt x="550" y="10"/>
                  <a:pt x="550" y="10"/>
                  <a:pt x="550" y="10"/>
                </a:cubicBezTo>
                <a:cubicBezTo>
                  <a:pt x="550" y="10"/>
                  <a:pt x="549" y="10"/>
                  <a:pt x="549" y="10"/>
                </a:cubicBezTo>
                <a:cubicBezTo>
                  <a:pt x="549" y="10"/>
                  <a:pt x="549" y="10"/>
                  <a:pt x="549" y="10"/>
                </a:cubicBezTo>
                <a:cubicBezTo>
                  <a:pt x="549" y="10"/>
                  <a:pt x="549" y="10"/>
                  <a:pt x="549" y="10"/>
                </a:cubicBezTo>
                <a:cubicBezTo>
                  <a:pt x="549" y="10"/>
                  <a:pt x="549" y="10"/>
                  <a:pt x="549" y="10"/>
                </a:cubicBezTo>
                <a:cubicBezTo>
                  <a:pt x="549" y="10"/>
                  <a:pt x="549" y="10"/>
                  <a:pt x="549" y="10"/>
                </a:cubicBezTo>
                <a:cubicBezTo>
                  <a:pt x="548" y="11"/>
                  <a:pt x="548" y="10"/>
                  <a:pt x="548" y="11"/>
                </a:cubicBezTo>
                <a:cubicBezTo>
                  <a:pt x="548" y="11"/>
                  <a:pt x="548" y="11"/>
                  <a:pt x="548" y="11"/>
                </a:cubicBezTo>
                <a:cubicBezTo>
                  <a:pt x="548" y="11"/>
                  <a:pt x="548" y="11"/>
                  <a:pt x="548" y="11"/>
                </a:cubicBezTo>
                <a:cubicBezTo>
                  <a:pt x="548" y="11"/>
                  <a:pt x="548" y="11"/>
                  <a:pt x="548" y="11"/>
                </a:cubicBezTo>
                <a:cubicBezTo>
                  <a:pt x="547" y="11"/>
                  <a:pt x="547" y="11"/>
                  <a:pt x="547" y="11"/>
                </a:cubicBezTo>
                <a:cubicBezTo>
                  <a:pt x="547" y="11"/>
                  <a:pt x="547" y="11"/>
                  <a:pt x="547" y="11"/>
                </a:cubicBezTo>
                <a:cubicBezTo>
                  <a:pt x="547" y="11"/>
                  <a:pt x="547" y="12"/>
                  <a:pt x="546" y="12"/>
                </a:cubicBezTo>
                <a:cubicBezTo>
                  <a:pt x="546" y="12"/>
                  <a:pt x="546" y="12"/>
                  <a:pt x="546" y="12"/>
                </a:cubicBezTo>
                <a:cubicBezTo>
                  <a:pt x="546" y="12"/>
                  <a:pt x="546" y="12"/>
                  <a:pt x="545" y="12"/>
                </a:cubicBezTo>
                <a:cubicBezTo>
                  <a:pt x="546" y="12"/>
                  <a:pt x="546" y="12"/>
                  <a:pt x="546" y="12"/>
                </a:cubicBezTo>
                <a:cubicBezTo>
                  <a:pt x="545" y="12"/>
                  <a:pt x="545" y="13"/>
                  <a:pt x="545" y="13"/>
                </a:cubicBezTo>
                <a:cubicBezTo>
                  <a:pt x="545" y="13"/>
                  <a:pt x="545" y="13"/>
                  <a:pt x="545" y="13"/>
                </a:cubicBezTo>
                <a:cubicBezTo>
                  <a:pt x="545" y="13"/>
                  <a:pt x="545" y="13"/>
                  <a:pt x="545" y="13"/>
                </a:cubicBezTo>
                <a:cubicBezTo>
                  <a:pt x="545" y="13"/>
                  <a:pt x="545" y="13"/>
                  <a:pt x="545" y="13"/>
                </a:cubicBezTo>
                <a:cubicBezTo>
                  <a:pt x="545" y="13"/>
                  <a:pt x="545" y="13"/>
                  <a:pt x="544" y="13"/>
                </a:cubicBezTo>
                <a:cubicBezTo>
                  <a:pt x="544" y="13"/>
                  <a:pt x="544" y="13"/>
                  <a:pt x="544" y="13"/>
                </a:cubicBezTo>
                <a:cubicBezTo>
                  <a:pt x="544" y="14"/>
                  <a:pt x="544" y="14"/>
                  <a:pt x="544" y="14"/>
                </a:cubicBezTo>
                <a:cubicBezTo>
                  <a:pt x="544" y="14"/>
                  <a:pt x="544" y="14"/>
                  <a:pt x="544" y="14"/>
                </a:cubicBezTo>
                <a:cubicBezTo>
                  <a:pt x="544" y="14"/>
                  <a:pt x="544" y="14"/>
                  <a:pt x="544" y="14"/>
                </a:cubicBezTo>
                <a:cubicBezTo>
                  <a:pt x="544" y="14"/>
                  <a:pt x="544" y="14"/>
                  <a:pt x="544" y="14"/>
                </a:cubicBezTo>
                <a:cubicBezTo>
                  <a:pt x="544" y="14"/>
                  <a:pt x="543" y="14"/>
                  <a:pt x="543" y="14"/>
                </a:cubicBezTo>
                <a:cubicBezTo>
                  <a:pt x="543" y="14"/>
                  <a:pt x="543" y="14"/>
                  <a:pt x="543" y="14"/>
                </a:cubicBezTo>
                <a:cubicBezTo>
                  <a:pt x="543" y="15"/>
                  <a:pt x="543" y="15"/>
                  <a:pt x="543" y="15"/>
                </a:cubicBezTo>
                <a:cubicBezTo>
                  <a:pt x="543" y="15"/>
                  <a:pt x="543" y="15"/>
                  <a:pt x="543" y="15"/>
                </a:cubicBezTo>
                <a:cubicBezTo>
                  <a:pt x="543" y="15"/>
                  <a:pt x="543" y="15"/>
                  <a:pt x="543" y="15"/>
                </a:cubicBezTo>
                <a:cubicBezTo>
                  <a:pt x="543" y="15"/>
                  <a:pt x="543" y="15"/>
                  <a:pt x="543" y="15"/>
                </a:cubicBezTo>
                <a:cubicBezTo>
                  <a:pt x="543" y="15"/>
                  <a:pt x="542" y="15"/>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1" y="16"/>
                  <a:pt x="541" y="17"/>
                  <a:pt x="541" y="17"/>
                </a:cubicBezTo>
                <a:cubicBezTo>
                  <a:pt x="541" y="17"/>
                  <a:pt x="541" y="17"/>
                  <a:pt x="541" y="17"/>
                </a:cubicBezTo>
                <a:cubicBezTo>
                  <a:pt x="541" y="17"/>
                  <a:pt x="541" y="17"/>
                  <a:pt x="541" y="17"/>
                </a:cubicBezTo>
                <a:cubicBezTo>
                  <a:pt x="541" y="17"/>
                  <a:pt x="541" y="17"/>
                  <a:pt x="541" y="17"/>
                </a:cubicBezTo>
                <a:cubicBezTo>
                  <a:pt x="541" y="17"/>
                  <a:pt x="541" y="18"/>
                  <a:pt x="541" y="18"/>
                </a:cubicBezTo>
                <a:cubicBezTo>
                  <a:pt x="541" y="18"/>
                  <a:pt x="541" y="18"/>
                  <a:pt x="541" y="18"/>
                </a:cubicBezTo>
                <a:cubicBezTo>
                  <a:pt x="540" y="18"/>
                  <a:pt x="540" y="18"/>
                  <a:pt x="540" y="18"/>
                </a:cubicBezTo>
                <a:cubicBezTo>
                  <a:pt x="540" y="18"/>
                  <a:pt x="540" y="18"/>
                  <a:pt x="540" y="18"/>
                </a:cubicBezTo>
                <a:cubicBezTo>
                  <a:pt x="540" y="18"/>
                  <a:pt x="540" y="19"/>
                  <a:pt x="540" y="19"/>
                </a:cubicBezTo>
                <a:cubicBezTo>
                  <a:pt x="540" y="19"/>
                  <a:pt x="540" y="19"/>
                  <a:pt x="540" y="19"/>
                </a:cubicBezTo>
                <a:cubicBezTo>
                  <a:pt x="540" y="19"/>
                  <a:pt x="540" y="19"/>
                  <a:pt x="540" y="19"/>
                </a:cubicBezTo>
                <a:cubicBezTo>
                  <a:pt x="540" y="19"/>
                  <a:pt x="540" y="19"/>
                  <a:pt x="540" y="19"/>
                </a:cubicBezTo>
                <a:cubicBezTo>
                  <a:pt x="539" y="20"/>
                  <a:pt x="539" y="20"/>
                  <a:pt x="539" y="20"/>
                </a:cubicBezTo>
                <a:cubicBezTo>
                  <a:pt x="539" y="20"/>
                  <a:pt x="539" y="20"/>
                  <a:pt x="539" y="20"/>
                </a:cubicBezTo>
                <a:cubicBezTo>
                  <a:pt x="539" y="20"/>
                  <a:pt x="539" y="21"/>
                  <a:pt x="539" y="21"/>
                </a:cubicBezTo>
                <a:cubicBezTo>
                  <a:pt x="539" y="21"/>
                  <a:pt x="539" y="21"/>
                  <a:pt x="539" y="21"/>
                </a:cubicBezTo>
                <a:cubicBezTo>
                  <a:pt x="539" y="21"/>
                  <a:pt x="539" y="21"/>
                  <a:pt x="539" y="21"/>
                </a:cubicBezTo>
                <a:cubicBezTo>
                  <a:pt x="539" y="21"/>
                  <a:pt x="539" y="22"/>
                  <a:pt x="538" y="22"/>
                </a:cubicBezTo>
                <a:cubicBezTo>
                  <a:pt x="538" y="22"/>
                  <a:pt x="538" y="22"/>
                  <a:pt x="538" y="22"/>
                </a:cubicBezTo>
                <a:cubicBezTo>
                  <a:pt x="538" y="22"/>
                  <a:pt x="538" y="22"/>
                  <a:pt x="538" y="23"/>
                </a:cubicBezTo>
                <a:cubicBezTo>
                  <a:pt x="538" y="23"/>
                  <a:pt x="538" y="23"/>
                  <a:pt x="538" y="23"/>
                </a:cubicBezTo>
                <a:cubicBezTo>
                  <a:pt x="538" y="23"/>
                  <a:pt x="538" y="23"/>
                  <a:pt x="538" y="23"/>
                </a:cubicBezTo>
                <a:cubicBezTo>
                  <a:pt x="538" y="23"/>
                  <a:pt x="538" y="23"/>
                  <a:pt x="538" y="24"/>
                </a:cubicBezTo>
                <a:cubicBezTo>
                  <a:pt x="538" y="24"/>
                  <a:pt x="538" y="24"/>
                  <a:pt x="538" y="24"/>
                </a:cubicBezTo>
                <a:cubicBezTo>
                  <a:pt x="538" y="24"/>
                  <a:pt x="538" y="24"/>
                  <a:pt x="538" y="24"/>
                </a:cubicBezTo>
                <a:cubicBezTo>
                  <a:pt x="537" y="24"/>
                  <a:pt x="538" y="25"/>
                  <a:pt x="537" y="25"/>
                </a:cubicBezTo>
                <a:cubicBezTo>
                  <a:pt x="538" y="25"/>
                  <a:pt x="538" y="25"/>
                  <a:pt x="537" y="25"/>
                </a:cubicBezTo>
                <a:cubicBezTo>
                  <a:pt x="537" y="26"/>
                  <a:pt x="537" y="26"/>
                  <a:pt x="537" y="27"/>
                </a:cubicBezTo>
                <a:cubicBezTo>
                  <a:pt x="537" y="28"/>
                  <a:pt x="537" y="29"/>
                  <a:pt x="537" y="30"/>
                </a:cubicBezTo>
                <a:cubicBezTo>
                  <a:pt x="537" y="32"/>
                  <a:pt x="537" y="35"/>
                  <a:pt x="538" y="37"/>
                </a:cubicBezTo>
                <a:cubicBezTo>
                  <a:pt x="539" y="42"/>
                  <a:pt x="541" y="46"/>
                  <a:pt x="545" y="49"/>
                </a:cubicBezTo>
                <a:cubicBezTo>
                  <a:pt x="548" y="52"/>
                  <a:pt x="552" y="55"/>
                  <a:pt x="556" y="57"/>
                </a:cubicBezTo>
                <a:cubicBezTo>
                  <a:pt x="559" y="58"/>
                  <a:pt x="561" y="60"/>
                  <a:pt x="563" y="61"/>
                </a:cubicBezTo>
                <a:cubicBezTo>
                  <a:pt x="567" y="63"/>
                  <a:pt x="570" y="65"/>
                  <a:pt x="573" y="68"/>
                </a:cubicBezTo>
                <a:cubicBezTo>
                  <a:pt x="576" y="71"/>
                  <a:pt x="578" y="75"/>
                  <a:pt x="578" y="79"/>
                </a:cubicBezTo>
                <a:cubicBezTo>
                  <a:pt x="578" y="86"/>
                  <a:pt x="574" y="90"/>
                  <a:pt x="568" y="92"/>
                </a:cubicBezTo>
                <a:cubicBezTo>
                  <a:pt x="566" y="93"/>
                  <a:pt x="563" y="93"/>
                  <a:pt x="561" y="93"/>
                </a:cubicBezTo>
                <a:cubicBezTo>
                  <a:pt x="553" y="93"/>
                  <a:pt x="545" y="91"/>
                  <a:pt x="538" y="86"/>
                </a:cubicBezTo>
                <a:cubicBezTo>
                  <a:pt x="538" y="85"/>
                  <a:pt x="537" y="85"/>
                  <a:pt x="537" y="85"/>
                </a:cubicBezTo>
                <a:cubicBezTo>
                  <a:pt x="537" y="89"/>
                  <a:pt x="537" y="93"/>
                  <a:pt x="537" y="97"/>
                </a:cubicBezTo>
                <a:cubicBezTo>
                  <a:pt x="537" y="98"/>
                  <a:pt x="537" y="98"/>
                  <a:pt x="538" y="98"/>
                </a:cubicBezTo>
                <a:cubicBezTo>
                  <a:pt x="539" y="99"/>
                  <a:pt x="541" y="100"/>
                  <a:pt x="543" y="100"/>
                </a:cubicBezTo>
                <a:cubicBezTo>
                  <a:pt x="546" y="102"/>
                  <a:pt x="550" y="102"/>
                  <a:pt x="553" y="103"/>
                </a:cubicBezTo>
                <a:cubicBezTo>
                  <a:pt x="555" y="103"/>
                  <a:pt x="556" y="103"/>
                  <a:pt x="557" y="103"/>
                </a:cubicBezTo>
                <a:cubicBezTo>
                  <a:pt x="558" y="103"/>
                  <a:pt x="559" y="103"/>
                  <a:pt x="560" y="103"/>
                </a:cubicBezTo>
                <a:cubicBezTo>
                  <a:pt x="561" y="103"/>
                  <a:pt x="562" y="103"/>
                  <a:pt x="564" y="103"/>
                </a:cubicBezTo>
                <a:cubicBezTo>
                  <a:pt x="564" y="103"/>
                  <a:pt x="564" y="103"/>
                  <a:pt x="564" y="103"/>
                </a:cubicBezTo>
                <a:cubicBezTo>
                  <a:pt x="565" y="103"/>
                  <a:pt x="566" y="103"/>
                  <a:pt x="566" y="103"/>
                </a:cubicBezTo>
                <a:cubicBezTo>
                  <a:pt x="566" y="102"/>
                  <a:pt x="567" y="102"/>
                  <a:pt x="567" y="103"/>
                </a:cubicBezTo>
                <a:cubicBezTo>
                  <a:pt x="567" y="102"/>
                  <a:pt x="568" y="103"/>
                  <a:pt x="568" y="102"/>
                </a:cubicBezTo>
                <a:cubicBezTo>
                  <a:pt x="568" y="102"/>
                  <a:pt x="568" y="102"/>
                  <a:pt x="568" y="102"/>
                </a:cubicBezTo>
                <a:cubicBezTo>
                  <a:pt x="569" y="102"/>
                  <a:pt x="569" y="102"/>
                  <a:pt x="569" y="102"/>
                </a:cubicBezTo>
                <a:cubicBezTo>
                  <a:pt x="569" y="102"/>
                  <a:pt x="569" y="102"/>
                  <a:pt x="570" y="102"/>
                </a:cubicBezTo>
                <a:cubicBezTo>
                  <a:pt x="570" y="102"/>
                  <a:pt x="570" y="102"/>
                  <a:pt x="570" y="102"/>
                </a:cubicBezTo>
                <a:cubicBezTo>
                  <a:pt x="570" y="102"/>
                  <a:pt x="570" y="102"/>
                  <a:pt x="570" y="102"/>
                </a:cubicBezTo>
                <a:cubicBezTo>
                  <a:pt x="570" y="102"/>
                  <a:pt x="571" y="102"/>
                  <a:pt x="571" y="101"/>
                </a:cubicBezTo>
                <a:cubicBezTo>
                  <a:pt x="571" y="101"/>
                  <a:pt x="571" y="101"/>
                  <a:pt x="571" y="101"/>
                </a:cubicBezTo>
                <a:cubicBezTo>
                  <a:pt x="571" y="101"/>
                  <a:pt x="572" y="101"/>
                  <a:pt x="572" y="101"/>
                </a:cubicBezTo>
                <a:cubicBezTo>
                  <a:pt x="572" y="101"/>
                  <a:pt x="572" y="101"/>
                  <a:pt x="572" y="101"/>
                </a:cubicBezTo>
                <a:cubicBezTo>
                  <a:pt x="572" y="101"/>
                  <a:pt x="573" y="101"/>
                  <a:pt x="573" y="101"/>
                </a:cubicBezTo>
                <a:cubicBezTo>
                  <a:pt x="573" y="101"/>
                  <a:pt x="573" y="101"/>
                  <a:pt x="573" y="101"/>
                </a:cubicBezTo>
                <a:cubicBezTo>
                  <a:pt x="573" y="101"/>
                  <a:pt x="574" y="101"/>
                  <a:pt x="574" y="100"/>
                </a:cubicBezTo>
                <a:cubicBezTo>
                  <a:pt x="574" y="100"/>
                  <a:pt x="574" y="100"/>
                  <a:pt x="574" y="100"/>
                </a:cubicBezTo>
                <a:cubicBezTo>
                  <a:pt x="574" y="100"/>
                  <a:pt x="574" y="100"/>
                  <a:pt x="574" y="100"/>
                </a:cubicBezTo>
                <a:cubicBezTo>
                  <a:pt x="574" y="100"/>
                  <a:pt x="575" y="100"/>
                  <a:pt x="575" y="100"/>
                </a:cubicBezTo>
                <a:cubicBezTo>
                  <a:pt x="575" y="100"/>
                  <a:pt x="575" y="100"/>
                  <a:pt x="575" y="100"/>
                </a:cubicBezTo>
                <a:cubicBezTo>
                  <a:pt x="575" y="100"/>
                  <a:pt x="576" y="100"/>
                  <a:pt x="576" y="100"/>
                </a:cubicBezTo>
                <a:cubicBezTo>
                  <a:pt x="576" y="100"/>
                  <a:pt x="576" y="100"/>
                  <a:pt x="576" y="100"/>
                </a:cubicBezTo>
                <a:cubicBezTo>
                  <a:pt x="576" y="100"/>
                  <a:pt x="576" y="100"/>
                  <a:pt x="576" y="99"/>
                </a:cubicBezTo>
                <a:cubicBezTo>
                  <a:pt x="576" y="99"/>
                  <a:pt x="576" y="99"/>
                  <a:pt x="576" y="99"/>
                </a:cubicBezTo>
                <a:cubicBezTo>
                  <a:pt x="577" y="99"/>
                  <a:pt x="577" y="99"/>
                  <a:pt x="577" y="99"/>
                </a:cubicBezTo>
                <a:cubicBezTo>
                  <a:pt x="577" y="99"/>
                  <a:pt x="577" y="99"/>
                  <a:pt x="577" y="99"/>
                </a:cubicBezTo>
                <a:cubicBezTo>
                  <a:pt x="577" y="99"/>
                  <a:pt x="578" y="99"/>
                  <a:pt x="578" y="99"/>
                </a:cubicBezTo>
                <a:cubicBezTo>
                  <a:pt x="578" y="99"/>
                  <a:pt x="578" y="99"/>
                  <a:pt x="578" y="99"/>
                </a:cubicBezTo>
                <a:cubicBezTo>
                  <a:pt x="578" y="99"/>
                  <a:pt x="578" y="98"/>
                  <a:pt x="578" y="98"/>
                </a:cubicBezTo>
                <a:cubicBezTo>
                  <a:pt x="578" y="98"/>
                  <a:pt x="578" y="98"/>
                  <a:pt x="578" y="98"/>
                </a:cubicBezTo>
                <a:cubicBezTo>
                  <a:pt x="578" y="98"/>
                  <a:pt x="579" y="98"/>
                  <a:pt x="579" y="98"/>
                </a:cubicBezTo>
                <a:cubicBezTo>
                  <a:pt x="579" y="98"/>
                  <a:pt x="579" y="98"/>
                  <a:pt x="579" y="98"/>
                </a:cubicBezTo>
                <a:cubicBezTo>
                  <a:pt x="579" y="98"/>
                  <a:pt x="579" y="98"/>
                  <a:pt x="579" y="98"/>
                </a:cubicBezTo>
                <a:cubicBezTo>
                  <a:pt x="579" y="98"/>
                  <a:pt x="579" y="98"/>
                  <a:pt x="579" y="98"/>
                </a:cubicBezTo>
                <a:cubicBezTo>
                  <a:pt x="579" y="97"/>
                  <a:pt x="580" y="98"/>
                  <a:pt x="580" y="97"/>
                </a:cubicBezTo>
                <a:cubicBezTo>
                  <a:pt x="580" y="97"/>
                  <a:pt x="580" y="97"/>
                  <a:pt x="580" y="97"/>
                </a:cubicBezTo>
                <a:cubicBezTo>
                  <a:pt x="580" y="97"/>
                  <a:pt x="580" y="97"/>
                  <a:pt x="580" y="97"/>
                </a:cubicBezTo>
                <a:cubicBezTo>
                  <a:pt x="580" y="97"/>
                  <a:pt x="580" y="97"/>
                  <a:pt x="580" y="97"/>
                </a:cubicBezTo>
                <a:cubicBezTo>
                  <a:pt x="580" y="97"/>
                  <a:pt x="580" y="97"/>
                  <a:pt x="581" y="97"/>
                </a:cubicBezTo>
                <a:cubicBezTo>
                  <a:pt x="581" y="97"/>
                  <a:pt x="581" y="97"/>
                  <a:pt x="581" y="97"/>
                </a:cubicBezTo>
                <a:cubicBezTo>
                  <a:pt x="581" y="96"/>
                  <a:pt x="581" y="97"/>
                  <a:pt x="581" y="96"/>
                </a:cubicBezTo>
                <a:cubicBezTo>
                  <a:pt x="581" y="96"/>
                  <a:pt x="581" y="96"/>
                  <a:pt x="581" y="96"/>
                </a:cubicBezTo>
                <a:cubicBezTo>
                  <a:pt x="581" y="96"/>
                  <a:pt x="582" y="96"/>
                  <a:pt x="582" y="96"/>
                </a:cubicBezTo>
                <a:cubicBezTo>
                  <a:pt x="582" y="96"/>
                  <a:pt x="582" y="96"/>
                  <a:pt x="582" y="96"/>
                </a:cubicBezTo>
                <a:cubicBezTo>
                  <a:pt x="582" y="96"/>
                  <a:pt x="582" y="96"/>
                  <a:pt x="582" y="96"/>
                </a:cubicBezTo>
                <a:cubicBezTo>
                  <a:pt x="582" y="96"/>
                  <a:pt x="582" y="96"/>
                  <a:pt x="582" y="96"/>
                </a:cubicBezTo>
                <a:cubicBezTo>
                  <a:pt x="582" y="95"/>
                  <a:pt x="582" y="95"/>
                  <a:pt x="582" y="95"/>
                </a:cubicBezTo>
                <a:cubicBezTo>
                  <a:pt x="582" y="95"/>
                  <a:pt x="582" y="95"/>
                  <a:pt x="582" y="95"/>
                </a:cubicBezTo>
                <a:cubicBezTo>
                  <a:pt x="582" y="95"/>
                  <a:pt x="583" y="95"/>
                  <a:pt x="583" y="95"/>
                </a:cubicBezTo>
                <a:cubicBezTo>
                  <a:pt x="583" y="95"/>
                  <a:pt x="583" y="95"/>
                  <a:pt x="583" y="95"/>
                </a:cubicBezTo>
                <a:cubicBezTo>
                  <a:pt x="583" y="95"/>
                  <a:pt x="583" y="95"/>
                  <a:pt x="583" y="95"/>
                </a:cubicBezTo>
                <a:cubicBezTo>
                  <a:pt x="583" y="95"/>
                  <a:pt x="583" y="95"/>
                  <a:pt x="583" y="95"/>
                </a:cubicBezTo>
                <a:cubicBezTo>
                  <a:pt x="583" y="94"/>
                  <a:pt x="583" y="94"/>
                  <a:pt x="583" y="94"/>
                </a:cubicBezTo>
                <a:cubicBezTo>
                  <a:pt x="583" y="94"/>
                  <a:pt x="583" y="94"/>
                  <a:pt x="583" y="94"/>
                </a:cubicBezTo>
                <a:cubicBezTo>
                  <a:pt x="583" y="94"/>
                  <a:pt x="584" y="94"/>
                  <a:pt x="584" y="94"/>
                </a:cubicBezTo>
                <a:cubicBezTo>
                  <a:pt x="584" y="94"/>
                  <a:pt x="584" y="94"/>
                  <a:pt x="584" y="94"/>
                </a:cubicBezTo>
                <a:cubicBezTo>
                  <a:pt x="584" y="94"/>
                  <a:pt x="584" y="94"/>
                  <a:pt x="584" y="93"/>
                </a:cubicBezTo>
                <a:cubicBezTo>
                  <a:pt x="584" y="93"/>
                  <a:pt x="584" y="93"/>
                  <a:pt x="584" y="93"/>
                </a:cubicBezTo>
                <a:cubicBezTo>
                  <a:pt x="584" y="93"/>
                  <a:pt x="584" y="93"/>
                  <a:pt x="584" y="93"/>
                </a:cubicBezTo>
                <a:cubicBezTo>
                  <a:pt x="584" y="93"/>
                  <a:pt x="584" y="93"/>
                  <a:pt x="584" y="93"/>
                </a:cubicBezTo>
                <a:cubicBezTo>
                  <a:pt x="585" y="93"/>
                  <a:pt x="585" y="93"/>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6" y="92"/>
                  <a:pt x="586" y="91"/>
                  <a:pt x="586" y="91"/>
                </a:cubicBezTo>
                <a:cubicBezTo>
                  <a:pt x="586" y="91"/>
                  <a:pt x="586" y="91"/>
                  <a:pt x="586" y="91"/>
                </a:cubicBezTo>
                <a:cubicBezTo>
                  <a:pt x="586" y="91"/>
                  <a:pt x="586" y="91"/>
                  <a:pt x="586" y="90"/>
                </a:cubicBezTo>
                <a:cubicBezTo>
                  <a:pt x="586" y="90"/>
                  <a:pt x="586" y="90"/>
                  <a:pt x="586" y="90"/>
                </a:cubicBezTo>
                <a:cubicBezTo>
                  <a:pt x="586" y="90"/>
                  <a:pt x="586" y="90"/>
                  <a:pt x="586" y="90"/>
                </a:cubicBezTo>
                <a:cubicBezTo>
                  <a:pt x="586" y="90"/>
                  <a:pt x="586" y="90"/>
                  <a:pt x="586" y="90"/>
                </a:cubicBezTo>
                <a:cubicBezTo>
                  <a:pt x="587" y="90"/>
                  <a:pt x="587" y="89"/>
                  <a:pt x="587" y="89"/>
                </a:cubicBezTo>
                <a:cubicBezTo>
                  <a:pt x="587" y="89"/>
                  <a:pt x="587" y="89"/>
                  <a:pt x="587" y="89"/>
                </a:cubicBezTo>
                <a:cubicBezTo>
                  <a:pt x="587" y="89"/>
                  <a:pt x="587" y="89"/>
                  <a:pt x="587" y="89"/>
                </a:cubicBezTo>
                <a:cubicBezTo>
                  <a:pt x="587" y="89"/>
                  <a:pt x="587" y="89"/>
                  <a:pt x="587" y="89"/>
                </a:cubicBezTo>
                <a:cubicBezTo>
                  <a:pt x="588" y="88"/>
                  <a:pt x="587" y="88"/>
                  <a:pt x="588" y="88"/>
                </a:cubicBezTo>
                <a:cubicBezTo>
                  <a:pt x="588" y="88"/>
                  <a:pt x="588" y="88"/>
                  <a:pt x="588" y="88"/>
                </a:cubicBezTo>
                <a:cubicBezTo>
                  <a:pt x="588" y="87"/>
                  <a:pt x="588" y="87"/>
                  <a:pt x="588" y="87"/>
                </a:cubicBezTo>
                <a:cubicBezTo>
                  <a:pt x="588" y="87"/>
                  <a:pt x="588" y="87"/>
                  <a:pt x="588" y="87"/>
                </a:cubicBezTo>
                <a:cubicBezTo>
                  <a:pt x="588" y="86"/>
                  <a:pt x="588" y="86"/>
                  <a:pt x="588" y="86"/>
                </a:cubicBezTo>
                <a:cubicBezTo>
                  <a:pt x="588" y="86"/>
                  <a:pt x="588" y="86"/>
                  <a:pt x="588" y="85"/>
                </a:cubicBezTo>
                <a:cubicBezTo>
                  <a:pt x="589" y="85"/>
                  <a:pt x="588" y="85"/>
                  <a:pt x="589" y="84"/>
                </a:cubicBezTo>
                <a:close/>
                <a:moveTo>
                  <a:pt x="300" y="53"/>
                </a:moveTo>
                <a:cubicBezTo>
                  <a:pt x="297" y="43"/>
                  <a:pt x="290" y="37"/>
                  <a:pt x="280" y="34"/>
                </a:cubicBezTo>
                <a:cubicBezTo>
                  <a:pt x="274" y="32"/>
                  <a:pt x="268" y="32"/>
                  <a:pt x="262" y="33"/>
                </a:cubicBezTo>
                <a:cubicBezTo>
                  <a:pt x="251" y="35"/>
                  <a:pt x="243" y="42"/>
                  <a:pt x="239" y="52"/>
                </a:cubicBezTo>
                <a:cubicBezTo>
                  <a:pt x="235" y="62"/>
                  <a:pt x="235" y="72"/>
                  <a:pt x="238" y="82"/>
                </a:cubicBezTo>
                <a:cubicBezTo>
                  <a:pt x="241" y="91"/>
                  <a:pt x="248" y="98"/>
                  <a:pt x="257" y="101"/>
                </a:cubicBezTo>
                <a:cubicBezTo>
                  <a:pt x="263" y="103"/>
                  <a:pt x="269" y="104"/>
                  <a:pt x="275" y="103"/>
                </a:cubicBezTo>
                <a:cubicBezTo>
                  <a:pt x="286" y="101"/>
                  <a:pt x="294" y="95"/>
                  <a:pt x="299" y="86"/>
                </a:cubicBezTo>
                <a:cubicBezTo>
                  <a:pt x="301" y="80"/>
                  <a:pt x="302" y="74"/>
                  <a:pt x="302" y="67"/>
                </a:cubicBezTo>
                <a:cubicBezTo>
                  <a:pt x="302" y="63"/>
                  <a:pt x="302" y="58"/>
                  <a:pt x="300" y="53"/>
                </a:cubicBezTo>
                <a:close/>
                <a:moveTo>
                  <a:pt x="422" y="54"/>
                </a:moveTo>
                <a:cubicBezTo>
                  <a:pt x="419" y="43"/>
                  <a:pt x="412" y="37"/>
                  <a:pt x="401" y="34"/>
                </a:cubicBezTo>
                <a:cubicBezTo>
                  <a:pt x="396" y="32"/>
                  <a:pt x="390" y="32"/>
                  <a:pt x="384" y="33"/>
                </a:cubicBezTo>
                <a:cubicBezTo>
                  <a:pt x="374" y="35"/>
                  <a:pt x="366" y="41"/>
                  <a:pt x="362" y="50"/>
                </a:cubicBezTo>
                <a:cubicBezTo>
                  <a:pt x="357" y="60"/>
                  <a:pt x="356" y="74"/>
                  <a:pt x="361" y="84"/>
                </a:cubicBezTo>
                <a:cubicBezTo>
                  <a:pt x="365" y="94"/>
                  <a:pt x="371" y="100"/>
                  <a:pt x="381" y="102"/>
                </a:cubicBezTo>
                <a:cubicBezTo>
                  <a:pt x="386" y="103"/>
                  <a:pt x="392" y="103"/>
                  <a:pt x="397" y="103"/>
                </a:cubicBezTo>
                <a:cubicBezTo>
                  <a:pt x="408" y="101"/>
                  <a:pt x="415" y="95"/>
                  <a:pt x="420" y="85"/>
                </a:cubicBezTo>
                <a:cubicBezTo>
                  <a:pt x="423" y="80"/>
                  <a:pt x="424" y="74"/>
                  <a:pt x="424" y="67"/>
                </a:cubicBezTo>
                <a:cubicBezTo>
                  <a:pt x="424" y="63"/>
                  <a:pt x="423" y="58"/>
                  <a:pt x="422" y="54"/>
                </a:cubicBezTo>
                <a:close/>
                <a:moveTo>
                  <a:pt x="1580" y="22"/>
                </a:moveTo>
                <a:cubicBezTo>
                  <a:pt x="1580" y="22"/>
                  <a:pt x="1580" y="22"/>
                  <a:pt x="1580" y="22"/>
                </a:cubicBezTo>
                <a:cubicBezTo>
                  <a:pt x="1580" y="22"/>
                  <a:pt x="1580" y="21"/>
                  <a:pt x="1580" y="21"/>
                </a:cubicBezTo>
                <a:cubicBezTo>
                  <a:pt x="1580" y="21"/>
                  <a:pt x="1580" y="21"/>
                  <a:pt x="1580" y="21"/>
                </a:cubicBezTo>
                <a:cubicBezTo>
                  <a:pt x="1580" y="21"/>
                  <a:pt x="1580" y="20"/>
                  <a:pt x="1580" y="20"/>
                </a:cubicBezTo>
                <a:cubicBezTo>
                  <a:pt x="1580" y="20"/>
                  <a:pt x="1580" y="20"/>
                  <a:pt x="1580" y="20"/>
                </a:cubicBezTo>
                <a:cubicBezTo>
                  <a:pt x="1579" y="20"/>
                  <a:pt x="1579" y="20"/>
                  <a:pt x="1579" y="19"/>
                </a:cubicBezTo>
                <a:cubicBezTo>
                  <a:pt x="1579" y="19"/>
                  <a:pt x="1579" y="19"/>
                  <a:pt x="1579" y="19"/>
                </a:cubicBezTo>
                <a:cubicBezTo>
                  <a:pt x="1579" y="19"/>
                  <a:pt x="1579" y="19"/>
                  <a:pt x="1579" y="19"/>
                </a:cubicBezTo>
                <a:cubicBezTo>
                  <a:pt x="1579" y="19"/>
                  <a:pt x="1579" y="19"/>
                  <a:pt x="1579" y="19"/>
                </a:cubicBezTo>
                <a:cubicBezTo>
                  <a:pt x="1579" y="18"/>
                  <a:pt x="1579" y="18"/>
                  <a:pt x="1579" y="18"/>
                </a:cubicBezTo>
                <a:cubicBezTo>
                  <a:pt x="1579" y="18"/>
                  <a:pt x="1579" y="18"/>
                  <a:pt x="1579" y="18"/>
                </a:cubicBezTo>
                <a:cubicBezTo>
                  <a:pt x="1578" y="18"/>
                  <a:pt x="1578" y="17"/>
                  <a:pt x="1578" y="17"/>
                </a:cubicBezTo>
                <a:cubicBezTo>
                  <a:pt x="1578" y="17"/>
                  <a:pt x="1578" y="17"/>
                  <a:pt x="1578" y="17"/>
                </a:cubicBezTo>
                <a:cubicBezTo>
                  <a:pt x="1578" y="17"/>
                  <a:pt x="1578" y="17"/>
                  <a:pt x="1578" y="17"/>
                </a:cubicBezTo>
                <a:cubicBezTo>
                  <a:pt x="1578" y="17"/>
                  <a:pt x="1578" y="17"/>
                  <a:pt x="1578" y="17"/>
                </a:cubicBezTo>
                <a:cubicBezTo>
                  <a:pt x="1578" y="17"/>
                  <a:pt x="1578" y="16"/>
                  <a:pt x="1577" y="16"/>
                </a:cubicBezTo>
                <a:cubicBezTo>
                  <a:pt x="1577" y="16"/>
                  <a:pt x="1577" y="16"/>
                  <a:pt x="1577" y="16"/>
                </a:cubicBezTo>
                <a:cubicBezTo>
                  <a:pt x="1577" y="16"/>
                  <a:pt x="1577" y="16"/>
                  <a:pt x="1577" y="16"/>
                </a:cubicBezTo>
                <a:cubicBezTo>
                  <a:pt x="1577" y="16"/>
                  <a:pt x="1577" y="16"/>
                  <a:pt x="1577" y="16"/>
                </a:cubicBezTo>
                <a:cubicBezTo>
                  <a:pt x="1577" y="16"/>
                  <a:pt x="1577" y="15"/>
                  <a:pt x="1576" y="15"/>
                </a:cubicBezTo>
                <a:cubicBezTo>
                  <a:pt x="1576" y="15"/>
                  <a:pt x="1576" y="15"/>
                  <a:pt x="1576" y="15"/>
                </a:cubicBezTo>
                <a:cubicBezTo>
                  <a:pt x="1576" y="15"/>
                  <a:pt x="1576" y="15"/>
                  <a:pt x="1576" y="15"/>
                </a:cubicBezTo>
                <a:cubicBezTo>
                  <a:pt x="1576" y="15"/>
                  <a:pt x="1576" y="15"/>
                  <a:pt x="1576" y="15"/>
                </a:cubicBezTo>
                <a:cubicBezTo>
                  <a:pt x="1576" y="14"/>
                  <a:pt x="1576" y="14"/>
                  <a:pt x="1576" y="14"/>
                </a:cubicBezTo>
                <a:cubicBezTo>
                  <a:pt x="1576" y="14"/>
                  <a:pt x="1576" y="14"/>
                  <a:pt x="1576" y="14"/>
                </a:cubicBezTo>
                <a:cubicBezTo>
                  <a:pt x="1576" y="14"/>
                  <a:pt x="1576" y="14"/>
                  <a:pt x="1575" y="14"/>
                </a:cubicBezTo>
                <a:cubicBezTo>
                  <a:pt x="1575" y="14"/>
                  <a:pt x="1575" y="14"/>
                  <a:pt x="1575" y="14"/>
                </a:cubicBezTo>
                <a:cubicBezTo>
                  <a:pt x="1575" y="14"/>
                  <a:pt x="1575" y="14"/>
                  <a:pt x="1575" y="13"/>
                </a:cubicBezTo>
                <a:cubicBezTo>
                  <a:pt x="1575" y="13"/>
                  <a:pt x="1575" y="13"/>
                  <a:pt x="1575" y="13"/>
                </a:cubicBezTo>
                <a:cubicBezTo>
                  <a:pt x="1575" y="13"/>
                  <a:pt x="1575" y="13"/>
                  <a:pt x="1575" y="13"/>
                </a:cubicBezTo>
                <a:cubicBezTo>
                  <a:pt x="1575" y="13"/>
                  <a:pt x="1575" y="13"/>
                  <a:pt x="1575" y="13"/>
                </a:cubicBezTo>
                <a:cubicBezTo>
                  <a:pt x="1575" y="13"/>
                  <a:pt x="1575" y="13"/>
                  <a:pt x="1574" y="13"/>
                </a:cubicBezTo>
                <a:cubicBezTo>
                  <a:pt x="1574" y="13"/>
                  <a:pt x="1574" y="13"/>
                  <a:pt x="1574" y="13"/>
                </a:cubicBezTo>
                <a:cubicBezTo>
                  <a:pt x="1574" y="13"/>
                  <a:pt x="1574" y="13"/>
                  <a:pt x="1574" y="12"/>
                </a:cubicBezTo>
                <a:cubicBezTo>
                  <a:pt x="1574" y="12"/>
                  <a:pt x="1574" y="12"/>
                  <a:pt x="1574" y="12"/>
                </a:cubicBezTo>
                <a:cubicBezTo>
                  <a:pt x="1574" y="12"/>
                  <a:pt x="1574" y="12"/>
                  <a:pt x="1574" y="12"/>
                </a:cubicBezTo>
                <a:cubicBezTo>
                  <a:pt x="1574" y="12"/>
                  <a:pt x="1574" y="12"/>
                  <a:pt x="1574" y="12"/>
                </a:cubicBezTo>
                <a:cubicBezTo>
                  <a:pt x="1574" y="12"/>
                  <a:pt x="1573" y="12"/>
                  <a:pt x="1573" y="12"/>
                </a:cubicBezTo>
                <a:cubicBezTo>
                  <a:pt x="1573" y="12"/>
                  <a:pt x="1573" y="12"/>
                  <a:pt x="1573" y="12"/>
                </a:cubicBezTo>
                <a:cubicBezTo>
                  <a:pt x="1573" y="12"/>
                  <a:pt x="1573" y="11"/>
                  <a:pt x="1573" y="11"/>
                </a:cubicBezTo>
                <a:cubicBezTo>
                  <a:pt x="1573" y="11"/>
                  <a:pt x="1573" y="11"/>
                  <a:pt x="1573" y="11"/>
                </a:cubicBezTo>
                <a:cubicBezTo>
                  <a:pt x="1573" y="11"/>
                  <a:pt x="1572" y="11"/>
                  <a:pt x="1572" y="11"/>
                </a:cubicBezTo>
                <a:cubicBezTo>
                  <a:pt x="1572" y="11"/>
                  <a:pt x="1572" y="11"/>
                  <a:pt x="1572" y="11"/>
                </a:cubicBezTo>
                <a:cubicBezTo>
                  <a:pt x="1572" y="11"/>
                  <a:pt x="1572" y="11"/>
                  <a:pt x="1572" y="11"/>
                </a:cubicBezTo>
                <a:cubicBezTo>
                  <a:pt x="1572" y="11"/>
                  <a:pt x="1572" y="11"/>
                  <a:pt x="1572" y="11"/>
                </a:cubicBezTo>
                <a:cubicBezTo>
                  <a:pt x="1572" y="10"/>
                  <a:pt x="1571" y="10"/>
                  <a:pt x="1571" y="10"/>
                </a:cubicBezTo>
                <a:cubicBezTo>
                  <a:pt x="1571" y="10"/>
                  <a:pt x="1571" y="10"/>
                  <a:pt x="1571" y="10"/>
                </a:cubicBezTo>
                <a:cubicBezTo>
                  <a:pt x="1571" y="10"/>
                  <a:pt x="1570" y="10"/>
                  <a:pt x="1570" y="10"/>
                </a:cubicBezTo>
                <a:cubicBezTo>
                  <a:pt x="1570" y="10"/>
                  <a:pt x="1570" y="10"/>
                  <a:pt x="1570" y="10"/>
                </a:cubicBezTo>
                <a:cubicBezTo>
                  <a:pt x="1570" y="9"/>
                  <a:pt x="1570" y="9"/>
                  <a:pt x="1570" y="9"/>
                </a:cubicBezTo>
                <a:cubicBezTo>
                  <a:pt x="1570" y="9"/>
                  <a:pt x="1570" y="9"/>
                  <a:pt x="1570" y="9"/>
                </a:cubicBezTo>
                <a:cubicBezTo>
                  <a:pt x="1570" y="9"/>
                  <a:pt x="1569" y="9"/>
                  <a:pt x="1569" y="9"/>
                </a:cubicBezTo>
                <a:cubicBezTo>
                  <a:pt x="1569" y="9"/>
                  <a:pt x="1569" y="9"/>
                  <a:pt x="1569" y="9"/>
                </a:cubicBezTo>
                <a:cubicBezTo>
                  <a:pt x="1569" y="9"/>
                  <a:pt x="1569" y="9"/>
                  <a:pt x="1568" y="9"/>
                </a:cubicBezTo>
                <a:cubicBezTo>
                  <a:pt x="1568" y="9"/>
                  <a:pt x="1568" y="9"/>
                  <a:pt x="1568" y="9"/>
                </a:cubicBezTo>
                <a:cubicBezTo>
                  <a:pt x="1568" y="8"/>
                  <a:pt x="1568" y="8"/>
                  <a:pt x="1568" y="8"/>
                </a:cubicBezTo>
                <a:cubicBezTo>
                  <a:pt x="1568" y="8"/>
                  <a:pt x="1568" y="8"/>
                  <a:pt x="1568" y="8"/>
                </a:cubicBezTo>
                <a:cubicBezTo>
                  <a:pt x="1568" y="8"/>
                  <a:pt x="1567" y="8"/>
                  <a:pt x="1567" y="8"/>
                </a:cubicBezTo>
                <a:cubicBezTo>
                  <a:pt x="1567" y="8"/>
                  <a:pt x="1567" y="8"/>
                  <a:pt x="1567" y="8"/>
                </a:cubicBezTo>
                <a:cubicBezTo>
                  <a:pt x="1567" y="8"/>
                  <a:pt x="1566" y="8"/>
                  <a:pt x="1566" y="8"/>
                </a:cubicBezTo>
                <a:cubicBezTo>
                  <a:pt x="1566" y="8"/>
                  <a:pt x="1566" y="8"/>
                  <a:pt x="1566" y="7"/>
                </a:cubicBezTo>
                <a:cubicBezTo>
                  <a:pt x="1565" y="7"/>
                  <a:pt x="1565" y="7"/>
                  <a:pt x="1565" y="7"/>
                </a:cubicBezTo>
                <a:cubicBezTo>
                  <a:pt x="1565" y="7"/>
                  <a:pt x="1565" y="7"/>
                  <a:pt x="1565" y="7"/>
                </a:cubicBezTo>
                <a:cubicBezTo>
                  <a:pt x="1564" y="7"/>
                  <a:pt x="1564" y="7"/>
                  <a:pt x="1564" y="7"/>
                </a:cubicBezTo>
                <a:cubicBezTo>
                  <a:pt x="1564" y="7"/>
                  <a:pt x="1564" y="7"/>
                  <a:pt x="1564" y="7"/>
                </a:cubicBezTo>
                <a:cubicBezTo>
                  <a:pt x="1564" y="7"/>
                  <a:pt x="1564" y="7"/>
                  <a:pt x="1564" y="7"/>
                </a:cubicBezTo>
                <a:cubicBezTo>
                  <a:pt x="1563" y="7"/>
                  <a:pt x="1563" y="7"/>
                  <a:pt x="1562" y="7"/>
                </a:cubicBezTo>
                <a:cubicBezTo>
                  <a:pt x="1562" y="7"/>
                  <a:pt x="1562" y="7"/>
                  <a:pt x="1562" y="7"/>
                </a:cubicBezTo>
                <a:cubicBezTo>
                  <a:pt x="1562" y="6"/>
                  <a:pt x="1562" y="6"/>
                  <a:pt x="1562" y="6"/>
                </a:cubicBezTo>
                <a:cubicBezTo>
                  <a:pt x="1562" y="6"/>
                  <a:pt x="1561" y="7"/>
                  <a:pt x="1560" y="6"/>
                </a:cubicBezTo>
                <a:cubicBezTo>
                  <a:pt x="1560" y="6"/>
                  <a:pt x="1560" y="6"/>
                  <a:pt x="1560" y="6"/>
                </a:cubicBezTo>
                <a:cubicBezTo>
                  <a:pt x="1559" y="6"/>
                  <a:pt x="1558" y="6"/>
                  <a:pt x="1558" y="6"/>
                </a:cubicBezTo>
                <a:cubicBezTo>
                  <a:pt x="1557" y="6"/>
                  <a:pt x="1556" y="6"/>
                  <a:pt x="1556" y="6"/>
                </a:cubicBezTo>
                <a:cubicBezTo>
                  <a:pt x="1555" y="6"/>
                  <a:pt x="1554" y="6"/>
                  <a:pt x="1554" y="6"/>
                </a:cubicBezTo>
                <a:cubicBezTo>
                  <a:pt x="1553" y="6"/>
                  <a:pt x="1552" y="6"/>
                  <a:pt x="1551" y="6"/>
                </a:cubicBezTo>
                <a:cubicBezTo>
                  <a:pt x="1550" y="6"/>
                  <a:pt x="1549" y="6"/>
                  <a:pt x="1549" y="6"/>
                </a:cubicBezTo>
                <a:cubicBezTo>
                  <a:pt x="1548" y="6"/>
                  <a:pt x="1548" y="6"/>
                  <a:pt x="1548" y="6"/>
                </a:cubicBezTo>
                <a:cubicBezTo>
                  <a:pt x="1547" y="7"/>
                  <a:pt x="1547" y="6"/>
                  <a:pt x="1546" y="6"/>
                </a:cubicBezTo>
                <a:cubicBezTo>
                  <a:pt x="1546" y="7"/>
                  <a:pt x="1546" y="7"/>
                  <a:pt x="1546" y="7"/>
                </a:cubicBezTo>
                <a:cubicBezTo>
                  <a:pt x="1546" y="7"/>
                  <a:pt x="1546" y="7"/>
                  <a:pt x="1546" y="7"/>
                </a:cubicBezTo>
                <a:cubicBezTo>
                  <a:pt x="1546" y="7"/>
                  <a:pt x="1545" y="7"/>
                  <a:pt x="1545" y="7"/>
                </a:cubicBezTo>
                <a:cubicBezTo>
                  <a:pt x="1545" y="7"/>
                  <a:pt x="1545" y="7"/>
                  <a:pt x="1545" y="7"/>
                </a:cubicBezTo>
                <a:cubicBezTo>
                  <a:pt x="1544" y="7"/>
                  <a:pt x="1544" y="7"/>
                  <a:pt x="1543" y="7"/>
                </a:cubicBezTo>
                <a:cubicBezTo>
                  <a:pt x="1543" y="7"/>
                  <a:pt x="1543" y="7"/>
                  <a:pt x="1543" y="7"/>
                </a:cubicBezTo>
                <a:cubicBezTo>
                  <a:pt x="1543" y="7"/>
                  <a:pt x="1543" y="7"/>
                  <a:pt x="1543" y="7"/>
                </a:cubicBezTo>
                <a:cubicBezTo>
                  <a:pt x="1543" y="7"/>
                  <a:pt x="1543" y="7"/>
                  <a:pt x="1542" y="8"/>
                </a:cubicBezTo>
                <a:cubicBezTo>
                  <a:pt x="1542" y="8"/>
                  <a:pt x="1542" y="8"/>
                  <a:pt x="1542" y="8"/>
                </a:cubicBezTo>
                <a:cubicBezTo>
                  <a:pt x="1542" y="8"/>
                  <a:pt x="1542" y="8"/>
                  <a:pt x="1542" y="8"/>
                </a:cubicBezTo>
                <a:cubicBezTo>
                  <a:pt x="1542" y="8"/>
                  <a:pt x="1542" y="8"/>
                  <a:pt x="1541" y="8"/>
                </a:cubicBezTo>
                <a:cubicBezTo>
                  <a:pt x="1541" y="8"/>
                  <a:pt x="1541" y="8"/>
                  <a:pt x="1541" y="8"/>
                </a:cubicBezTo>
                <a:cubicBezTo>
                  <a:pt x="1541" y="8"/>
                  <a:pt x="1541" y="8"/>
                  <a:pt x="1541" y="8"/>
                </a:cubicBezTo>
                <a:cubicBezTo>
                  <a:pt x="1541" y="8"/>
                  <a:pt x="1541" y="8"/>
                  <a:pt x="1541" y="8"/>
                </a:cubicBezTo>
                <a:cubicBezTo>
                  <a:pt x="1540" y="8"/>
                  <a:pt x="1540" y="8"/>
                  <a:pt x="1540" y="8"/>
                </a:cubicBezTo>
                <a:cubicBezTo>
                  <a:pt x="1540" y="8"/>
                  <a:pt x="1540" y="8"/>
                  <a:pt x="1540" y="9"/>
                </a:cubicBezTo>
                <a:cubicBezTo>
                  <a:pt x="1540" y="9"/>
                  <a:pt x="1540" y="9"/>
                  <a:pt x="1540" y="9"/>
                </a:cubicBezTo>
                <a:cubicBezTo>
                  <a:pt x="1539" y="9"/>
                  <a:pt x="1539" y="9"/>
                  <a:pt x="1539" y="9"/>
                </a:cubicBezTo>
                <a:cubicBezTo>
                  <a:pt x="1539" y="9"/>
                  <a:pt x="1539" y="9"/>
                  <a:pt x="1539" y="9"/>
                </a:cubicBezTo>
                <a:cubicBezTo>
                  <a:pt x="1539" y="9"/>
                  <a:pt x="1538" y="9"/>
                  <a:pt x="1538" y="9"/>
                </a:cubicBezTo>
                <a:cubicBezTo>
                  <a:pt x="1538" y="9"/>
                  <a:pt x="1538" y="9"/>
                  <a:pt x="1538" y="9"/>
                </a:cubicBezTo>
                <a:cubicBezTo>
                  <a:pt x="1538" y="9"/>
                  <a:pt x="1538" y="9"/>
                  <a:pt x="1538" y="10"/>
                </a:cubicBezTo>
                <a:cubicBezTo>
                  <a:pt x="1538" y="10"/>
                  <a:pt x="1538" y="10"/>
                  <a:pt x="1538" y="10"/>
                </a:cubicBezTo>
                <a:cubicBezTo>
                  <a:pt x="1537" y="10"/>
                  <a:pt x="1537" y="10"/>
                  <a:pt x="1537" y="10"/>
                </a:cubicBezTo>
                <a:cubicBezTo>
                  <a:pt x="1537" y="10"/>
                  <a:pt x="1537" y="10"/>
                  <a:pt x="1537" y="10"/>
                </a:cubicBezTo>
                <a:cubicBezTo>
                  <a:pt x="1537" y="10"/>
                  <a:pt x="1537" y="10"/>
                  <a:pt x="1536" y="10"/>
                </a:cubicBezTo>
                <a:cubicBezTo>
                  <a:pt x="1536" y="10"/>
                  <a:pt x="1536" y="10"/>
                  <a:pt x="1536" y="10"/>
                </a:cubicBezTo>
                <a:cubicBezTo>
                  <a:pt x="1536" y="11"/>
                  <a:pt x="1536" y="10"/>
                  <a:pt x="1536" y="11"/>
                </a:cubicBezTo>
                <a:cubicBezTo>
                  <a:pt x="1536" y="11"/>
                  <a:pt x="1536" y="11"/>
                  <a:pt x="1536" y="11"/>
                </a:cubicBezTo>
                <a:cubicBezTo>
                  <a:pt x="1536" y="11"/>
                  <a:pt x="1536" y="11"/>
                  <a:pt x="1535" y="11"/>
                </a:cubicBezTo>
                <a:cubicBezTo>
                  <a:pt x="1535" y="11"/>
                  <a:pt x="1535" y="11"/>
                  <a:pt x="1535" y="11"/>
                </a:cubicBezTo>
                <a:cubicBezTo>
                  <a:pt x="1535" y="11"/>
                  <a:pt x="1535" y="11"/>
                  <a:pt x="1535" y="11"/>
                </a:cubicBezTo>
                <a:cubicBezTo>
                  <a:pt x="1535" y="11"/>
                  <a:pt x="1535" y="11"/>
                  <a:pt x="1535" y="11"/>
                </a:cubicBezTo>
                <a:cubicBezTo>
                  <a:pt x="1535" y="11"/>
                  <a:pt x="1534" y="12"/>
                  <a:pt x="1534" y="12"/>
                </a:cubicBezTo>
                <a:cubicBezTo>
                  <a:pt x="1534" y="12"/>
                  <a:pt x="1534" y="12"/>
                  <a:pt x="1534" y="12"/>
                </a:cubicBezTo>
                <a:cubicBezTo>
                  <a:pt x="1534" y="12"/>
                  <a:pt x="1534" y="12"/>
                  <a:pt x="1534" y="12"/>
                </a:cubicBezTo>
                <a:cubicBezTo>
                  <a:pt x="1534" y="12"/>
                  <a:pt x="1534" y="12"/>
                  <a:pt x="1534" y="12"/>
                </a:cubicBezTo>
                <a:cubicBezTo>
                  <a:pt x="1534" y="12"/>
                  <a:pt x="1533" y="12"/>
                  <a:pt x="1533" y="13"/>
                </a:cubicBezTo>
                <a:cubicBezTo>
                  <a:pt x="1533" y="12"/>
                  <a:pt x="1533" y="12"/>
                  <a:pt x="1533" y="12"/>
                </a:cubicBezTo>
                <a:cubicBezTo>
                  <a:pt x="1533" y="12"/>
                  <a:pt x="1533" y="13"/>
                  <a:pt x="1533" y="13"/>
                </a:cubicBezTo>
                <a:cubicBezTo>
                  <a:pt x="1533" y="13"/>
                  <a:pt x="1533" y="13"/>
                  <a:pt x="1533" y="13"/>
                </a:cubicBezTo>
                <a:cubicBezTo>
                  <a:pt x="1533" y="13"/>
                  <a:pt x="1533" y="13"/>
                  <a:pt x="1533" y="13"/>
                </a:cubicBezTo>
                <a:cubicBezTo>
                  <a:pt x="1533" y="13"/>
                  <a:pt x="1533" y="13"/>
                  <a:pt x="1533" y="13"/>
                </a:cubicBezTo>
                <a:cubicBezTo>
                  <a:pt x="1533" y="13"/>
                  <a:pt x="1532" y="13"/>
                  <a:pt x="1532" y="13"/>
                </a:cubicBezTo>
                <a:cubicBezTo>
                  <a:pt x="1532" y="13"/>
                  <a:pt x="1532" y="13"/>
                  <a:pt x="1532" y="13"/>
                </a:cubicBezTo>
                <a:cubicBezTo>
                  <a:pt x="1532" y="14"/>
                  <a:pt x="1531" y="14"/>
                  <a:pt x="1531" y="15"/>
                </a:cubicBezTo>
                <a:cubicBezTo>
                  <a:pt x="1531" y="15"/>
                  <a:pt x="1531" y="15"/>
                  <a:pt x="1531" y="15"/>
                </a:cubicBezTo>
                <a:cubicBezTo>
                  <a:pt x="1531" y="15"/>
                  <a:pt x="1531" y="15"/>
                  <a:pt x="1531" y="15"/>
                </a:cubicBezTo>
                <a:cubicBezTo>
                  <a:pt x="1531" y="19"/>
                  <a:pt x="1531" y="22"/>
                  <a:pt x="1531" y="26"/>
                </a:cubicBezTo>
                <a:cubicBezTo>
                  <a:pt x="1531" y="26"/>
                  <a:pt x="1531" y="26"/>
                  <a:pt x="1531" y="26"/>
                </a:cubicBezTo>
                <a:cubicBezTo>
                  <a:pt x="1531" y="26"/>
                  <a:pt x="1531" y="26"/>
                  <a:pt x="1531" y="26"/>
                </a:cubicBezTo>
                <a:cubicBezTo>
                  <a:pt x="1531" y="26"/>
                  <a:pt x="1531" y="26"/>
                  <a:pt x="1532" y="26"/>
                </a:cubicBezTo>
                <a:cubicBezTo>
                  <a:pt x="1531" y="26"/>
                  <a:pt x="1531" y="26"/>
                  <a:pt x="1531" y="26"/>
                </a:cubicBezTo>
                <a:cubicBezTo>
                  <a:pt x="1532" y="26"/>
                  <a:pt x="1532" y="26"/>
                  <a:pt x="1532" y="26"/>
                </a:cubicBezTo>
                <a:cubicBezTo>
                  <a:pt x="1532" y="26"/>
                  <a:pt x="1532" y="26"/>
                  <a:pt x="1532" y="26"/>
                </a:cubicBezTo>
                <a:cubicBezTo>
                  <a:pt x="1532" y="26"/>
                  <a:pt x="1532" y="25"/>
                  <a:pt x="1532" y="25"/>
                </a:cubicBezTo>
                <a:cubicBezTo>
                  <a:pt x="1532" y="25"/>
                  <a:pt x="1532" y="25"/>
                  <a:pt x="1532" y="25"/>
                </a:cubicBezTo>
                <a:cubicBezTo>
                  <a:pt x="1532" y="25"/>
                  <a:pt x="1533" y="25"/>
                  <a:pt x="1533" y="25"/>
                </a:cubicBezTo>
                <a:cubicBezTo>
                  <a:pt x="1533" y="25"/>
                  <a:pt x="1533" y="25"/>
                  <a:pt x="1533" y="25"/>
                </a:cubicBezTo>
                <a:cubicBezTo>
                  <a:pt x="1533" y="25"/>
                  <a:pt x="1533" y="25"/>
                  <a:pt x="1533" y="24"/>
                </a:cubicBezTo>
                <a:cubicBezTo>
                  <a:pt x="1533" y="25"/>
                  <a:pt x="1533" y="25"/>
                  <a:pt x="1533" y="25"/>
                </a:cubicBezTo>
                <a:cubicBezTo>
                  <a:pt x="1533" y="24"/>
                  <a:pt x="1533" y="24"/>
                  <a:pt x="1533" y="24"/>
                </a:cubicBezTo>
                <a:cubicBezTo>
                  <a:pt x="1533" y="24"/>
                  <a:pt x="1533" y="24"/>
                  <a:pt x="1533" y="24"/>
                </a:cubicBezTo>
                <a:cubicBezTo>
                  <a:pt x="1533" y="24"/>
                  <a:pt x="1534" y="24"/>
                  <a:pt x="1534" y="24"/>
                </a:cubicBezTo>
                <a:cubicBezTo>
                  <a:pt x="1534" y="24"/>
                  <a:pt x="1534" y="24"/>
                  <a:pt x="1534" y="24"/>
                </a:cubicBezTo>
                <a:cubicBezTo>
                  <a:pt x="1534" y="24"/>
                  <a:pt x="1534" y="24"/>
                  <a:pt x="1534" y="23"/>
                </a:cubicBezTo>
                <a:cubicBezTo>
                  <a:pt x="1534" y="24"/>
                  <a:pt x="1534" y="24"/>
                  <a:pt x="1534" y="24"/>
                </a:cubicBezTo>
                <a:cubicBezTo>
                  <a:pt x="1534" y="23"/>
                  <a:pt x="1534" y="23"/>
                  <a:pt x="1534" y="23"/>
                </a:cubicBezTo>
                <a:cubicBezTo>
                  <a:pt x="1534" y="23"/>
                  <a:pt x="1534" y="23"/>
                  <a:pt x="1534" y="23"/>
                </a:cubicBezTo>
                <a:cubicBezTo>
                  <a:pt x="1534" y="23"/>
                  <a:pt x="1535" y="23"/>
                  <a:pt x="1535" y="23"/>
                </a:cubicBezTo>
                <a:cubicBezTo>
                  <a:pt x="1535" y="23"/>
                  <a:pt x="1535" y="23"/>
                  <a:pt x="1535" y="23"/>
                </a:cubicBezTo>
                <a:cubicBezTo>
                  <a:pt x="1535" y="23"/>
                  <a:pt x="1535" y="23"/>
                  <a:pt x="1535" y="23"/>
                </a:cubicBezTo>
                <a:cubicBezTo>
                  <a:pt x="1535" y="23"/>
                  <a:pt x="1535" y="23"/>
                  <a:pt x="1535" y="23"/>
                </a:cubicBezTo>
                <a:cubicBezTo>
                  <a:pt x="1535" y="22"/>
                  <a:pt x="1536" y="22"/>
                  <a:pt x="1536" y="22"/>
                </a:cubicBezTo>
                <a:cubicBezTo>
                  <a:pt x="1536" y="22"/>
                  <a:pt x="1536" y="22"/>
                  <a:pt x="1536" y="22"/>
                </a:cubicBezTo>
                <a:cubicBezTo>
                  <a:pt x="1536" y="22"/>
                  <a:pt x="1536" y="22"/>
                  <a:pt x="1536" y="22"/>
                </a:cubicBezTo>
                <a:cubicBezTo>
                  <a:pt x="1536" y="22"/>
                  <a:pt x="1536" y="22"/>
                  <a:pt x="1536" y="22"/>
                </a:cubicBezTo>
                <a:cubicBezTo>
                  <a:pt x="1536" y="22"/>
                  <a:pt x="1536" y="22"/>
                  <a:pt x="1536" y="21"/>
                </a:cubicBezTo>
                <a:cubicBezTo>
                  <a:pt x="1536" y="21"/>
                  <a:pt x="1536" y="21"/>
                  <a:pt x="1536" y="21"/>
                </a:cubicBezTo>
                <a:cubicBezTo>
                  <a:pt x="1537" y="21"/>
                  <a:pt x="1537" y="21"/>
                  <a:pt x="1537" y="21"/>
                </a:cubicBezTo>
                <a:cubicBezTo>
                  <a:pt x="1537" y="21"/>
                  <a:pt x="1537" y="21"/>
                  <a:pt x="1537" y="21"/>
                </a:cubicBezTo>
                <a:cubicBezTo>
                  <a:pt x="1538" y="21"/>
                  <a:pt x="1538" y="21"/>
                  <a:pt x="1538" y="20"/>
                </a:cubicBezTo>
                <a:cubicBezTo>
                  <a:pt x="1538" y="20"/>
                  <a:pt x="1538" y="20"/>
                  <a:pt x="1538" y="20"/>
                </a:cubicBezTo>
                <a:cubicBezTo>
                  <a:pt x="1538" y="20"/>
                  <a:pt x="1538" y="20"/>
                  <a:pt x="1539" y="20"/>
                </a:cubicBezTo>
                <a:cubicBezTo>
                  <a:pt x="1538" y="20"/>
                  <a:pt x="1538" y="20"/>
                  <a:pt x="1538" y="20"/>
                </a:cubicBezTo>
                <a:cubicBezTo>
                  <a:pt x="1539" y="20"/>
                  <a:pt x="1539" y="20"/>
                  <a:pt x="1539" y="20"/>
                </a:cubicBezTo>
                <a:cubicBezTo>
                  <a:pt x="1539" y="20"/>
                  <a:pt x="1539" y="20"/>
                  <a:pt x="1539" y="20"/>
                </a:cubicBezTo>
                <a:cubicBezTo>
                  <a:pt x="1539" y="19"/>
                  <a:pt x="1539" y="20"/>
                  <a:pt x="1540" y="19"/>
                </a:cubicBezTo>
                <a:cubicBezTo>
                  <a:pt x="1540" y="19"/>
                  <a:pt x="1540" y="19"/>
                  <a:pt x="1540" y="19"/>
                </a:cubicBezTo>
                <a:cubicBezTo>
                  <a:pt x="1540" y="19"/>
                  <a:pt x="1540" y="19"/>
                  <a:pt x="1540" y="19"/>
                </a:cubicBezTo>
                <a:cubicBezTo>
                  <a:pt x="1540" y="19"/>
                  <a:pt x="1540" y="19"/>
                  <a:pt x="1540" y="19"/>
                </a:cubicBezTo>
                <a:cubicBezTo>
                  <a:pt x="1540" y="19"/>
                  <a:pt x="1540" y="19"/>
                  <a:pt x="1541" y="19"/>
                </a:cubicBezTo>
                <a:cubicBezTo>
                  <a:pt x="1541" y="19"/>
                  <a:pt x="1541" y="19"/>
                  <a:pt x="1541" y="19"/>
                </a:cubicBezTo>
                <a:cubicBezTo>
                  <a:pt x="1541" y="18"/>
                  <a:pt x="1541" y="19"/>
                  <a:pt x="1541" y="18"/>
                </a:cubicBezTo>
                <a:cubicBezTo>
                  <a:pt x="1541" y="18"/>
                  <a:pt x="1541" y="18"/>
                  <a:pt x="1541" y="18"/>
                </a:cubicBezTo>
                <a:cubicBezTo>
                  <a:pt x="1542" y="18"/>
                  <a:pt x="1542" y="18"/>
                  <a:pt x="1542" y="18"/>
                </a:cubicBezTo>
                <a:cubicBezTo>
                  <a:pt x="1542" y="18"/>
                  <a:pt x="1542" y="18"/>
                  <a:pt x="1542" y="18"/>
                </a:cubicBezTo>
                <a:cubicBezTo>
                  <a:pt x="1542" y="18"/>
                  <a:pt x="1543" y="18"/>
                  <a:pt x="1543" y="18"/>
                </a:cubicBezTo>
                <a:cubicBezTo>
                  <a:pt x="1543" y="18"/>
                  <a:pt x="1543" y="18"/>
                  <a:pt x="1543" y="18"/>
                </a:cubicBezTo>
                <a:cubicBezTo>
                  <a:pt x="1543" y="17"/>
                  <a:pt x="1543" y="17"/>
                  <a:pt x="1543" y="17"/>
                </a:cubicBezTo>
                <a:cubicBezTo>
                  <a:pt x="1543" y="17"/>
                  <a:pt x="1543" y="17"/>
                  <a:pt x="1543" y="17"/>
                </a:cubicBezTo>
                <a:cubicBezTo>
                  <a:pt x="1544" y="17"/>
                  <a:pt x="1544" y="17"/>
                  <a:pt x="1544" y="17"/>
                </a:cubicBezTo>
                <a:cubicBezTo>
                  <a:pt x="1544" y="17"/>
                  <a:pt x="1544" y="17"/>
                  <a:pt x="1544" y="17"/>
                </a:cubicBezTo>
                <a:cubicBezTo>
                  <a:pt x="1544" y="17"/>
                  <a:pt x="1544" y="17"/>
                  <a:pt x="1544" y="17"/>
                </a:cubicBezTo>
                <a:cubicBezTo>
                  <a:pt x="1545" y="17"/>
                  <a:pt x="1545" y="17"/>
                  <a:pt x="1545" y="17"/>
                </a:cubicBezTo>
                <a:cubicBezTo>
                  <a:pt x="1545" y="17"/>
                  <a:pt x="1545" y="17"/>
                  <a:pt x="1545" y="17"/>
                </a:cubicBezTo>
                <a:cubicBezTo>
                  <a:pt x="1545" y="17"/>
                  <a:pt x="1545" y="17"/>
                  <a:pt x="1545" y="17"/>
                </a:cubicBezTo>
                <a:cubicBezTo>
                  <a:pt x="1546" y="16"/>
                  <a:pt x="1546" y="16"/>
                  <a:pt x="1546" y="16"/>
                </a:cubicBezTo>
                <a:cubicBezTo>
                  <a:pt x="1546" y="16"/>
                  <a:pt x="1546" y="16"/>
                  <a:pt x="1546" y="16"/>
                </a:cubicBezTo>
                <a:cubicBezTo>
                  <a:pt x="1546" y="16"/>
                  <a:pt x="1546" y="16"/>
                  <a:pt x="1546" y="16"/>
                </a:cubicBezTo>
                <a:cubicBezTo>
                  <a:pt x="1547" y="16"/>
                  <a:pt x="1547" y="16"/>
                  <a:pt x="1548" y="16"/>
                </a:cubicBezTo>
                <a:cubicBezTo>
                  <a:pt x="1548" y="16"/>
                  <a:pt x="1548" y="16"/>
                  <a:pt x="1548" y="16"/>
                </a:cubicBezTo>
                <a:cubicBezTo>
                  <a:pt x="1548" y="16"/>
                  <a:pt x="1549" y="16"/>
                  <a:pt x="1549" y="16"/>
                </a:cubicBezTo>
                <a:cubicBezTo>
                  <a:pt x="1549" y="15"/>
                  <a:pt x="1549" y="15"/>
                  <a:pt x="1549" y="15"/>
                </a:cubicBezTo>
                <a:cubicBezTo>
                  <a:pt x="1549" y="15"/>
                  <a:pt x="1549" y="15"/>
                  <a:pt x="1549" y="15"/>
                </a:cubicBezTo>
                <a:cubicBezTo>
                  <a:pt x="1550" y="15"/>
                  <a:pt x="1550" y="16"/>
                  <a:pt x="1551" y="15"/>
                </a:cubicBezTo>
                <a:cubicBezTo>
                  <a:pt x="1551" y="15"/>
                  <a:pt x="1552" y="15"/>
                  <a:pt x="1552" y="15"/>
                </a:cubicBezTo>
                <a:cubicBezTo>
                  <a:pt x="1553" y="15"/>
                  <a:pt x="1554" y="15"/>
                  <a:pt x="1555" y="15"/>
                </a:cubicBezTo>
                <a:cubicBezTo>
                  <a:pt x="1555" y="15"/>
                  <a:pt x="1555" y="15"/>
                  <a:pt x="1556" y="15"/>
                </a:cubicBezTo>
                <a:cubicBezTo>
                  <a:pt x="1556" y="16"/>
                  <a:pt x="1557" y="15"/>
                  <a:pt x="1558" y="16"/>
                </a:cubicBezTo>
                <a:cubicBezTo>
                  <a:pt x="1558" y="15"/>
                  <a:pt x="1558" y="15"/>
                  <a:pt x="1558" y="15"/>
                </a:cubicBezTo>
                <a:cubicBezTo>
                  <a:pt x="1558" y="16"/>
                  <a:pt x="1558" y="16"/>
                  <a:pt x="1558" y="16"/>
                </a:cubicBezTo>
                <a:cubicBezTo>
                  <a:pt x="1558" y="16"/>
                  <a:pt x="1559" y="16"/>
                  <a:pt x="1559" y="16"/>
                </a:cubicBezTo>
                <a:cubicBezTo>
                  <a:pt x="1559" y="16"/>
                  <a:pt x="1559" y="16"/>
                  <a:pt x="1559" y="16"/>
                </a:cubicBezTo>
                <a:cubicBezTo>
                  <a:pt x="1559" y="16"/>
                  <a:pt x="1559" y="16"/>
                  <a:pt x="1559" y="16"/>
                </a:cubicBezTo>
                <a:cubicBezTo>
                  <a:pt x="1560" y="16"/>
                  <a:pt x="1560" y="16"/>
                  <a:pt x="1560" y="16"/>
                </a:cubicBezTo>
                <a:cubicBezTo>
                  <a:pt x="1560" y="16"/>
                  <a:pt x="1560" y="16"/>
                  <a:pt x="1560" y="16"/>
                </a:cubicBezTo>
                <a:cubicBezTo>
                  <a:pt x="1560" y="16"/>
                  <a:pt x="1560" y="16"/>
                  <a:pt x="1560" y="16"/>
                </a:cubicBezTo>
                <a:cubicBezTo>
                  <a:pt x="1561" y="16"/>
                  <a:pt x="1561" y="16"/>
                  <a:pt x="1561" y="17"/>
                </a:cubicBezTo>
                <a:cubicBezTo>
                  <a:pt x="1561" y="17"/>
                  <a:pt x="1561" y="17"/>
                  <a:pt x="1561" y="17"/>
                </a:cubicBezTo>
                <a:cubicBezTo>
                  <a:pt x="1561" y="17"/>
                  <a:pt x="1562" y="17"/>
                  <a:pt x="1562" y="17"/>
                </a:cubicBezTo>
                <a:cubicBezTo>
                  <a:pt x="1562" y="17"/>
                  <a:pt x="1562" y="17"/>
                  <a:pt x="1562" y="17"/>
                </a:cubicBezTo>
                <a:cubicBezTo>
                  <a:pt x="1562" y="17"/>
                  <a:pt x="1562" y="17"/>
                  <a:pt x="1563" y="17"/>
                </a:cubicBezTo>
                <a:cubicBezTo>
                  <a:pt x="1563" y="17"/>
                  <a:pt x="1563" y="17"/>
                  <a:pt x="1563" y="17"/>
                </a:cubicBezTo>
                <a:cubicBezTo>
                  <a:pt x="1563" y="17"/>
                  <a:pt x="1563" y="17"/>
                  <a:pt x="1563" y="18"/>
                </a:cubicBezTo>
                <a:cubicBezTo>
                  <a:pt x="1563" y="18"/>
                  <a:pt x="1563" y="18"/>
                  <a:pt x="1563" y="18"/>
                </a:cubicBezTo>
                <a:cubicBezTo>
                  <a:pt x="1563" y="18"/>
                  <a:pt x="1563" y="18"/>
                  <a:pt x="1564" y="18"/>
                </a:cubicBezTo>
                <a:cubicBezTo>
                  <a:pt x="1564" y="18"/>
                  <a:pt x="1564" y="18"/>
                  <a:pt x="1564" y="18"/>
                </a:cubicBezTo>
                <a:cubicBezTo>
                  <a:pt x="1564" y="18"/>
                  <a:pt x="1564" y="18"/>
                  <a:pt x="1564" y="18"/>
                </a:cubicBezTo>
                <a:cubicBezTo>
                  <a:pt x="1564" y="18"/>
                  <a:pt x="1564" y="18"/>
                  <a:pt x="1564" y="18"/>
                </a:cubicBezTo>
                <a:cubicBezTo>
                  <a:pt x="1564" y="18"/>
                  <a:pt x="1565" y="19"/>
                  <a:pt x="1565" y="19"/>
                </a:cubicBezTo>
                <a:cubicBezTo>
                  <a:pt x="1565" y="19"/>
                  <a:pt x="1565" y="19"/>
                  <a:pt x="1565" y="19"/>
                </a:cubicBezTo>
                <a:cubicBezTo>
                  <a:pt x="1565" y="19"/>
                  <a:pt x="1565" y="19"/>
                  <a:pt x="1565" y="19"/>
                </a:cubicBezTo>
                <a:cubicBezTo>
                  <a:pt x="1565" y="19"/>
                  <a:pt x="1565" y="19"/>
                  <a:pt x="1565" y="19"/>
                </a:cubicBezTo>
                <a:cubicBezTo>
                  <a:pt x="1566" y="20"/>
                  <a:pt x="1566" y="20"/>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8" y="22"/>
                  <a:pt x="1568" y="22"/>
                  <a:pt x="1568" y="22"/>
                </a:cubicBezTo>
                <a:cubicBezTo>
                  <a:pt x="1568" y="22"/>
                  <a:pt x="1568" y="22"/>
                  <a:pt x="1568" y="22"/>
                </a:cubicBezTo>
                <a:cubicBezTo>
                  <a:pt x="1568" y="22"/>
                  <a:pt x="1568" y="22"/>
                  <a:pt x="1568" y="23"/>
                </a:cubicBezTo>
                <a:cubicBezTo>
                  <a:pt x="1568" y="23"/>
                  <a:pt x="1568" y="23"/>
                  <a:pt x="1568" y="23"/>
                </a:cubicBezTo>
                <a:cubicBezTo>
                  <a:pt x="1568" y="23"/>
                  <a:pt x="1568" y="23"/>
                  <a:pt x="1568" y="23"/>
                </a:cubicBezTo>
                <a:cubicBezTo>
                  <a:pt x="1568" y="23"/>
                  <a:pt x="1568" y="23"/>
                  <a:pt x="1568" y="23"/>
                </a:cubicBezTo>
                <a:cubicBezTo>
                  <a:pt x="1569" y="23"/>
                  <a:pt x="1569" y="24"/>
                  <a:pt x="1569" y="24"/>
                </a:cubicBezTo>
                <a:cubicBezTo>
                  <a:pt x="1569" y="24"/>
                  <a:pt x="1569" y="24"/>
                  <a:pt x="1569" y="24"/>
                </a:cubicBezTo>
                <a:cubicBezTo>
                  <a:pt x="1569" y="24"/>
                  <a:pt x="1569" y="24"/>
                  <a:pt x="1569" y="25"/>
                </a:cubicBezTo>
                <a:cubicBezTo>
                  <a:pt x="1569" y="25"/>
                  <a:pt x="1569" y="25"/>
                  <a:pt x="1569" y="25"/>
                </a:cubicBezTo>
                <a:cubicBezTo>
                  <a:pt x="1569" y="25"/>
                  <a:pt x="1569" y="25"/>
                  <a:pt x="1569" y="25"/>
                </a:cubicBezTo>
                <a:cubicBezTo>
                  <a:pt x="1569" y="25"/>
                  <a:pt x="1569" y="25"/>
                  <a:pt x="1570" y="26"/>
                </a:cubicBezTo>
                <a:cubicBezTo>
                  <a:pt x="1570" y="26"/>
                  <a:pt x="1570" y="26"/>
                  <a:pt x="1570" y="26"/>
                </a:cubicBezTo>
                <a:cubicBezTo>
                  <a:pt x="1570" y="26"/>
                  <a:pt x="1570" y="26"/>
                  <a:pt x="1570" y="27"/>
                </a:cubicBezTo>
                <a:cubicBezTo>
                  <a:pt x="1570" y="27"/>
                  <a:pt x="1570" y="27"/>
                  <a:pt x="1570" y="27"/>
                </a:cubicBezTo>
                <a:cubicBezTo>
                  <a:pt x="1570" y="27"/>
                  <a:pt x="1570" y="28"/>
                  <a:pt x="1570" y="28"/>
                </a:cubicBezTo>
                <a:cubicBezTo>
                  <a:pt x="1570" y="28"/>
                  <a:pt x="1570" y="29"/>
                  <a:pt x="1570" y="29"/>
                </a:cubicBezTo>
                <a:cubicBezTo>
                  <a:pt x="1570" y="31"/>
                  <a:pt x="1570" y="33"/>
                  <a:pt x="1570" y="36"/>
                </a:cubicBezTo>
                <a:cubicBezTo>
                  <a:pt x="1570" y="36"/>
                  <a:pt x="1570" y="36"/>
                  <a:pt x="1570" y="36"/>
                </a:cubicBezTo>
                <a:cubicBezTo>
                  <a:pt x="1570" y="37"/>
                  <a:pt x="1570" y="37"/>
                  <a:pt x="1570" y="38"/>
                </a:cubicBezTo>
                <a:cubicBezTo>
                  <a:pt x="1570" y="38"/>
                  <a:pt x="1570" y="38"/>
                  <a:pt x="1570" y="38"/>
                </a:cubicBezTo>
                <a:cubicBezTo>
                  <a:pt x="1570" y="39"/>
                  <a:pt x="1570" y="39"/>
                  <a:pt x="1570" y="39"/>
                </a:cubicBezTo>
                <a:cubicBezTo>
                  <a:pt x="1570" y="39"/>
                  <a:pt x="1570" y="39"/>
                  <a:pt x="1570" y="39"/>
                </a:cubicBezTo>
                <a:cubicBezTo>
                  <a:pt x="1570" y="40"/>
                  <a:pt x="1570" y="40"/>
                  <a:pt x="1570" y="40"/>
                </a:cubicBezTo>
                <a:cubicBezTo>
                  <a:pt x="1569" y="40"/>
                  <a:pt x="1569" y="40"/>
                  <a:pt x="1569" y="41"/>
                </a:cubicBezTo>
                <a:cubicBezTo>
                  <a:pt x="1569" y="41"/>
                  <a:pt x="1569" y="41"/>
                  <a:pt x="1569" y="41"/>
                </a:cubicBezTo>
                <a:cubicBezTo>
                  <a:pt x="1569" y="41"/>
                  <a:pt x="1569" y="41"/>
                  <a:pt x="1569" y="42"/>
                </a:cubicBezTo>
                <a:cubicBezTo>
                  <a:pt x="1569" y="42"/>
                  <a:pt x="1569" y="42"/>
                  <a:pt x="1569" y="42"/>
                </a:cubicBezTo>
                <a:cubicBezTo>
                  <a:pt x="1569" y="42"/>
                  <a:pt x="1569" y="42"/>
                  <a:pt x="1569" y="42"/>
                </a:cubicBezTo>
                <a:cubicBezTo>
                  <a:pt x="1569" y="43"/>
                  <a:pt x="1569" y="43"/>
                  <a:pt x="1568" y="43"/>
                </a:cubicBezTo>
                <a:cubicBezTo>
                  <a:pt x="1568" y="43"/>
                  <a:pt x="1568" y="43"/>
                  <a:pt x="1568" y="43"/>
                </a:cubicBezTo>
                <a:cubicBezTo>
                  <a:pt x="1568" y="43"/>
                  <a:pt x="1568" y="43"/>
                  <a:pt x="1568" y="43"/>
                </a:cubicBezTo>
                <a:cubicBezTo>
                  <a:pt x="1568" y="44"/>
                  <a:pt x="1568" y="44"/>
                  <a:pt x="1568" y="44"/>
                </a:cubicBezTo>
                <a:cubicBezTo>
                  <a:pt x="1568" y="44"/>
                  <a:pt x="1568" y="44"/>
                  <a:pt x="1568" y="44"/>
                </a:cubicBezTo>
                <a:cubicBezTo>
                  <a:pt x="1568" y="44"/>
                  <a:pt x="1568" y="45"/>
                  <a:pt x="1567" y="45"/>
                </a:cubicBezTo>
                <a:cubicBezTo>
                  <a:pt x="1567" y="45"/>
                  <a:pt x="1567" y="45"/>
                  <a:pt x="1567" y="45"/>
                </a:cubicBezTo>
                <a:cubicBezTo>
                  <a:pt x="1567" y="45"/>
                  <a:pt x="1567" y="45"/>
                  <a:pt x="1567" y="45"/>
                </a:cubicBezTo>
                <a:cubicBezTo>
                  <a:pt x="1567" y="45"/>
                  <a:pt x="1567" y="45"/>
                  <a:pt x="1567" y="45"/>
                </a:cubicBezTo>
                <a:cubicBezTo>
                  <a:pt x="1567" y="45"/>
                  <a:pt x="1567" y="45"/>
                  <a:pt x="1567" y="45"/>
                </a:cubicBezTo>
                <a:cubicBezTo>
                  <a:pt x="1567" y="46"/>
                  <a:pt x="1567" y="46"/>
                  <a:pt x="1567" y="46"/>
                </a:cubicBezTo>
                <a:cubicBezTo>
                  <a:pt x="1567" y="46"/>
                  <a:pt x="1567" y="46"/>
                  <a:pt x="1567" y="46"/>
                </a:cubicBezTo>
                <a:cubicBezTo>
                  <a:pt x="1567" y="46"/>
                  <a:pt x="1567" y="46"/>
                  <a:pt x="1566" y="47"/>
                </a:cubicBezTo>
                <a:cubicBezTo>
                  <a:pt x="1566" y="47"/>
                  <a:pt x="1566" y="47"/>
                  <a:pt x="1566" y="47"/>
                </a:cubicBezTo>
                <a:cubicBezTo>
                  <a:pt x="1566" y="47"/>
                  <a:pt x="1566" y="47"/>
                  <a:pt x="1566" y="47"/>
                </a:cubicBezTo>
                <a:cubicBezTo>
                  <a:pt x="1566" y="47"/>
                  <a:pt x="1566" y="47"/>
                  <a:pt x="1566" y="47"/>
                </a:cubicBezTo>
                <a:cubicBezTo>
                  <a:pt x="1566" y="47"/>
                  <a:pt x="1566" y="47"/>
                  <a:pt x="1566" y="48"/>
                </a:cubicBezTo>
                <a:cubicBezTo>
                  <a:pt x="1566" y="48"/>
                  <a:pt x="1566" y="48"/>
                  <a:pt x="1566" y="48"/>
                </a:cubicBezTo>
                <a:cubicBezTo>
                  <a:pt x="1566" y="48"/>
                  <a:pt x="1565" y="48"/>
                  <a:pt x="1565" y="48"/>
                </a:cubicBezTo>
                <a:cubicBezTo>
                  <a:pt x="1565" y="48"/>
                  <a:pt x="1565" y="48"/>
                  <a:pt x="1565" y="48"/>
                </a:cubicBezTo>
                <a:cubicBezTo>
                  <a:pt x="1565" y="48"/>
                  <a:pt x="1565" y="48"/>
                  <a:pt x="1565" y="48"/>
                </a:cubicBezTo>
                <a:cubicBezTo>
                  <a:pt x="1565" y="48"/>
                  <a:pt x="1565" y="48"/>
                  <a:pt x="1565" y="48"/>
                </a:cubicBezTo>
                <a:cubicBezTo>
                  <a:pt x="1565" y="48"/>
                  <a:pt x="1565" y="49"/>
                  <a:pt x="1565" y="49"/>
                </a:cubicBezTo>
                <a:cubicBezTo>
                  <a:pt x="1565" y="49"/>
                  <a:pt x="1565" y="49"/>
                  <a:pt x="1565" y="49"/>
                </a:cubicBezTo>
                <a:cubicBezTo>
                  <a:pt x="1565" y="49"/>
                  <a:pt x="1564" y="49"/>
                  <a:pt x="1564" y="49"/>
                </a:cubicBezTo>
                <a:cubicBezTo>
                  <a:pt x="1564" y="49"/>
                  <a:pt x="1564" y="49"/>
                  <a:pt x="1564" y="49"/>
                </a:cubicBezTo>
                <a:cubicBezTo>
                  <a:pt x="1564" y="49"/>
                  <a:pt x="1564" y="50"/>
                  <a:pt x="1564" y="50"/>
                </a:cubicBezTo>
                <a:cubicBezTo>
                  <a:pt x="1564" y="50"/>
                  <a:pt x="1564" y="50"/>
                  <a:pt x="1564" y="50"/>
                </a:cubicBezTo>
                <a:cubicBezTo>
                  <a:pt x="1564" y="50"/>
                  <a:pt x="1564" y="50"/>
                  <a:pt x="1564" y="50"/>
                </a:cubicBezTo>
                <a:cubicBezTo>
                  <a:pt x="1564" y="50"/>
                  <a:pt x="1564" y="50"/>
                  <a:pt x="1564" y="50"/>
                </a:cubicBezTo>
                <a:cubicBezTo>
                  <a:pt x="1563" y="50"/>
                  <a:pt x="1563" y="50"/>
                  <a:pt x="1563" y="50"/>
                </a:cubicBezTo>
                <a:cubicBezTo>
                  <a:pt x="1563" y="50"/>
                  <a:pt x="1563" y="50"/>
                  <a:pt x="1563" y="50"/>
                </a:cubicBezTo>
                <a:cubicBezTo>
                  <a:pt x="1562" y="52"/>
                  <a:pt x="1561" y="53"/>
                  <a:pt x="1559" y="54"/>
                </a:cubicBezTo>
                <a:cubicBezTo>
                  <a:pt x="1560" y="54"/>
                  <a:pt x="1560" y="54"/>
                  <a:pt x="1560" y="54"/>
                </a:cubicBezTo>
                <a:cubicBezTo>
                  <a:pt x="1559" y="54"/>
                  <a:pt x="1559" y="54"/>
                  <a:pt x="1559" y="55"/>
                </a:cubicBezTo>
                <a:cubicBezTo>
                  <a:pt x="1559" y="55"/>
                  <a:pt x="1559" y="55"/>
                  <a:pt x="1559" y="55"/>
                </a:cubicBezTo>
                <a:cubicBezTo>
                  <a:pt x="1559" y="55"/>
                  <a:pt x="1559" y="55"/>
                  <a:pt x="1559" y="55"/>
                </a:cubicBezTo>
                <a:cubicBezTo>
                  <a:pt x="1559" y="55"/>
                  <a:pt x="1559" y="55"/>
                  <a:pt x="1559" y="55"/>
                </a:cubicBezTo>
                <a:cubicBezTo>
                  <a:pt x="1559" y="55"/>
                  <a:pt x="1558" y="55"/>
                  <a:pt x="1558" y="55"/>
                </a:cubicBezTo>
                <a:cubicBezTo>
                  <a:pt x="1558" y="55"/>
                  <a:pt x="1558" y="55"/>
                  <a:pt x="1558" y="55"/>
                </a:cubicBezTo>
                <a:cubicBezTo>
                  <a:pt x="1558" y="55"/>
                  <a:pt x="1558" y="55"/>
                  <a:pt x="1558" y="56"/>
                </a:cubicBezTo>
                <a:cubicBezTo>
                  <a:pt x="1558" y="56"/>
                  <a:pt x="1558" y="56"/>
                  <a:pt x="1558" y="56"/>
                </a:cubicBezTo>
                <a:cubicBezTo>
                  <a:pt x="1558" y="56"/>
                  <a:pt x="1557" y="56"/>
                  <a:pt x="1557" y="56"/>
                </a:cubicBezTo>
                <a:cubicBezTo>
                  <a:pt x="1557" y="56"/>
                  <a:pt x="1557" y="56"/>
                  <a:pt x="1557" y="56"/>
                </a:cubicBezTo>
                <a:cubicBezTo>
                  <a:pt x="1557" y="56"/>
                  <a:pt x="1557" y="56"/>
                  <a:pt x="1557" y="57"/>
                </a:cubicBezTo>
                <a:cubicBezTo>
                  <a:pt x="1557" y="57"/>
                  <a:pt x="1557" y="57"/>
                  <a:pt x="1557" y="57"/>
                </a:cubicBezTo>
                <a:cubicBezTo>
                  <a:pt x="1557" y="57"/>
                  <a:pt x="1556" y="57"/>
                  <a:pt x="1556" y="57"/>
                </a:cubicBezTo>
                <a:cubicBezTo>
                  <a:pt x="1556" y="57"/>
                  <a:pt x="1556" y="57"/>
                  <a:pt x="1556" y="57"/>
                </a:cubicBezTo>
                <a:cubicBezTo>
                  <a:pt x="1556" y="57"/>
                  <a:pt x="1556" y="57"/>
                  <a:pt x="1556" y="57"/>
                </a:cubicBezTo>
                <a:cubicBezTo>
                  <a:pt x="1556" y="57"/>
                  <a:pt x="1556" y="57"/>
                  <a:pt x="1556" y="57"/>
                </a:cubicBezTo>
                <a:cubicBezTo>
                  <a:pt x="1556" y="58"/>
                  <a:pt x="1555" y="57"/>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4" y="59"/>
                  <a:pt x="1554" y="58"/>
                  <a:pt x="1554" y="59"/>
                </a:cubicBezTo>
                <a:cubicBezTo>
                  <a:pt x="1554" y="59"/>
                  <a:pt x="1554" y="59"/>
                  <a:pt x="1554" y="59"/>
                </a:cubicBezTo>
                <a:cubicBezTo>
                  <a:pt x="1554" y="59"/>
                  <a:pt x="1554" y="59"/>
                  <a:pt x="1554" y="59"/>
                </a:cubicBezTo>
                <a:cubicBezTo>
                  <a:pt x="1554" y="59"/>
                  <a:pt x="1554" y="59"/>
                  <a:pt x="1554" y="59"/>
                </a:cubicBezTo>
                <a:cubicBezTo>
                  <a:pt x="1553" y="59"/>
                  <a:pt x="1553" y="59"/>
                  <a:pt x="1553" y="59"/>
                </a:cubicBezTo>
                <a:cubicBezTo>
                  <a:pt x="1553" y="59"/>
                  <a:pt x="1553" y="59"/>
                  <a:pt x="1553" y="59"/>
                </a:cubicBezTo>
                <a:cubicBezTo>
                  <a:pt x="1553" y="60"/>
                  <a:pt x="1553" y="60"/>
                  <a:pt x="1553" y="60"/>
                </a:cubicBezTo>
                <a:cubicBezTo>
                  <a:pt x="1553" y="60"/>
                  <a:pt x="1553" y="60"/>
                  <a:pt x="1553" y="60"/>
                </a:cubicBezTo>
                <a:cubicBezTo>
                  <a:pt x="1552" y="60"/>
                  <a:pt x="1552" y="60"/>
                  <a:pt x="1552" y="60"/>
                </a:cubicBezTo>
                <a:cubicBezTo>
                  <a:pt x="1552" y="60"/>
                  <a:pt x="1552" y="60"/>
                  <a:pt x="1552" y="60"/>
                </a:cubicBezTo>
                <a:cubicBezTo>
                  <a:pt x="1552" y="60"/>
                  <a:pt x="1552" y="60"/>
                  <a:pt x="1552" y="60"/>
                </a:cubicBezTo>
                <a:cubicBezTo>
                  <a:pt x="1552" y="60"/>
                  <a:pt x="1552" y="60"/>
                  <a:pt x="1552" y="60"/>
                </a:cubicBezTo>
                <a:cubicBezTo>
                  <a:pt x="1552" y="61"/>
                  <a:pt x="1551" y="61"/>
                  <a:pt x="1551" y="61"/>
                </a:cubicBezTo>
                <a:cubicBezTo>
                  <a:pt x="1551" y="61"/>
                  <a:pt x="1551" y="61"/>
                  <a:pt x="1551" y="61"/>
                </a:cubicBezTo>
                <a:cubicBezTo>
                  <a:pt x="1551" y="61"/>
                  <a:pt x="1551" y="61"/>
                  <a:pt x="1551" y="61"/>
                </a:cubicBezTo>
                <a:cubicBezTo>
                  <a:pt x="1551" y="61"/>
                  <a:pt x="1551" y="61"/>
                  <a:pt x="1551" y="61"/>
                </a:cubicBezTo>
                <a:cubicBezTo>
                  <a:pt x="1550" y="61"/>
                  <a:pt x="1550" y="62"/>
                  <a:pt x="1550" y="62"/>
                </a:cubicBezTo>
                <a:cubicBezTo>
                  <a:pt x="1550" y="62"/>
                  <a:pt x="1550" y="62"/>
                  <a:pt x="1550" y="62"/>
                </a:cubicBezTo>
                <a:cubicBezTo>
                  <a:pt x="1550" y="62"/>
                  <a:pt x="1549" y="62"/>
                  <a:pt x="1549" y="62"/>
                </a:cubicBezTo>
                <a:cubicBezTo>
                  <a:pt x="1549" y="62"/>
                  <a:pt x="1549" y="62"/>
                  <a:pt x="1549" y="62"/>
                </a:cubicBezTo>
                <a:cubicBezTo>
                  <a:pt x="1549" y="62"/>
                  <a:pt x="1549" y="63"/>
                  <a:pt x="1548" y="63"/>
                </a:cubicBezTo>
                <a:cubicBezTo>
                  <a:pt x="1548" y="63"/>
                  <a:pt x="1548" y="63"/>
                  <a:pt x="1548" y="63"/>
                </a:cubicBezTo>
                <a:cubicBezTo>
                  <a:pt x="1548" y="63"/>
                  <a:pt x="1548" y="63"/>
                  <a:pt x="1548" y="63"/>
                </a:cubicBezTo>
                <a:cubicBezTo>
                  <a:pt x="1548" y="63"/>
                  <a:pt x="1548" y="63"/>
                  <a:pt x="1548" y="63"/>
                </a:cubicBezTo>
                <a:cubicBezTo>
                  <a:pt x="1548" y="64"/>
                  <a:pt x="1547" y="64"/>
                  <a:pt x="1547" y="64"/>
                </a:cubicBezTo>
                <a:cubicBezTo>
                  <a:pt x="1547" y="64"/>
                  <a:pt x="1547" y="64"/>
                  <a:pt x="1547" y="64"/>
                </a:cubicBezTo>
                <a:cubicBezTo>
                  <a:pt x="1547" y="64"/>
                  <a:pt x="1547" y="64"/>
                  <a:pt x="1547" y="64"/>
                </a:cubicBezTo>
                <a:cubicBezTo>
                  <a:pt x="1547" y="64"/>
                  <a:pt x="1547" y="64"/>
                  <a:pt x="1547" y="64"/>
                </a:cubicBezTo>
                <a:cubicBezTo>
                  <a:pt x="1546" y="64"/>
                  <a:pt x="1546" y="65"/>
                  <a:pt x="1546" y="65"/>
                </a:cubicBezTo>
                <a:cubicBezTo>
                  <a:pt x="1546" y="65"/>
                  <a:pt x="1546" y="65"/>
                  <a:pt x="1546" y="65"/>
                </a:cubicBezTo>
                <a:cubicBezTo>
                  <a:pt x="1546" y="65"/>
                  <a:pt x="1546" y="65"/>
                  <a:pt x="1546" y="65"/>
                </a:cubicBezTo>
                <a:cubicBezTo>
                  <a:pt x="1546" y="65"/>
                  <a:pt x="1546" y="65"/>
                  <a:pt x="1546" y="65"/>
                </a:cubicBezTo>
                <a:cubicBezTo>
                  <a:pt x="1545" y="65"/>
                  <a:pt x="1545" y="65"/>
                  <a:pt x="1545" y="65"/>
                </a:cubicBezTo>
                <a:cubicBezTo>
                  <a:pt x="1545" y="65"/>
                  <a:pt x="1545" y="65"/>
                  <a:pt x="1545" y="65"/>
                </a:cubicBezTo>
                <a:cubicBezTo>
                  <a:pt x="1545" y="65"/>
                  <a:pt x="1545" y="66"/>
                  <a:pt x="1545" y="66"/>
                </a:cubicBezTo>
                <a:cubicBezTo>
                  <a:pt x="1545" y="66"/>
                  <a:pt x="1545" y="66"/>
                  <a:pt x="1545" y="66"/>
                </a:cubicBezTo>
                <a:cubicBezTo>
                  <a:pt x="1545" y="66"/>
                  <a:pt x="1545" y="66"/>
                  <a:pt x="1544" y="66"/>
                </a:cubicBezTo>
                <a:cubicBezTo>
                  <a:pt x="1544" y="66"/>
                  <a:pt x="1544" y="66"/>
                  <a:pt x="1544" y="66"/>
                </a:cubicBezTo>
                <a:cubicBezTo>
                  <a:pt x="1544" y="66"/>
                  <a:pt x="1544" y="66"/>
                  <a:pt x="1544" y="66"/>
                </a:cubicBezTo>
                <a:cubicBezTo>
                  <a:pt x="1544" y="66"/>
                  <a:pt x="1544" y="66"/>
                  <a:pt x="1544" y="66"/>
                </a:cubicBezTo>
                <a:cubicBezTo>
                  <a:pt x="1544" y="66"/>
                  <a:pt x="1544"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2" y="68"/>
                  <a:pt x="1542" y="68"/>
                  <a:pt x="1542" y="68"/>
                </a:cubicBezTo>
                <a:cubicBezTo>
                  <a:pt x="1542" y="68"/>
                  <a:pt x="1542" y="68"/>
                  <a:pt x="1542" y="68"/>
                </a:cubicBezTo>
                <a:cubicBezTo>
                  <a:pt x="1542" y="68"/>
                  <a:pt x="1541" y="68"/>
                  <a:pt x="1541" y="68"/>
                </a:cubicBezTo>
                <a:cubicBezTo>
                  <a:pt x="1541" y="68"/>
                  <a:pt x="1541" y="68"/>
                  <a:pt x="1541" y="68"/>
                </a:cubicBezTo>
                <a:cubicBezTo>
                  <a:pt x="1541" y="69"/>
                  <a:pt x="1541" y="69"/>
                  <a:pt x="1541" y="69"/>
                </a:cubicBezTo>
                <a:cubicBezTo>
                  <a:pt x="1541" y="69"/>
                  <a:pt x="1541" y="69"/>
                  <a:pt x="1541" y="69"/>
                </a:cubicBezTo>
                <a:cubicBezTo>
                  <a:pt x="1541" y="69"/>
                  <a:pt x="1541" y="69"/>
                  <a:pt x="1541" y="69"/>
                </a:cubicBezTo>
                <a:cubicBezTo>
                  <a:pt x="1541" y="69"/>
                  <a:pt x="1541" y="69"/>
                  <a:pt x="1541" y="69"/>
                </a:cubicBezTo>
                <a:cubicBezTo>
                  <a:pt x="1540" y="69"/>
                  <a:pt x="1540" y="70"/>
                  <a:pt x="1540" y="70"/>
                </a:cubicBezTo>
                <a:cubicBezTo>
                  <a:pt x="1540" y="70"/>
                  <a:pt x="1540" y="70"/>
                  <a:pt x="1540" y="70"/>
                </a:cubicBezTo>
                <a:cubicBezTo>
                  <a:pt x="1539" y="70"/>
                  <a:pt x="1539" y="70"/>
                  <a:pt x="1539" y="70"/>
                </a:cubicBezTo>
                <a:cubicBezTo>
                  <a:pt x="1539" y="70"/>
                  <a:pt x="1539" y="70"/>
                  <a:pt x="1539" y="70"/>
                </a:cubicBezTo>
                <a:cubicBezTo>
                  <a:pt x="1539" y="70"/>
                  <a:pt x="1539" y="70"/>
                  <a:pt x="1539" y="71"/>
                </a:cubicBezTo>
                <a:cubicBezTo>
                  <a:pt x="1539" y="71"/>
                  <a:pt x="1539" y="71"/>
                  <a:pt x="1539" y="71"/>
                </a:cubicBezTo>
                <a:cubicBezTo>
                  <a:pt x="1539" y="71"/>
                  <a:pt x="1539" y="71"/>
                  <a:pt x="1539" y="71"/>
                </a:cubicBezTo>
                <a:cubicBezTo>
                  <a:pt x="1539" y="71"/>
                  <a:pt x="1539" y="71"/>
                  <a:pt x="1539" y="71"/>
                </a:cubicBezTo>
                <a:cubicBezTo>
                  <a:pt x="1538" y="71"/>
                  <a:pt x="1538" y="71"/>
                  <a:pt x="1538" y="71"/>
                </a:cubicBezTo>
                <a:cubicBezTo>
                  <a:pt x="1538" y="71"/>
                  <a:pt x="1538" y="71"/>
                  <a:pt x="1538" y="71"/>
                </a:cubicBezTo>
                <a:cubicBezTo>
                  <a:pt x="1538" y="71"/>
                  <a:pt x="1538" y="71"/>
                  <a:pt x="1538" y="72"/>
                </a:cubicBezTo>
                <a:cubicBezTo>
                  <a:pt x="1538" y="72"/>
                  <a:pt x="1538" y="72"/>
                  <a:pt x="1538" y="72"/>
                </a:cubicBezTo>
                <a:cubicBezTo>
                  <a:pt x="1538" y="72"/>
                  <a:pt x="1538" y="72"/>
                  <a:pt x="1537" y="72"/>
                </a:cubicBezTo>
                <a:cubicBezTo>
                  <a:pt x="1538" y="72"/>
                  <a:pt x="1538" y="72"/>
                  <a:pt x="1538" y="72"/>
                </a:cubicBezTo>
                <a:cubicBezTo>
                  <a:pt x="1537" y="72"/>
                  <a:pt x="1537" y="72"/>
                  <a:pt x="1537" y="72"/>
                </a:cubicBezTo>
                <a:cubicBezTo>
                  <a:pt x="1537" y="72"/>
                  <a:pt x="1537" y="72"/>
                  <a:pt x="1537" y="72"/>
                </a:cubicBezTo>
                <a:cubicBezTo>
                  <a:pt x="1537" y="72"/>
                  <a:pt x="1537" y="73"/>
                  <a:pt x="1537" y="73"/>
                </a:cubicBezTo>
                <a:cubicBezTo>
                  <a:pt x="1537" y="73"/>
                  <a:pt x="1537" y="73"/>
                  <a:pt x="1537" y="73"/>
                </a:cubicBezTo>
                <a:cubicBezTo>
                  <a:pt x="1537" y="73"/>
                  <a:pt x="1537" y="73"/>
                  <a:pt x="1536" y="73"/>
                </a:cubicBezTo>
                <a:cubicBezTo>
                  <a:pt x="1536" y="73"/>
                  <a:pt x="1536" y="73"/>
                  <a:pt x="1536" y="73"/>
                </a:cubicBezTo>
                <a:cubicBezTo>
                  <a:pt x="1536" y="73"/>
                  <a:pt x="1536" y="73"/>
                  <a:pt x="1536" y="73"/>
                </a:cubicBezTo>
                <a:cubicBezTo>
                  <a:pt x="1536" y="73"/>
                  <a:pt x="1536" y="73"/>
                  <a:pt x="1536" y="73"/>
                </a:cubicBezTo>
                <a:cubicBezTo>
                  <a:pt x="1536" y="73"/>
                  <a:pt x="1536" y="74"/>
                  <a:pt x="1536" y="74"/>
                </a:cubicBezTo>
                <a:cubicBezTo>
                  <a:pt x="1536" y="74"/>
                  <a:pt x="1536" y="74"/>
                  <a:pt x="1536" y="74"/>
                </a:cubicBezTo>
                <a:cubicBezTo>
                  <a:pt x="1536" y="74"/>
                  <a:pt x="1536" y="74"/>
                  <a:pt x="1535" y="74"/>
                </a:cubicBezTo>
                <a:cubicBezTo>
                  <a:pt x="1535" y="74"/>
                  <a:pt x="1535" y="74"/>
                  <a:pt x="1535" y="74"/>
                </a:cubicBezTo>
                <a:cubicBezTo>
                  <a:pt x="1535" y="74"/>
                  <a:pt x="1535" y="74"/>
                  <a:pt x="1535" y="74"/>
                </a:cubicBezTo>
                <a:cubicBezTo>
                  <a:pt x="1535" y="74"/>
                  <a:pt x="1535" y="74"/>
                  <a:pt x="1535" y="74"/>
                </a:cubicBezTo>
                <a:cubicBezTo>
                  <a:pt x="1535" y="74"/>
                  <a:pt x="1535" y="75"/>
                  <a:pt x="1535" y="75"/>
                </a:cubicBezTo>
                <a:cubicBezTo>
                  <a:pt x="1535" y="75"/>
                  <a:pt x="1535" y="75"/>
                  <a:pt x="1535" y="75"/>
                </a:cubicBezTo>
                <a:cubicBezTo>
                  <a:pt x="1535" y="75"/>
                  <a:pt x="1534" y="75"/>
                  <a:pt x="1534" y="75"/>
                </a:cubicBezTo>
                <a:cubicBezTo>
                  <a:pt x="1534" y="75"/>
                  <a:pt x="1534" y="75"/>
                  <a:pt x="1534" y="75"/>
                </a:cubicBezTo>
                <a:cubicBezTo>
                  <a:pt x="1534" y="75"/>
                  <a:pt x="1534" y="76"/>
                  <a:pt x="1534" y="76"/>
                </a:cubicBezTo>
                <a:cubicBezTo>
                  <a:pt x="1534" y="76"/>
                  <a:pt x="1534" y="76"/>
                  <a:pt x="1534" y="76"/>
                </a:cubicBezTo>
                <a:cubicBezTo>
                  <a:pt x="1534" y="76"/>
                  <a:pt x="1533" y="76"/>
                  <a:pt x="1533" y="77"/>
                </a:cubicBezTo>
                <a:cubicBezTo>
                  <a:pt x="1533" y="76"/>
                  <a:pt x="1533" y="76"/>
                  <a:pt x="1533" y="76"/>
                </a:cubicBezTo>
                <a:cubicBezTo>
                  <a:pt x="1533" y="77"/>
                  <a:pt x="1533" y="77"/>
                  <a:pt x="1533" y="77"/>
                </a:cubicBezTo>
                <a:cubicBezTo>
                  <a:pt x="1533" y="77"/>
                  <a:pt x="1533" y="77"/>
                  <a:pt x="1533" y="77"/>
                </a:cubicBezTo>
                <a:cubicBezTo>
                  <a:pt x="1533" y="77"/>
                  <a:pt x="1533" y="77"/>
                  <a:pt x="1533" y="77"/>
                </a:cubicBezTo>
                <a:cubicBezTo>
                  <a:pt x="1533" y="77"/>
                  <a:pt x="1533" y="77"/>
                  <a:pt x="1533" y="77"/>
                </a:cubicBezTo>
                <a:cubicBezTo>
                  <a:pt x="1533" y="78"/>
                  <a:pt x="1532" y="78"/>
                  <a:pt x="1532" y="78"/>
                </a:cubicBezTo>
                <a:cubicBezTo>
                  <a:pt x="1532" y="78"/>
                  <a:pt x="1532" y="78"/>
                  <a:pt x="1532" y="78"/>
                </a:cubicBezTo>
                <a:cubicBezTo>
                  <a:pt x="1532" y="78"/>
                  <a:pt x="1532" y="78"/>
                  <a:pt x="1532" y="79"/>
                </a:cubicBezTo>
                <a:cubicBezTo>
                  <a:pt x="1532" y="79"/>
                  <a:pt x="1532" y="79"/>
                  <a:pt x="1532" y="79"/>
                </a:cubicBezTo>
                <a:cubicBezTo>
                  <a:pt x="1532" y="79"/>
                  <a:pt x="1532" y="79"/>
                  <a:pt x="1532" y="79"/>
                </a:cubicBezTo>
                <a:cubicBezTo>
                  <a:pt x="1532" y="79"/>
                  <a:pt x="1532" y="79"/>
                  <a:pt x="1532" y="79"/>
                </a:cubicBezTo>
                <a:cubicBezTo>
                  <a:pt x="1531" y="79"/>
                  <a:pt x="1531" y="79"/>
                  <a:pt x="1531" y="80"/>
                </a:cubicBezTo>
                <a:cubicBezTo>
                  <a:pt x="1531" y="80"/>
                  <a:pt x="1531" y="80"/>
                  <a:pt x="1531" y="80"/>
                </a:cubicBezTo>
                <a:cubicBezTo>
                  <a:pt x="1531" y="80"/>
                  <a:pt x="1531" y="80"/>
                  <a:pt x="1531" y="80"/>
                </a:cubicBezTo>
                <a:cubicBezTo>
                  <a:pt x="1531" y="80"/>
                  <a:pt x="1531" y="80"/>
                  <a:pt x="1531" y="80"/>
                </a:cubicBezTo>
                <a:cubicBezTo>
                  <a:pt x="1531" y="80"/>
                  <a:pt x="1531" y="80"/>
                  <a:pt x="1531" y="80"/>
                </a:cubicBezTo>
                <a:cubicBezTo>
                  <a:pt x="1531" y="80"/>
                  <a:pt x="1531" y="81"/>
                  <a:pt x="1531" y="81"/>
                </a:cubicBezTo>
                <a:cubicBezTo>
                  <a:pt x="1531" y="81"/>
                  <a:pt x="1531" y="81"/>
                  <a:pt x="1531" y="81"/>
                </a:cubicBezTo>
                <a:cubicBezTo>
                  <a:pt x="1530" y="81"/>
                  <a:pt x="1530" y="81"/>
                  <a:pt x="1530" y="81"/>
                </a:cubicBezTo>
                <a:cubicBezTo>
                  <a:pt x="1530" y="81"/>
                  <a:pt x="1530" y="81"/>
                  <a:pt x="1530" y="81"/>
                </a:cubicBezTo>
                <a:cubicBezTo>
                  <a:pt x="1530" y="82"/>
                  <a:pt x="1530" y="82"/>
                  <a:pt x="1530" y="82"/>
                </a:cubicBezTo>
                <a:cubicBezTo>
                  <a:pt x="1530" y="82"/>
                  <a:pt x="1530" y="82"/>
                  <a:pt x="1530" y="82"/>
                </a:cubicBezTo>
                <a:cubicBezTo>
                  <a:pt x="1530" y="82"/>
                  <a:pt x="1530" y="83"/>
                  <a:pt x="1530" y="83"/>
                </a:cubicBezTo>
                <a:cubicBezTo>
                  <a:pt x="1530" y="83"/>
                  <a:pt x="1530" y="83"/>
                  <a:pt x="1529" y="83"/>
                </a:cubicBezTo>
                <a:cubicBezTo>
                  <a:pt x="1529" y="83"/>
                  <a:pt x="1529" y="84"/>
                  <a:pt x="1529" y="84"/>
                </a:cubicBezTo>
                <a:cubicBezTo>
                  <a:pt x="1529" y="84"/>
                  <a:pt x="1529" y="84"/>
                  <a:pt x="1529" y="84"/>
                </a:cubicBezTo>
                <a:cubicBezTo>
                  <a:pt x="1529" y="84"/>
                  <a:pt x="1529" y="84"/>
                  <a:pt x="1529" y="85"/>
                </a:cubicBezTo>
                <a:cubicBezTo>
                  <a:pt x="1529" y="85"/>
                  <a:pt x="1529" y="85"/>
                  <a:pt x="1529" y="85"/>
                </a:cubicBezTo>
                <a:cubicBezTo>
                  <a:pt x="1529" y="85"/>
                  <a:pt x="1529" y="85"/>
                  <a:pt x="1528" y="86"/>
                </a:cubicBezTo>
                <a:cubicBezTo>
                  <a:pt x="1529" y="86"/>
                  <a:pt x="1529" y="86"/>
                  <a:pt x="1529" y="86"/>
                </a:cubicBezTo>
                <a:cubicBezTo>
                  <a:pt x="1528" y="86"/>
                  <a:pt x="1528" y="86"/>
                  <a:pt x="1528" y="86"/>
                </a:cubicBezTo>
                <a:cubicBezTo>
                  <a:pt x="1528" y="86"/>
                  <a:pt x="1528" y="87"/>
                  <a:pt x="1528" y="87"/>
                </a:cubicBezTo>
                <a:cubicBezTo>
                  <a:pt x="1528" y="87"/>
                  <a:pt x="1528" y="87"/>
                  <a:pt x="1528" y="87"/>
                </a:cubicBezTo>
                <a:cubicBezTo>
                  <a:pt x="1528" y="88"/>
                  <a:pt x="1528" y="88"/>
                  <a:pt x="1528" y="88"/>
                </a:cubicBezTo>
                <a:cubicBezTo>
                  <a:pt x="1528" y="88"/>
                  <a:pt x="1528" y="89"/>
                  <a:pt x="1528" y="89"/>
                </a:cubicBezTo>
                <a:cubicBezTo>
                  <a:pt x="1527" y="89"/>
                  <a:pt x="1528" y="90"/>
                  <a:pt x="1527" y="90"/>
                </a:cubicBezTo>
                <a:cubicBezTo>
                  <a:pt x="1527" y="91"/>
                  <a:pt x="1527" y="91"/>
                  <a:pt x="1527" y="91"/>
                </a:cubicBezTo>
                <a:cubicBezTo>
                  <a:pt x="1527" y="92"/>
                  <a:pt x="1527" y="93"/>
                  <a:pt x="1527" y="94"/>
                </a:cubicBezTo>
                <a:cubicBezTo>
                  <a:pt x="1527" y="96"/>
                  <a:pt x="1527" y="99"/>
                  <a:pt x="1527" y="101"/>
                </a:cubicBezTo>
                <a:cubicBezTo>
                  <a:pt x="1527" y="102"/>
                  <a:pt x="1528" y="102"/>
                  <a:pt x="1529" y="102"/>
                </a:cubicBezTo>
                <a:cubicBezTo>
                  <a:pt x="1547" y="102"/>
                  <a:pt x="1565" y="102"/>
                  <a:pt x="1584" y="102"/>
                </a:cubicBezTo>
                <a:cubicBezTo>
                  <a:pt x="1584" y="102"/>
                  <a:pt x="1585" y="102"/>
                  <a:pt x="1585" y="101"/>
                </a:cubicBezTo>
                <a:cubicBezTo>
                  <a:pt x="1585" y="101"/>
                  <a:pt x="1585" y="101"/>
                  <a:pt x="1585" y="101"/>
                </a:cubicBezTo>
                <a:cubicBezTo>
                  <a:pt x="1586" y="98"/>
                  <a:pt x="1586" y="95"/>
                  <a:pt x="1585" y="92"/>
                </a:cubicBezTo>
                <a:cubicBezTo>
                  <a:pt x="1585" y="92"/>
                  <a:pt x="1585" y="92"/>
                  <a:pt x="1585" y="92"/>
                </a:cubicBezTo>
                <a:cubicBezTo>
                  <a:pt x="1585" y="91"/>
                  <a:pt x="1584" y="92"/>
                  <a:pt x="1583" y="92"/>
                </a:cubicBezTo>
                <a:cubicBezTo>
                  <a:pt x="1569" y="92"/>
                  <a:pt x="1555" y="92"/>
                  <a:pt x="1540" y="92"/>
                </a:cubicBezTo>
                <a:cubicBezTo>
                  <a:pt x="1540" y="92"/>
                  <a:pt x="1539" y="92"/>
                  <a:pt x="1539" y="91"/>
                </a:cubicBezTo>
                <a:cubicBezTo>
                  <a:pt x="1538" y="91"/>
                  <a:pt x="1538" y="90"/>
                  <a:pt x="1539" y="90"/>
                </a:cubicBezTo>
                <a:cubicBezTo>
                  <a:pt x="1539" y="89"/>
                  <a:pt x="1539" y="88"/>
                  <a:pt x="1539" y="88"/>
                </a:cubicBezTo>
                <a:cubicBezTo>
                  <a:pt x="1539" y="88"/>
                  <a:pt x="1539" y="87"/>
                  <a:pt x="1539" y="87"/>
                </a:cubicBezTo>
                <a:cubicBezTo>
                  <a:pt x="1539" y="87"/>
                  <a:pt x="1539" y="86"/>
                  <a:pt x="1539" y="86"/>
                </a:cubicBezTo>
                <a:cubicBezTo>
                  <a:pt x="1539" y="86"/>
                  <a:pt x="1539" y="86"/>
                  <a:pt x="1539" y="86"/>
                </a:cubicBezTo>
                <a:cubicBezTo>
                  <a:pt x="1539" y="86"/>
                  <a:pt x="1539" y="85"/>
                  <a:pt x="1540" y="85"/>
                </a:cubicBezTo>
                <a:cubicBezTo>
                  <a:pt x="1539" y="85"/>
                  <a:pt x="1540" y="85"/>
                  <a:pt x="1540" y="85"/>
                </a:cubicBezTo>
                <a:cubicBezTo>
                  <a:pt x="1540" y="85"/>
                  <a:pt x="1540" y="84"/>
                  <a:pt x="1540" y="84"/>
                </a:cubicBezTo>
                <a:cubicBezTo>
                  <a:pt x="1540" y="84"/>
                  <a:pt x="1540" y="84"/>
                  <a:pt x="1540" y="84"/>
                </a:cubicBezTo>
                <a:cubicBezTo>
                  <a:pt x="1540" y="84"/>
                  <a:pt x="1540" y="84"/>
                  <a:pt x="1540" y="83"/>
                </a:cubicBezTo>
                <a:cubicBezTo>
                  <a:pt x="1540" y="83"/>
                  <a:pt x="1540" y="83"/>
                  <a:pt x="1540" y="83"/>
                </a:cubicBezTo>
                <a:cubicBezTo>
                  <a:pt x="1540" y="83"/>
                  <a:pt x="1540" y="83"/>
                  <a:pt x="1541" y="83"/>
                </a:cubicBezTo>
                <a:cubicBezTo>
                  <a:pt x="1541" y="83"/>
                  <a:pt x="1541" y="83"/>
                  <a:pt x="1541" y="83"/>
                </a:cubicBezTo>
                <a:cubicBezTo>
                  <a:pt x="1541" y="83"/>
                  <a:pt x="1541" y="82"/>
                  <a:pt x="1541" y="82"/>
                </a:cubicBezTo>
                <a:cubicBezTo>
                  <a:pt x="1541" y="82"/>
                  <a:pt x="1541" y="82"/>
                  <a:pt x="1541" y="82"/>
                </a:cubicBezTo>
                <a:cubicBezTo>
                  <a:pt x="1541" y="82"/>
                  <a:pt x="1541" y="82"/>
                  <a:pt x="1541" y="82"/>
                </a:cubicBezTo>
                <a:cubicBezTo>
                  <a:pt x="1541" y="82"/>
                  <a:pt x="1541" y="82"/>
                  <a:pt x="1541" y="82"/>
                </a:cubicBezTo>
                <a:cubicBezTo>
                  <a:pt x="1542" y="82"/>
                  <a:pt x="1541" y="81"/>
                  <a:pt x="1542" y="81"/>
                </a:cubicBezTo>
                <a:cubicBezTo>
                  <a:pt x="1542" y="81"/>
                  <a:pt x="1542" y="81"/>
                  <a:pt x="1542" y="81"/>
                </a:cubicBezTo>
                <a:cubicBezTo>
                  <a:pt x="1542" y="81"/>
                  <a:pt x="1542" y="81"/>
                  <a:pt x="1542" y="81"/>
                </a:cubicBezTo>
                <a:cubicBezTo>
                  <a:pt x="1542" y="81"/>
                  <a:pt x="1542" y="81"/>
                  <a:pt x="1542" y="81"/>
                </a:cubicBezTo>
                <a:cubicBezTo>
                  <a:pt x="1542" y="81"/>
                  <a:pt x="1542" y="80"/>
                  <a:pt x="1542" y="80"/>
                </a:cubicBezTo>
                <a:cubicBezTo>
                  <a:pt x="1542" y="80"/>
                  <a:pt x="1542" y="80"/>
                  <a:pt x="1542" y="80"/>
                </a:cubicBezTo>
                <a:cubicBezTo>
                  <a:pt x="1543" y="80"/>
                  <a:pt x="1543" y="80"/>
                  <a:pt x="1543" y="79"/>
                </a:cubicBezTo>
                <a:cubicBezTo>
                  <a:pt x="1543" y="79"/>
                  <a:pt x="1543" y="79"/>
                  <a:pt x="1543" y="79"/>
                </a:cubicBezTo>
                <a:cubicBezTo>
                  <a:pt x="1543" y="79"/>
                  <a:pt x="1543" y="79"/>
                  <a:pt x="1543" y="79"/>
                </a:cubicBezTo>
                <a:cubicBezTo>
                  <a:pt x="1543" y="79"/>
                  <a:pt x="1543" y="79"/>
                  <a:pt x="1543" y="79"/>
                </a:cubicBezTo>
                <a:cubicBezTo>
                  <a:pt x="1544" y="79"/>
                  <a:pt x="1544" y="79"/>
                  <a:pt x="1544" y="79"/>
                </a:cubicBezTo>
                <a:cubicBezTo>
                  <a:pt x="1544" y="79"/>
                  <a:pt x="1544" y="79"/>
                  <a:pt x="1544" y="79"/>
                </a:cubicBezTo>
                <a:cubicBezTo>
                  <a:pt x="1544" y="78"/>
                  <a:pt x="1544" y="78"/>
                  <a:pt x="1544" y="78"/>
                </a:cubicBezTo>
                <a:cubicBezTo>
                  <a:pt x="1544" y="78"/>
                  <a:pt x="1544" y="78"/>
                  <a:pt x="1544" y="78"/>
                </a:cubicBezTo>
                <a:cubicBezTo>
                  <a:pt x="1544" y="78"/>
                  <a:pt x="1544" y="78"/>
                  <a:pt x="1544" y="78"/>
                </a:cubicBezTo>
                <a:cubicBezTo>
                  <a:pt x="1544" y="78"/>
                  <a:pt x="1544" y="78"/>
                  <a:pt x="1544" y="78"/>
                </a:cubicBezTo>
                <a:cubicBezTo>
                  <a:pt x="1545" y="78"/>
                  <a:pt x="1545" y="78"/>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6" y="77"/>
                  <a:pt x="1546" y="77"/>
                  <a:pt x="1546" y="76"/>
                </a:cubicBezTo>
                <a:cubicBezTo>
                  <a:pt x="1546" y="76"/>
                  <a:pt x="1546" y="76"/>
                  <a:pt x="1546" y="76"/>
                </a:cubicBezTo>
                <a:cubicBezTo>
                  <a:pt x="1546" y="76"/>
                  <a:pt x="1546" y="76"/>
                  <a:pt x="1546" y="76"/>
                </a:cubicBezTo>
                <a:cubicBezTo>
                  <a:pt x="1546" y="76"/>
                  <a:pt x="1546" y="76"/>
                  <a:pt x="1546" y="76"/>
                </a:cubicBezTo>
                <a:cubicBezTo>
                  <a:pt x="1547" y="76"/>
                  <a:pt x="1547" y="75"/>
                  <a:pt x="1548" y="75"/>
                </a:cubicBezTo>
                <a:cubicBezTo>
                  <a:pt x="1548" y="75"/>
                  <a:pt x="1548" y="75"/>
                  <a:pt x="1548" y="75"/>
                </a:cubicBezTo>
                <a:cubicBezTo>
                  <a:pt x="1548" y="75"/>
                  <a:pt x="1548" y="75"/>
                  <a:pt x="1548" y="75"/>
                </a:cubicBezTo>
                <a:cubicBezTo>
                  <a:pt x="1548" y="75"/>
                  <a:pt x="1548" y="75"/>
                  <a:pt x="1548" y="75"/>
                </a:cubicBezTo>
                <a:cubicBezTo>
                  <a:pt x="1548" y="75"/>
                  <a:pt x="1548" y="74"/>
                  <a:pt x="1548" y="74"/>
                </a:cubicBezTo>
                <a:cubicBezTo>
                  <a:pt x="1548" y="74"/>
                  <a:pt x="1548" y="74"/>
                  <a:pt x="1548" y="74"/>
                </a:cubicBezTo>
                <a:cubicBezTo>
                  <a:pt x="1549" y="74"/>
                  <a:pt x="1549" y="74"/>
                  <a:pt x="1549" y="74"/>
                </a:cubicBezTo>
                <a:cubicBezTo>
                  <a:pt x="1549" y="74"/>
                  <a:pt x="1549" y="74"/>
                  <a:pt x="1549" y="74"/>
                </a:cubicBezTo>
                <a:cubicBezTo>
                  <a:pt x="1549" y="74"/>
                  <a:pt x="1550" y="73"/>
                  <a:pt x="1550" y="73"/>
                </a:cubicBezTo>
                <a:cubicBezTo>
                  <a:pt x="1550" y="73"/>
                  <a:pt x="1550" y="73"/>
                  <a:pt x="1550" y="73"/>
                </a:cubicBezTo>
                <a:cubicBezTo>
                  <a:pt x="1550" y="73"/>
                  <a:pt x="1550" y="73"/>
                  <a:pt x="1550" y="73"/>
                </a:cubicBezTo>
                <a:cubicBezTo>
                  <a:pt x="1550" y="73"/>
                  <a:pt x="1550" y="73"/>
                  <a:pt x="1550" y="73"/>
                </a:cubicBezTo>
                <a:cubicBezTo>
                  <a:pt x="1550" y="73"/>
                  <a:pt x="1551" y="73"/>
                  <a:pt x="1551" y="72"/>
                </a:cubicBezTo>
                <a:cubicBezTo>
                  <a:pt x="1551" y="72"/>
                  <a:pt x="1551" y="72"/>
                  <a:pt x="1551" y="72"/>
                </a:cubicBezTo>
                <a:cubicBezTo>
                  <a:pt x="1551" y="72"/>
                  <a:pt x="1551" y="72"/>
                  <a:pt x="1551" y="72"/>
                </a:cubicBezTo>
                <a:cubicBezTo>
                  <a:pt x="1551" y="72"/>
                  <a:pt x="1551" y="72"/>
                  <a:pt x="1551" y="72"/>
                </a:cubicBezTo>
                <a:cubicBezTo>
                  <a:pt x="1552" y="72"/>
                  <a:pt x="1552" y="72"/>
                  <a:pt x="1552" y="72"/>
                </a:cubicBezTo>
                <a:cubicBezTo>
                  <a:pt x="1552" y="72"/>
                  <a:pt x="1552" y="72"/>
                  <a:pt x="1552" y="72"/>
                </a:cubicBezTo>
                <a:cubicBezTo>
                  <a:pt x="1552" y="71"/>
                  <a:pt x="1552" y="71"/>
                  <a:pt x="1552" y="71"/>
                </a:cubicBezTo>
                <a:cubicBezTo>
                  <a:pt x="1552" y="71"/>
                  <a:pt x="1552" y="71"/>
                  <a:pt x="1552" y="71"/>
                </a:cubicBezTo>
                <a:cubicBezTo>
                  <a:pt x="1553" y="71"/>
                  <a:pt x="1553" y="71"/>
                  <a:pt x="1553" y="71"/>
                </a:cubicBezTo>
                <a:cubicBezTo>
                  <a:pt x="1553" y="71"/>
                  <a:pt x="1553" y="71"/>
                  <a:pt x="1553" y="71"/>
                </a:cubicBezTo>
                <a:cubicBezTo>
                  <a:pt x="1553" y="71"/>
                  <a:pt x="1553" y="71"/>
                  <a:pt x="1553" y="71"/>
                </a:cubicBezTo>
                <a:cubicBezTo>
                  <a:pt x="1553" y="71"/>
                  <a:pt x="1553" y="71"/>
                  <a:pt x="1553" y="71"/>
                </a:cubicBezTo>
                <a:cubicBezTo>
                  <a:pt x="1553" y="70"/>
                  <a:pt x="1554" y="70"/>
                  <a:pt x="1554" y="70"/>
                </a:cubicBezTo>
                <a:cubicBezTo>
                  <a:pt x="1554" y="70"/>
                  <a:pt x="1554" y="70"/>
                  <a:pt x="1554" y="70"/>
                </a:cubicBezTo>
                <a:cubicBezTo>
                  <a:pt x="1554" y="70"/>
                  <a:pt x="1554" y="70"/>
                  <a:pt x="1554" y="70"/>
                </a:cubicBezTo>
                <a:cubicBezTo>
                  <a:pt x="1554" y="70"/>
                  <a:pt x="1554" y="70"/>
                  <a:pt x="1554" y="70"/>
                </a:cubicBezTo>
                <a:cubicBezTo>
                  <a:pt x="1554" y="70"/>
                  <a:pt x="1554" y="70"/>
                  <a:pt x="1555" y="70"/>
                </a:cubicBezTo>
                <a:cubicBezTo>
                  <a:pt x="1555" y="70"/>
                  <a:pt x="1555" y="70"/>
                  <a:pt x="1555" y="70"/>
                </a:cubicBezTo>
                <a:cubicBezTo>
                  <a:pt x="1555" y="69"/>
                  <a:pt x="1555" y="69"/>
                  <a:pt x="1555" y="69"/>
                </a:cubicBezTo>
                <a:cubicBezTo>
                  <a:pt x="1555" y="69"/>
                  <a:pt x="1555" y="69"/>
                  <a:pt x="1555" y="69"/>
                </a:cubicBezTo>
                <a:cubicBezTo>
                  <a:pt x="1555" y="69"/>
                  <a:pt x="1555" y="69"/>
                  <a:pt x="1556" y="69"/>
                </a:cubicBezTo>
                <a:cubicBezTo>
                  <a:pt x="1556" y="69"/>
                  <a:pt x="1556" y="69"/>
                  <a:pt x="1556" y="69"/>
                </a:cubicBezTo>
                <a:cubicBezTo>
                  <a:pt x="1556" y="69"/>
                  <a:pt x="1556" y="68"/>
                  <a:pt x="1557" y="68"/>
                </a:cubicBezTo>
                <a:cubicBezTo>
                  <a:pt x="1557" y="68"/>
                  <a:pt x="1557" y="68"/>
                  <a:pt x="1557" y="68"/>
                </a:cubicBezTo>
                <a:cubicBezTo>
                  <a:pt x="1557" y="68"/>
                  <a:pt x="1557" y="68"/>
                  <a:pt x="1557" y="68"/>
                </a:cubicBezTo>
                <a:cubicBezTo>
                  <a:pt x="1557" y="68"/>
                  <a:pt x="1557" y="68"/>
                  <a:pt x="1557" y="68"/>
                </a:cubicBezTo>
                <a:cubicBezTo>
                  <a:pt x="1557" y="68"/>
                  <a:pt x="1558" y="68"/>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9" y="66"/>
                  <a:pt x="1559" y="67"/>
                  <a:pt x="1559" y="66"/>
                </a:cubicBezTo>
                <a:cubicBezTo>
                  <a:pt x="1559" y="66"/>
                  <a:pt x="1559" y="66"/>
                  <a:pt x="1559" y="66"/>
                </a:cubicBezTo>
                <a:cubicBezTo>
                  <a:pt x="1559" y="66"/>
                  <a:pt x="1559" y="66"/>
                  <a:pt x="1559" y="66"/>
                </a:cubicBezTo>
                <a:cubicBezTo>
                  <a:pt x="1559" y="66"/>
                  <a:pt x="1559" y="66"/>
                  <a:pt x="1559" y="66"/>
                </a:cubicBezTo>
                <a:cubicBezTo>
                  <a:pt x="1560" y="66"/>
                  <a:pt x="1560" y="66"/>
                  <a:pt x="1560" y="66"/>
                </a:cubicBezTo>
                <a:cubicBezTo>
                  <a:pt x="1560" y="66"/>
                  <a:pt x="1560" y="66"/>
                  <a:pt x="1560" y="66"/>
                </a:cubicBezTo>
                <a:cubicBezTo>
                  <a:pt x="1560" y="66"/>
                  <a:pt x="1560" y="65"/>
                  <a:pt x="1560" y="65"/>
                </a:cubicBezTo>
                <a:cubicBezTo>
                  <a:pt x="1560" y="65"/>
                  <a:pt x="1560" y="65"/>
                  <a:pt x="1560" y="65"/>
                </a:cubicBezTo>
                <a:cubicBezTo>
                  <a:pt x="1561" y="65"/>
                  <a:pt x="1561" y="65"/>
                  <a:pt x="1561" y="65"/>
                </a:cubicBezTo>
                <a:cubicBezTo>
                  <a:pt x="1561" y="65"/>
                  <a:pt x="1561" y="65"/>
                  <a:pt x="1561" y="65"/>
                </a:cubicBezTo>
                <a:cubicBezTo>
                  <a:pt x="1561" y="65"/>
                  <a:pt x="1561" y="65"/>
                  <a:pt x="1561" y="65"/>
                </a:cubicBezTo>
                <a:cubicBezTo>
                  <a:pt x="1561" y="65"/>
                  <a:pt x="1561" y="65"/>
                  <a:pt x="1561" y="65"/>
                </a:cubicBezTo>
                <a:cubicBezTo>
                  <a:pt x="1562" y="65"/>
                  <a:pt x="1562" y="64"/>
                  <a:pt x="1562" y="64"/>
                </a:cubicBezTo>
                <a:cubicBezTo>
                  <a:pt x="1562" y="64"/>
                  <a:pt x="1562" y="64"/>
                  <a:pt x="1562" y="64"/>
                </a:cubicBezTo>
                <a:cubicBezTo>
                  <a:pt x="1562" y="64"/>
                  <a:pt x="1562" y="64"/>
                  <a:pt x="1562" y="64"/>
                </a:cubicBezTo>
                <a:cubicBezTo>
                  <a:pt x="1562" y="64"/>
                  <a:pt x="1562" y="64"/>
                  <a:pt x="1562" y="64"/>
                </a:cubicBezTo>
                <a:cubicBezTo>
                  <a:pt x="1562" y="64"/>
                  <a:pt x="1563" y="64"/>
                  <a:pt x="1563" y="63"/>
                </a:cubicBezTo>
                <a:cubicBezTo>
                  <a:pt x="1563" y="64"/>
                  <a:pt x="1563" y="64"/>
                  <a:pt x="1563" y="64"/>
                </a:cubicBezTo>
                <a:cubicBezTo>
                  <a:pt x="1563" y="63"/>
                  <a:pt x="1563" y="63"/>
                  <a:pt x="1563" y="63"/>
                </a:cubicBezTo>
                <a:cubicBezTo>
                  <a:pt x="1563" y="63"/>
                  <a:pt x="1563" y="63"/>
                  <a:pt x="1563" y="63"/>
                </a:cubicBezTo>
                <a:cubicBezTo>
                  <a:pt x="1563" y="63"/>
                  <a:pt x="1563" y="63"/>
                  <a:pt x="1564" y="63"/>
                </a:cubicBezTo>
                <a:cubicBezTo>
                  <a:pt x="1564" y="63"/>
                  <a:pt x="1564" y="63"/>
                  <a:pt x="1564" y="63"/>
                </a:cubicBezTo>
                <a:cubicBezTo>
                  <a:pt x="1564" y="63"/>
                  <a:pt x="1564" y="63"/>
                  <a:pt x="1564" y="62"/>
                </a:cubicBezTo>
                <a:cubicBezTo>
                  <a:pt x="1564" y="62"/>
                  <a:pt x="1564" y="62"/>
                  <a:pt x="1564" y="62"/>
                </a:cubicBezTo>
                <a:cubicBezTo>
                  <a:pt x="1564" y="62"/>
                  <a:pt x="1565" y="62"/>
                  <a:pt x="1565" y="62"/>
                </a:cubicBezTo>
                <a:cubicBezTo>
                  <a:pt x="1565" y="62"/>
                  <a:pt x="1565" y="62"/>
                  <a:pt x="1565" y="62"/>
                </a:cubicBezTo>
                <a:cubicBezTo>
                  <a:pt x="1565" y="62"/>
                  <a:pt x="1565" y="62"/>
                  <a:pt x="1565" y="62"/>
                </a:cubicBezTo>
                <a:cubicBezTo>
                  <a:pt x="1565" y="62"/>
                  <a:pt x="1565" y="62"/>
                  <a:pt x="1565" y="62"/>
                </a:cubicBezTo>
                <a:cubicBezTo>
                  <a:pt x="1565" y="62"/>
                  <a:pt x="1566" y="61"/>
                  <a:pt x="1566" y="61"/>
                </a:cubicBezTo>
                <a:cubicBezTo>
                  <a:pt x="1566" y="61"/>
                  <a:pt x="1566" y="61"/>
                  <a:pt x="1566" y="61"/>
                </a:cubicBezTo>
                <a:cubicBezTo>
                  <a:pt x="1566" y="61"/>
                  <a:pt x="1566" y="61"/>
                  <a:pt x="1566" y="61"/>
                </a:cubicBezTo>
                <a:cubicBezTo>
                  <a:pt x="1566" y="61"/>
                  <a:pt x="1566" y="61"/>
                  <a:pt x="1566" y="61"/>
                </a:cubicBezTo>
                <a:cubicBezTo>
                  <a:pt x="1567" y="61"/>
                  <a:pt x="1567" y="61"/>
                  <a:pt x="1567" y="60"/>
                </a:cubicBezTo>
                <a:cubicBezTo>
                  <a:pt x="1567" y="60"/>
                  <a:pt x="1567" y="60"/>
                  <a:pt x="1567" y="60"/>
                </a:cubicBezTo>
                <a:cubicBezTo>
                  <a:pt x="1567" y="60"/>
                  <a:pt x="1567" y="60"/>
                  <a:pt x="1567" y="60"/>
                </a:cubicBezTo>
                <a:cubicBezTo>
                  <a:pt x="1567" y="60"/>
                  <a:pt x="1567" y="60"/>
                  <a:pt x="1567" y="60"/>
                </a:cubicBezTo>
                <a:cubicBezTo>
                  <a:pt x="1568" y="60"/>
                  <a:pt x="1568" y="59"/>
                  <a:pt x="1568" y="59"/>
                </a:cubicBezTo>
                <a:cubicBezTo>
                  <a:pt x="1568" y="59"/>
                  <a:pt x="1568" y="59"/>
                  <a:pt x="1568" y="59"/>
                </a:cubicBezTo>
                <a:cubicBezTo>
                  <a:pt x="1569" y="59"/>
                  <a:pt x="1569" y="59"/>
                  <a:pt x="1569" y="59"/>
                </a:cubicBezTo>
                <a:cubicBezTo>
                  <a:pt x="1569" y="59"/>
                  <a:pt x="1569" y="59"/>
                  <a:pt x="1569" y="59"/>
                </a:cubicBezTo>
                <a:cubicBezTo>
                  <a:pt x="1569" y="59"/>
                  <a:pt x="1569" y="58"/>
                  <a:pt x="1569" y="58"/>
                </a:cubicBezTo>
                <a:cubicBezTo>
                  <a:pt x="1569" y="58"/>
                  <a:pt x="1569" y="58"/>
                  <a:pt x="1569" y="58"/>
                </a:cubicBezTo>
                <a:cubicBezTo>
                  <a:pt x="1569" y="58"/>
                  <a:pt x="1569" y="58"/>
                  <a:pt x="1569" y="58"/>
                </a:cubicBezTo>
                <a:cubicBezTo>
                  <a:pt x="1569" y="58"/>
                  <a:pt x="1569" y="58"/>
                  <a:pt x="1569" y="58"/>
                </a:cubicBezTo>
                <a:cubicBezTo>
                  <a:pt x="1570" y="58"/>
                  <a:pt x="1570" y="58"/>
                  <a:pt x="1570" y="58"/>
                </a:cubicBezTo>
                <a:cubicBezTo>
                  <a:pt x="1570" y="58"/>
                  <a:pt x="1570" y="58"/>
                  <a:pt x="1570" y="58"/>
                </a:cubicBezTo>
                <a:cubicBezTo>
                  <a:pt x="1570" y="58"/>
                  <a:pt x="1570" y="57"/>
                  <a:pt x="1570" y="57"/>
                </a:cubicBezTo>
                <a:cubicBezTo>
                  <a:pt x="1570" y="57"/>
                  <a:pt x="1570" y="57"/>
                  <a:pt x="1570" y="57"/>
                </a:cubicBezTo>
                <a:cubicBezTo>
                  <a:pt x="1570" y="57"/>
                  <a:pt x="1570" y="57"/>
                  <a:pt x="1571" y="57"/>
                </a:cubicBezTo>
                <a:cubicBezTo>
                  <a:pt x="1571" y="57"/>
                  <a:pt x="1571" y="57"/>
                  <a:pt x="1571" y="57"/>
                </a:cubicBezTo>
                <a:cubicBezTo>
                  <a:pt x="1571" y="57"/>
                  <a:pt x="1571" y="57"/>
                  <a:pt x="1571" y="57"/>
                </a:cubicBezTo>
                <a:cubicBezTo>
                  <a:pt x="1571" y="57"/>
                  <a:pt x="1571" y="57"/>
                  <a:pt x="1571" y="57"/>
                </a:cubicBezTo>
                <a:cubicBezTo>
                  <a:pt x="1571" y="56"/>
                  <a:pt x="1571" y="56"/>
                  <a:pt x="1571" y="56"/>
                </a:cubicBezTo>
                <a:cubicBezTo>
                  <a:pt x="1571" y="56"/>
                  <a:pt x="1571" y="56"/>
                  <a:pt x="1571" y="56"/>
                </a:cubicBezTo>
                <a:cubicBezTo>
                  <a:pt x="1571" y="56"/>
                  <a:pt x="1572" y="56"/>
                  <a:pt x="1572" y="56"/>
                </a:cubicBezTo>
                <a:cubicBezTo>
                  <a:pt x="1572" y="56"/>
                  <a:pt x="1572" y="56"/>
                  <a:pt x="1572" y="56"/>
                </a:cubicBezTo>
                <a:cubicBezTo>
                  <a:pt x="1572" y="56"/>
                  <a:pt x="1572" y="56"/>
                  <a:pt x="1572" y="56"/>
                </a:cubicBezTo>
                <a:cubicBezTo>
                  <a:pt x="1572" y="56"/>
                  <a:pt x="1572" y="56"/>
                  <a:pt x="1572" y="56"/>
                </a:cubicBezTo>
                <a:cubicBezTo>
                  <a:pt x="1572" y="55"/>
                  <a:pt x="1572" y="55"/>
                  <a:pt x="1572" y="55"/>
                </a:cubicBezTo>
                <a:cubicBezTo>
                  <a:pt x="1572" y="55"/>
                  <a:pt x="1572" y="55"/>
                  <a:pt x="1572" y="55"/>
                </a:cubicBezTo>
                <a:cubicBezTo>
                  <a:pt x="1572" y="55"/>
                  <a:pt x="1573" y="55"/>
                  <a:pt x="1573" y="55"/>
                </a:cubicBezTo>
                <a:cubicBezTo>
                  <a:pt x="1573" y="55"/>
                  <a:pt x="1573" y="55"/>
                  <a:pt x="1573" y="55"/>
                </a:cubicBezTo>
                <a:cubicBezTo>
                  <a:pt x="1573" y="55"/>
                  <a:pt x="1573" y="55"/>
                  <a:pt x="1573" y="54"/>
                </a:cubicBezTo>
                <a:cubicBezTo>
                  <a:pt x="1573" y="54"/>
                  <a:pt x="1573" y="54"/>
                  <a:pt x="1573" y="54"/>
                </a:cubicBezTo>
                <a:cubicBezTo>
                  <a:pt x="1573" y="54"/>
                  <a:pt x="1573" y="54"/>
                  <a:pt x="1573" y="54"/>
                </a:cubicBezTo>
                <a:cubicBezTo>
                  <a:pt x="1573" y="54"/>
                  <a:pt x="1573" y="54"/>
                  <a:pt x="1573" y="54"/>
                </a:cubicBezTo>
                <a:cubicBezTo>
                  <a:pt x="1574" y="54"/>
                  <a:pt x="1574" y="53"/>
                  <a:pt x="1574" y="53"/>
                </a:cubicBezTo>
                <a:cubicBezTo>
                  <a:pt x="1574" y="53"/>
                  <a:pt x="1574" y="53"/>
                  <a:pt x="1574" y="53"/>
                </a:cubicBezTo>
                <a:cubicBezTo>
                  <a:pt x="1574" y="53"/>
                  <a:pt x="1574" y="53"/>
                  <a:pt x="1574" y="53"/>
                </a:cubicBezTo>
                <a:cubicBezTo>
                  <a:pt x="1574" y="53"/>
                  <a:pt x="1574" y="53"/>
                  <a:pt x="1574" y="53"/>
                </a:cubicBezTo>
                <a:cubicBezTo>
                  <a:pt x="1575" y="53"/>
                  <a:pt x="1575" y="53"/>
                  <a:pt x="1575" y="52"/>
                </a:cubicBezTo>
                <a:cubicBezTo>
                  <a:pt x="1575" y="52"/>
                  <a:pt x="1575" y="52"/>
                  <a:pt x="1575" y="52"/>
                </a:cubicBezTo>
                <a:cubicBezTo>
                  <a:pt x="1575" y="52"/>
                  <a:pt x="1575" y="52"/>
                  <a:pt x="1575" y="52"/>
                </a:cubicBezTo>
                <a:cubicBezTo>
                  <a:pt x="1575" y="52"/>
                  <a:pt x="1575" y="52"/>
                  <a:pt x="1575" y="52"/>
                </a:cubicBezTo>
                <a:cubicBezTo>
                  <a:pt x="1575" y="52"/>
                  <a:pt x="1575" y="52"/>
                  <a:pt x="1575" y="51"/>
                </a:cubicBezTo>
                <a:cubicBezTo>
                  <a:pt x="1575" y="51"/>
                  <a:pt x="1575" y="51"/>
                  <a:pt x="1575" y="51"/>
                </a:cubicBezTo>
                <a:cubicBezTo>
                  <a:pt x="1576" y="51"/>
                  <a:pt x="1576" y="51"/>
                  <a:pt x="1576" y="51"/>
                </a:cubicBezTo>
                <a:cubicBezTo>
                  <a:pt x="1576" y="51"/>
                  <a:pt x="1576" y="51"/>
                  <a:pt x="1576" y="51"/>
                </a:cubicBezTo>
                <a:cubicBezTo>
                  <a:pt x="1576" y="51"/>
                  <a:pt x="1576" y="51"/>
                  <a:pt x="1576" y="50"/>
                </a:cubicBezTo>
                <a:cubicBezTo>
                  <a:pt x="1576" y="50"/>
                  <a:pt x="1576" y="50"/>
                  <a:pt x="1576" y="50"/>
                </a:cubicBezTo>
                <a:cubicBezTo>
                  <a:pt x="1576" y="50"/>
                  <a:pt x="1576" y="50"/>
                  <a:pt x="1576" y="50"/>
                </a:cubicBezTo>
                <a:cubicBezTo>
                  <a:pt x="1576" y="50"/>
                  <a:pt x="1576" y="50"/>
                  <a:pt x="1576" y="50"/>
                </a:cubicBezTo>
                <a:cubicBezTo>
                  <a:pt x="1577" y="50"/>
                  <a:pt x="1577" y="49"/>
                  <a:pt x="1577" y="49"/>
                </a:cubicBezTo>
                <a:cubicBezTo>
                  <a:pt x="1577" y="49"/>
                  <a:pt x="1577" y="49"/>
                  <a:pt x="1577" y="49"/>
                </a:cubicBezTo>
                <a:cubicBezTo>
                  <a:pt x="1577" y="49"/>
                  <a:pt x="1577" y="49"/>
                  <a:pt x="1577" y="49"/>
                </a:cubicBezTo>
                <a:cubicBezTo>
                  <a:pt x="1577" y="49"/>
                  <a:pt x="1577" y="49"/>
                  <a:pt x="1577" y="49"/>
                </a:cubicBezTo>
                <a:cubicBezTo>
                  <a:pt x="1577" y="49"/>
                  <a:pt x="1577" y="48"/>
                  <a:pt x="1578" y="48"/>
                </a:cubicBezTo>
                <a:cubicBezTo>
                  <a:pt x="1577" y="48"/>
                  <a:pt x="1577" y="48"/>
                  <a:pt x="1577" y="48"/>
                </a:cubicBezTo>
                <a:cubicBezTo>
                  <a:pt x="1578" y="48"/>
                  <a:pt x="1578" y="48"/>
                  <a:pt x="1578" y="48"/>
                </a:cubicBezTo>
                <a:cubicBezTo>
                  <a:pt x="1578" y="48"/>
                  <a:pt x="1578" y="48"/>
                  <a:pt x="1578" y="48"/>
                </a:cubicBezTo>
                <a:cubicBezTo>
                  <a:pt x="1578" y="47"/>
                  <a:pt x="1578" y="47"/>
                  <a:pt x="1578" y="47"/>
                </a:cubicBezTo>
                <a:cubicBezTo>
                  <a:pt x="1578" y="47"/>
                  <a:pt x="1578" y="47"/>
                  <a:pt x="1578" y="47"/>
                </a:cubicBezTo>
                <a:cubicBezTo>
                  <a:pt x="1578" y="47"/>
                  <a:pt x="1578" y="46"/>
                  <a:pt x="1579" y="46"/>
                </a:cubicBezTo>
                <a:cubicBezTo>
                  <a:pt x="1579" y="46"/>
                  <a:pt x="1579" y="46"/>
                  <a:pt x="1579" y="46"/>
                </a:cubicBezTo>
                <a:cubicBezTo>
                  <a:pt x="1579" y="46"/>
                  <a:pt x="1579" y="46"/>
                  <a:pt x="1579" y="45"/>
                </a:cubicBezTo>
                <a:cubicBezTo>
                  <a:pt x="1579" y="45"/>
                  <a:pt x="1579" y="45"/>
                  <a:pt x="1579" y="45"/>
                </a:cubicBezTo>
                <a:cubicBezTo>
                  <a:pt x="1579" y="45"/>
                  <a:pt x="1579" y="45"/>
                  <a:pt x="1579" y="45"/>
                </a:cubicBezTo>
                <a:cubicBezTo>
                  <a:pt x="1579" y="45"/>
                  <a:pt x="1579" y="45"/>
                  <a:pt x="1579" y="45"/>
                </a:cubicBezTo>
                <a:cubicBezTo>
                  <a:pt x="1580" y="45"/>
                  <a:pt x="1579" y="44"/>
                  <a:pt x="1580" y="44"/>
                </a:cubicBezTo>
                <a:cubicBezTo>
                  <a:pt x="1580" y="44"/>
                  <a:pt x="1580" y="44"/>
                  <a:pt x="1580" y="44"/>
                </a:cubicBezTo>
                <a:cubicBezTo>
                  <a:pt x="1580" y="43"/>
                  <a:pt x="1580" y="43"/>
                  <a:pt x="1580" y="43"/>
                </a:cubicBezTo>
                <a:cubicBezTo>
                  <a:pt x="1580" y="43"/>
                  <a:pt x="1580" y="43"/>
                  <a:pt x="1580" y="43"/>
                </a:cubicBezTo>
                <a:cubicBezTo>
                  <a:pt x="1580" y="43"/>
                  <a:pt x="1580" y="43"/>
                  <a:pt x="1580" y="43"/>
                </a:cubicBezTo>
                <a:cubicBezTo>
                  <a:pt x="1580" y="42"/>
                  <a:pt x="1580" y="42"/>
                  <a:pt x="1580" y="42"/>
                </a:cubicBezTo>
                <a:cubicBezTo>
                  <a:pt x="1580" y="42"/>
                  <a:pt x="1580" y="42"/>
                  <a:pt x="1580" y="42"/>
                </a:cubicBezTo>
                <a:cubicBezTo>
                  <a:pt x="1581" y="41"/>
                  <a:pt x="1580" y="41"/>
                  <a:pt x="1581" y="40"/>
                </a:cubicBezTo>
                <a:cubicBezTo>
                  <a:pt x="1581" y="40"/>
                  <a:pt x="1581" y="40"/>
                  <a:pt x="1581" y="40"/>
                </a:cubicBezTo>
                <a:cubicBezTo>
                  <a:pt x="1581" y="40"/>
                  <a:pt x="1581" y="40"/>
                  <a:pt x="1581" y="40"/>
                </a:cubicBezTo>
                <a:cubicBezTo>
                  <a:pt x="1581" y="40"/>
                  <a:pt x="1581" y="39"/>
                  <a:pt x="1581" y="39"/>
                </a:cubicBezTo>
                <a:cubicBezTo>
                  <a:pt x="1581" y="39"/>
                  <a:pt x="1581" y="39"/>
                  <a:pt x="1581" y="39"/>
                </a:cubicBezTo>
                <a:cubicBezTo>
                  <a:pt x="1581" y="38"/>
                  <a:pt x="1581" y="37"/>
                  <a:pt x="1581" y="37"/>
                </a:cubicBezTo>
                <a:cubicBezTo>
                  <a:pt x="1581" y="37"/>
                  <a:pt x="1581" y="37"/>
                  <a:pt x="1581" y="36"/>
                </a:cubicBezTo>
                <a:cubicBezTo>
                  <a:pt x="1582" y="35"/>
                  <a:pt x="1581" y="34"/>
                  <a:pt x="1582" y="33"/>
                </a:cubicBezTo>
                <a:cubicBezTo>
                  <a:pt x="1582" y="32"/>
                  <a:pt x="1582" y="31"/>
                  <a:pt x="1582" y="29"/>
                </a:cubicBezTo>
                <a:cubicBezTo>
                  <a:pt x="1581" y="28"/>
                  <a:pt x="1582" y="27"/>
                  <a:pt x="1581" y="26"/>
                </a:cubicBezTo>
                <a:cubicBezTo>
                  <a:pt x="1581" y="26"/>
                  <a:pt x="1581" y="26"/>
                  <a:pt x="1581" y="26"/>
                </a:cubicBezTo>
                <a:cubicBezTo>
                  <a:pt x="1581" y="26"/>
                  <a:pt x="1581" y="25"/>
                  <a:pt x="1581" y="25"/>
                </a:cubicBezTo>
                <a:cubicBezTo>
                  <a:pt x="1581" y="25"/>
                  <a:pt x="1581" y="24"/>
                  <a:pt x="1581" y="24"/>
                </a:cubicBezTo>
                <a:cubicBezTo>
                  <a:pt x="1581" y="24"/>
                  <a:pt x="1581" y="24"/>
                  <a:pt x="1581" y="23"/>
                </a:cubicBezTo>
                <a:cubicBezTo>
                  <a:pt x="1581" y="23"/>
                  <a:pt x="1581" y="23"/>
                  <a:pt x="1581" y="23"/>
                </a:cubicBezTo>
                <a:cubicBezTo>
                  <a:pt x="1580" y="23"/>
                  <a:pt x="1581" y="22"/>
                  <a:pt x="1580" y="22"/>
                </a:cubicBezTo>
                <a:close/>
                <a:moveTo>
                  <a:pt x="1749" y="37"/>
                </a:moveTo>
                <a:cubicBezTo>
                  <a:pt x="1749" y="37"/>
                  <a:pt x="1749" y="37"/>
                  <a:pt x="1749" y="36"/>
                </a:cubicBezTo>
                <a:cubicBezTo>
                  <a:pt x="1750" y="35"/>
                  <a:pt x="1749" y="34"/>
                  <a:pt x="1750" y="33"/>
                </a:cubicBezTo>
                <a:cubicBezTo>
                  <a:pt x="1750" y="32"/>
                  <a:pt x="1750" y="31"/>
                  <a:pt x="1750" y="29"/>
                </a:cubicBezTo>
                <a:cubicBezTo>
                  <a:pt x="1749" y="28"/>
                  <a:pt x="1750" y="28"/>
                  <a:pt x="1750" y="27"/>
                </a:cubicBezTo>
                <a:cubicBezTo>
                  <a:pt x="1749" y="26"/>
                  <a:pt x="1749" y="26"/>
                  <a:pt x="1749" y="26"/>
                </a:cubicBezTo>
                <a:cubicBezTo>
                  <a:pt x="1749" y="26"/>
                  <a:pt x="1749" y="25"/>
                  <a:pt x="1749" y="25"/>
                </a:cubicBezTo>
                <a:cubicBezTo>
                  <a:pt x="1749" y="25"/>
                  <a:pt x="1749" y="24"/>
                  <a:pt x="1749" y="24"/>
                </a:cubicBezTo>
                <a:cubicBezTo>
                  <a:pt x="1749" y="24"/>
                  <a:pt x="1749" y="24"/>
                  <a:pt x="1749" y="23"/>
                </a:cubicBezTo>
                <a:cubicBezTo>
                  <a:pt x="1749" y="23"/>
                  <a:pt x="1749" y="23"/>
                  <a:pt x="1749" y="23"/>
                </a:cubicBezTo>
                <a:cubicBezTo>
                  <a:pt x="1749" y="23"/>
                  <a:pt x="1749" y="22"/>
                  <a:pt x="1748" y="22"/>
                </a:cubicBezTo>
                <a:cubicBezTo>
                  <a:pt x="1748" y="22"/>
                  <a:pt x="1748" y="22"/>
                  <a:pt x="1748" y="22"/>
                </a:cubicBezTo>
                <a:cubicBezTo>
                  <a:pt x="1748" y="22"/>
                  <a:pt x="1748" y="21"/>
                  <a:pt x="1748" y="21"/>
                </a:cubicBezTo>
                <a:cubicBezTo>
                  <a:pt x="1748" y="21"/>
                  <a:pt x="1748" y="21"/>
                  <a:pt x="1748" y="21"/>
                </a:cubicBezTo>
                <a:cubicBezTo>
                  <a:pt x="1748" y="21"/>
                  <a:pt x="1748" y="21"/>
                  <a:pt x="1748" y="21"/>
                </a:cubicBezTo>
                <a:cubicBezTo>
                  <a:pt x="1748" y="21"/>
                  <a:pt x="1748" y="20"/>
                  <a:pt x="1748" y="20"/>
                </a:cubicBezTo>
                <a:cubicBezTo>
                  <a:pt x="1748" y="20"/>
                  <a:pt x="1748" y="20"/>
                  <a:pt x="1748" y="20"/>
                </a:cubicBezTo>
                <a:cubicBezTo>
                  <a:pt x="1748" y="20"/>
                  <a:pt x="1748" y="20"/>
                  <a:pt x="1747" y="19"/>
                </a:cubicBezTo>
                <a:cubicBezTo>
                  <a:pt x="1747" y="19"/>
                  <a:pt x="1747" y="19"/>
                  <a:pt x="1747" y="19"/>
                </a:cubicBezTo>
                <a:cubicBezTo>
                  <a:pt x="1747" y="19"/>
                  <a:pt x="1747" y="19"/>
                  <a:pt x="1747" y="19"/>
                </a:cubicBezTo>
                <a:cubicBezTo>
                  <a:pt x="1747" y="19"/>
                  <a:pt x="1747" y="19"/>
                  <a:pt x="1747" y="19"/>
                </a:cubicBezTo>
                <a:cubicBezTo>
                  <a:pt x="1747" y="18"/>
                  <a:pt x="1747" y="18"/>
                  <a:pt x="1747" y="18"/>
                </a:cubicBezTo>
                <a:cubicBezTo>
                  <a:pt x="1747" y="18"/>
                  <a:pt x="1747" y="18"/>
                  <a:pt x="1747" y="18"/>
                </a:cubicBezTo>
                <a:cubicBezTo>
                  <a:pt x="1746" y="18"/>
                  <a:pt x="1747" y="17"/>
                  <a:pt x="1746" y="17"/>
                </a:cubicBezTo>
                <a:cubicBezTo>
                  <a:pt x="1746" y="17"/>
                  <a:pt x="1746" y="17"/>
                  <a:pt x="1746" y="17"/>
                </a:cubicBezTo>
                <a:cubicBezTo>
                  <a:pt x="1746" y="17"/>
                  <a:pt x="1746" y="17"/>
                  <a:pt x="1746" y="17"/>
                </a:cubicBezTo>
                <a:cubicBezTo>
                  <a:pt x="1746" y="17"/>
                  <a:pt x="1746" y="17"/>
                  <a:pt x="1746" y="17"/>
                </a:cubicBezTo>
                <a:cubicBezTo>
                  <a:pt x="1746" y="17"/>
                  <a:pt x="1746" y="16"/>
                  <a:pt x="1746" y="16"/>
                </a:cubicBezTo>
                <a:cubicBezTo>
                  <a:pt x="1746" y="16"/>
                  <a:pt x="1746" y="16"/>
                  <a:pt x="1746" y="16"/>
                </a:cubicBezTo>
                <a:cubicBezTo>
                  <a:pt x="1746" y="16"/>
                  <a:pt x="1745" y="16"/>
                  <a:pt x="1745" y="16"/>
                </a:cubicBezTo>
                <a:cubicBezTo>
                  <a:pt x="1745" y="16"/>
                  <a:pt x="1745" y="16"/>
                  <a:pt x="1745" y="16"/>
                </a:cubicBezTo>
                <a:cubicBezTo>
                  <a:pt x="1745" y="16"/>
                  <a:pt x="1745" y="15"/>
                  <a:pt x="1745" y="15"/>
                </a:cubicBezTo>
                <a:cubicBezTo>
                  <a:pt x="1745" y="15"/>
                  <a:pt x="1745" y="15"/>
                  <a:pt x="1745" y="15"/>
                </a:cubicBezTo>
                <a:cubicBezTo>
                  <a:pt x="1745" y="15"/>
                  <a:pt x="1744" y="15"/>
                  <a:pt x="1744" y="15"/>
                </a:cubicBezTo>
                <a:cubicBezTo>
                  <a:pt x="1744" y="15"/>
                  <a:pt x="1744" y="15"/>
                  <a:pt x="1744" y="15"/>
                </a:cubicBezTo>
                <a:cubicBezTo>
                  <a:pt x="1744" y="14"/>
                  <a:pt x="1744" y="14"/>
                  <a:pt x="1744" y="14"/>
                </a:cubicBezTo>
                <a:cubicBezTo>
                  <a:pt x="1744" y="14"/>
                  <a:pt x="1744" y="14"/>
                  <a:pt x="1744" y="14"/>
                </a:cubicBezTo>
                <a:cubicBezTo>
                  <a:pt x="1744" y="14"/>
                  <a:pt x="1744" y="14"/>
                  <a:pt x="1744" y="14"/>
                </a:cubicBezTo>
                <a:cubicBezTo>
                  <a:pt x="1744" y="14"/>
                  <a:pt x="1744" y="14"/>
                  <a:pt x="1744" y="14"/>
                </a:cubicBezTo>
                <a:cubicBezTo>
                  <a:pt x="1743" y="14"/>
                  <a:pt x="1743" y="14"/>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2" y="13"/>
                  <a:pt x="1742" y="13"/>
                  <a:pt x="1742" y="12"/>
                </a:cubicBezTo>
                <a:cubicBezTo>
                  <a:pt x="1742" y="12"/>
                  <a:pt x="1742" y="12"/>
                  <a:pt x="1742" y="12"/>
                </a:cubicBezTo>
                <a:cubicBezTo>
                  <a:pt x="1742" y="12"/>
                  <a:pt x="1742" y="12"/>
                  <a:pt x="1742" y="12"/>
                </a:cubicBezTo>
                <a:cubicBezTo>
                  <a:pt x="1742" y="12"/>
                  <a:pt x="1742" y="12"/>
                  <a:pt x="1742" y="12"/>
                </a:cubicBezTo>
                <a:cubicBezTo>
                  <a:pt x="1742" y="12"/>
                  <a:pt x="1742" y="12"/>
                  <a:pt x="1741" y="12"/>
                </a:cubicBezTo>
                <a:cubicBezTo>
                  <a:pt x="1741" y="12"/>
                  <a:pt x="1741" y="12"/>
                  <a:pt x="1741" y="12"/>
                </a:cubicBezTo>
                <a:cubicBezTo>
                  <a:pt x="1741" y="11"/>
                  <a:pt x="1741" y="11"/>
                  <a:pt x="1740" y="11"/>
                </a:cubicBezTo>
                <a:cubicBezTo>
                  <a:pt x="1740" y="11"/>
                  <a:pt x="1740" y="11"/>
                  <a:pt x="1740" y="11"/>
                </a:cubicBezTo>
                <a:cubicBezTo>
                  <a:pt x="1740" y="11"/>
                  <a:pt x="1740" y="11"/>
                  <a:pt x="1740" y="11"/>
                </a:cubicBezTo>
                <a:cubicBezTo>
                  <a:pt x="1740" y="11"/>
                  <a:pt x="1740" y="11"/>
                  <a:pt x="1740" y="11"/>
                </a:cubicBezTo>
                <a:cubicBezTo>
                  <a:pt x="1740" y="10"/>
                  <a:pt x="1740" y="11"/>
                  <a:pt x="1739" y="10"/>
                </a:cubicBezTo>
                <a:cubicBezTo>
                  <a:pt x="1739" y="10"/>
                  <a:pt x="1739" y="10"/>
                  <a:pt x="1739" y="10"/>
                </a:cubicBezTo>
                <a:cubicBezTo>
                  <a:pt x="1739" y="10"/>
                  <a:pt x="1739" y="10"/>
                  <a:pt x="1739" y="10"/>
                </a:cubicBezTo>
                <a:cubicBezTo>
                  <a:pt x="1739" y="10"/>
                  <a:pt x="1739" y="10"/>
                  <a:pt x="1739" y="10"/>
                </a:cubicBezTo>
                <a:cubicBezTo>
                  <a:pt x="1739" y="10"/>
                  <a:pt x="1739" y="10"/>
                  <a:pt x="1738" y="10"/>
                </a:cubicBezTo>
                <a:cubicBezTo>
                  <a:pt x="1738" y="10"/>
                  <a:pt x="1738" y="10"/>
                  <a:pt x="1738" y="10"/>
                </a:cubicBezTo>
                <a:cubicBezTo>
                  <a:pt x="1738" y="9"/>
                  <a:pt x="1738" y="9"/>
                  <a:pt x="1738" y="9"/>
                </a:cubicBezTo>
                <a:cubicBezTo>
                  <a:pt x="1738" y="9"/>
                  <a:pt x="1738" y="9"/>
                  <a:pt x="1738" y="9"/>
                </a:cubicBezTo>
                <a:cubicBezTo>
                  <a:pt x="1738" y="9"/>
                  <a:pt x="1737" y="9"/>
                  <a:pt x="1737" y="9"/>
                </a:cubicBezTo>
                <a:cubicBezTo>
                  <a:pt x="1737" y="9"/>
                  <a:pt x="1737" y="9"/>
                  <a:pt x="1737" y="9"/>
                </a:cubicBezTo>
                <a:cubicBezTo>
                  <a:pt x="1737" y="9"/>
                  <a:pt x="1737" y="9"/>
                  <a:pt x="1737" y="9"/>
                </a:cubicBezTo>
                <a:cubicBezTo>
                  <a:pt x="1737" y="9"/>
                  <a:pt x="1737" y="9"/>
                  <a:pt x="1737" y="9"/>
                </a:cubicBezTo>
                <a:cubicBezTo>
                  <a:pt x="1736" y="8"/>
                  <a:pt x="1736" y="8"/>
                  <a:pt x="1736" y="8"/>
                </a:cubicBezTo>
                <a:cubicBezTo>
                  <a:pt x="1736" y="8"/>
                  <a:pt x="1736" y="8"/>
                  <a:pt x="1736" y="8"/>
                </a:cubicBezTo>
                <a:cubicBezTo>
                  <a:pt x="1736" y="8"/>
                  <a:pt x="1735" y="8"/>
                  <a:pt x="1735" y="8"/>
                </a:cubicBezTo>
                <a:cubicBezTo>
                  <a:pt x="1735" y="8"/>
                  <a:pt x="1735" y="8"/>
                  <a:pt x="1735" y="8"/>
                </a:cubicBezTo>
                <a:cubicBezTo>
                  <a:pt x="1735" y="8"/>
                  <a:pt x="1734" y="8"/>
                  <a:pt x="1734" y="8"/>
                </a:cubicBezTo>
                <a:cubicBezTo>
                  <a:pt x="1734" y="8"/>
                  <a:pt x="1734" y="8"/>
                  <a:pt x="1734" y="7"/>
                </a:cubicBezTo>
                <a:cubicBezTo>
                  <a:pt x="1734" y="7"/>
                  <a:pt x="1733" y="7"/>
                  <a:pt x="1733" y="7"/>
                </a:cubicBezTo>
                <a:cubicBezTo>
                  <a:pt x="1733" y="7"/>
                  <a:pt x="1733" y="7"/>
                  <a:pt x="1733" y="7"/>
                </a:cubicBezTo>
                <a:cubicBezTo>
                  <a:pt x="1733" y="7"/>
                  <a:pt x="1732" y="7"/>
                  <a:pt x="1732" y="7"/>
                </a:cubicBezTo>
                <a:cubicBezTo>
                  <a:pt x="1732" y="7"/>
                  <a:pt x="1732" y="7"/>
                  <a:pt x="1732" y="7"/>
                </a:cubicBezTo>
                <a:cubicBezTo>
                  <a:pt x="1732" y="7"/>
                  <a:pt x="1732" y="7"/>
                  <a:pt x="1732" y="7"/>
                </a:cubicBezTo>
                <a:cubicBezTo>
                  <a:pt x="1731" y="7"/>
                  <a:pt x="1731" y="7"/>
                  <a:pt x="1731" y="7"/>
                </a:cubicBezTo>
                <a:cubicBezTo>
                  <a:pt x="1730" y="7"/>
                  <a:pt x="1730" y="7"/>
                  <a:pt x="1730" y="7"/>
                </a:cubicBezTo>
                <a:cubicBezTo>
                  <a:pt x="1730" y="6"/>
                  <a:pt x="1730" y="6"/>
                  <a:pt x="1730" y="6"/>
                </a:cubicBezTo>
                <a:cubicBezTo>
                  <a:pt x="1730" y="6"/>
                  <a:pt x="1729" y="7"/>
                  <a:pt x="1729" y="6"/>
                </a:cubicBezTo>
                <a:cubicBezTo>
                  <a:pt x="1728" y="6"/>
                  <a:pt x="1728" y="6"/>
                  <a:pt x="1728" y="6"/>
                </a:cubicBezTo>
                <a:cubicBezTo>
                  <a:pt x="1727" y="6"/>
                  <a:pt x="1726" y="6"/>
                  <a:pt x="1726" y="6"/>
                </a:cubicBezTo>
                <a:cubicBezTo>
                  <a:pt x="1725" y="6"/>
                  <a:pt x="1724" y="6"/>
                  <a:pt x="1724" y="6"/>
                </a:cubicBezTo>
                <a:cubicBezTo>
                  <a:pt x="1723" y="6"/>
                  <a:pt x="1722" y="6"/>
                  <a:pt x="1722" y="6"/>
                </a:cubicBezTo>
                <a:cubicBezTo>
                  <a:pt x="1721" y="6"/>
                  <a:pt x="1720" y="6"/>
                  <a:pt x="1719" y="6"/>
                </a:cubicBezTo>
                <a:cubicBezTo>
                  <a:pt x="1719" y="6"/>
                  <a:pt x="1718" y="6"/>
                  <a:pt x="1717" y="6"/>
                </a:cubicBezTo>
                <a:cubicBezTo>
                  <a:pt x="1717" y="6"/>
                  <a:pt x="1716" y="6"/>
                  <a:pt x="1716" y="6"/>
                </a:cubicBezTo>
                <a:cubicBezTo>
                  <a:pt x="1716" y="7"/>
                  <a:pt x="1715" y="6"/>
                  <a:pt x="1714" y="6"/>
                </a:cubicBezTo>
                <a:cubicBezTo>
                  <a:pt x="1714" y="7"/>
                  <a:pt x="1714" y="7"/>
                  <a:pt x="1714" y="7"/>
                </a:cubicBezTo>
                <a:cubicBezTo>
                  <a:pt x="1714" y="7"/>
                  <a:pt x="1714" y="7"/>
                  <a:pt x="1714" y="7"/>
                </a:cubicBezTo>
                <a:cubicBezTo>
                  <a:pt x="1714" y="7"/>
                  <a:pt x="1713" y="7"/>
                  <a:pt x="1713" y="7"/>
                </a:cubicBezTo>
                <a:cubicBezTo>
                  <a:pt x="1713" y="7"/>
                  <a:pt x="1713" y="7"/>
                  <a:pt x="1713" y="7"/>
                </a:cubicBezTo>
                <a:cubicBezTo>
                  <a:pt x="1712" y="7"/>
                  <a:pt x="1712" y="7"/>
                  <a:pt x="1712" y="7"/>
                </a:cubicBezTo>
                <a:cubicBezTo>
                  <a:pt x="1711" y="7"/>
                  <a:pt x="1711" y="7"/>
                  <a:pt x="1711" y="7"/>
                </a:cubicBezTo>
                <a:cubicBezTo>
                  <a:pt x="1711" y="7"/>
                  <a:pt x="1711" y="7"/>
                  <a:pt x="1711" y="7"/>
                </a:cubicBezTo>
                <a:cubicBezTo>
                  <a:pt x="1711" y="7"/>
                  <a:pt x="1711" y="7"/>
                  <a:pt x="1710" y="8"/>
                </a:cubicBezTo>
                <a:cubicBezTo>
                  <a:pt x="1710" y="8"/>
                  <a:pt x="1710" y="8"/>
                  <a:pt x="1710" y="8"/>
                </a:cubicBezTo>
                <a:cubicBezTo>
                  <a:pt x="1710" y="8"/>
                  <a:pt x="1710" y="8"/>
                  <a:pt x="1710" y="8"/>
                </a:cubicBezTo>
                <a:cubicBezTo>
                  <a:pt x="1710" y="8"/>
                  <a:pt x="1710" y="8"/>
                  <a:pt x="1709" y="8"/>
                </a:cubicBezTo>
                <a:cubicBezTo>
                  <a:pt x="1709" y="8"/>
                  <a:pt x="1709" y="8"/>
                  <a:pt x="1709" y="8"/>
                </a:cubicBezTo>
                <a:cubicBezTo>
                  <a:pt x="1709" y="8"/>
                  <a:pt x="1709" y="8"/>
                  <a:pt x="1709" y="8"/>
                </a:cubicBezTo>
                <a:cubicBezTo>
                  <a:pt x="1709" y="8"/>
                  <a:pt x="1709" y="8"/>
                  <a:pt x="1709" y="8"/>
                </a:cubicBezTo>
                <a:cubicBezTo>
                  <a:pt x="1709" y="8"/>
                  <a:pt x="1709" y="8"/>
                  <a:pt x="1709" y="8"/>
                </a:cubicBezTo>
                <a:cubicBezTo>
                  <a:pt x="1708" y="8"/>
                  <a:pt x="1708" y="8"/>
                  <a:pt x="1708" y="9"/>
                </a:cubicBezTo>
                <a:cubicBezTo>
                  <a:pt x="1708" y="9"/>
                  <a:pt x="1708" y="9"/>
                  <a:pt x="1708" y="9"/>
                </a:cubicBezTo>
                <a:cubicBezTo>
                  <a:pt x="1708" y="9"/>
                  <a:pt x="1707" y="9"/>
                  <a:pt x="1707" y="9"/>
                </a:cubicBezTo>
                <a:cubicBezTo>
                  <a:pt x="1707" y="9"/>
                  <a:pt x="1707" y="9"/>
                  <a:pt x="1707" y="9"/>
                </a:cubicBezTo>
                <a:cubicBezTo>
                  <a:pt x="1707" y="9"/>
                  <a:pt x="1707" y="9"/>
                  <a:pt x="1706" y="9"/>
                </a:cubicBezTo>
                <a:cubicBezTo>
                  <a:pt x="1706" y="9"/>
                  <a:pt x="1706" y="9"/>
                  <a:pt x="1706" y="9"/>
                </a:cubicBezTo>
                <a:cubicBezTo>
                  <a:pt x="1706" y="9"/>
                  <a:pt x="1706" y="9"/>
                  <a:pt x="1706" y="10"/>
                </a:cubicBezTo>
                <a:cubicBezTo>
                  <a:pt x="1706" y="10"/>
                  <a:pt x="1706" y="10"/>
                  <a:pt x="1706" y="10"/>
                </a:cubicBezTo>
                <a:cubicBezTo>
                  <a:pt x="1706" y="10"/>
                  <a:pt x="1705" y="10"/>
                  <a:pt x="1705" y="10"/>
                </a:cubicBezTo>
                <a:cubicBezTo>
                  <a:pt x="1705" y="10"/>
                  <a:pt x="1705" y="10"/>
                  <a:pt x="1705" y="10"/>
                </a:cubicBezTo>
                <a:cubicBezTo>
                  <a:pt x="1705" y="10"/>
                  <a:pt x="1705" y="10"/>
                  <a:pt x="1705" y="10"/>
                </a:cubicBezTo>
                <a:cubicBezTo>
                  <a:pt x="1705" y="10"/>
                  <a:pt x="1705" y="10"/>
                  <a:pt x="1705" y="10"/>
                </a:cubicBezTo>
                <a:cubicBezTo>
                  <a:pt x="1704" y="11"/>
                  <a:pt x="1704" y="10"/>
                  <a:pt x="1704" y="11"/>
                </a:cubicBezTo>
                <a:cubicBezTo>
                  <a:pt x="1704" y="11"/>
                  <a:pt x="1704" y="11"/>
                  <a:pt x="1704" y="11"/>
                </a:cubicBezTo>
                <a:cubicBezTo>
                  <a:pt x="1704" y="11"/>
                  <a:pt x="1704" y="11"/>
                  <a:pt x="1704" y="11"/>
                </a:cubicBezTo>
                <a:cubicBezTo>
                  <a:pt x="1704" y="11"/>
                  <a:pt x="1704" y="11"/>
                  <a:pt x="1704" y="11"/>
                </a:cubicBezTo>
                <a:cubicBezTo>
                  <a:pt x="1703" y="11"/>
                  <a:pt x="1703" y="11"/>
                  <a:pt x="1703" y="11"/>
                </a:cubicBezTo>
                <a:cubicBezTo>
                  <a:pt x="1703" y="11"/>
                  <a:pt x="1703" y="11"/>
                  <a:pt x="1703" y="11"/>
                </a:cubicBezTo>
                <a:cubicBezTo>
                  <a:pt x="1703" y="11"/>
                  <a:pt x="1703" y="12"/>
                  <a:pt x="1703" y="12"/>
                </a:cubicBezTo>
                <a:cubicBezTo>
                  <a:pt x="1703" y="12"/>
                  <a:pt x="1703" y="12"/>
                  <a:pt x="1703" y="12"/>
                </a:cubicBezTo>
                <a:cubicBezTo>
                  <a:pt x="1702" y="12"/>
                  <a:pt x="1702" y="12"/>
                  <a:pt x="1702" y="12"/>
                </a:cubicBezTo>
                <a:cubicBezTo>
                  <a:pt x="1702" y="12"/>
                  <a:pt x="1702" y="12"/>
                  <a:pt x="1702" y="12"/>
                </a:cubicBezTo>
                <a:cubicBezTo>
                  <a:pt x="1702" y="12"/>
                  <a:pt x="1702" y="12"/>
                  <a:pt x="1702" y="12"/>
                </a:cubicBezTo>
                <a:cubicBezTo>
                  <a:pt x="1702" y="12"/>
                  <a:pt x="1702" y="12"/>
                  <a:pt x="1702" y="12"/>
                </a:cubicBezTo>
                <a:cubicBezTo>
                  <a:pt x="1701" y="12"/>
                  <a:pt x="1701" y="13"/>
                  <a:pt x="1701" y="13"/>
                </a:cubicBezTo>
                <a:cubicBezTo>
                  <a:pt x="1701" y="13"/>
                  <a:pt x="1701" y="13"/>
                  <a:pt x="1701" y="13"/>
                </a:cubicBezTo>
                <a:cubicBezTo>
                  <a:pt x="1701" y="13"/>
                  <a:pt x="1701" y="13"/>
                  <a:pt x="1701" y="13"/>
                </a:cubicBezTo>
                <a:cubicBezTo>
                  <a:pt x="1701" y="13"/>
                  <a:pt x="1701" y="13"/>
                  <a:pt x="1701" y="13"/>
                </a:cubicBezTo>
                <a:cubicBezTo>
                  <a:pt x="1701" y="13"/>
                  <a:pt x="1701" y="13"/>
                  <a:pt x="1700" y="13"/>
                </a:cubicBezTo>
                <a:cubicBezTo>
                  <a:pt x="1700" y="13"/>
                  <a:pt x="1700" y="13"/>
                  <a:pt x="1700" y="13"/>
                </a:cubicBezTo>
                <a:cubicBezTo>
                  <a:pt x="1700" y="14"/>
                  <a:pt x="1699" y="14"/>
                  <a:pt x="1699" y="15"/>
                </a:cubicBezTo>
                <a:cubicBezTo>
                  <a:pt x="1699" y="15"/>
                  <a:pt x="1699" y="15"/>
                  <a:pt x="1699" y="15"/>
                </a:cubicBezTo>
                <a:cubicBezTo>
                  <a:pt x="1699" y="15"/>
                  <a:pt x="1699" y="15"/>
                  <a:pt x="1699" y="15"/>
                </a:cubicBezTo>
                <a:cubicBezTo>
                  <a:pt x="1699" y="19"/>
                  <a:pt x="1699" y="22"/>
                  <a:pt x="1699" y="26"/>
                </a:cubicBezTo>
                <a:cubicBezTo>
                  <a:pt x="1699" y="26"/>
                  <a:pt x="1699" y="26"/>
                  <a:pt x="1699" y="26"/>
                </a:cubicBezTo>
                <a:cubicBezTo>
                  <a:pt x="1699" y="26"/>
                  <a:pt x="1699" y="26"/>
                  <a:pt x="1699" y="26"/>
                </a:cubicBezTo>
                <a:cubicBezTo>
                  <a:pt x="1699" y="26"/>
                  <a:pt x="1700" y="26"/>
                  <a:pt x="1700" y="26"/>
                </a:cubicBezTo>
                <a:cubicBezTo>
                  <a:pt x="1700" y="26"/>
                  <a:pt x="1700" y="26"/>
                  <a:pt x="1700" y="26"/>
                </a:cubicBezTo>
                <a:cubicBezTo>
                  <a:pt x="1700" y="26"/>
                  <a:pt x="1700" y="26"/>
                  <a:pt x="1700" y="26"/>
                </a:cubicBezTo>
                <a:cubicBezTo>
                  <a:pt x="1700" y="26"/>
                  <a:pt x="1700" y="26"/>
                  <a:pt x="1700" y="26"/>
                </a:cubicBezTo>
                <a:cubicBezTo>
                  <a:pt x="1700" y="26"/>
                  <a:pt x="1700" y="25"/>
                  <a:pt x="1700" y="25"/>
                </a:cubicBezTo>
                <a:cubicBezTo>
                  <a:pt x="1700" y="25"/>
                  <a:pt x="1700" y="25"/>
                  <a:pt x="1700" y="25"/>
                </a:cubicBezTo>
                <a:cubicBezTo>
                  <a:pt x="1701" y="25"/>
                  <a:pt x="1701" y="25"/>
                  <a:pt x="1701" y="25"/>
                </a:cubicBezTo>
                <a:cubicBezTo>
                  <a:pt x="1701" y="25"/>
                  <a:pt x="1701" y="25"/>
                  <a:pt x="1701" y="25"/>
                </a:cubicBezTo>
                <a:cubicBezTo>
                  <a:pt x="1701" y="25"/>
                  <a:pt x="1701" y="25"/>
                  <a:pt x="1701" y="24"/>
                </a:cubicBezTo>
                <a:cubicBezTo>
                  <a:pt x="1701" y="25"/>
                  <a:pt x="1701" y="25"/>
                  <a:pt x="1701" y="25"/>
                </a:cubicBezTo>
                <a:cubicBezTo>
                  <a:pt x="1701" y="24"/>
                  <a:pt x="1701" y="24"/>
                  <a:pt x="1701" y="24"/>
                </a:cubicBezTo>
                <a:cubicBezTo>
                  <a:pt x="1701" y="24"/>
                  <a:pt x="1701" y="24"/>
                  <a:pt x="1701" y="24"/>
                </a:cubicBezTo>
                <a:cubicBezTo>
                  <a:pt x="1702" y="24"/>
                  <a:pt x="1702" y="24"/>
                  <a:pt x="1702" y="24"/>
                </a:cubicBezTo>
                <a:cubicBezTo>
                  <a:pt x="1702" y="24"/>
                  <a:pt x="1702" y="24"/>
                  <a:pt x="1702" y="24"/>
                </a:cubicBezTo>
                <a:cubicBezTo>
                  <a:pt x="1702" y="24"/>
                  <a:pt x="1702" y="24"/>
                  <a:pt x="1702" y="23"/>
                </a:cubicBezTo>
                <a:cubicBezTo>
                  <a:pt x="1702" y="24"/>
                  <a:pt x="1702" y="24"/>
                  <a:pt x="1702" y="24"/>
                </a:cubicBezTo>
                <a:cubicBezTo>
                  <a:pt x="1702" y="23"/>
                  <a:pt x="1702" y="23"/>
                  <a:pt x="1702" y="23"/>
                </a:cubicBezTo>
                <a:cubicBezTo>
                  <a:pt x="1702" y="23"/>
                  <a:pt x="1702" y="23"/>
                  <a:pt x="1702" y="23"/>
                </a:cubicBezTo>
                <a:cubicBezTo>
                  <a:pt x="1703" y="23"/>
                  <a:pt x="1703" y="23"/>
                  <a:pt x="1703" y="23"/>
                </a:cubicBezTo>
                <a:cubicBezTo>
                  <a:pt x="1703" y="23"/>
                  <a:pt x="1703" y="23"/>
                  <a:pt x="1703" y="23"/>
                </a:cubicBezTo>
                <a:cubicBezTo>
                  <a:pt x="1703" y="23"/>
                  <a:pt x="1703" y="23"/>
                  <a:pt x="1703" y="23"/>
                </a:cubicBezTo>
                <a:cubicBezTo>
                  <a:pt x="1703" y="23"/>
                  <a:pt x="1703" y="23"/>
                  <a:pt x="1703" y="23"/>
                </a:cubicBezTo>
                <a:cubicBezTo>
                  <a:pt x="1703" y="22"/>
                  <a:pt x="1704" y="22"/>
                  <a:pt x="1704" y="22"/>
                </a:cubicBezTo>
                <a:cubicBezTo>
                  <a:pt x="1704" y="22"/>
                  <a:pt x="1704" y="22"/>
                  <a:pt x="1704" y="22"/>
                </a:cubicBezTo>
                <a:cubicBezTo>
                  <a:pt x="1704" y="22"/>
                  <a:pt x="1704" y="22"/>
                  <a:pt x="1704" y="22"/>
                </a:cubicBezTo>
                <a:cubicBezTo>
                  <a:pt x="1704" y="22"/>
                  <a:pt x="1704" y="22"/>
                  <a:pt x="1704" y="22"/>
                </a:cubicBezTo>
                <a:cubicBezTo>
                  <a:pt x="1704" y="22"/>
                  <a:pt x="1704" y="22"/>
                  <a:pt x="1705" y="21"/>
                </a:cubicBezTo>
                <a:cubicBezTo>
                  <a:pt x="1705" y="21"/>
                  <a:pt x="1705" y="21"/>
                  <a:pt x="1705" y="21"/>
                </a:cubicBezTo>
                <a:cubicBezTo>
                  <a:pt x="1705" y="21"/>
                  <a:pt x="1705" y="21"/>
                  <a:pt x="1706" y="21"/>
                </a:cubicBezTo>
                <a:cubicBezTo>
                  <a:pt x="1706" y="21"/>
                  <a:pt x="1706" y="21"/>
                  <a:pt x="1706" y="21"/>
                </a:cubicBezTo>
                <a:cubicBezTo>
                  <a:pt x="1706" y="21"/>
                  <a:pt x="1706" y="21"/>
                  <a:pt x="1706" y="20"/>
                </a:cubicBezTo>
                <a:cubicBezTo>
                  <a:pt x="1706" y="20"/>
                  <a:pt x="1706" y="20"/>
                  <a:pt x="1706" y="20"/>
                </a:cubicBezTo>
                <a:cubicBezTo>
                  <a:pt x="1706" y="20"/>
                  <a:pt x="1707" y="20"/>
                  <a:pt x="1707" y="20"/>
                </a:cubicBezTo>
                <a:cubicBezTo>
                  <a:pt x="1707" y="20"/>
                  <a:pt x="1707" y="20"/>
                  <a:pt x="1707" y="20"/>
                </a:cubicBezTo>
                <a:cubicBezTo>
                  <a:pt x="1707" y="20"/>
                  <a:pt x="1707" y="20"/>
                  <a:pt x="1707" y="20"/>
                </a:cubicBezTo>
                <a:cubicBezTo>
                  <a:pt x="1707" y="20"/>
                  <a:pt x="1707" y="20"/>
                  <a:pt x="1707" y="20"/>
                </a:cubicBezTo>
                <a:cubicBezTo>
                  <a:pt x="1707" y="19"/>
                  <a:pt x="1708" y="20"/>
                  <a:pt x="1708" y="19"/>
                </a:cubicBezTo>
                <a:cubicBezTo>
                  <a:pt x="1708" y="19"/>
                  <a:pt x="1708" y="19"/>
                  <a:pt x="1708" y="19"/>
                </a:cubicBezTo>
                <a:cubicBezTo>
                  <a:pt x="1708" y="19"/>
                  <a:pt x="1708" y="19"/>
                  <a:pt x="1708" y="19"/>
                </a:cubicBezTo>
                <a:cubicBezTo>
                  <a:pt x="1708" y="19"/>
                  <a:pt x="1708" y="19"/>
                  <a:pt x="1708" y="19"/>
                </a:cubicBezTo>
                <a:cubicBezTo>
                  <a:pt x="1709" y="19"/>
                  <a:pt x="1709" y="19"/>
                  <a:pt x="1709" y="19"/>
                </a:cubicBezTo>
                <a:cubicBezTo>
                  <a:pt x="1709" y="19"/>
                  <a:pt x="1709" y="19"/>
                  <a:pt x="1709" y="19"/>
                </a:cubicBezTo>
                <a:cubicBezTo>
                  <a:pt x="1709" y="18"/>
                  <a:pt x="1709" y="19"/>
                  <a:pt x="1709" y="18"/>
                </a:cubicBezTo>
                <a:cubicBezTo>
                  <a:pt x="1709" y="18"/>
                  <a:pt x="1709" y="18"/>
                  <a:pt x="1709" y="18"/>
                </a:cubicBezTo>
                <a:cubicBezTo>
                  <a:pt x="1710" y="18"/>
                  <a:pt x="1710" y="18"/>
                  <a:pt x="1710" y="18"/>
                </a:cubicBezTo>
                <a:cubicBezTo>
                  <a:pt x="1710" y="18"/>
                  <a:pt x="1710" y="18"/>
                  <a:pt x="1710" y="18"/>
                </a:cubicBezTo>
                <a:cubicBezTo>
                  <a:pt x="1710" y="18"/>
                  <a:pt x="1711" y="18"/>
                  <a:pt x="1711" y="18"/>
                </a:cubicBezTo>
                <a:cubicBezTo>
                  <a:pt x="1711" y="18"/>
                  <a:pt x="1711" y="18"/>
                  <a:pt x="1711" y="18"/>
                </a:cubicBezTo>
                <a:cubicBezTo>
                  <a:pt x="1711" y="17"/>
                  <a:pt x="1711" y="17"/>
                  <a:pt x="1712" y="17"/>
                </a:cubicBezTo>
                <a:cubicBezTo>
                  <a:pt x="1712" y="17"/>
                  <a:pt x="1712" y="17"/>
                  <a:pt x="1712" y="17"/>
                </a:cubicBezTo>
                <a:cubicBezTo>
                  <a:pt x="1712" y="17"/>
                  <a:pt x="1712" y="17"/>
                  <a:pt x="1712" y="17"/>
                </a:cubicBezTo>
                <a:cubicBezTo>
                  <a:pt x="1712" y="17"/>
                  <a:pt x="1712" y="17"/>
                  <a:pt x="1713" y="17"/>
                </a:cubicBezTo>
                <a:cubicBezTo>
                  <a:pt x="1713" y="17"/>
                  <a:pt x="1713" y="17"/>
                  <a:pt x="1713" y="17"/>
                </a:cubicBezTo>
                <a:cubicBezTo>
                  <a:pt x="1713" y="17"/>
                  <a:pt x="1713" y="17"/>
                  <a:pt x="1713" y="17"/>
                </a:cubicBezTo>
                <a:cubicBezTo>
                  <a:pt x="1713" y="17"/>
                  <a:pt x="1713" y="17"/>
                  <a:pt x="1713" y="17"/>
                </a:cubicBezTo>
                <a:cubicBezTo>
                  <a:pt x="1713" y="17"/>
                  <a:pt x="1713" y="17"/>
                  <a:pt x="1713" y="17"/>
                </a:cubicBezTo>
                <a:cubicBezTo>
                  <a:pt x="1714" y="16"/>
                  <a:pt x="1714" y="16"/>
                  <a:pt x="1714" y="16"/>
                </a:cubicBezTo>
                <a:cubicBezTo>
                  <a:pt x="1714" y="16"/>
                  <a:pt x="1714" y="16"/>
                  <a:pt x="1714" y="16"/>
                </a:cubicBezTo>
                <a:cubicBezTo>
                  <a:pt x="1715" y="16"/>
                  <a:pt x="1715" y="16"/>
                  <a:pt x="1715" y="16"/>
                </a:cubicBezTo>
                <a:cubicBezTo>
                  <a:pt x="1715" y="16"/>
                  <a:pt x="1715" y="16"/>
                  <a:pt x="1716" y="16"/>
                </a:cubicBezTo>
                <a:cubicBezTo>
                  <a:pt x="1716" y="16"/>
                  <a:pt x="1716" y="16"/>
                  <a:pt x="1716" y="16"/>
                </a:cubicBezTo>
                <a:cubicBezTo>
                  <a:pt x="1716" y="16"/>
                  <a:pt x="1717" y="16"/>
                  <a:pt x="1717" y="16"/>
                </a:cubicBezTo>
                <a:cubicBezTo>
                  <a:pt x="1717" y="15"/>
                  <a:pt x="1717" y="15"/>
                  <a:pt x="1717" y="15"/>
                </a:cubicBezTo>
                <a:cubicBezTo>
                  <a:pt x="1717" y="15"/>
                  <a:pt x="1717" y="15"/>
                  <a:pt x="1717" y="15"/>
                </a:cubicBezTo>
                <a:cubicBezTo>
                  <a:pt x="1718" y="15"/>
                  <a:pt x="1719" y="16"/>
                  <a:pt x="1719" y="15"/>
                </a:cubicBezTo>
                <a:cubicBezTo>
                  <a:pt x="1720" y="15"/>
                  <a:pt x="1720" y="15"/>
                  <a:pt x="1720" y="15"/>
                </a:cubicBezTo>
                <a:cubicBezTo>
                  <a:pt x="1721" y="15"/>
                  <a:pt x="1722" y="15"/>
                  <a:pt x="1723" y="15"/>
                </a:cubicBezTo>
                <a:cubicBezTo>
                  <a:pt x="1723" y="15"/>
                  <a:pt x="1723" y="15"/>
                  <a:pt x="1724" y="15"/>
                </a:cubicBezTo>
                <a:cubicBezTo>
                  <a:pt x="1724" y="16"/>
                  <a:pt x="1725" y="15"/>
                  <a:pt x="1726" y="16"/>
                </a:cubicBezTo>
                <a:cubicBezTo>
                  <a:pt x="1726" y="15"/>
                  <a:pt x="1726" y="15"/>
                  <a:pt x="1726" y="15"/>
                </a:cubicBezTo>
                <a:cubicBezTo>
                  <a:pt x="1726" y="16"/>
                  <a:pt x="1726" y="16"/>
                  <a:pt x="1726" y="16"/>
                </a:cubicBezTo>
                <a:cubicBezTo>
                  <a:pt x="1726" y="16"/>
                  <a:pt x="1727" y="16"/>
                  <a:pt x="1727" y="16"/>
                </a:cubicBezTo>
                <a:cubicBezTo>
                  <a:pt x="1727" y="16"/>
                  <a:pt x="1727" y="16"/>
                  <a:pt x="1727" y="16"/>
                </a:cubicBezTo>
                <a:cubicBezTo>
                  <a:pt x="1728" y="16"/>
                  <a:pt x="1728" y="16"/>
                  <a:pt x="1728" y="16"/>
                </a:cubicBezTo>
                <a:cubicBezTo>
                  <a:pt x="1728" y="16"/>
                  <a:pt x="1728" y="16"/>
                  <a:pt x="1728" y="16"/>
                </a:cubicBezTo>
                <a:cubicBezTo>
                  <a:pt x="1729" y="16"/>
                  <a:pt x="1729" y="16"/>
                  <a:pt x="1729" y="16"/>
                </a:cubicBezTo>
                <a:cubicBezTo>
                  <a:pt x="1729" y="16"/>
                  <a:pt x="1729" y="16"/>
                  <a:pt x="1729" y="16"/>
                </a:cubicBezTo>
                <a:cubicBezTo>
                  <a:pt x="1729" y="16"/>
                  <a:pt x="1729" y="16"/>
                  <a:pt x="1729" y="17"/>
                </a:cubicBezTo>
                <a:cubicBezTo>
                  <a:pt x="1729" y="17"/>
                  <a:pt x="1729" y="17"/>
                  <a:pt x="1729" y="17"/>
                </a:cubicBezTo>
                <a:cubicBezTo>
                  <a:pt x="1729" y="17"/>
                  <a:pt x="1730" y="17"/>
                  <a:pt x="1730" y="17"/>
                </a:cubicBezTo>
                <a:cubicBezTo>
                  <a:pt x="1730" y="17"/>
                  <a:pt x="1730" y="17"/>
                  <a:pt x="1730" y="17"/>
                </a:cubicBezTo>
                <a:cubicBezTo>
                  <a:pt x="1730" y="17"/>
                  <a:pt x="1731" y="17"/>
                  <a:pt x="1731" y="17"/>
                </a:cubicBezTo>
                <a:cubicBezTo>
                  <a:pt x="1731" y="17"/>
                  <a:pt x="1731" y="17"/>
                  <a:pt x="1731" y="17"/>
                </a:cubicBezTo>
                <a:cubicBezTo>
                  <a:pt x="1731" y="17"/>
                  <a:pt x="1731" y="17"/>
                  <a:pt x="1731" y="18"/>
                </a:cubicBezTo>
                <a:cubicBezTo>
                  <a:pt x="1731" y="18"/>
                  <a:pt x="1731" y="18"/>
                  <a:pt x="1731" y="18"/>
                </a:cubicBezTo>
                <a:cubicBezTo>
                  <a:pt x="1732" y="18"/>
                  <a:pt x="1732" y="18"/>
                  <a:pt x="1732" y="18"/>
                </a:cubicBezTo>
                <a:cubicBezTo>
                  <a:pt x="1732" y="18"/>
                  <a:pt x="1732" y="18"/>
                  <a:pt x="1732" y="18"/>
                </a:cubicBezTo>
                <a:cubicBezTo>
                  <a:pt x="1732" y="18"/>
                  <a:pt x="1732" y="18"/>
                  <a:pt x="1732" y="18"/>
                </a:cubicBezTo>
                <a:cubicBezTo>
                  <a:pt x="1732" y="18"/>
                  <a:pt x="1732" y="18"/>
                  <a:pt x="1732" y="18"/>
                </a:cubicBezTo>
                <a:cubicBezTo>
                  <a:pt x="1733" y="18"/>
                  <a:pt x="1733" y="19"/>
                  <a:pt x="1733" y="19"/>
                </a:cubicBezTo>
                <a:cubicBezTo>
                  <a:pt x="1733" y="19"/>
                  <a:pt x="1733" y="19"/>
                  <a:pt x="1733" y="19"/>
                </a:cubicBezTo>
                <a:cubicBezTo>
                  <a:pt x="1733" y="19"/>
                  <a:pt x="1733" y="19"/>
                  <a:pt x="1733" y="19"/>
                </a:cubicBezTo>
                <a:cubicBezTo>
                  <a:pt x="1733" y="19"/>
                  <a:pt x="1733" y="19"/>
                  <a:pt x="1733" y="19"/>
                </a:cubicBezTo>
                <a:cubicBezTo>
                  <a:pt x="1734" y="20"/>
                  <a:pt x="1734" y="20"/>
                  <a:pt x="1735" y="21"/>
                </a:cubicBezTo>
                <a:cubicBezTo>
                  <a:pt x="1735" y="21"/>
                  <a:pt x="1735" y="21"/>
                  <a:pt x="1735" y="21"/>
                </a:cubicBezTo>
                <a:cubicBezTo>
                  <a:pt x="1735" y="21"/>
                  <a:pt x="1735" y="21"/>
                  <a:pt x="1735" y="21"/>
                </a:cubicBezTo>
                <a:cubicBezTo>
                  <a:pt x="1735" y="21"/>
                  <a:pt x="1735" y="21"/>
                  <a:pt x="1735" y="21"/>
                </a:cubicBezTo>
                <a:cubicBezTo>
                  <a:pt x="1735" y="21"/>
                  <a:pt x="1735" y="21"/>
                  <a:pt x="1736" y="21"/>
                </a:cubicBezTo>
                <a:cubicBezTo>
                  <a:pt x="1736" y="21"/>
                  <a:pt x="1736" y="21"/>
                  <a:pt x="1736" y="21"/>
                </a:cubicBezTo>
                <a:cubicBezTo>
                  <a:pt x="1736" y="22"/>
                  <a:pt x="1736" y="22"/>
                  <a:pt x="1736" y="22"/>
                </a:cubicBezTo>
                <a:cubicBezTo>
                  <a:pt x="1736" y="22"/>
                  <a:pt x="1736" y="22"/>
                  <a:pt x="1736" y="22"/>
                </a:cubicBezTo>
                <a:cubicBezTo>
                  <a:pt x="1736" y="22"/>
                  <a:pt x="1736" y="22"/>
                  <a:pt x="1736" y="23"/>
                </a:cubicBezTo>
                <a:cubicBezTo>
                  <a:pt x="1736" y="23"/>
                  <a:pt x="1736" y="23"/>
                  <a:pt x="1736" y="23"/>
                </a:cubicBezTo>
                <a:cubicBezTo>
                  <a:pt x="1736" y="23"/>
                  <a:pt x="1736" y="23"/>
                  <a:pt x="1737" y="23"/>
                </a:cubicBezTo>
                <a:cubicBezTo>
                  <a:pt x="1737" y="23"/>
                  <a:pt x="1737" y="23"/>
                  <a:pt x="1737" y="23"/>
                </a:cubicBezTo>
                <a:cubicBezTo>
                  <a:pt x="1737" y="23"/>
                  <a:pt x="1737" y="24"/>
                  <a:pt x="1737" y="24"/>
                </a:cubicBezTo>
                <a:cubicBezTo>
                  <a:pt x="1737" y="24"/>
                  <a:pt x="1737" y="24"/>
                  <a:pt x="1737" y="24"/>
                </a:cubicBezTo>
                <a:cubicBezTo>
                  <a:pt x="1737" y="24"/>
                  <a:pt x="1737" y="24"/>
                  <a:pt x="1737" y="25"/>
                </a:cubicBezTo>
                <a:cubicBezTo>
                  <a:pt x="1737" y="25"/>
                  <a:pt x="1737" y="25"/>
                  <a:pt x="1737" y="25"/>
                </a:cubicBezTo>
                <a:cubicBezTo>
                  <a:pt x="1737" y="25"/>
                  <a:pt x="1737" y="25"/>
                  <a:pt x="1737" y="25"/>
                </a:cubicBezTo>
                <a:cubicBezTo>
                  <a:pt x="1737" y="25"/>
                  <a:pt x="1737" y="25"/>
                  <a:pt x="1738" y="26"/>
                </a:cubicBezTo>
                <a:cubicBezTo>
                  <a:pt x="1738" y="26"/>
                  <a:pt x="1738" y="26"/>
                  <a:pt x="1738" y="26"/>
                </a:cubicBezTo>
                <a:cubicBezTo>
                  <a:pt x="1738" y="26"/>
                  <a:pt x="1738" y="26"/>
                  <a:pt x="1738" y="27"/>
                </a:cubicBezTo>
                <a:cubicBezTo>
                  <a:pt x="1738" y="27"/>
                  <a:pt x="1738" y="27"/>
                  <a:pt x="1738" y="27"/>
                </a:cubicBezTo>
                <a:cubicBezTo>
                  <a:pt x="1738" y="27"/>
                  <a:pt x="1738" y="28"/>
                  <a:pt x="1738" y="28"/>
                </a:cubicBezTo>
                <a:cubicBezTo>
                  <a:pt x="1738" y="28"/>
                  <a:pt x="1738" y="29"/>
                  <a:pt x="1738" y="29"/>
                </a:cubicBezTo>
                <a:cubicBezTo>
                  <a:pt x="1739" y="31"/>
                  <a:pt x="1739" y="33"/>
                  <a:pt x="1738" y="36"/>
                </a:cubicBezTo>
                <a:cubicBezTo>
                  <a:pt x="1738" y="36"/>
                  <a:pt x="1738" y="36"/>
                  <a:pt x="1738" y="36"/>
                </a:cubicBezTo>
                <a:cubicBezTo>
                  <a:pt x="1738" y="37"/>
                  <a:pt x="1738" y="37"/>
                  <a:pt x="1738" y="38"/>
                </a:cubicBezTo>
                <a:cubicBezTo>
                  <a:pt x="1738" y="38"/>
                  <a:pt x="1738" y="38"/>
                  <a:pt x="1738" y="38"/>
                </a:cubicBezTo>
                <a:cubicBezTo>
                  <a:pt x="1738" y="39"/>
                  <a:pt x="1738" y="39"/>
                  <a:pt x="1738" y="39"/>
                </a:cubicBezTo>
                <a:cubicBezTo>
                  <a:pt x="1738" y="39"/>
                  <a:pt x="1738" y="39"/>
                  <a:pt x="1738" y="39"/>
                </a:cubicBezTo>
                <a:cubicBezTo>
                  <a:pt x="1738" y="40"/>
                  <a:pt x="1738" y="40"/>
                  <a:pt x="1738" y="40"/>
                </a:cubicBezTo>
                <a:cubicBezTo>
                  <a:pt x="1737" y="40"/>
                  <a:pt x="1738" y="40"/>
                  <a:pt x="1737" y="41"/>
                </a:cubicBezTo>
                <a:cubicBezTo>
                  <a:pt x="1737" y="41"/>
                  <a:pt x="1737" y="41"/>
                  <a:pt x="1737" y="41"/>
                </a:cubicBezTo>
                <a:cubicBezTo>
                  <a:pt x="1737" y="41"/>
                  <a:pt x="1737" y="41"/>
                  <a:pt x="1737" y="42"/>
                </a:cubicBezTo>
                <a:cubicBezTo>
                  <a:pt x="1737" y="42"/>
                  <a:pt x="1737" y="42"/>
                  <a:pt x="1737" y="42"/>
                </a:cubicBezTo>
                <a:cubicBezTo>
                  <a:pt x="1737" y="42"/>
                  <a:pt x="1737" y="42"/>
                  <a:pt x="1737" y="42"/>
                </a:cubicBezTo>
                <a:cubicBezTo>
                  <a:pt x="1737" y="43"/>
                  <a:pt x="1737" y="43"/>
                  <a:pt x="1737" y="43"/>
                </a:cubicBezTo>
                <a:cubicBezTo>
                  <a:pt x="1736" y="43"/>
                  <a:pt x="1736" y="43"/>
                  <a:pt x="1736" y="43"/>
                </a:cubicBezTo>
                <a:cubicBezTo>
                  <a:pt x="1736" y="43"/>
                  <a:pt x="1736" y="43"/>
                  <a:pt x="1736" y="43"/>
                </a:cubicBezTo>
                <a:cubicBezTo>
                  <a:pt x="1736" y="44"/>
                  <a:pt x="1736" y="44"/>
                  <a:pt x="1736" y="44"/>
                </a:cubicBezTo>
                <a:cubicBezTo>
                  <a:pt x="1736" y="44"/>
                  <a:pt x="1736" y="44"/>
                  <a:pt x="1736" y="44"/>
                </a:cubicBezTo>
                <a:cubicBezTo>
                  <a:pt x="1736" y="44"/>
                  <a:pt x="1736" y="45"/>
                  <a:pt x="1736" y="45"/>
                </a:cubicBezTo>
                <a:cubicBezTo>
                  <a:pt x="1736" y="45"/>
                  <a:pt x="1736" y="45"/>
                  <a:pt x="1736" y="45"/>
                </a:cubicBezTo>
                <a:cubicBezTo>
                  <a:pt x="1735" y="45"/>
                  <a:pt x="1735" y="45"/>
                  <a:pt x="1735" y="45"/>
                </a:cubicBezTo>
                <a:cubicBezTo>
                  <a:pt x="1735" y="45"/>
                  <a:pt x="1735" y="45"/>
                  <a:pt x="1735" y="45"/>
                </a:cubicBezTo>
                <a:cubicBezTo>
                  <a:pt x="1735" y="45"/>
                  <a:pt x="1735" y="45"/>
                  <a:pt x="1735" y="45"/>
                </a:cubicBezTo>
                <a:cubicBezTo>
                  <a:pt x="1735" y="46"/>
                  <a:pt x="1735" y="46"/>
                  <a:pt x="1735" y="46"/>
                </a:cubicBezTo>
                <a:cubicBezTo>
                  <a:pt x="1735" y="46"/>
                  <a:pt x="1735" y="46"/>
                  <a:pt x="1735" y="46"/>
                </a:cubicBezTo>
                <a:cubicBezTo>
                  <a:pt x="1735" y="46"/>
                  <a:pt x="1735" y="46"/>
                  <a:pt x="1735" y="47"/>
                </a:cubicBezTo>
                <a:cubicBezTo>
                  <a:pt x="1735" y="47"/>
                  <a:pt x="1735" y="47"/>
                  <a:pt x="1735" y="47"/>
                </a:cubicBezTo>
                <a:cubicBezTo>
                  <a:pt x="1734" y="47"/>
                  <a:pt x="1734" y="47"/>
                  <a:pt x="1734" y="47"/>
                </a:cubicBezTo>
                <a:cubicBezTo>
                  <a:pt x="1734" y="47"/>
                  <a:pt x="1734" y="47"/>
                  <a:pt x="1734" y="47"/>
                </a:cubicBezTo>
                <a:cubicBezTo>
                  <a:pt x="1734" y="47"/>
                  <a:pt x="1734" y="47"/>
                  <a:pt x="1734" y="48"/>
                </a:cubicBezTo>
                <a:cubicBezTo>
                  <a:pt x="1734" y="48"/>
                  <a:pt x="1734" y="48"/>
                  <a:pt x="1734" y="48"/>
                </a:cubicBezTo>
                <a:cubicBezTo>
                  <a:pt x="1734" y="48"/>
                  <a:pt x="1734" y="48"/>
                  <a:pt x="1734" y="48"/>
                </a:cubicBezTo>
                <a:cubicBezTo>
                  <a:pt x="1734" y="48"/>
                  <a:pt x="1734" y="48"/>
                  <a:pt x="1734" y="48"/>
                </a:cubicBezTo>
                <a:cubicBezTo>
                  <a:pt x="1733" y="48"/>
                  <a:pt x="1733" y="48"/>
                  <a:pt x="1733" y="48"/>
                </a:cubicBezTo>
                <a:cubicBezTo>
                  <a:pt x="1733" y="48"/>
                  <a:pt x="1733" y="48"/>
                  <a:pt x="1733" y="48"/>
                </a:cubicBezTo>
                <a:cubicBezTo>
                  <a:pt x="1733" y="48"/>
                  <a:pt x="1733" y="49"/>
                  <a:pt x="1733" y="49"/>
                </a:cubicBezTo>
                <a:cubicBezTo>
                  <a:pt x="1733" y="49"/>
                  <a:pt x="1733" y="49"/>
                  <a:pt x="1733" y="49"/>
                </a:cubicBezTo>
                <a:cubicBezTo>
                  <a:pt x="1733" y="49"/>
                  <a:pt x="1733" y="49"/>
                  <a:pt x="1732" y="49"/>
                </a:cubicBezTo>
                <a:cubicBezTo>
                  <a:pt x="1732" y="49"/>
                  <a:pt x="1732" y="49"/>
                  <a:pt x="1732" y="49"/>
                </a:cubicBezTo>
                <a:cubicBezTo>
                  <a:pt x="1732" y="49"/>
                  <a:pt x="1732" y="50"/>
                  <a:pt x="1732" y="50"/>
                </a:cubicBezTo>
                <a:cubicBezTo>
                  <a:pt x="1732" y="50"/>
                  <a:pt x="1732" y="50"/>
                  <a:pt x="1732" y="50"/>
                </a:cubicBezTo>
                <a:cubicBezTo>
                  <a:pt x="1732" y="50"/>
                  <a:pt x="1732" y="50"/>
                  <a:pt x="1732" y="50"/>
                </a:cubicBezTo>
                <a:cubicBezTo>
                  <a:pt x="1732" y="50"/>
                  <a:pt x="1732" y="50"/>
                  <a:pt x="1732" y="50"/>
                </a:cubicBezTo>
                <a:cubicBezTo>
                  <a:pt x="1732" y="50"/>
                  <a:pt x="1731" y="50"/>
                  <a:pt x="1731" y="50"/>
                </a:cubicBezTo>
                <a:cubicBezTo>
                  <a:pt x="1731" y="50"/>
                  <a:pt x="1731" y="50"/>
                  <a:pt x="1731" y="50"/>
                </a:cubicBezTo>
                <a:cubicBezTo>
                  <a:pt x="1730" y="52"/>
                  <a:pt x="1729" y="53"/>
                  <a:pt x="1728" y="54"/>
                </a:cubicBezTo>
                <a:cubicBezTo>
                  <a:pt x="1728" y="54"/>
                  <a:pt x="1728" y="54"/>
                  <a:pt x="1728" y="54"/>
                </a:cubicBezTo>
                <a:cubicBezTo>
                  <a:pt x="1727" y="54"/>
                  <a:pt x="1727" y="54"/>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6" y="55"/>
                  <a:pt x="1726" y="55"/>
                  <a:pt x="1726" y="56"/>
                </a:cubicBezTo>
                <a:cubicBezTo>
                  <a:pt x="1726" y="56"/>
                  <a:pt x="1726" y="56"/>
                  <a:pt x="1726" y="56"/>
                </a:cubicBezTo>
                <a:cubicBezTo>
                  <a:pt x="1726" y="56"/>
                  <a:pt x="1725" y="56"/>
                  <a:pt x="1725" y="56"/>
                </a:cubicBezTo>
                <a:cubicBezTo>
                  <a:pt x="1725" y="56"/>
                  <a:pt x="1725" y="56"/>
                  <a:pt x="1725" y="56"/>
                </a:cubicBezTo>
                <a:cubicBezTo>
                  <a:pt x="1725" y="56"/>
                  <a:pt x="1725" y="56"/>
                  <a:pt x="1725" y="57"/>
                </a:cubicBezTo>
                <a:cubicBezTo>
                  <a:pt x="1725" y="57"/>
                  <a:pt x="1725" y="57"/>
                  <a:pt x="1725" y="57"/>
                </a:cubicBezTo>
                <a:cubicBezTo>
                  <a:pt x="1725" y="57"/>
                  <a:pt x="1725" y="57"/>
                  <a:pt x="1724" y="57"/>
                </a:cubicBezTo>
                <a:cubicBezTo>
                  <a:pt x="1724" y="57"/>
                  <a:pt x="1724" y="57"/>
                  <a:pt x="1724" y="57"/>
                </a:cubicBezTo>
                <a:cubicBezTo>
                  <a:pt x="1724" y="57"/>
                  <a:pt x="1724" y="57"/>
                  <a:pt x="1724" y="57"/>
                </a:cubicBezTo>
                <a:cubicBezTo>
                  <a:pt x="1724" y="57"/>
                  <a:pt x="1724" y="57"/>
                  <a:pt x="1724" y="57"/>
                </a:cubicBezTo>
                <a:cubicBezTo>
                  <a:pt x="1724" y="58"/>
                  <a:pt x="1724" y="57"/>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9"/>
                  <a:pt x="1722" y="58"/>
                  <a:pt x="1722" y="59"/>
                </a:cubicBezTo>
                <a:cubicBezTo>
                  <a:pt x="1722" y="59"/>
                  <a:pt x="1722" y="59"/>
                  <a:pt x="1722" y="59"/>
                </a:cubicBezTo>
                <a:cubicBezTo>
                  <a:pt x="1722" y="59"/>
                  <a:pt x="1722" y="59"/>
                  <a:pt x="1722" y="59"/>
                </a:cubicBezTo>
                <a:cubicBezTo>
                  <a:pt x="1722" y="59"/>
                  <a:pt x="1722" y="59"/>
                  <a:pt x="1722" y="59"/>
                </a:cubicBezTo>
                <a:cubicBezTo>
                  <a:pt x="1722" y="59"/>
                  <a:pt x="1721" y="59"/>
                  <a:pt x="1721" y="59"/>
                </a:cubicBezTo>
                <a:cubicBezTo>
                  <a:pt x="1721" y="59"/>
                  <a:pt x="1721" y="59"/>
                  <a:pt x="1721" y="59"/>
                </a:cubicBezTo>
                <a:cubicBezTo>
                  <a:pt x="1721" y="60"/>
                  <a:pt x="1721" y="60"/>
                  <a:pt x="1721" y="60"/>
                </a:cubicBezTo>
                <a:cubicBezTo>
                  <a:pt x="1721" y="60"/>
                  <a:pt x="1721" y="60"/>
                  <a:pt x="1721" y="60"/>
                </a:cubicBezTo>
                <a:cubicBezTo>
                  <a:pt x="1720" y="60"/>
                  <a:pt x="1720" y="60"/>
                  <a:pt x="1720" y="60"/>
                </a:cubicBezTo>
                <a:cubicBezTo>
                  <a:pt x="1720" y="60"/>
                  <a:pt x="1720" y="60"/>
                  <a:pt x="1720" y="60"/>
                </a:cubicBezTo>
                <a:cubicBezTo>
                  <a:pt x="1720" y="60"/>
                  <a:pt x="1719" y="60"/>
                  <a:pt x="1719" y="61"/>
                </a:cubicBezTo>
                <a:cubicBezTo>
                  <a:pt x="1719" y="61"/>
                  <a:pt x="1719" y="61"/>
                  <a:pt x="1719" y="61"/>
                </a:cubicBezTo>
                <a:cubicBezTo>
                  <a:pt x="1719" y="61"/>
                  <a:pt x="1719" y="61"/>
                  <a:pt x="1719" y="61"/>
                </a:cubicBezTo>
                <a:cubicBezTo>
                  <a:pt x="1719" y="61"/>
                  <a:pt x="1719" y="61"/>
                  <a:pt x="1719" y="61"/>
                </a:cubicBezTo>
                <a:cubicBezTo>
                  <a:pt x="1719" y="61"/>
                  <a:pt x="1718" y="62"/>
                  <a:pt x="1718" y="62"/>
                </a:cubicBezTo>
                <a:cubicBezTo>
                  <a:pt x="1718" y="62"/>
                  <a:pt x="1718" y="62"/>
                  <a:pt x="1718" y="62"/>
                </a:cubicBezTo>
                <a:cubicBezTo>
                  <a:pt x="1718" y="62"/>
                  <a:pt x="1718" y="62"/>
                  <a:pt x="1717" y="62"/>
                </a:cubicBezTo>
                <a:cubicBezTo>
                  <a:pt x="1717" y="62"/>
                  <a:pt x="1717" y="62"/>
                  <a:pt x="1717" y="62"/>
                </a:cubicBezTo>
                <a:cubicBezTo>
                  <a:pt x="1717" y="62"/>
                  <a:pt x="1717" y="63"/>
                  <a:pt x="1716" y="63"/>
                </a:cubicBezTo>
                <a:cubicBezTo>
                  <a:pt x="1716" y="63"/>
                  <a:pt x="1716" y="63"/>
                  <a:pt x="1716" y="63"/>
                </a:cubicBezTo>
                <a:cubicBezTo>
                  <a:pt x="1716" y="63"/>
                  <a:pt x="1716" y="63"/>
                  <a:pt x="1716" y="63"/>
                </a:cubicBezTo>
                <a:cubicBezTo>
                  <a:pt x="1716" y="63"/>
                  <a:pt x="1716" y="63"/>
                  <a:pt x="1716" y="63"/>
                </a:cubicBezTo>
                <a:cubicBezTo>
                  <a:pt x="1716" y="64"/>
                  <a:pt x="1715" y="64"/>
                  <a:pt x="1715" y="64"/>
                </a:cubicBezTo>
                <a:cubicBezTo>
                  <a:pt x="1715" y="64"/>
                  <a:pt x="1715" y="64"/>
                  <a:pt x="1715" y="64"/>
                </a:cubicBezTo>
                <a:cubicBezTo>
                  <a:pt x="1715" y="64"/>
                  <a:pt x="1715" y="64"/>
                  <a:pt x="1715" y="64"/>
                </a:cubicBezTo>
                <a:cubicBezTo>
                  <a:pt x="1715" y="64"/>
                  <a:pt x="1715" y="64"/>
                  <a:pt x="1715" y="64"/>
                </a:cubicBezTo>
                <a:cubicBezTo>
                  <a:pt x="1715" y="64"/>
                  <a:pt x="1714" y="65"/>
                  <a:pt x="1714" y="65"/>
                </a:cubicBezTo>
                <a:cubicBezTo>
                  <a:pt x="1714" y="65"/>
                  <a:pt x="1714" y="65"/>
                  <a:pt x="1714" y="65"/>
                </a:cubicBezTo>
                <a:cubicBezTo>
                  <a:pt x="1714" y="65"/>
                  <a:pt x="1714" y="65"/>
                  <a:pt x="1714" y="65"/>
                </a:cubicBezTo>
                <a:cubicBezTo>
                  <a:pt x="1714" y="65"/>
                  <a:pt x="1714" y="65"/>
                  <a:pt x="1714" y="65"/>
                </a:cubicBezTo>
                <a:cubicBezTo>
                  <a:pt x="1714" y="65"/>
                  <a:pt x="1713" y="65"/>
                  <a:pt x="1713" y="65"/>
                </a:cubicBezTo>
                <a:cubicBezTo>
                  <a:pt x="1713" y="65"/>
                  <a:pt x="1713" y="65"/>
                  <a:pt x="1713" y="65"/>
                </a:cubicBezTo>
                <a:cubicBezTo>
                  <a:pt x="1713" y="65"/>
                  <a:pt x="1713" y="66"/>
                  <a:pt x="1713" y="66"/>
                </a:cubicBezTo>
                <a:cubicBezTo>
                  <a:pt x="1713" y="66"/>
                  <a:pt x="1713" y="66"/>
                  <a:pt x="1713" y="66"/>
                </a:cubicBezTo>
                <a:cubicBezTo>
                  <a:pt x="1713" y="66"/>
                  <a:pt x="1712" y="66"/>
                  <a:pt x="1712" y="66"/>
                </a:cubicBezTo>
                <a:cubicBezTo>
                  <a:pt x="1712" y="66"/>
                  <a:pt x="1712" y="66"/>
                  <a:pt x="1712" y="66"/>
                </a:cubicBezTo>
                <a:cubicBezTo>
                  <a:pt x="1712" y="66"/>
                  <a:pt x="1712" y="67"/>
                  <a:pt x="1712" y="67"/>
                </a:cubicBezTo>
                <a:cubicBezTo>
                  <a:pt x="1712" y="67"/>
                  <a:pt x="1712" y="67"/>
                  <a:pt x="1712" y="67"/>
                </a:cubicBezTo>
                <a:cubicBezTo>
                  <a:pt x="1711" y="67"/>
                  <a:pt x="1711" y="67"/>
                  <a:pt x="1711" y="67"/>
                </a:cubicBezTo>
                <a:cubicBezTo>
                  <a:pt x="1711" y="67"/>
                  <a:pt x="1711" y="67"/>
                  <a:pt x="1711" y="67"/>
                </a:cubicBezTo>
                <a:cubicBezTo>
                  <a:pt x="1711" y="67"/>
                  <a:pt x="1711" y="67"/>
                  <a:pt x="1711" y="67"/>
                </a:cubicBezTo>
                <a:cubicBezTo>
                  <a:pt x="1711" y="67"/>
                  <a:pt x="1711" y="67"/>
                  <a:pt x="1711" y="67"/>
                </a:cubicBezTo>
                <a:cubicBezTo>
                  <a:pt x="1711" y="68"/>
                  <a:pt x="1710" y="68"/>
                  <a:pt x="1710" y="68"/>
                </a:cubicBezTo>
                <a:cubicBezTo>
                  <a:pt x="1710" y="68"/>
                  <a:pt x="1710" y="68"/>
                  <a:pt x="1710" y="68"/>
                </a:cubicBezTo>
                <a:cubicBezTo>
                  <a:pt x="1710" y="68"/>
                  <a:pt x="1710" y="68"/>
                  <a:pt x="1710" y="68"/>
                </a:cubicBezTo>
                <a:cubicBezTo>
                  <a:pt x="1710" y="68"/>
                  <a:pt x="1710" y="68"/>
                  <a:pt x="1710" y="68"/>
                </a:cubicBezTo>
                <a:cubicBezTo>
                  <a:pt x="1710" y="68"/>
                  <a:pt x="1710" y="68"/>
                  <a:pt x="1709" y="68"/>
                </a:cubicBezTo>
                <a:cubicBezTo>
                  <a:pt x="1710" y="68"/>
                  <a:pt x="1710" y="68"/>
                  <a:pt x="1710" y="68"/>
                </a:cubicBezTo>
                <a:cubicBezTo>
                  <a:pt x="1709" y="69"/>
                  <a:pt x="1709" y="69"/>
                  <a:pt x="1709" y="69"/>
                </a:cubicBezTo>
                <a:cubicBezTo>
                  <a:pt x="1709" y="69"/>
                  <a:pt x="1709" y="69"/>
                  <a:pt x="1709" y="69"/>
                </a:cubicBezTo>
                <a:cubicBezTo>
                  <a:pt x="1709" y="69"/>
                  <a:pt x="1709" y="69"/>
                  <a:pt x="1709" y="69"/>
                </a:cubicBezTo>
                <a:cubicBezTo>
                  <a:pt x="1709" y="69"/>
                  <a:pt x="1709" y="69"/>
                  <a:pt x="1709" y="69"/>
                </a:cubicBezTo>
                <a:cubicBezTo>
                  <a:pt x="1708" y="69"/>
                  <a:pt x="1708" y="70"/>
                  <a:pt x="1708" y="70"/>
                </a:cubicBezTo>
                <a:cubicBezTo>
                  <a:pt x="1708" y="70"/>
                  <a:pt x="1708" y="70"/>
                  <a:pt x="1708" y="70"/>
                </a:cubicBezTo>
                <a:cubicBezTo>
                  <a:pt x="1708" y="70"/>
                  <a:pt x="1707" y="70"/>
                  <a:pt x="1707" y="70"/>
                </a:cubicBezTo>
                <a:cubicBezTo>
                  <a:pt x="1707" y="70"/>
                  <a:pt x="1707" y="70"/>
                  <a:pt x="1707" y="70"/>
                </a:cubicBezTo>
                <a:cubicBezTo>
                  <a:pt x="1707" y="70"/>
                  <a:pt x="1707" y="70"/>
                  <a:pt x="1707" y="71"/>
                </a:cubicBezTo>
                <a:cubicBezTo>
                  <a:pt x="1707" y="71"/>
                  <a:pt x="1707" y="71"/>
                  <a:pt x="1707" y="71"/>
                </a:cubicBezTo>
                <a:cubicBezTo>
                  <a:pt x="1707" y="71"/>
                  <a:pt x="1707" y="71"/>
                  <a:pt x="1707" y="71"/>
                </a:cubicBezTo>
                <a:cubicBezTo>
                  <a:pt x="1707" y="71"/>
                  <a:pt x="1707" y="71"/>
                  <a:pt x="1707" y="71"/>
                </a:cubicBezTo>
                <a:cubicBezTo>
                  <a:pt x="1707" y="71"/>
                  <a:pt x="1706" y="71"/>
                  <a:pt x="1706" y="71"/>
                </a:cubicBezTo>
                <a:cubicBezTo>
                  <a:pt x="1706" y="71"/>
                  <a:pt x="1706" y="71"/>
                  <a:pt x="1706" y="71"/>
                </a:cubicBezTo>
                <a:cubicBezTo>
                  <a:pt x="1706" y="71"/>
                  <a:pt x="1706" y="71"/>
                  <a:pt x="1706" y="72"/>
                </a:cubicBezTo>
                <a:cubicBezTo>
                  <a:pt x="1706" y="72"/>
                  <a:pt x="1706" y="72"/>
                  <a:pt x="1706" y="72"/>
                </a:cubicBezTo>
                <a:cubicBezTo>
                  <a:pt x="1706" y="72"/>
                  <a:pt x="1706" y="72"/>
                  <a:pt x="1706" y="72"/>
                </a:cubicBezTo>
                <a:cubicBezTo>
                  <a:pt x="1706" y="72"/>
                  <a:pt x="1706" y="72"/>
                  <a:pt x="1706" y="72"/>
                </a:cubicBezTo>
                <a:cubicBezTo>
                  <a:pt x="1706" y="72"/>
                  <a:pt x="1705" y="72"/>
                  <a:pt x="1705" y="72"/>
                </a:cubicBezTo>
                <a:cubicBezTo>
                  <a:pt x="1705" y="72"/>
                  <a:pt x="1705" y="72"/>
                  <a:pt x="1705" y="72"/>
                </a:cubicBezTo>
                <a:cubicBezTo>
                  <a:pt x="1705" y="72"/>
                  <a:pt x="1705" y="73"/>
                  <a:pt x="1705" y="73"/>
                </a:cubicBezTo>
                <a:cubicBezTo>
                  <a:pt x="1705" y="73"/>
                  <a:pt x="1705" y="73"/>
                  <a:pt x="1705" y="73"/>
                </a:cubicBezTo>
                <a:cubicBezTo>
                  <a:pt x="1705" y="73"/>
                  <a:pt x="1705" y="73"/>
                  <a:pt x="1705" y="73"/>
                </a:cubicBezTo>
                <a:cubicBezTo>
                  <a:pt x="1705" y="73"/>
                  <a:pt x="1705" y="73"/>
                  <a:pt x="1705" y="73"/>
                </a:cubicBezTo>
                <a:cubicBezTo>
                  <a:pt x="1704" y="73"/>
                  <a:pt x="1704" y="73"/>
                  <a:pt x="1704" y="73"/>
                </a:cubicBezTo>
                <a:cubicBezTo>
                  <a:pt x="1704" y="73"/>
                  <a:pt x="1704" y="73"/>
                  <a:pt x="1704" y="73"/>
                </a:cubicBezTo>
                <a:cubicBezTo>
                  <a:pt x="1704" y="73"/>
                  <a:pt x="1704" y="74"/>
                  <a:pt x="1704" y="74"/>
                </a:cubicBezTo>
                <a:cubicBezTo>
                  <a:pt x="1704" y="74"/>
                  <a:pt x="1704" y="74"/>
                  <a:pt x="1704" y="74"/>
                </a:cubicBezTo>
                <a:cubicBezTo>
                  <a:pt x="1704" y="74"/>
                  <a:pt x="1704" y="74"/>
                  <a:pt x="1704" y="74"/>
                </a:cubicBezTo>
                <a:cubicBezTo>
                  <a:pt x="1704" y="74"/>
                  <a:pt x="1704" y="74"/>
                  <a:pt x="1704" y="74"/>
                </a:cubicBezTo>
                <a:cubicBezTo>
                  <a:pt x="1703" y="74"/>
                  <a:pt x="1703" y="74"/>
                  <a:pt x="1703" y="74"/>
                </a:cubicBezTo>
                <a:cubicBezTo>
                  <a:pt x="1703" y="74"/>
                  <a:pt x="1703" y="74"/>
                  <a:pt x="1703" y="74"/>
                </a:cubicBezTo>
                <a:cubicBezTo>
                  <a:pt x="1703" y="74"/>
                  <a:pt x="1703" y="75"/>
                  <a:pt x="1703" y="75"/>
                </a:cubicBezTo>
                <a:cubicBezTo>
                  <a:pt x="1703" y="75"/>
                  <a:pt x="1703" y="75"/>
                  <a:pt x="1703" y="75"/>
                </a:cubicBezTo>
                <a:cubicBezTo>
                  <a:pt x="1703" y="75"/>
                  <a:pt x="1703" y="75"/>
                  <a:pt x="1703" y="75"/>
                </a:cubicBezTo>
                <a:cubicBezTo>
                  <a:pt x="1703" y="75"/>
                  <a:pt x="1703" y="75"/>
                  <a:pt x="1703" y="75"/>
                </a:cubicBezTo>
                <a:cubicBezTo>
                  <a:pt x="1702" y="75"/>
                  <a:pt x="1702" y="76"/>
                  <a:pt x="1702" y="76"/>
                </a:cubicBezTo>
                <a:cubicBezTo>
                  <a:pt x="1702" y="76"/>
                  <a:pt x="1702" y="76"/>
                  <a:pt x="1702" y="76"/>
                </a:cubicBezTo>
                <a:cubicBezTo>
                  <a:pt x="1702" y="76"/>
                  <a:pt x="1702" y="76"/>
                  <a:pt x="1701" y="77"/>
                </a:cubicBezTo>
                <a:cubicBezTo>
                  <a:pt x="1701" y="76"/>
                  <a:pt x="1701" y="76"/>
                  <a:pt x="1701" y="76"/>
                </a:cubicBezTo>
                <a:cubicBezTo>
                  <a:pt x="1701" y="77"/>
                  <a:pt x="1701" y="77"/>
                  <a:pt x="1701" y="77"/>
                </a:cubicBezTo>
                <a:cubicBezTo>
                  <a:pt x="1701" y="77"/>
                  <a:pt x="1701" y="77"/>
                  <a:pt x="1701" y="77"/>
                </a:cubicBezTo>
                <a:cubicBezTo>
                  <a:pt x="1701" y="77"/>
                  <a:pt x="1701" y="77"/>
                  <a:pt x="1701" y="77"/>
                </a:cubicBezTo>
                <a:cubicBezTo>
                  <a:pt x="1701" y="77"/>
                  <a:pt x="1701" y="77"/>
                  <a:pt x="1701" y="77"/>
                </a:cubicBezTo>
                <a:cubicBezTo>
                  <a:pt x="1701" y="78"/>
                  <a:pt x="1700" y="78"/>
                  <a:pt x="1700" y="78"/>
                </a:cubicBezTo>
                <a:cubicBezTo>
                  <a:pt x="1700" y="78"/>
                  <a:pt x="1700" y="78"/>
                  <a:pt x="1700" y="78"/>
                </a:cubicBezTo>
                <a:cubicBezTo>
                  <a:pt x="1700" y="78"/>
                  <a:pt x="1700" y="78"/>
                  <a:pt x="1700" y="79"/>
                </a:cubicBezTo>
                <a:cubicBezTo>
                  <a:pt x="1700" y="79"/>
                  <a:pt x="1700" y="79"/>
                  <a:pt x="1700" y="79"/>
                </a:cubicBezTo>
                <a:cubicBezTo>
                  <a:pt x="1700" y="79"/>
                  <a:pt x="1700" y="79"/>
                  <a:pt x="1700" y="79"/>
                </a:cubicBezTo>
                <a:cubicBezTo>
                  <a:pt x="1700" y="79"/>
                  <a:pt x="1700" y="79"/>
                  <a:pt x="1700" y="79"/>
                </a:cubicBezTo>
                <a:cubicBezTo>
                  <a:pt x="1699" y="79"/>
                  <a:pt x="1700" y="79"/>
                  <a:pt x="1699" y="80"/>
                </a:cubicBezTo>
                <a:cubicBezTo>
                  <a:pt x="1699" y="80"/>
                  <a:pt x="1699" y="80"/>
                  <a:pt x="1699" y="80"/>
                </a:cubicBezTo>
                <a:cubicBezTo>
                  <a:pt x="1699" y="80"/>
                  <a:pt x="1699" y="80"/>
                  <a:pt x="1699" y="80"/>
                </a:cubicBezTo>
                <a:cubicBezTo>
                  <a:pt x="1699" y="80"/>
                  <a:pt x="1699" y="80"/>
                  <a:pt x="1699" y="80"/>
                </a:cubicBezTo>
                <a:cubicBezTo>
                  <a:pt x="1699" y="80"/>
                  <a:pt x="1699" y="80"/>
                  <a:pt x="1699" y="80"/>
                </a:cubicBezTo>
                <a:cubicBezTo>
                  <a:pt x="1699" y="80"/>
                  <a:pt x="1699" y="81"/>
                  <a:pt x="1699" y="81"/>
                </a:cubicBezTo>
                <a:cubicBezTo>
                  <a:pt x="1699" y="81"/>
                  <a:pt x="1699" y="81"/>
                  <a:pt x="1699" y="81"/>
                </a:cubicBezTo>
                <a:cubicBezTo>
                  <a:pt x="1698" y="81"/>
                  <a:pt x="1699" y="81"/>
                  <a:pt x="1698" y="81"/>
                </a:cubicBezTo>
                <a:cubicBezTo>
                  <a:pt x="1698" y="81"/>
                  <a:pt x="1698" y="81"/>
                  <a:pt x="1698" y="81"/>
                </a:cubicBezTo>
                <a:cubicBezTo>
                  <a:pt x="1698" y="82"/>
                  <a:pt x="1698" y="82"/>
                  <a:pt x="1698" y="82"/>
                </a:cubicBezTo>
                <a:cubicBezTo>
                  <a:pt x="1698" y="82"/>
                  <a:pt x="1698" y="82"/>
                  <a:pt x="1698" y="82"/>
                </a:cubicBezTo>
                <a:cubicBezTo>
                  <a:pt x="1698" y="82"/>
                  <a:pt x="1698" y="83"/>
                  <a:pt x="1698" y="83"/>
                </a:cubicBezTo>
                <a:cubicBezTo>
                  <a:pt x="1698" y="83"/>
                  <a:pt x="1698" y="83"/>
                  <a:pt x="1698" y="83"/>
                </a:cubicBezTo>
                <a:cubicBezTo>
                  <a:pt x="1697" y="83"/>
                  <a:pt x="1697" y="84"/>
                  <a:pt x="1697" y="84"/>
                </a:cubicBezTo>
                <a:cubicBezTo>
                  <a:pt x="1697" y="84"/>
                  <a:pt x="1697" y="84"/>
                  <a:pt x="1697" y="84"/>
                </a:cubicBezTo>
                <a:cubicBezTo>
                  <a:pt x="1697" y="84"/>
                  <a:pt x="1697" y="84"/>
                  <a:pt x="1697" y="85"/>
                </a:cubicBezTo>
                <a:cubicBezTo>
                  <a:pt x="1697" y="85"/>
                  <a:pt x="1697" y="85"/>
                  <a:pt x="1697" y="85"/>
                </a:cubicBezTo>
                <a:cubicBezTo>
                  <a:pt x="1697" y="85"/>
                  <a:pt x="1697" y="85"/>
                  <a:pt x="1697" y="86"/>
                </a:cubicBezTo>
                <a:cubicBezTo>
                  <a:pt x="1697" y="86"/>
                  <a:pt x="1697" y="86"/>
                  <a:pt x="1697" y="86"/>
                </a:cubicBezTo>
                <a:cubicBezTo>
                  <a:pt x="1696" y="86"/>
                  <a:pt x="1697" y="87"/>
                  <a:pt x="1696" y="87"/>
                </a:cubicBezTo>
                <a:cubicBezTo>
                  <a:pt x="1696" y="87"/>
                  <a:pt x="1696" y="87"/>
                  <a:pt x="1696" y="87"/>
                </a:cubicBezTo>
                <a:cubicBezTo>
                  <a:pt x="1696" y="88"/>
                  <a:pt x="1696" y="88"/>
                  <a:pt x="1696" y="88"/>
                </a:cubicBezTo>
                <a:cubicBezTo>
                  <a:pt x="1696" y="88"/>
                  <a:pt x="1696" y="89"/>
                  <a:pt x="1696" y="89"/>
                </a:cubicBezTo>
                <a:cubicBezTo>
                  <a:pt x="1695" y="89"/>
                  <a:pt x="1696" y="90"/>
                  <a:pt x="1696" y="90"/>
                </a:cubicBezTo>
                <a:cubicBezTo>
                  <a:pt x="1696" y="91"/>
                  <a:pt x="1696" y="91"/>
                  <a:pt x="1696" y="91"/>
                </a:cubicBezTo>
                <a:cubicBezTo>
                  <a:pt x="1695" y="92"/>
                  <a:pt x="1696" y="93"/>
                  <a:pt x="1695" y="94"/>
                </a:cubicBezTo>
                <a:cubicBezTo>
                  <a:pt x="1695" y="96"/>
                  <a:pt x="1695" y="99"/>
                  <a:pt x="1695" y="101"/>
                </a:cubicBezTo>
                <a:cubicBezTo>
                  <a:pt x="1696" y="102"/>
                  <a:pt x="1696" y="102"/>
                  <a:pt x="1697" y="102"/>
                </a:cubicBezTo>
                <a:cubicBezTo>
                  <a:pt x="1715" y="102"/>
                  <a:pt x="1733" y="102"/>
                  <a:pt x="1752" y="102"/>
                </a:cubicBezTo>
                <a:cubicBezTo>
                  <a:pt x="1752" y="102"/>
                  <a:pt x="1753" y="102"/>
                  <a:pt x="1753" y="101"/>
                </a:cubicBezTo>
                <a:cubicBezTo>
                  <a:pt x="1753" y="101"/>
                  <a:pt x="1753" y="101"/>
                  <a:pt x="1753" y="101"/>
                </a:cubicBezTo>
                <a:cubicBezTo>
                  <a:pt x="1754" y="98"/>
                  <a:pt x="1754" y="95"/>
                  <a:pt x="1753" y="92"/>
                </a:cubicBezTo>
                <a:cubicBezTo>
                  <a:pt x="1753" y="92"/>
                  <a:pt x="1753" y="92"/>
                  <a:pt x="1753" y="92"/>
                </a:cubicBezTo>
                <a:cubicBezTo>
                  <a:pt x="1753" y="91"/>
                  <a:pt x="1752" y="92"/>
                  <a:pt x="1751" y="92"/>
                </a:cubicBezTo>
                <a:cubicBezTo>
                  <a:pt x="1737" y="92"/>
                  <a:pt x="1723" y="92"/>
                  <a:pt x="1709" y="92"/>
                </a:cubicBezTo>
                <a:cubicBezTo>
                  <a:pt x="1708" y="92"/>
                  <a:pt x="1707" y="92"/>
                  <a:pt x="1707" y="91"/>
                </a:cubicBezTo>
                <a:cubicBezTo>
                  <a:pt x="1706" y="91"/>
                  <a:pt x="1707" y="90"/>
                  <a:pt x="1707" y="90"/>
                </a:cubicBezTo>
                <a:cubicBezTo>
                  <a:pt x="1707" y="89"/>
                  <a:pt x="1707" y="88"/>
                  <a:pt x="1707" y="88"/>
                </a:cubicBezTo>
                <a:cubicBezTo>
                  <a:pt x="1707" y="87"/>
                  <a:pt x="1707" y="87"/>
                  <a:pt x="1707" y="87"/>
                </a:cubicBezTo>
                <a:cubicBezTo>
                  <a:pt x="1707" y="87"/>
                  <a:pt x="1707" y="86"/>
                  <a:pt x="1707" y="86"/>
                </a:cubicBezTo>
                <a:cubicBezTo>
                  <a:pt x="1707" y="86"/>
                  <a:pt x="1707" y="86"/>
                  <a:pt x="1707" y="86"/>
                </a:cubicBezTo>
                <a:cubicBezTo>
                  <a:pt x="1708" y="86"/>
                  <a:pt x="1708" y="85"/>
                  <a:pt x="1708" y="85"/>
                </a:cubicBezTo>
                <a:cubicBezTo>
                  <a:pt x="1708" y="85"/>
                  <a:pt x="1708" y="85"/>
                  <a:pt x="1708" y="85"/>
                </a:cubicBezTo>
                <a:cubicBezTo>
                  <a:pt x="1708" y="85"/>
                  <a:pt x="1708" y="85"/>
                  <a:pt x="1708" y="85"/>
                </a:cubicBezTo>
                <a:cubicBezTo>
                  <a:pt x="1708" y="85"/>
                  <a:pt x="1708" y="84"/>
                  <a:pt x="1708" y="84"/>
                </a:cubicBezTo>
                <a:cubicBezTo>
                  <a:pt x="1708" y="84"/>
                  <a:pt x="1708" y="84"/>
                  <a:pt x="1708" y="84"/>
                </a:cubicBezTo>
                <a:cubicBezTo>
                  <a:pt x="1708" y="84"/>
                  <a:pt x="1708" y="84"/>
                  <a:pt x="1708" y="83"/>
                </a:cubicBezTo>
                <a:cubicBezTo>
                  <a:pt x="1708" y="83"/>
                  <a:pt x="1708" y="83"/>
                  <a:pt x="1708" y="83"/>
                </a:cubicBezTo>
                <a:cubicBezTo>
                  <a:pt x="1709" y="83"/>
                  <a:pt x="1709" y="83"/>
                  <a:pt x="1709" y="83"/>
                </a:cubicBezTo>
                <a:cubicBezTo>
                  <a:pt x="1709" y="83"/>
                  <a:pt x="1709" y="83"/>
                  <a:pt x="1709" y="83"/>
                </a:cubicBezTo>
                <a:cubicBezTo>
                  <a:pt x="1709" y="83"/>
                  <a:pt x="1709" y="82"/>
                  <a:pt x="1709" y="82"/>
                </a:cubicBezTo>
                <a:cubicBezTo>
                  <a:pt x="1709" y="82"/>
                  <a:pt x="1709" y="82"/>
                  <a:pt x="1709" y="82"/>
                </a:cubicBezTo>
                <a:cubicBezTo>
                  <a:pt x="1709" y="82"/>
                  <a:pt x="1709" y="82"/>
                  <a:pt x="1709" y="82"/>
                </a:cubicBezTo>
                <a:cubicBezTo>
                  <a:pt x="1709" y="82"/>
                  <a:pt x="1709" y="82"/>
                  <a:pt x="1709" y="82"/>
                </a:cubicBezTo>
                <a:cubicBezTo>
                  <a:pt x="1710" y="82"/>
                  <a:pt x="1710" y="81"/>
                  <a:pt x="1710" y="81"/>
                </a:cubicBezTo>
                <a:cubicBezTo>
                  <a:pt x="1710" y="81"/>
                  <a:pt x="1710" y="81"/>
                  <a:pt x="1710" y="81"/>
                </a:cubicBezTo>
                <a:cubicBezTo>
                  <a:pt x="1710" y="81"/>
                  <a:pt x="1710" y="81"/>
                  <a:pt x="1710" y="81"/>
                </a:cubicBezTo>
                <a:cubicBezTo>
                  <a:pt x="1710" y="81"/>
                  <a:pt x="1710" y="81"/>
                  <a:pt x="1710" y="81"/>
                </a:cubicBezTo>
                <a:cubicBezTo>
                  <a:pt x="1710" y="81"/>
                  <a:pt x="1710" y="80"/>
                  <a:pt x="1710" y="80"/>
                </a:cubicBezTo>
                <a:cubicBezTo>
                  <a:pt x="1710" y="80"/>
                  <a:pt x="1710" y="80"/>
                  <a:pt x="1710" y="80"/>
                </a:cubicBezTo>
                <a:cubicBezTo>
                  <a:pt x="1711" y="80"/>
                  <a:pt x="1711" y="80"/>
                  <a:pt x="1711" y="79"/>
                </a:cubicBezTo>
                <a:cubicBezTo>
                  <a:pt x="1711" y="79"/>
                  <a:pt x="1711" y="79"/>
                  <a:pt x="1711" y="79"/>
                </a:cubicBezTo>
                <a:cubicBezTo>
                  <a:pt x="1711" y="79"/>
                  <a:pt x="1711" y="79"/>
                  <a:pt x="1712" y="79"/>
                </a:cubicBezTo>
                <a:cubicBezTo>
                  <a:pt x="1712" y="79"/>
                  <a:pt x="1712" y="79"/>
                  <a:pt x="1712" y="79"/>
                </a:cubicBezTo>
                <a:cubicBezTo>
                  <a:pt x="1712" y="79"/>
                  <a:pt x="1712" y="79"/>
                  <a:pt x="1712" y="79"/>
                </a:cubicBezTo>
                <a:cubicBezTo>
                  <a:pt x="1712" y="79"/>
                  <a:pt x="1712" y="79"/>
                  <a:pt x="1712" y="79"/>
                </a:cubicBezTo>
                <a:cubicBezTo>
                  <a:pt x="1712" y="78"/>
                  <a:pt x="1712" y="78"/>
                  <a:pt x="1712" y="78"/>
                </a:cubicBezTo>
                <a:cubicBezTo>
                  <a:pt x="1712" y="78"/>
                  <a:pt x="1712" y="78"/>
                  <a:pt x="1712" y="78"/>
                </a:cubicBezTo>
                <a:cubicBezTo>
                  <a:pt x="1712" y="78"/>
                  <a:pt x="1712" y="78"/>
                  <a:pt x="1713" y="78"/>
                </a:cubicBezTo>
                <a:cubicBezTo>
                  <a:pt x="1713" y="78"/>
                  <a:pt x="1713" y="78"/>
                  <a:pt x="1713" y="78"/>
                </a:cubicBezTo>
                <a:cubicBezTo>
                  <a:pt x="1713" y="78"/>
                  <a:pt x="1713" y="78"/>
                  <a:pt x="1713" y="77"/>
                </a:cubicBezTo>
                <a:cubicBezTo>
                  <a:pt x="1713" y="77"/>
                  <a:pt x="1713" y="77"/>
                  <a:pt x="1713" y="77"/>
                </a:cubicBezTo>
                <a:cubicBezTo>
                  <a:pt x="1713" y="77"/>
                  <a:pt x="1713" y="77"/>
                  <a:pt x="1713" y="77"/>
                </a:cubicBezTo>
                <a:cubicBezTo>
                  <a:pt x="1713" y="77"/>
                  <a:pt x="1713" y="77"/>
                  <a:pt x="1713" y="77"/>
                </a:cubicBezTo>
                <a:cubicBezTo>
                  <a:pt x="1713" y="77"/>
                  <a:pt x="1714" y="77"/>
                  <a:pt x="1714" y="77"/>
                </a:cubicBezTo>
                <a:cubicBezTo>
                  <a:pt x="1714" y="77"/>
                  <a:pt x="1714" y="77"/>
                  <a:pt x="1714" y="77"/>
                </a:cubicBezTo>
                <a:cubicBezTo>
                  <a:pt x="1714" y="77"/>
                  <a:pt x="1714" y="77"/>
                  <a:pt x="1714" y="76"/>
                </a:cubicBezTo>
                <a:cubicBezTo>
                  <a:pt x="1714" y="76"/>
                  <a:pt x="1714" y="76"/>
                  <a:pt x="1714" y="76"/>
                </a:cubicBezTo>
                <a:cubicBezTo>
                  <a:pt x="1714" y="76"/>
                  <a:pt x="1714" y="76"/>
                  <a:pt x="1714" y="76"/>
                </a:cubicBezTo>
                <a:cubicBezTo>
                  <a:pt x="1714" y="76"/>
                  <a:pt x="1714" y="76"/>
                  <a:pt x="1714" y="76"/>
                </a:cubicBezTo>
                <a:cubicBezTo>
                  <a:pt x="1715" y="76"/>
                  <a:pt x="1715" y="75"/>
                  <a:pt x="1716" y="75"/>
                </a:cubicBezTo>
                <a:cubicBezTo>
                  <a:pt x="1716" y="75"/>
                  <a:pt x="1716" y="75"/>
                  <a:pt x="1716" y="75"/>
                </a:cubicBezTo>
                <a:cubicBezTo>
                  <a:pt x="1716" y="75"/>
                  <a:pt x="1716" y="75"/>
                  <a:pt x="1716" y="75"/>
                </a:cubicBezTo>
                <a:cubicBezTo>
                  <a:pt x="1716" y="75"/>
                  <a:pt x="1716" y="75"/>
                  <a:pt x="1716" y="75"/>
                </a:cubicBezTo>
                <a:cubicBezTo>
                  <a:pt x="1716" y="75"/>
                  <a:pt x="1716" y="74"/>
                  <a:pt x="1716" y="74"/>
                </a:cubicBezTo>
                <a:cubicBezTo>
                  <a:pt x="1716" y="74"/>
                  <a:pt x="1716" y="74"/>
                  <a:pt x="1716" y="74"/>
                </a:cubicBezTo>
                <a:cubicBezTo>
                  <a:pt x="1717" y="74"/>
                  <a:pt x="1717" y="74"/>
                  <a:pt x="1717" y="74"/>
                </a:cubicBezTo>
                <a:cubicBezTo>
                  <a:pt x="1717" y="74"/>
                  <a:pt x="1717" y="74"/>
                  <a:pt x="1717" y="74"/>
                </a:cubicBezTo>
                <a:cubicBezTo>
                  <a:pt x="1717" y="74"/>
                  <a:pt x="1717" y="74"/>
                  <a:pt x="1717" y="74"/>
                </a:cubicBezTo>
                <a:cubicBezTo>
                  <a:pt x="1717" y="74"/>
                  <a:pt x="1717" y="74"/>
                  <a:pt x="1717" y="74"/>
                </a:cubicBezTo>
                <a:cubicBezTo>
                  <a:pt x="1718" y="74"/>
                  <a:pt x="1718" y="73"/>
                  <a:pt x="1718" y="73"/>
                </a:cubicBezTo>
                <a:cubicBezTo>
                  <a:pt x="1718" y="73"/>
                  <a:pt x="1718" y="73"/>
                  <a:pt x="1718" y="73"/>
                </a:cubicBezTo>
                <a:cubicBezTo>
                  <a:pt x="1718" y="73"/>
                  <a:pt x="1718" y="73"/>
                  <a:pt x="1718" y="73"/>
                </a:cubicBezTo>
                <a:cubicBezTo>
                  <a:pt x="1718" y="73"/>
                  <a:pt x="1718" y="73"/>
                  <a:pt x="1718" y="73"/>
                </a:cubicBezTo>
                <a:cubicBezTo>
                  <a:pt x="1718" y="73"/>
                  <a:pt x="1719" y="73"/>
                  <a:pt x="1719" y="72"/>
                </a:cubicBezTo>
                <a:cubicBezTo>
                  <a:pt x="1719" y="72"/>
                  <a:pt x="1719" y="72"/>
                  <a:pt x="1719" y="72"/>
                </a:cubicBezTo>
                <a:cubicBezTo>
                  <a:pt x="1719" y="72"/>
                  <a:pt x="1719" y="72"/>
                  <a:pt x="1720" y="72"/>
                </a:cubicBezTo>
                <a:cubicBezTo>
                  <a:pt x="1720" y="72"/>
                  <a:pt x="1720" y="72"/>
                  <a:pt x="1720" y="72"/>
                </a:cubicBezTo>
                <a:cubicBezTo>
                  <a:pt x="1720" y="72"/>
                  <a:pt x="1720" y="72"/>
                  <a:pt x="1720" y="72"/>
                </a:cubicBezTo>
                <a:cubicBezTo>
                  <a:pt x="1720" y="72"/>
                  <a:pt x="1720" y="72"/>
                  <a:pt x="1720" y="72"/>
                </a:cubicBezTo>
                <a:cubicBezTo>
                  <a:pt x="1720" y="71"/>
                  <a:pt x="1720" y="71"/>
                  <a:pt x="1721" y="71"/>
                </a:cubicBezTo>
                <a:cubicBezTo>
                  <a:pt x="1720" y="71"/>
                  <a:pt x="1720" y="71"/>
                  <a:pt x="1720" y="71"/>
                </a:cubicBezTo>
                <a:cubicBezTo>
                  <a:pt x="1721" y="71"/>
                  <a:pt x="1721" y="71"/>
                  <a:pt x="1721" y="71"/>
                </a:cubicBezTo>
                <a:cubicBezTo>
                  <a:pt x="1721" y="71"/>
                  <a:pt x="1721" y="71"/>
                  <a:pt x="1721" y="71"/>
                </a:cubicBezTo>
                <a:cubicBezTo>
                  <a:pt x="1721" y="71"/>
                  <a:pt x="1721" y="71"/>
                  <a:pt x="1721" y="71"/>
                </a:cubicBezTo>
                <a:cubicBezTo>
                  <a:pt x="1721" y="71"/>
                  <a:pt x="1721" y="71"/>
                  <a:pt x="1721" y="71"/>
                </a:cubicBezTo>
                <a:cubicBezTo>
                  <a:pt x="1721" y="70"/>
                  <a:pt x="1722" y="70"/>
                  <a:pt x="1722" y="70"/>
                </a:cubicBezTo>
                <a:cubicBezTo>
                  <a:pt x="1722" y="70"/>
                  <a:pt x="1722" y="70"/>
                  <a:pt x="1722" y="70"/>
                </a:cubicBezTo>
                <a:cubicBezTo>
                  <a:pt x="1722" y="70"/>
                  <a:pt x="1722" y="70"/>
                  <a:pt x="1722" y="70"/>
                </a:cubicBezTo>
                <a:cubicBezTo>
                  <a:pt x="1722" y="70"/>
                  <a:pt x="1722" y="70"/>
                  <a:pt x="1722" y="70"/>
                </a:cubicBezTo>
                <a:cubicBezTo>
                  <a:pt x="1722" y="70"/>
                  <a:pt x="1723" y="70"/>
                  <a:pt x="1723" y="70"/>
                </a:cubicBezTo>
                <a:cubicBezTo>
                  <a:pt x="1723" y="70"/>
                  <a:pt x="1723" y="70"/>
                  <a:pt x="1723" y="70"/>
                </a:cubicBezTo>
                <a:cubicBezTo>
                  <a:pt x="1723" y="69"/>
                  <a:pt x="1723" y="69"/>
                  <a:pt x="1723" y="69"/>
                </a:cubicBezTo>
                <a:cubicBezTo>
                  <a:pt x="1723" y="69"/>
                  <a:pt x="1723" y="69"/>
                  <a:pt x="1723" y="69"/>
                </a:cubicBezTo>
                <a:cubicBezTo>
                  <a:pt x="1723" y="69"/>
                  <a:pt x="1724" y="69"/>
                  <a:pt x="1724" y="69"/>
                </a:cubicBezTo>
                <a:cubicBezTo>
                  <a:pt x="1724" y="69"/>
                  <a:pt x="1724" y="69"/>
                  <a:pt x="1724" y="69"/>
                </a:cubicBezTo>
                <a:cubicBezTo>
                  <a:pt x="1724" y="69"/>
                  <a:pt x="1724" y="69"/>
                  <a:pt x="1724" y="68"/>
                </a:cubicBezTo>
                <a:cubicBezTo>
                  <a:pt x="1724" y="68"/>
                  <a:pt x="1724" y="68"/>
                  <a:pt x="1724" y="68"/>
                </a:cubicBezTo>
                <a:cubicBezTo>
                  <a:pt x="1724" y="68"/>
                  <a:pt x="1725" y="68"/>
                  <a:pt x="1725" y="68"/>
                </a:cubicBezTo>
                <a:cubicBezTo>
                  <a:pt x="1725" y="68"/>
                  <a:pt x="1725" y="68"/>
                  <a:pt x="1725" y="68"/>
                </a:cubicBezTo>
                <a:cubicBezTo>
                  <a:pt x="1725" y="68"/>
                  <a:pt x="1725" y="68"/>
                  <a:pt x="1725" y="68"/>
                </a:cubicBezTo>
                <a:cubicBezTo>
                  <a:pt x="1725" y="68"/>
                  <a:pt x="1725" y="68"/>
                  <a:pt x="1725" y="68"/>
                </a:cubicBezTo>
                <a:cubicBezTo>
                  <a:pt x="1725" y="68"/>
                  <a:pt x="1726" y="68"/>
                  <a:pt x="1726" y="67"/>
                </a:cubicBezTo>
                <a:cubicBezTo>
                  <a:pt x="1726" y="67"/>
                  <a:pt x="1726" y="67"/>
                  <a:pt x="1726" y="67"/>
                </a:cubicBezTo>
                <a:cubicBezTo>
                  <a:pt x="1726" y="67"/>
                  <a:pt x="1726" y="67"/>
                  <a:pt x="1726" y="67"/>
                </a:cubicBezTo>
                <a:cubicBezTo>
                  <a:pt x="1726" y="67"/>
                  <a:pt x="1726" y="67"/>
                  <a:pt x="1726" y="67"/>
                </a:cubicBezTo>
                <a:cubicBezTo>
                  <a:pt x="1726" y="67"/>
                  <a:pt x="1726" y="67"/>
                  <a:pt x="1727" y="67"/>
                </a:cubicBezTo>
                <a:cubicBezTo>
                  <a:pt x="1727" y="67"/>
                  <a:pt x="1727" y="67"/>
                  <a:pt x="1727" y="67"/>
                </a:cubicBezTo>
                <a:cubicBezTo>
                  <a:pt x="1727" y="66"/>
                  <a:pt x="1727" y="67"/>
                  <a:pt x="1727" y="66"/>
                </a:cubicBezTo>
                <a:cubicBezTo>
                  <a:pt x="1727" y="66"/>
                  <a:pt x="1727" y="66"/>
                  <a:pt x="1727" y="66"/>
                </a:cubicBezTo>
                <a:cubicBezTo>
                  <a:pt x="1727" y="66"/>
                  <a:pt x="1727" y="66"/>
                  <a:pt x="1728" y="66"/>
                </a:cubicBezTo>
                <a:cubicBezTo>
                  <a:pt x="1728" y="66"/>
                  <a:pt x="1728" y="66"/>
                  <a:pt x="1728" y="66"/>
                </a:cubicBezTo>
                <a:cubicBezTo>
                  <a:pt x="1728" y="66"/>
                  <a:pt x="1728" y="66"/>
                  <a:pt x="1729" y="65"/>
                </a:cubicBezTo>
                <a:cubicBezTo>
                  <a:pt x="1729" y="65"/>
                  <a:pt x="1729" y="65"/>
                  <a:pt x="1729" y="65"/>
                </a:cubicBezTo>
                <a:cubicBezTo>
                  <a:pt x="1729" y="65"/>
                  <a:pt x="1729" y="65"/>
                  <a:pt x="1729" y="65"/>
                </a:cubicBezTo>
                <a:cubicBezTo>
                  <a:pt x="1729" y="65"/>
                  <a:pt x="1729" y="65"/>
                  <a:pt x="1729" y="65"/>
                </a:cubicBezTo>
                <a:cubicBezTo>
                  <a:pt x="1729" y="65"/>
                  <a:pt x="1729" y="65"/>
                  <a:pt x="1730" y="65"/>
                </a:cubicBezTo>
                <a:cubicBezTo>
                  <a:pt x="1730" y="65"/>
                  <a:pt x="1730" y="65"/>
                  <a:pt x="1730" y="65"/>
                </a:cubicBezTo>
                <a:cubicBezTo>
                  <a:pt x="1730" y="65"/>
                  <a:pt x="1730" y="64"/>
                  <a:pt x="1730" y="64"/>
                </a:cubicBezTo>
                <a:cubicBezTo>
                  <a:pt x="1730" y="64"/>
                  <a:pt x="1730" y="64"/>
                  <a:pt x="1730" y="64"/>
                </a:cubicBezTo>
                <a:cubicBezTo>
                  <a:pt x="1730" y="64"/>
                  <a:pt x="1730" y="64"/>
                  <a:pt x="1730" y="64"/>
                </a:cubicBezTo>
                <a:cubicBezTo>
                  <a:pt x="1730" y="64"/>
                  <a:pt x="1730" y="64"/>
                  <a:pt x="1730" y="64"/>
                </a:cubicBezTo>
                <a:cubicBezTo>
                  <a:pt x="1731" y="64"/>
                  <a:pt x="1731" y="64"/>
                  <a:pt x="1731" y="63"/>
                </a:cubicBezTo>
                <a:cubicBezTo>
                  <a:pt x="1731" y="64"/>
                  <a:pt x="1731" y="64"/>
                  <a:pt x="1731" y="64"/>
                </a:cubicBezTo>
                <a:cubicBezTo>
                  <a:pt x="1731" y="63"/>
                  <a:pt x="1731" y="63"/>
                  <a:pt x="1731" y="63"/>
                </a:cubicBezTo>
                <a:cubicBezTo>
                  <a:pt x="1731" y="63"/>
                  <a:pt x="1731" y="63"/>
                  <a:pt x="1731" y="63"/>
                </a:cubicBezTo>
                <a:cubicBezTo>
                  <a:pt x="1731" y="63"/>
                  <a:pt x="1732" y="63"/>
                  <a:pt x="1732" y="63"/>
                </a:cubicBezTo>
                <a:cubicBezTo>
                  <a:pt x="1732" y="63"/>
                  <a:pt x="1732" y="63"/>
                  <a:pt x="1732" y="63"/>
                </a:cubicBezTo>
                <a:cubicBezTo>
                  <a:pt x="1732" y="63"/>
                  <a:pt x="1732" y="63"/>
                  <a:pt x="1732" y="62"/>
                </a:cubicBezTo>
                <a:cubicBezTo>
                  <a:pt x="1732" y="62"/>
                  <a:pt x="1732" y="62"/>
                  <a:pt x="1732" y="62"/>
                </a:cubicBezTo>
                <a:cubicBezTo>
                  <a:pt x="1733" y="62"/>
                  <a:pt x="1733" y="62"/>
                  <a:pt x="1733" y="62"/>
                </a:cubicBezTo>
                <a:cubicBezTo>
                  <a:pt x="1733" y="62"/>
                  <a:pt x="1733" y="62"/>
                  <a:pt x="1733" y="62"/>
                </a:cubicBezTo>
                <a:cubicBezTo>
                  <a:pt x="1733" y="62"/>
                  <a:pt x="1733" y="62"/>
                  <a:pt x="1733" y="62"/>
                </a:cubicBezTo>
                <a:cubicBezTo>
                  <a:pt x="1733" y="62"/>
                  <a:pt x="1733" y="62"/>
                  <a:pt x="1733" y="62"/>
                </a:cubicBezTo>
                <a:cubicBezTo>
                  <a:pt x="1733" y="62"/>
                  <a:pt x="1734" y="61"/>
                  <a:pt x="1734" y="61"/>
                </a:cubicBezTo>
                <a:cubicBezTo>
                  <a:pt x="1734" y="61"/>
                  <a:pt x="1734" y="61"/>
                  <a:pt x="1734" y="61"/>
                </a:cubicBezTo>
                <a:cubicBezTo>
                  <a:pt x="1734" y="61"/>
                  <a:pt x="1734" y="61"/>
                  <a:pt x="1734" y="61"/>
                </a:cubicBezTo>
                <a:cubicBezTo>
                  <a:pt x="1734" y="61"/>
                  <a:pt x="1734" y="61"/>
                  <a:pt x="1734" y="61"/>
                </a:cubicBezTo>
                <a:cubicBezTo>
                  <a:pt x="1735" y="61"/>
                  <a:pt x="1735" y="61"/>
                  <a:pt x="1735" y="60"/>
                </a:cubicBezTo>
                <a:cubicBezTo>
                  <a:pt x="1735" y="60"/>
                  <a:pt x="1735" y="60"/>
                  <a:pt x="1735" y="60"/>
                </a:cubicBezTo>
                <a:cubicBezTo>
                  <a:pt x="1735" y="60"/>
                  <a:pt x="1735" y="60"/>
                  <a:pt x="1735" y="60"/>
                </a:cubicBezTo>
                <a:cubicBezTo>
                  <a:pt x="1735" y="60"/>
                  <a:pt x="1735" y="60"/>
                  <a:pt x="1735" y="60"/>
                </a:cubicBezTo>
                <a:cubicBezTo>
                  <a:pt x="1735" y="60"/>
                  <a:pt x="1735" y="60"/>
                  <a:pt x="1736" y="60"/>
                </a:cubicBezTo>
                <a:cubicBezTo>
                  <a:pt x="1736" y="60"/>
                  <a:pt x="1736" y="60"/>
                  <a:pt x="1736" y="60"/>
                </a:cubicBezTo>
                <a:cubicBezTo>
                  <a:pt x="1736" y="59"/>
                  <a:pt x="1736" y="59"/>
                  <a:pt x="1737" y="59"/>
                </a:cubicBezTo>
                <a:cubicBezTo>
                  <a:pt x="1736" y="59"/>
                  <a:pt x="1736" y="59"/>
                  <a:pt x="1736" y="59"/>
                </a:cubicBezTo>
                <a:cubicBezTo>
                  <a:pt x="1737" y="59"/>
                  <a:pt x="1737" y="59"/>
                  <a:pt x="1737" y="59"/>
                </a:cubicBezTo>
                <a:cubicBezTo>
                  <a:pt x="1737" y="59"/>
                  <a:pt x="1737" y="59"/>
                  <a:pt x="1737" y="59"/>
                </a:cubicBezTo>
                <a:cubicBezTo>
                  <a:pt x="1737" y="59"/>
                  <a:pt x="1737" y="58"/>
                  <a:pt x="1737" y="58"/>
                </a:cubicBezTo>
                <a:cubicBezTo>
                  <a:pt x="1737" y="58"/>
                  <a:pt x="1737" y="58"/>
                  <a:pt x="1737" y="58"/>
                </a:cubicBezTo>
                <a:cubicBezTo>
                  <a:pt x="1737" y="58"/>
                  <a:pt x="1738" y="58"/>
                  <a:pt x="1738" y="58"/>
                </a:cubicBezTo>
                <a:cubicBezTo>
                  <a:pt x="1738" y="58"/>
                  <a:pt x="1738" y="58"/>
                  <a:pt x="1738" y="58"/>
                </a:cubicBezTo>
                <a:cubicBezTo>
                  <a:pt x="1738" y="58"/>
                  <a:pt x="1738" y="58"/>
                  <a:pt x="1738" y="58"/>
                </a:cubicBezTo>
                <a:cubicBezTo>
                  <a:pt x="1738" y="58"/>
                  <a:pt x="1738" y="58"/>
                  <a:pt x="1738" y="58"/>
                </a:cubicBezTo>
                <a:cubicBezTo>
                  <a:pt x="1738" y="58"/>
                  <a:pt x="1738" y="57"/>
                  <a:pt x="1738" y="57"/>
                </a:cubicBezTo>
                <a:cubicBezTo>
                  <a:pt x="1738" y="57"/>
                  <a:pt x="1738" y="57"/>
                  <a:pt x="1738" y="57"/>
                </a:cubicBezTo>
                <a:cubicBezTo>
                  <a:pt x="1738" y="57"/>
                  <a:pt x="1739" y="57"/>
                  <a:pt x="1739" y="57"/>
                </a:cubicBezTo>
                <a:cubicBezTo>
                  <a:pt x="1739" y="57"/>
                  <a:pt x="1739" y="57"/>
                  <a:pt x="1739" y="57"/>
                </a:cubicBezTo>
                <a:cubicBezTo>
                  <a:pt x="1739" y="57"/>
                  <a:pt x="1739" y="57"/>
                  <a:pt x="1739" y="57"/>
                </a:cubicBezTo>
                <a:cubicBezTo>
                  <a:pt x="1739" y="57"/>
                  <a:pt x="1739" y="57"/>
                  <a:pt x="1739" y="57"/>
                </a:cubicBezTo>
                <a:cubicBezTo>
                  <a:pt x="1739" y="56"/>
                  <a:pt x="1739" y="56"/>
                  <a:pt x="1739" y="56"/>
                </a:cubicBezTo>
                <a:cubicBezTo>
                  <a:pt x="1739" y="56"/>
                  <a:pt x="1739" y="56"/>
                  <a:pt x="1739" y="56"/>
                </a:cubicBezTo>
                <a:cubicBezTo>
                  <a:pt x="1740" y="56"/>
                  <a:pt x="1740" y="56"/>
                  <a:pt x="1740" y="56"/>
                </a:cubicBezTo>
                <a:cubicBezTo>
                  <a:pt x="1740" y="56"/>
                  <a:pt x="1740" y="56"/>
                  <a:pt x="1740" y="56"/>
                </a:cubicBezTo>
                <a:cubicBezTo>
                  <a:pt x="1740" y="56"/>
                  <a:pt x="1740" y="56"/>
                  <a:pt x="1740" y="56"/>
                </a:cubicBezTo>
                <a:cubicBezTo>
                  <a:pt x="1740" y="56"/>
                  <a:pt x="1740" y="56"/>
                  <a:pt x="1740" y="56"/>
                </a:cubicBezTo>
                <a:cubicBezTo>
                  <a:pt x="1740" y="55"/>
                  <a:pt x="1740" y="55"/>
                  <a:pt x="1740" y="55"/>
                </a:cubicBezTo>
                <a:cubicBezTo>
                  <a:pt x="1740" y="55"/>
                  <a:pt x="1740" y="55"/>
                  <a:pt x="1740" y="55"/>
                </a:cubicBezTo>
                <a:cubicBezTo>
                  <a:pt x="1741" y="55"/>
                  <a:pt x="1741" y="55"/>
                  <a:pt x="1741" y="55"/>
                </a:cubicBezTo>
                <a:cubicBezTo>
                  <a:pt x="1741" y="55"/>
                  <a:pt x="1741" y="55"/>
                  <a:pt x="1741" y="55"/>
                </a:cubicBezTo>
                <a:cubicBezTo>
                  <a:pt x="1741" y="55"/>
                  <a:pt x="1741" y="55"/>
                  <a:pt x="1741" y="54"/>
                </a:cubicBezTo>
                <a:cubicBezTo>
                  <a:pt x="1741" y="54"/>
                  <a:pt x="1741" y="54"/>
                  <a:pt x="1741" y="54"/>
                </a:cubicBezTo>
                <a:cubicBezTo>
                  <a:pt x="1741" y="54"/>
                  <a:pt x="1741" y="54"/>
                  <a:pt x="1741" y="54"/>
                </a:cubicBezTo>
                <a:cubicBezTo>
                  <a:pt x="1741" y="54"/>
                  <a:pt x="1741" y="54"/>
                  <a:pt x="1741" y="54"/>
                </a:cubicBezTo>
                <a:cubicBezTo>
                  <a:pt x="1742" y="54"/>
                  <a:pt x="1742" y="53"/>
                  <a:pt x="1742" y="53"/>
                </a:cubicBezTo>
                <a:cubicBezTo>
                  <a:pt x="1742" y="53"/>
                  <a:pt x="1742" y="53"/>
                  <a:pt x="1742" y="53"/>
                </a:cubicBezTo>
                <a:cubicBezTo>
                  <a:pt x="1742" y="53"/>
                  <a:pt x="1742" y="53"/>
                  <a:pt x="1743" y="53"/>
                </a:cubicBezTo>
                <a:cubicBezTo>
                  <a:pt x="1742" y="53"/>
                  <a:pt x="1742" y="53"/>
                  <a:pt x="1742" y="53"/>
                </a:cubicBezTo>
                <a:cubicBezTo>
                  <a:pt x="1743" y="53"/>
                  <a:pt x="1743" y="53"/>
                  <a:pt x="1743" y="52"/>
                </a:cubicBezTo>
                <a:cubicBezTo>
                  <a:pt x="1743" y="52"/>
                  <a:pt x="1743" y="52"/>
                  <a:pt x="1743" y="52"/>
                </a:cubicBezTo>
                <a:cubicBezTo>
                  <a:pt x="1743" y="52"/>
                  <a:pt x="1743" y="52"/>
                  <a:pt x="1743" y="52"/>
                </a:cubicBezTo>
                <a:cubicBezTo>
                  <a:pt x="1743" y="52"/>
                  <a:pt x="1743" y="52"/>
                  <a:pt x="1743" y="52"/>
                </a:cubicBezTo>
                <a:cubicBezTo>
                  <a:pt x="1743" y="52"/>
                  <a:pt x="1743" y="52"/>
                  <a:pt x="1744" y="51"/>
                </a:cubicBezTo>
                <a:cubicBezTo>
                  <a:pt x="1744" y="51"/>
                  <a:pt x="1744" y="51"/>
                  <a:pt x="1744" y="51"/>
                </a:cubicBezTo>
                <a:cubicBezTo>
                  <a:pt x="1744" y="51"/>
                  <a:pt x="1744" y="51"/>
                  <a:pt x="1744" y="51"/>
                </a:cubicBezTo>
                <a:cubicBezTo>
                  <a:pt x="1744" y="51"/>
                  <a:pt x="1744" y="51"/>
                  <a:pt x="1744" y="51"/>
                </a:cubicBezTo>
                <a:cubicBezTo>
                  <a:pt x="1744" y="51"/>
                  <a:pt x="1744" y="51"/>
                  <a:pt x="1744" y="50"/>
                </a:cubicBezTo>
                <a:cubicBezTo>
                  <a:pt x="1744" y="50"/>
                  <a:pt x="1744" y="50"/>
                  <a:pt x="1744" y="50"/>
                </a:cubicBezTo>
                <a:cubicBezTo>
                  <a:pt x="1744" y="50"/>
                  <a:pt x="1745" y="50"/>
                  <a:pt x="1745" y="50"/>
                </a:cubicBezTo>
                <a:cubicBezTo>
                  <a:pt x="1745" y="50"/>
                  <a:pt x="1745" y="50"/>
                  <a:pt x="1745" y="50"/>
                </a:cubicBezTo>
                <a:cubicBezTo>
                  <a:pt x="1745" y="50"/>
                  <a:pt x="1745" y="49"/>
                  <a:pt x="1745" y="49"/>
                </a:cubicBezTo>
                <a:cubicBezTo>
                  <a:pt x="1745" y="49"/>
                  <a:pt x="1745" y="49"/>
                  <a:pt x="1745" y="49"/>
                </a:cubicBezTo>
                <a:cubicBezTo>
                  <a:pt x="1745" y="49"/>
                  <a:pt x="1745" y="49"/>
                  <a:pt x="1745" y="49"/>
                </a:cubicBezTo>
                <a:cubicBezTo>
                  <a:pt x="1745" y="49"/>
                  <a:pt x="1745" y="49"/>
                  <a:pt x="1745" y="49"/>
                </a:cubicBezTo>
                <a:cubicBezTo>
                  <a:pt x="1746" y="49"/>
                  <a:pt x="1745" y="48"/>
                  <a:pt x="1746" y="48"/>
                </a:cubicBezTo>
                <a:cubicBezTo>
                  <a:pt x="1746" y="48"/>
                  <a:pt x="1746" y="48"/>
                  <a:pt x="1746" y="48"/>
                </a:cubicBezTo>
                <a:cubicBezTo>
                  <a:pt x="1746" y="48"/>
                  <a:pt x="1746" y="48"/>
                  <a:pt x="1746" y="48"/>
                </a:cubicBezTo>
                <a:cubicBezTo>
                  <a:pt x="1746" y="48"/>
                  <a:pt x="1746" y="48"/>
                  <a:pt x="1746" y="48"/>
                </a:cubicBezTo>
                <a:cubicBezTo>
                  <a:pt x="1746" y="47"/>
                  <a:pt x="1746" y="47"/>
                  <a:pt x="1746" y="47"/>
                </a:cubicBezTo>
                <a:cubicBezTo>
                  <a:pt x="1746" y="47"/>
                  <a:pt x="1746" y="47"/>
                  <a:pt x="1746" y="47"/>
                </a:cubicBezTo>
                <a:cubicBezTo>
                  <a:pt x="1747" y="47"/>
                  <a:pt x="1746" y="46"/>
                  <a:pt x="1747" y="46"/>
                </a:cubicBezTo>
                <a:cubicBezTo>
                  <a:pt x="1747" y="46"/>
                  <a:pt x="1747" y="46"/>
                  <a:pt x="1747" y="46"/>
                </a:cubicBezTo>
                <a:cubicBezTo>
                  <a:pt x="1747" y="46"/>
                  <a:pt x="1747" y="46"/>
                  <a:pt x="1747" y="45"/>
                </a:cubicBezTo>
                <a:cubicBezTo>
                  <a:pt x="1747" y="45"/>
                  <a:pt x="1747" y="45"/>
                  <a:pt x="1747" y="45"/>
                </a:cubicBezTo>
                <a:cubicBezTo>
                  <a:pt x="1747" y="45"/>
                  <a:pt x="1747" y="45"/>
                  <a:pt x="1747" y="45"/>
                </a:cubicBezTo>
                <a:cubicBezTo>
                  <a:pt x="1747" y="45"/>
                  <a:pt x="1747" y="44"/>
                  <a:pt x="1747" y="44"/>
                </a:cubicBezTo>
                <a:cubicBezTo>
                  <a:pt x="1748" y="44"/>
                  <a:pt x="1748" y="44"/>
                  <a:pt x="1748" y="44"/>
                </a:cubicBezTo>
                <a:cubicBezTo>
                  <a:pt x="1748" y="44"/>
                  <a:pt x="1748" y="44"/>
                  <a:pt x="1748" y="44"/>
                </a:cubicBezTo>
                <a:cubicBezTo>
                  <a:pt x="1748" y="43"/>
                  <a:pt x="1748" y="43"/>
                  <a:pt x="1748" y="43"/>
                </a:cubicBezTo>
                <a:cubicBezTo>
                  <a:pt x="1748" y="43"/>
                  <a:pt x="1748" y="43"/>
                  <a:pt x="1748" y="43"/>
                </a:cubicBezTo>
                <a:cubicBezTo>
                  <a:pt x="1748" y="42"/>
                  <a:pt x="1748" y="42"/>
                  <a:pt x="1748" y="42"/>
                </a:cubicBezTo>
                <a:cubicBezTo>
                  <a:pt x="1748" y="42"/>
                  <a:pt x="1748" y="42"/>
                  <a:pt x="1748" y="42"/>
                </a:cubicBezTo>
                <a:cubicBezTo>
                  <a:pt x="1749" y="41"/>
                  <a:pt x="1749" y="41"/>
                  <a:pt x="1749" y="40"/>
                </a:cubicBezTo>
                <a:cubicBezTo>
                  <a:pt x="1749" y="40"/>
                  <a:pt x="1749" y="40"/>
                  <a:pt x="1749" y="40"/>
                </a:cubicBezTo>
                <a:cubicBezTo>
                  <a:pt x="1749" y="40"/>
                  <a:pt x="1749" y="40"/>
                  <a:pt x="1749" y="40"/>
                </a:cubicBezTo>
                <a:cubicBezTo>
                  <a:pt x="1749" y="40"/>
                  <a:pt x="1749" y="39"/>
                  <a:pt x="1749" y="39"/>
                </a:cubicBezTo>
                <a:cubicBezTo>
                  <a:pt x="1749" y="39"/>
                  <a:pt x="1749" y="39"/>
                  <a:pt x="1749" y="39"/>
                </a:cubicBezTo>
                <a:cubicBezTo>
                  <a:pt x="1749" y="38"/>
                  <a:pt x="1749" y="37"/>
                  <a:pt x="1749" y="37"/>
                </a:cubicBezTo>
                <a:close/>
                <a:moveTo>
                  <a:pt x="1386" y="37"/>
                </a:moveTo>
                <a:cubicBezTo>
                  <a:pt x="1386" y="37"/>
                  <a:pt x="1386" y="38"/>
                  <a:pt x="1386" y="38"/>
                </a:cubicBezTo>
                <a:cubicBezTo>
                  <a:pt x="1385" y="38"/>
                  <a:pt x="1386" y="39"/>
                  <a:pt x="1385" y="39"/>
                </a:cubicBezTo>
                <a:cubicBezTo>
                  <a:pt x="1385" y="39"/>
                  <a:pt x="1385" y="39"/>
                  <a:pt x="1385" y="39"/>
                </a:cubicBezTo>
                <a:cubicBezTo>
                  <a:pt x="1385" y="40"/>
                  <a:pt x="1385" y="40"/>
                  <a:pt x="1385" y="40"/>
                </a:cubicBezTo>
                <a:cubicBezTo>
                  <a:pt x="1385" y="40"/>
                  <a:pt x="1385" y="40"/>
                  <a:pt x="1385" y="40"/>
                </a:cubicBezTo>
                <a:cubicBezTo>
                  <a:pt x="1385" y="41"/>
                  <a:pt x="1385" y="41"/>
                  <a:pt x="1385" y="41"/>
                </a:cubicBezTo>
                <a:cubicBezTo>
                  <a:pt x="1385" y="41"/>
                  <a:pt x="1385" y="41"/>
                  <a:pt x="1385" y="41"/>
                </a:cubicBezTo>
                <a:cubicBezTo>
                  <a:pt x="1384" y="42"/>
                  <a:pt x="1385" y="42"/>
                  <a:pt x="1384" y="42"/>
                </a:cubicBezTo>
                <a:cubicBezTo>
                  <a:pt x="1384" y="42"/>
                  <a:pt x="1384" y="42"/>
                  <a:pt x="1384" y="42"/>
                </a:cubicBezTo>
                <a:cubicBezTo>
                  <a:pt x="1384" y="43"/>
                  <a:pt x="1384" y="43"/>
                  <a:pt x="1384" y="43"/>
                </a:cubicBezTo>
                <a:cubicBezTo>
                  <a:pt x="1384" y="43"/>
                  <a:pt x="1384" y="43"/>
                  <a:pt x="1384" y="43"/>
                </a:cubicBezTo>
                <a:cubicBezTo>
                  <a:pt x="1384" y="43"/>
                  <a:pt x="1384" y="44"/>
                  <a:pt x="1384" y="44"/>
                </a:cubicBezTo>
                <a:cubicBezTo>
                  <a:pt x="1384" y="44"/>
                  <a:pt x="1384" y="44"/>
                  <a:pt x="1384" y="44"/>
                </a:cubicBezTo>
                <a:cubicBezTo>
                  <a:pt x="1383" y="44"/>
                  <a:pt x="1383" y="44"/>
                  <a:pt x="1383" y="44"/>
                </a:cubicBezTo>
                <a:cubicBezTo>
                  <a:pt x="1383" y="44"/>
                  <a:pt x="1383" y="44"/>
                  <a:pt x="1383" y="44"/>
                </a:cubicBezTo>
                <a:cubicBezTo>
                  <a:pt x="1383" y="45"/>
                  <a:pt x="1383" y="45"/>
                  <a:pt x="1383" y="45"/>
                </a:cubicBezTo>
                <a:cubicBezTo>
                  <a:pt x="1383" y="45"/>
                  <a:pt x="1383" y="45"/>
                  <a:pt x="1383" y="45"/>
                </a:cubicBezTo>
                <a:cubicBezTo>
                  <a:pt x="1383" y="45"/>
                  <a:pt x="1383" y="46"/>
                  <a:pt x="1383" y="46"/>
                </a:cubicBezTo>
                <a:cubicBezTo>
                  <a:pt x="1383" y="46"/>
                  <a:pt x="1383" y="46"/>
                  <a:pt x="1383" y="46"/>
                </a:cubicBezTo>
                <a:cubicBezTo>
                  <a:pt x="1382" y="46"/>
                  <a:pt x="1382" y="46"/>
                  <a:pt x="1382" y="46"/>
                </a:cubicBezTo>
                <a:cubicBezTo>
                  <a:pt x="1382" y="46"/>
                  <a:pt x="1382" y="46"/>
                  <a:pt x="1382" y="46"/>
                </a:cubicBezTo>
                <a:cubicBezTo>
                  <a:pt x="1382" y="46"/>
                  <a:pt x="1382" y="47"/>
                  <a:pt x="1382" y="47"/>
                </a:cubicBezTo>
                <a:cubicBezTo>
                  <a:pt x="1382" y="47"/>
                  <a:pt x="1382" y="47"/>
                  <a:pt x="1382" y="47"/>
                </a:cubicBezTo>
                <a:cubicBezTo>
                  <a:pt x="1382" y="47"/>
                  <a:pt x="1382" y="47"/>
                  <a:pt x="1382" y="47"/>
                </a:cubicBezTo>
                <a:cubicBezTo>
                  <a:pt x="1382" y="47"/>
                  <a:pt x="1382" y="47"/>
                  <a:pt x="1382" y="47"/>
                </a:cubicBezTo>
                <a:cubicBezTo>
                  <a:pt x="1381" y="47"/>
                  <a:pt x="1381" y="48"/>
                  <a:pt x="1381" y="48"/>
                </a:cubicBezTo>
                <a:cubicBezTo>
                  <a:pt x="1381" y="48"/>
                  <a:pt x="1381" y="48"/>
                  <a:pt x="1381" y="48"/>
                </a:cubicBezTo>
                <a:cubicBezTo>
                  <a:pt x="1381" y="48"/>
                  <a:pt x="1381" y="48"/>
                  <a:pt x="1381" y="48"/>
                </a:cubicBezTo>
                <a:cubicBezTo>
                  <a:pt x="1381" y="48"/>
                  <a:pt x="1381" y="48"/>
                  <a:pt x="1381" y="48"/>
                </a:cubicBezTo>
                <a:cubicBezTo>
                  <a:pt x="1381" y="48"/>
                  <a:pt x="1381" y="48"/>
                  <a:pt x="1381" y="49"/>
                </a:cubicBezTo>
                <a:cubicBezTo>
                  <a:pt x="1381" y="49"/>
                  <a:pt x="1381" y="49"/>
                  <a:pt x="1381" y="49"/>
                </a:cubicBezTo>
                <a:cubicBezTo>
                  <a:pt x="1380" y="49"/>
                  <a:pt x="1380" y="49"/>
                  <a:pt x="1380" y="50"/>
                </a:cubicBezTo>
                <a:cubicBezTo>
                  <a:pt x="1380" y="50"/>
                  <a:pt x="1380" y="50"/>
                  <a:pt x="1380" y="50"/>
                </a:cubicBezTo>
                <a:cubicBezTo>
                  <a:pt x="1380" y="50"/>
                  <a:pt x="1380" y="50"/>
                  <a:pt x="1379" y="50"/>
                </a:cubicBezTo>
                <a:cubicBezTo>
                  <a:pt x="1379" y="50"/>
                  <a:pt x="1379" y="50"/>
                  <a:pt x="1379" y="50"/>
                </a:cubicBezTo>
                <a:cubicBezTo>
                  <a:pt x="1379" y="50"/>
                  <a:pt x="1379" y="50"/>
                  <a:pt x="1379" y="50"/>
                </a:cubicBezTo>
                <a:cubicBezTo>
                  <a:pt x="1379" y="50"/>
                  <a:pt x="1379" y="50"/>
                  <a:pt x="1379" y="50"/>
                </a:cubicBezTo>
                <a:cubicBezTo>
                  <a:pt x="1379" y="50"/>
                  <a:pt x="1379" y="51"/>
                  <a:pt x="1379" y="51"/>
                </a:cubicBezTo>
                <a:cubicBezTo>
                  <a:pt x="1379" y="51"/>
                  <a:pt x="1379" y="51"/>
                  <a:pt x="1379" y="51"/>
                </a:cubicBezTo>
                <a:cubicBezTo>
                  <a:pt x="1379" y="51"/>
                  <a:pt x="1379" y="51"/>
                  <a:pt x="1378" y="51"/>
                </a:cubicBezTo>
                <a:cubicBezTo>
                  <a:pt x="1379" y="51"/>
                  <a:pt x="1379" y="51"/>
                  <a:pt x="1379" y="51"/>
                </a:cubicBezTo>
                <a:cubicBezTo>
                  <a:pt x="1378" y="51"/>
                  <a:pt x="1378" y="51"/>
                  <a:pt x="1378" y="51"/>
                </a:cubicBezTo>
                <a:cubicBezTo>
                  <a:pt x="1378" y="51"/>
                  <a:pt x="1378" y="51"/>
                  <a:pt x="1378" y="51"/>
                </a:cubicBezTo>
                <a:cubicBezTo>
                  <a:pt x="1378" y="51"/>
                  <a:pt x="1378" y="52"/>
                  <a:pt x="1378" y="52"/>
                </a:cubicBezTo>
                <a:cubicBezTo>
                  <a:pt x="1378" y="52"/>
                  <a:pt x="1378" y="52"/>
                  <a:pt x="1378" y="52"/>
                </a:cubicBezTo>
                <a:cubicBezTo>
                  <a:pt x="1378" y="52"/>
                  <a:pt x="1377" y="52"/>
                  <a:pt x="1377" y="52"/>
                </a:cubicBezTo>
                <a:cubicBezTo>
                  <a:pt x="1377" y="52"/>
                  <a:pt x="1377" y="52"/>
                  <a:pt x="1377" y="52"/>
                </a:cubicBezTo>
                <a:cubicBezTo>
                  <a:pt x="1377" y="52"/>
                  <a:pt x="1377" y="52"/>
                  <a:pt x="1377" y="53"/>
                </a:cubicBezTo>
                <a:cubicBezTo>
                  <a:pt x="1377" y="53"/>
                  <a:pt x="1377" y="53"/>
                  <a:pt x="1377" y="53"/>
                </a:cubicBezTo>
                <a:cubicBezTo>
                  <a:pt x="1377" y="53"/>
                  <a:pt x="1377" y="53"/>
                  <a:pt x="1377" y="53"/>
                </a:cubicBezTo>
                <a:cubicBezTo>
                  <a:pt x="1377" y="53"/>
                  <a:pt x="1377" y="53"/>
                  <a:pt x="1377" y="53"/>
                </a:cubicBezTo>
                <a:cubicBezTo>
                  <a:pt x="1377" y="53"/>
                  <a:pt x="1376" y="53"/>
                  <a:pt x="1376" y="53"/>
                </a:cubicBezTo>
                <a:cubicBezTo>
                  <a:pt x="1376" y="53"/>
                  <a:pt x="1376" y="53"/>
                  <a:pt x="1376" y="53"/>
                </a:cubicBezTo>
                <a:cubicBezTo>
                  <a:pt x="1376" y="53"/>
                  <a:pt x="1376" y="53"/>
                  <a:pt x="1376" y="54"/>
                </a:cubicBezTo>
                <a:cubicBezTo>
                  <a:pt x="1376" y="54"/>
                  <a:pt x="1376" y="54"/>
                  <a:pt x="1376" y="54"/>
                </a:cubicBezTo>
                <a:cubicBezTo>
                  <a:pt x="1376" y="54"/>
                  <a:pt x="1376" y="54"/>
                  <a:pt x="1376" y="54"/>
                </a:cubicBezTo>
                <a:cubicBezTo>
                  <a:pt x="1376" y="54"/>
                  <a:pt x="1376" y="54"/>
                  <a:pt x="1376" y="54"/>
                </a:cubicBezTo>
                <a:cubicBezTo>
                  <a:pt x="1376" y="54"/>
                  <a:pt x="1375" y="54"/>
                  <a:pt x="1375" y="54"/>
                </a:cubicBezTo>
                <a:cubicBezTo>
                  <a:pt x="1375" y="54"/>
                  <a:pt x="1375" y="54"/>
                  <a:pt x="1375" y="54"/>
                </a:cubicBezTo>
                <a:cubicBezTo>
                  <a:pt x="1375" y="54"/>
                  <a:pt x="1375" y="54"/>
                  <a:pt x="1375" y="55"/>
                </a:cubicBezTo>
                <a:cubicBezTo>
                  <a:pt x="1375" y="55"/>
                  <a:pt x="1375" y="55"/>
                  <a:pt x="1375" y="55"/>
                </a:cubicBezTo>
                <a:cubicBezTo>
                  <a:pt x="1375" y="55"/>
                  <a:pt x="1375" y="55"/>
                  <a:pt x="1375" y="55"/>
                </a:cubicBezTo>
                <a:cubicBezTo>
                  <a:pt x="1375" y="55"/>
                  <a:pt x="1375" y="55"/>
                  <a:pt x="1375" y="55"/>
                </a:cubicBezTo>
                <a:cubicBezTo>
                  <a:pt x="1374" y="55"/>
                  <a:pt x="1374" y="56"/>
                  <a:pt x="1373" y="56"/>
                </a:cubicBezTo>
                <a:cubicBezTo>
                  <a:pt x="1373" y="56"/>
                  <a:pt x="1373" y="56"/>
                  <a:pt x="1373" y="56"/>
                </a:cubicBezTo>
                <a:cubicBezTo>
                  <a:pt x="1373" y="56"/>
                  <a:pt x="1373" y="56"/>
                  <a:pt x="1373" y="56"/>
                </a:cubicBezTo>
                <a:cubicBezTo>
                  <a:pt x="1373" y="56"/>
                  <a:pt x="1373" y="56"/>
                  <a:pt x="1373" y="56"/>
                </a:cubicBezTo>
                <a:cubicBezTo>
                  <a:pt x="1373" y="56"/>
                  <a:pt x="1373" y="56"/>
                  <a:pt x="1373" y="57"/>
                </a:cubicBezTo>
                <a:cubicBezTo>
                  <a:pt x="1373" y="57"/>
                  <a:pt x="1373" y="57"/>
                  <a:pt x="1373" y="57"/>
                </a:cubicBezTo>
                <a:cubicBezTo>
                  <a:pt x="1372" y="57"/>
                  <a:pt x="1372" y="57"/>
                  <a:pt x="1372" y="57"/>
                </a:cubicBezTo>
                <a:cubicBezTo>
                  <a:pt x="1372" y="57"/>
                  <a:pt x="1372" y="57"/>
                  <a:pt x="1372" y="57"/>
                </a:cubicBezTo>
                <a:cubicBezTo>
                  <a:pt x="1371" y="57"/>
                  <a:pt x="1371" y="58"/>
                  <a:pt x="1371" y="58"/>
                </a:cubicBezTo>
                <a:cubicBezTo>
                  <a:pt x="1371" y="58"/>
                  <a:pt x="1371" y="58"/>
                  <a:pt x="1371" y="58"/>
                </a:cubicBezTo>
                <a:cubicBezTo>
                  <a:pt x="1371" y="58"/>
                  <a:pt x="1371" y="58"/>
                  <a:pt x="1371" y="58"/>
                </a:cubicBezTo>
                <a:cubicBezTo>
                  <a:pt x="1371" y="58"/>
                  <a:pt x="1371" y="58"/>
                  <a:pt x="1371" y="58"/>
                </a:cubicBezTo>
                <a:cubicBezTo>
                  <a:pt x="1371" y="58"/>
                  <a:pt x="1370" y="58"/>
                  <a:pt x="1370" y="58"/>
                </a:cubicBezTo>
                <a:cubicBezTo>
                  <a:pt x="1370" y="58"/>
                  <a:pt x="1370" y="58"/>
                  <a:pt x="1370" y="58"/>
                </a:cubicBezTo>
                <a:cubicBezTo>
                  <a:pt x="1370" y="58"/>
                  <a:pt x="1370" y="59"/>
                  <a:pt x="1370" y="59"/>
                </a:cubicBezTo>
                <a:cubicBezTo>
                  <a:pt x="1370" y="59"/>
                  <a:pt x="1370" y="59"/>
                  <a:pt x="1370" y="59"/>
                </a:cubicBezTo>
                <a:cubicBezTo>
                  <a:pt x="1370" y="59"/>
                  <a:pt x="1369" y="59"/>
                  <a:pt x="1369" y="59"/>
                </a:cubicBezTo>
                <a:cubicBezTo>
                  <a:pt x="1369" y="59"/>
                  <a:pt x="1369" y="59"/>
                  <a:pt x="1369" y="59"/>
                </a:cubicBezTo>
                <a:cubicBezTo>
                  <a:pt x="1369" y="59"/>
                  <a:pt x="1369" y="59"/>
                  <a:pt x="1369" y="59"/>
                </a:cubicBezTo>
                <a:cubicBezTo>
                  <a:pt x="1369" y="59"/>
                  <a:pt x="1369" y="59"/>
                  <a:pt x="1369" y="59"/>
                </a:cubicBezTo>
                <a:cubicBezTo>
                  <a:pt x="1369" y="59"/>
                  <a:pt x="1368" y="60"/>
                  <a:pt x="1368" y="60"/>
                </a:cubicBezTo>
                <a:cubicBezTo>
                  <a:pt x="1368" y="60"/>
                  <a:pt x="1368" y="60"/>
                  <a:pt x="1368" y="60"/>
                </a:cubicBezTo>
                <a:cubicBezTo>
                  <a:pt x="1368" y="60"/>
                  <a:pt x="1368" y="60"/>
                  <a:pt x="1368" y="60"/>
                </a:cubicBezTo>
                <a:cubicBezTo>
                  <a:pt x="1368" y="60"/>
                  <a:pt x="1368" y="60"/>
                  <a:pt x="1368" y="60"/>
                </a:cubicBezTo>
                <a:cubicBezTo>
                  <a:pt x="1368" y="60"/>
                  <a:pt x="1367" y="60"/>
                  <a:pt x="1367" y="61"/>
                </a:cubicBezTo>
                <a:cubicBezTo>
                  <a:pt x="1367" y="60"/>
                  <a:pt x="1367" y="60"/>
                  <a:pt x="1367" y="60"/>
                </a:cubicBezTo>
                <a:cubicBezTo>
                  <a:pt x="1367" y="61"/>
                  <a:pt x="1367" y="61"/>
                  <a:pt x="1367" y="61"/>
                </a:cubicBezTo>
                <a:cubicBezTo>
                  <a:pt x="1367" y="61"/>
                  <a:pt x="1367" y="61"/>
                  <a:pt x="1367" y="61"/>
                </a:cubicBezTo>
                <a:cubicBezTo>
                  <a:pt x="1367" y="61"/>
                  <a:pt x="1366" y="61"/>
                  <a:pt x="1366" y="62"/>
                </a:cubicBezTo>
                <a:cubicBezTo>
                  <a:pt x="1366" y="62"/>
                  <a:pt x="1366" y="62"/>
                  <a:pt x="1366" y="62"/>
                </a:cubicBezTo>
                <a:cubicBezTo>
                  <a:pt x="1366" y="62"/>
                  <a:pt x="1366" y="62"/>
                  <a:pt x="1366" y="62"/>
                </a:cubicBezTo>
                <a:cubicBezTo>
                  <a:pt x="1366" y="62"/>
                  <a:pt x="1366" y="62"/>
                  <a:pt x="1366" y="62"/>
                </a:cubicBezTo>
                <a:cubicBezTo>
                  <a:pt x="1365" y="62"/>
                  <a:pt x="1365" y="62"/>
                  <a:pt x="1365" y="63"/>
                </a:cubicBezTo>
                <a:cubicBezTo>
                  <a:pt x="1365" y="63"/>
                  <a:pt x="1365" y="63"/>
                  <a:pt x="1365" y="63"/>
                </a:cubicBezTo>
                <a:cubicBezTo>
                  <a:pt x="1364" y="63"/>
                  <a:pt x="1364" y="63"/>
                  <a:pt x="1364" y="63"/>
                </a:cubicBezTo>
                <a:cubicBezTo>
                  <a:pt x="1364" y="63"/>
                  <a:pt x="1364" y="63"/>
                  <a:pt x="1364" y="63"/>
                </a:cubicBezTo>
                <a:cubicBezTo>
                  <a:pt x="1364" y="63"/>
                  <a:pt x="1363" y="63"/>
                  <a:pt x="1363" y="64"/>
                </a:cubicBezTo>
                <a:cubicBezTo>
                  <a:pt x="1363" y="64"/>
                  <a:pt x="1363" y="64"/>
                  <a:pt x="1363" y="64"/>
                </a:cubicBezTo>
                <a:cubicBezTo>
                  <a:pt x="1363" y="64"/>
                  <a:pt x="1363" y="64"/>
                  <a:pt x="1363" y="64"/>
                </a:cubicBezTo>
                <a:cubicBezTo>
                  <a:pt x="1363" y="64"/>
                  <a:pt x="1363" y="64"/>
                  <a:pt x="1363" y="64"/>
                </a:cubicBezTo>
                <a:cubicBezTo>
                  <a:pt x="1363" y="64"/>
                  <a:pt x="1363" y="64"/>
                  <a:pt x="1362" y="64"/>
                </a:cubicBezTo>
                <a:cubicBezTo>
                  <a:pt x="1362" y="64"/>
                  <a:pt x="1362" y="64"/>
                  <a:pt x="1362" y="64"/>
                </a:cubicBezTo>
                <a:cubicBezTo>
                  <a:pt x="1362" y="64"/>
                  <a:pt x="1362" y="64"/>
                  <a:pt x="1362" y="65"/>
                </a:cubicBezTo>
                <a:cubicBezTo>
                  <a:pt x="1362" y="65"/>
                  <a:pt x="1362" y="65"/>
                  <a:pt x="1362" y="65"/>
                </a:cubicBezTo>
                <a:cubicBezTo>
                  <a:pt x="1362" y="65"/>
                  <a:pt x="1361" y="65"/>
                  <a:pt x="1361" y="65"/>
                </a:cubicBezTo>
                <a:cubicBezTo>
                  <a:pt x="1361" y="65"/>
                  <a:pt x="1361" y="65"/>
                  <a:pt x="1361" y="65"/>
                </a:cubicBezTo>
                <a:cubicBezTo>
                  <a:pt x="1361" y="65"/>
                  <a:pt x="1361" y="65"/>
                  <a:pt x="1361" y="65"/>
                </a:cubicBezTo>
                <a:cubicBezTo>
                  <a:pt x="1361" y="65"/>
                  <a:pt x="1361" y="65"/>
                  <a:pt x="1361" y="65"/>
                </a:cubicBezTo>
                <a:cubicBezTo>
                  <a:pt x="1361" y="66"/>
                  <a:pt x="1360" y="66"/>
                  <a:pt x="1360" y="66"/>
                </a:cubicBezTo>
                <a:cubicBezTo>
                  <a:pt x="1360" y="66"/>
                  <a:pt x="1360" y="66"/>
                  <a:pt x="1360" y="66"/>
                </a:cubicBezTo>
                <a:cubicBezTo>
                  <a:pt x="1360" y="66"/>
                  <a:pt x="1360" y="66"/>
                  <a:pt x="1360" y="66"/>
                </a:cubicBezTo>
                <a:cubicBezTo>
                  <a:pt x="1360" y="66"/>
                  <a:pt x="1360" y="66"/>
                  <a:pt x="1360" y="66"/>
                </a:cubicBezTo>
                <a:cubicBezTo>
                  <a:pt x="1360" y="66"/>
                  <a:pt x="1359" y="67"/>
                  <a:pt x="1359" y="67"/>
                </a:cubicBezTo>
                <a:cubicBezTo>
                  <a:pt x="1359" y="67"/>
                  <a:pt x="1359" y="67"/>
                  <a:pt x="1359" y="67"/>
                </a:cubicBezTo>
                <a:cubicBezTo>
                  <a:pt x="1359" y="67"/>
                  <a:pt x="1358" y="67"/>
                  <a:pt x="1358" y="68"/>
                </a:cubicBezTo>
                <a:cubicBezTo>
                  <a:pt x="1358" y="67"/>
                  <a:pt x="1358" y="67"/>
                  <a:pt x="1358" y="67"/>
                </a:cubicBezTo>
                <a:cubicBezTo>
                  <a:pt x="1358" y="67"/>
                  <a:pt x="1358" y="68"/>
                  <a:pt x="1358" y="68"/>
                </a:cubicBezTo>
                <a:cubicBezTo>
                  <a:pt x="1358" y="68"/>
                  <a:pt x="1358" y="68"/>
                  <a:pt x="1358" y="68"/>
                </a:cubicBezTo>
                <a:cubicBezTo>
                  <a:pt x="1358" y="68"/>
                  <a:pt x="1358" y="68"/>
                  <a:pt x="1358" y="68"/>
                </a:cubicBezTo>
                <a:cubicBezTo>
                  <a:pt x="1358" y="68"/>
                  <a:pt x="1358" y="68"/>
                  <a:pt x="1358" y="68"/>
                </a:cubicBezTo>
                <a:cubicBezTo>
                  <a:pt x="1357" y="68"/>
                  <a:pt x="1357" y="68"/>
                  <a:pt x="1357" y="68"/>
                </a:cubicBezTo>
                <a:cubicBezTo>
                  <a:pt x="1357" y="68"/>
                  <a:pt x="1357" y="68"/>
                  <a:pt x="1357" y="68"/>
                </a:cubicBezTo>
                <a:cubicBezTo>
                  <a:pt x="1357" y="69"/>
                  <a:pt x="1356" y="69"/>
                  <a:pt x="1356" y="69"/>
                </a:cubicBezTo>
                <a:cubicBezTo>
                  <a:pt x="1356" y="69"/>
                  <a:pt x="1356" y="69"/>
                  <a:pt x="1356" y="69"/>
                </a:cubicBezTo>
                <a:cubicBezTo>
                  <a:pt x="1356" y="69"/>
                  <a:pt x="1356" y="69"/>
                  <a:pt x="1356" y="70"/>
                </a:cubicBezTo>
                <a:cubicBezTo>
                  <a:pt x="1356" y="70"/>
                  <a:pt x="1356" y="70"/>
                  <a:pt x="1356" y="70"/>
                </a:cubicBezTo>
                <a:cubicBezTo>
                  <a:pt x="1356" y="70"/>
                  <a:pt x="1356" y="70"/>
                  <a:pt x="1355" y="70"/>
                </a:cubicBezTo>
                <a:cubicBezTo>
                  <a:pt x="1355" y="70"/>
                  <a:pt x="1355" y="70"/>
                  <a:pt x="1355" y="70"/>
                </a:cubicBezTo>
                <a:cubicBezTo>
                  <a:pt x="1355" y="70"/>
                  <a:pt x="1355" y="70"/>
                  <a:pt x="1355" y="70"/>
                </a:cubicBezTo>
                <a:cubicBezTo>
                  <a:pt x="1355" y="70"/>
                  <a:pt x="1355" y="70"/>
                  <a:pt x="1355" y="70"/>
                </a:cubicBezTo>
                <a:cubicBezTo>
                  <a:pt x="1355" y="70"/>
                  <a:pt x="1355" y="70"/>
                  <a:pt x="1355" y="71"/>
                </a:cubicBezTo>
                <a:cubicBezTo>
                  <a:pt x="1355" y="71"/>
                  <a:pt x="1355" y="71"/>
                  <a:pt x="1355" y="71"/>
                </a:cubicBezTo>
                <a:cubicBezTo>
                  <a:pt x="1355" y="71"/>
                  <a:pt x="1355" y="71"/>
                  <a:pt x="1354" y="71"/>
                </a:cubicBezTo>
                <a:cubicBezTo>
                  <a:pt x="1354" y="71"/>
                  <a:pt x="1354" y="71"/>
                  <a:pt x="1354" y="71"/>
                </a:cubicBezTo>
                <a:cubicBezTo>
                  <a:pt x="1353" y="72"/>
                  <a:pt x="1352" y="73"/>
                  <a:pt x="1351" y="74"/>
                </a:cubicBezTo>
                <a:cubicBezTo>
                  <a:pt x="1351" y="74"/>
                  <a:pt x="1351" y="74"/>
                  <a:pt x="1351" y="74"/>
                </a:cubicBezTo>
                <a:cubicBezTo>
                  <a:pt x="1351" y="74"/>
                  <a:pt x="1351" y="75"/>
                  <a:pt x="1351" y="75"/>
                </a:cubicBezTo>
                <a:cubicBezTo>
                  <a:pt x="1351" y="75"/>
                  <a:pt x="1351" y="75"/>
                  <a:pt x="1351" y="75"/>
                </a:cubicBezTo>
                <a:cubicBezTo>
                  <a:pt x="1350" y="75"/>
                  <a:pt x="1350" y="75"/>
                  <a:pt x="1350" y="75"/>
                </a:cubicBezTo>
                <a:cubicBezTo>
                  <a:pt x="1350" y="75"/>
                  <a:pt x="1350" y="75"/>
                  <a:pt x="1350" y="75"/>
                </a:cubicBezTo>
                <a:cubicBezTo>
                  <a:pt x="1350" y="75"/>
                  <a:pt x="1350" y="75"/>
                  <a:pt x="1350" y="75"/>
                </a:cubicBezTo>
                <a:cubicBezTo>
                  <a:pt x="1350" y="75"/>
                  <a:pt x="1350" y="75"/>
                  <a:pt x="1350" y="75"/>
                </a:cubicBezTo>
                <a:cubicBezTo>
                  <a:pt x="1350" y="76"/>
                  <a:pt x="1350" y="76"/>
                  <a:pt x="1350" y="76"/>
                </a:cubicBezTo>
                <a:cubicBezTo>
                  <a:pt x="1350" y="76"/>
                  <a:pt x="1350" y="76"/>
                  <a:pt x="1350" y="76"/>
                </a:cubicBezTo>
                <a:cubicBezTo>
                  <a:pt x="1349" y="76"/>
                  <a:pt x="1349" y="76"/>
                  <a:pt x="1349" y="76"/>
                </a:cubicBezTo>
                <a:cubicBezTo>
                  <a:pt x="1349" y="76"/>
                  <a:pt x="1349" y="76"/>
                  <a:pt x="1349" y="76"/>
                </a:cubicBezTo>
                <a:cubicBezTo>
                  <a:pt x="1349" y="77"/>
                  <a:pt x="1349" y="77"/>
                  <a:pt x="1349" y="77"/>
                </a:cubicBezTo>
                <a:cubicBezTo>
                  <a:pt x="1349" y="77"/>
                  <a:pt x="1349" y="77"/>
                  <a:pt x="1349" y="77"/>
                </a:cubicBezTo>
                <a:cubicBezTo>
                  <a:pt x="1349" y="77"/>
                  <a:pt x="1349" y="77"/>
                  <a:pt x="1349" y="77"/>
                </a:cubicBezTo>
                <a:cubicBezTo>
                  <a:pt x="1349" y="77"/>
                  <a:pt x="1349" y="77"/>
                  <a:pt x="1349" y="77"/>
                </a:cubicBezTo>
                <a:cubicBezTo>
                  <a:pt x="1348" y="77"/>
                  <a:pt x="1348" y="78"/>
                  <a:pt x="1348" y="78"/>
                </a:cubicBezTo>
                <a:cubicBezTo>
                  <a:pt x="1348" y="78"/>
                  <a:pt x="1348" y="78"/>
                  <a:pt x="1348" y="78"/>
                </a:cubicBezTo>
                <a:cubicBezTo>
                  <a:pt x="1348" y="78"/>
                  <a:pt x="1348" y="78"/>
                  <a:pt x="1348" y="78"/>
                </a:cubicBezTo>
                <a:cubicBezTo>
                  <a:pt x="1348" y="78"/>
                  <a:pt x="1348" y="78"/>
                  <a:pt x="1348" y="78"/>
                </a:cubicBezTo>
                <a:cubicBezTo>
                  <a:pt x="1348" y="78"/>
                  <a:pt x="1348" y="79"/>
                  <a:pt x="1347" y="79"/>
                </a:cubicBezTo>
                <a:cubicBezTo>
                  <a:pt x="1347" y="79"/>
                  <a:pt x="1347" y="79"/>
                  <a:pt x="1347" y="79"/>
                </a:cubicBezTo>
                <a:cubicBezTo>
                  <a:pt x="1347" y="79"/>
                  <a:pt x="1347" y="79"/>
                  <a:pt x="1347" y="79"/>
                </a:cubicBezTo>
                <a:cubicBezTo>
                  <a:pt x="1347" y="79"/>
                  <a:pt x="1347" y="79"/>
                  <a:pt x="1347" y="79"/>
                </a:cubicBezTo>
                <a:cubicBezTo>
                  <a:pt x="1347" y="79"/>
                  <a:pt x="1347" y="80"/>
                  <a:pt x="1347" y="80"/>
                </a:cubicBezTo>
                <a:cubicBezTo>
                  <a:pt x="1347" y="80"/>
                  <a:pt x="1347" y="80"/>
                  <a:pt x="1347" y="80"/>
                </a:cubicBezTo>
                <a:cubicBezTo>
                  <a:pt x="1347" y="80"/>
                  <a:pt x="1347" y="80"/>
                  <a:pt x="1346" y="81"/>
                </a:cubicBezTo>
                <a:cubicBezTo>
                  <a:pt x="1346" y="81"/>
                  <a:pt x="1346" y="81"/>
                  <a:pt x="1346" y="81"/>
                </a:cubicBezTo>
                <a:cubicBezTo>
                  <a:pt x="1346" y="81"/>
                  <a:pt x="1346" y="81"/>
                  <a:pt x="1346" y="81"/>
                </a:cubicBezTo>
                <a:cubicBezTo>
                  <a:pt x="1346" y="81"/>
                  <a:pt x="1346" y="81"/>
                  <a:pt x="1346" y="81"/>
                </a:cubicBezTo>
                <a:cubicBezTo>
                  <a:pt x="1346" y="81"/>
                  <a:pt x="1346" y="82"/>
                  <a:pt x="1346" y="82"/>
                </a:cubicBezTo>
                <a:cubicBezTo>
                  <a:pt x="1346" y="82"/>
                  <a:pt x="1346" y="82"/>
                  <a:pt x="1346" y="82"/>
                </a:cubicBezTo>
                <a:cubicBezTo>
                  <a:pt x="1346" y="82"/>
                  <a:pt x="1346" y="82"/>
                  <a:pt x="1346" y="82"/>
                </a:cubicBezTo>
                <a:cubicBezTo>
                  <a:pt x="1345" y="82"/>
                  <a:pt x="1346" y="83"/>
                  <a:pt x="1345" y="83"/>
                </a:cubicBezTo>
                <a:cubicBezTo>
                  <a:pt x="1345" y="83"/>
                  <a:pt x="1345" y="83"/>
                  <a:pt x="1345" y="83"/>
                </a:cubicBezTo>
                <a:cubicBezTo>
                  <a:pt x="1345" y="83"/>
                  <a:pt x="1345" y="83"/>
                  <a:pt x="1345" y="83"/>
                </a:cubicBezTo>
                <a:cubicBezTo>
                  <a:pt x="1345" y="83"/>
                  <a:pt x="1345" y="83"/>
                  <a:pt x="1345" y="83"/>
                </a:cubicBezTo>
                <a:cubicBezTo>
                  <a:pt x="1345" y="84"/>
                  <a:pt x="1345" y="84"/>
                  <a:pt x="1345" y="84"/>
                </a:cubicBezTo>
                <a:cubicBezTo>
                  <a:pt x="1345" y="84"/>
                  <a:pt x="1345" y="84"/>
                  <a:pt x="1345" y="84"/>
                </a:cubicBezTo>
                <a:cubicBezTo>
                  <a:pt x="1345" y="84"/>
                  <a:pt x="1345" y="84"/>
                  <a:pt x="1345" y="84"/>
                </a:cubicBezTo>
                <a:cubicBezTo>
                  <a:pt x="1344" y="85"/>
                  <a:pt x="1344" y="85"/>
                  <a:pt x="1344" y="85"/>
                </a:cubicBezTo>
                <a:cubicBezTo>
                  <a:pt x="1344" y="85"/>
                  <a:pt x="1344" y="85"/>
                  <a:pt x="1344" y="86"/>
                </a:cubicBezTo>
                <a:cubicBezTo>
                  <a:pt x="1344" y="86"/>
                  <a:pt x="1344" y="86"/>
                  <a:pt x="1344" y="87"/>
                </a:cubicBezTo>
                <a:cubicBezTo>
                  <a:pt x="1344" y="87"/>
                  <a:pt x="1344" y="87"/>
                  <a:pt x="1344" y="87"/>
                </a:cubicBezTo>
                <a:cubicBezTo>
                  <a:pt x="1344" y="87"/>
                  <a:pt x="1344" y="88"/>
                  <a:pt x="1344" y="88"/>
                </a:cubicBezTo>
                <a:cubicBezTo>
                  <a:pt x="1344" y="88"/>
                  <a:pt x="1344" y="88"/>
                  <a:pt x="1344" y="88"/>
                </a:cubicBezTo>
                <a:cubicBezTo>
                  <a:pt x="1343" y="89"/>
                  <a:pt x="1344" y="89"/>
                  <a:pt x="1343" y="90"/>
                </a:cubicBezTo>
                <a:cubicBezTo>
                  <a:pt x="1343" y="90"/>
                  <a:pt x="1343" y="90"/>
                  <a:pt x="1343" y="90"/>
                </a:cubicBezTo>
                <a:cubicBezTo>
                  <a:pt x="1343" y="91"/>
                  <a:pt x="1343" y="92"/>
                  <a:pt x="1343" y="92"/>
                </a:cubicBezTo>
                <a:cubicBezTo>
                  <a:pt x="1343" y="93"/>
                  <a:pt x="1343" y="93"/>
                  <a:pt x="1343" y="94"/>
                </a:cubicBezTo>
                <a:cubicBezTo>
                  <a:pt x="1343" y="96"/>
                  <a:pt x="1343" y="98"/>
                  <a:pt x="1343" y="100"/>
                </a:cubicBezTo>
                <a:cubicBezTo>
                  <a:pt x="1343" y="101"/>
                  <a:pt x="1343" y="102"/>
                  <a:pt x="1345" y="102"/>
                </a:cubicBezTo>
                <a:cubicBezTo>
                  <a:pt x="1363" y="102"/>
                  <a:pt x="1381" y="102"/>
                  <a:pt x="1399" y="102"/>
                </a:cubicBezTo>
                <a:cubicBezTo>
                  <a:pt x="1400" y="102"/>
                  <a:pt x="1401" y="102"/>
                  <a:pt x="1401" y="101"/>
                </a:cubicBezTo>
                <a:cubicBezTo>
                  <a:pt x="1401" y="98"/>
                  <a:pt x="1401" y="95"/>
                  <a:pt x="1401" y="92"/>
                </a:cubicBezTo>
                <a:cubicBezTo>
                  <a:pt x="1400" y="91"/>
                  <a:pt x="1400" y="92"/>
                  <a:pt x="1399" y="92"/>
                </a:cubicBezTo>
                <a:cubicBezTo>
                  <a:pt x="1385" y="92"/>
                  <a:pt x="1371" y="92"/>
                  <a:pt x="1356" y="92"/>
                </a:cubicBezTo>
                <a:cubicBezTo>
                  <a:pt x="1354" y="92"/>
                  <a:pt x="1354" y="92"/>
                  <a:pt x="1354" y="89"/>
                </a:cubicBezTo>
                <a:cubicBezTo>
                  <a:pt x="1354" y="89"/>
                  <a:pt x="1354" y="89"/>
                  <a:pt x="1354" y="89"/>
                </a:cubicBezTo>
                <a:cubicBezTo>
                  <a:pt x="1355" y="88"/>
                  <a:pt x="1354" y="88"/>
                  <a:pt x="1355" y="87"/>
                </a:cubicBezTo>
                <a:cubicBezTo>
                  <a:pt x="1355" y="87"/>
                  <a:pt x="1355" y="87"/>
                  <a:pt x="1355" y="87"/>
                </a:cubicBezTo>
                <a:cubicBezTo>
                  <a:pt x="1355" y="87"/>
                  <a:pt x="1355" y="87"/>
                  <a:pt x="1355" y="87"/>
                </a:cubicBezTo>
                <a:cubicBezTo>
                  <a:pt x="1355" y="87"/>
                  <a:pt x="1355" y="86"/>
                  <a:pt x="1355" y="86"/>
                </a:cubicBezTo>
                <a:cubicBezTo>
                  <a:pt x="1355" y="86"/>
                  <a:pt x="1355" y="86"/>
                  <a:pt x="1355" y="85"/>
                </a:cubicBezTo>
                <a:cubicBezTo>
                  <a:pt x="1355" y="85"/>
                  <a:pt x="1355" y="85"/>
                  <a:pt x="1355" y="85"/>
                </a:cubicBezTo>
                <a:cubicBezTo>
                  <a:pt x="1355" y="85"/>
                  <a:pt x="1355" y="85"/>
                  <a:pt x="1355" y="84"/>
                </a:cubicBezTo>
                <a:cubicBezTo>
                  <a:pt x="1356" y="84"/>
                  <a:pt x="1356" y="84"/>
                  <a:pt x="1356" y="84"/>
                </a:cubicBezTo>
                <a:cubicBezTo>
                  <a:pt x="1356" y="84"/>
                  <a:pt x="1356" y="84"/>
                  <a:pt x="1356" y="84"/>
                </a:cubicBezTo>
                <a:cubicBezTo>
                  <a:pt x="1356" y="84"/>
                  <a:pt x="1356" y="83"/>
                  <a:pt x="1356" y="83"/>
                </a:cubicBezTo>
                <a:cubicBezTo>
                  <a:pt x="1356" y="83"/>
                  <a:pt x="1356" y="83"/>
                  <a:pt x="1356" y="83"/>
                </a:cubicBezTo>
                <a:cubicBezTo>
                  <a:pt x="1356" y="83"/>
                  <a:pt x="1356" y="83"/>
                  <a:pt x="1356" y="83"/>
                </a:cubicBezTo>
                <a:cubicBezTo>
                  <a:pt x="1356" y="82"/>
                  <a:pt x="1356" y="82"/>
                  <a:pt x="1356" y="82"/>
                </a:cubicBezTo>
                <a:cubicBezTo>
                  <a:pt x="1357" y="82"/>
                  <a:pt x="1357" y="82"/>
                  <a:pt x="1357" y="82"/>
                </a:cubicBezTo>
                <a:cubicBezTo>
                  <a:pt x="1357" y="82"/>
                  <a:pt x="1357" y="82"/>
                  <a:pt x="1357" y="82"/>
                </a:cubicBezTo>
                <a:cubicBezTo>
                  <a:pt x="1357" y="82"/>
                  <a:pt x="1357" y="82"/>
                  <a:pt x="1357" y="82"/>
                </a:cubicBezTo>
                <a:cubicBezTo>
                  <a:pt x="1357" y="82"/>
                  <a:pt x="1357" y="81"/>
                  <a:pt x="1357" y="81"/>
                </a:cubicBezTo>
                <a:cubicBezTo>
                  <a:pt x="1357" y="81"/>
                  <a:pt x="1357" y="81"/>
                  <a:pt x="1357" y="81"/>
                </a:cubicBezTo>
                <a:cubicBezTo>
                  <a:pt x="1357" y="81"/>
                  <a:pt x="1357" y="81"/>
                  <a:pt x="1358" y="81"/>
                </a:cubicBezTo>
                <a:cubicBezTo>
                  <a:pt x="1357" y="81"/>
                  <a:pt x="1357" y="81"/>
                  <a:pt x="1357" y="81"/>
                </a:cubicBezTo>
                <a:cubicBezTo>
                  <a:pt x="1358" y="81"/>
                  <a:pt x="1358" y="81"/>
                  <a:pt x="1358" y="81"/>
                </a:cubicBezTo>
                <a:cubicBezTo>
                  <a:pt x="1358" y="81"/>
                  <a:pt x="1358" y="81"/>
                  <a:pt x="1358" y="81"/>
                </a:cubicBezTo>
                <a:cubicBezTo>
                  <a:pt x="1358" y="80"/>
                  <a:pt x="1358" y="80"/>
                  <a:pt x="1358" y="80"/>
                </a:cubicBezTo>
                <a:cubicBezTo>
                  <a:pt x="1358" y="80"/>
                  <a:pt x="1358" y="80"/>
                  <a:pt x="1358" y="80"/>
                </a:cubicBezTo>
                <a:cubicBezTo>
                  <a:pt x="1358" y="80"/>
                  <a:pt x="1358" y="80"/>
                  <a:pt x="1359" y="80"/>
                </a:cubicBezTo>
                <a:cubicBezTo>
                  <a:pt x="1359" y="80"/>
                  <a:pt x="1359" y="80"/>
                  <a:pt x="1359" y="80"/>
                </a:cubicBezTo>
                <a:cubicBezTo>
                  <a:pt x="1359" y="79"/>
                  <a:pt x="1359" y="79"/>
                  <a:pt x="1359" y="79"/>
                </a:cubicBezTo>
                <a:cubicBezTo>
                  <a:pt x="1359" y="79"/>
                  <a:pt x="1359" y="79"/>
                  <a:pt x="1359" y="79"/>
                </a:cubicBezTo>
                <a:cubicBezTo>
                  <a:pt x="1359" y="79"/>
                  <a:pt x="1359" y="79"/>
                  <a:pt x="1359" y="79"/>
                </a:cubicBezTo>
                <a:cubicBezTo>
                  <a:pt x="1359" y="79"/>
                  <a:pt x="1359" y="79"/>
                  <a:pt x="1359" y="79"/>
                </a:cubicBezTo>
                <a:cubicBezTo>
                  <a:pt x="1359" y="79"/>
                  <a:pt x="1360" y="79"/>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1" y="78"/>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2" y="77"/>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3" y="76"/>
                  <a:pt x="1363" y="76"/>
                  <a:pt x="1363" y="75"/>
                </a:cubicBezTo>
                <a:cubicBezTo>
                  <a:pt x="1363" y="75"/>
                  <a:pt x="1363" y="75"/>
                  <a:pt x="1363" y="75"/>
                </a:cubicBezTo>
                <a:cubicBezTo>
                  <a:pt x="1363" y="75"/>
                  <a:pt x="1364" y="75"/>
                  <a:pt x="1364" y="75"/>
                </a:cubicBezTo>
                <a:cubicBezTo>
                  <a:pt x="1364" y="75"/>
                  <a:pt x="1364" y="75"/>
                  <a:pt x="1364" y="75"/>
                </a:cubicBezTo>
                <a:cubicBezTo>
                  <a:pt x="1364" y="75"/>
                  <a:pt x="1364" y="74"/>
                  <a:pt x="1364" y="74"/>
                </a:cubicBezTo>
                <a:cubicBezTo>
                  <a:pt x="1364" y="74"/>
                  <a:pt x="1364" y="74"/>
                  <a:pt x="1364" y="74"/>
                </a:cubicBezTo>
                <a:cubicBezTo>
                  <a:pt x="1364" y="74"/>
                  <a:pt x="1364" y="74"/>
                  <a:pt x="1364" y="74"/>
                </a:cubicBezTo>
                <a:cubicBezTo>
                  <a:pt x="1364" y="74"/>
                  <a:pt x="1364" y="74"/>
                  <a:pt x="1364" y="74"/>
                </a:cubicBezTo>
                <a:cubicBezTo>
                  <a:pt x="1365" y="74"/>
                  <a:pt x="1365" y="74"/>
                  <a:pt x="1365" y="74"/>
                </a:cubicBezTo>
                <a:cubicBezTo>
                  <a:pt x="1365" y="74"/>
                  <a:pt x="1365" y="74"/>
                  <a:pt x="1365" y="74"/>
                </a:cubicBezTo>
                <a:cubicBezTo>
                  <a:pt x="1365" y="73"/>
                  <a:pt x="1365" y="74"/>
                  <a:pt x="1365" y="73"/>
                </a:cubicBezTo>
                <a:cubicBezTo>
                  <a:pt x="1365" y="73"/>
                  <a:pt x="1365" y="73"/>
                  <a:pt x="1365" y="73"/>
                </a:cubicBezTo>
                <a:cubicBezTo>
                  <a:pt x="1366" y="73"/>
                  <a:pt x="1366" y="73"/>
                  <a:pt x="1366" y="73"/>
                </a:cubicBezTo>
                <a:cubicBezTo>
                  <a:pt x="1366" y="73"/>
                  <a:pt x="1366" y="73"/>
                  <a:pt x="1366" y="73"/>
                </a:cubicBezTo>
                <a:cubicBezTo>
                  <a:pt x="1366" y="73"/>
                  <a:pt x="1366" y="73"/>
                  <a:pt x="1366" y="73"/>
                </a:cubicBezTo>
                <a:cubicBezTo>
                  <a:pt x="1366" y="73"/>
                  <a:pt x="1366" y="73"/>
                  <a:pt x="1366" y="73"/>
                </a:cubicBezTo>
                <a:cubicBezTo>
                  <a:pt x="1367" y="72"/>
                  <a:pt x="1367" y="72"/>
                  <a:pt x="1367" y="72"/>
                </a:cubicBezTo>
                <a:cubicBezTo>
                  <a:pt x="1367" y="72"/>
                  <a:pt x="1367" y="72"/>
                  <a:pt x="1367" y="72"/>
                </a:cubicBezTo>
                <a:cubicBezTo>
                  <a:pt x="1367" y="72"/>
                  <a:pt x="1368" y="72"/>
                  <a:pt x="1368" y="72"/>
                </a:cubicBezTo>
                <a:cubicBezTo>
                  <a:pt x="1368" y="72"/>
                  <a:pt x="1368" y="72"/>
                  <a:pt x="1368" y="72"/>
                </a:cubicBezTo>
                <a:cubicBezTo>
                  <a:pt x="1368" y="71"/>
                  <a:pt x="1368" y="71"/>
                  <a:pt x="1368" y="71"/>
                </a:cubicBezTo>
                <a:cubicBezTo>
                  <a:pt x="1368" y="71"/>
                  <a:pt x="1368" y="71"/>
                  <a:pt x="1368" y="71"/>
                </a:cubicBezTo>
                <a:cubicBezTo>
                  <a:pt x="1368" y="71"/>
                  <a:pt x="1369" y="71"/>
                  <a:pt x="1369" y="71"/>
                </a:cubicBezTo>
                <a:cubicBezTo>
                  <a:pt x="1369" y="71"/>
                  <a:pt x="1369" y="71"/>
                  <a:pt x="1369" y="71"/>
                </a:cubicBezTo>
                <a:cubicBezTo>
                  <a:pt x="1369" y="71"/>
                  <a:pt x="1369" y="71"/>
                  <a:pt x="1369" y="70"/>
                </a:cubicBezTo>
                <a:cubicBezTo>
                  <a:pt x="1369" y="71"/>
                  <a:pt x="1369" y="71"/>
                  <a:pt x="1369" y="71"/>
                </a:cubicBezTo>
                <a:cubicBezTo>
                  <a:pt x="1369" y="70"/>
                  <a:pt x="1369" y="70"/>
                  <a:pt x="1369" y="70"/>
                </a:cubicBezTo>
                <a:cubicBezTo>
                  <a:pt x="1369" y="70"/>
                  <a:pt x="1369" y="70"/>
                  <a:pt x="1369" y="70"/>
                </a:cubicBezTo>
                <a:cubicBezTo>
                  <a:pt x="1370" y="70"/>
                  <a:pt x="1370" y="70"/>
                  <a:pt x="1370" y="70"/>
                </a:cubicBezTo>
                <a:cubicBezTo>
                  <a:pt x="1370" y="70"/>
                  <a:pt x="1370" y="70"/>
                  <a:pt x="1370" y="70"/>
                </a:cubicBezTo>
                <a:cubicBezTo>
                  <a:pt x="1370" y="70"/>
                  <a:pt x="1370" y="70"/>
                  <a:pt x="1370" y="69"/>
                </a:cubicBezTo>
                <a:cubicBezTo>
                  <a:pt x="1370" y="69"/>
                  <a:pt x="1370" y="69"/>
                  <a:pt x="1370" y="69"/>
                </a:cubicBezTo>
                <a:cubicBezTo>
                  <a:pt x="1371" y="69"/>
                  <a:pt x="1371" y="69"/>
                  <a:pt x="1371" y="69"/>
                </a:cubicBezTo>
                <a:cubicBezTo>
                  <a:pt x="1371" y="69"/>
                  <a:pt x="1371" y="69"/>
                  <a:pt x="1371" y="69"/>
                </a:cubicBezTo>
                <a:cubicBezTo>
                  <a:pt x="1371" y="69"/>
                  <a:pt x="1371" y="69"/>
                  <a:pt x="1371" y="69"/>
                </a:cubicBezTo>
                <a:cubicBezTo>
                  <a:pt x="1371" y="69"/>
                  <a:pt x="1371" y="69"/>
                  <a:pt x="1371" y="69"/>
                </a:cubicBezTo>
                <a:cubicBezTo>
                  <a:pt x="1372" y="69"/>
                  <a:pt x="1372" y="69"/>
                  <a:pt x="1372" y="68"/>
                </a:cubicBezTo>
                <a:cubicBezTo>
                  <a:pt x="1372" y="68"/>
                  <a:pt x="1372" y="68"/>
                  <a:pt x="1372" y="68"/>
                </a:cubicBezTo>
                <a:cubicBezTo>
                  <a:pt x="1372" y="68"/>
                  <a:pt x="1373" y="68"/>
                  <a:pt x="1373" y="68"/>
                </a:cubicBezTo>
                <a:cubicBezTo>
                  <a:pt x="1373" y="68"/>
                  <a:pt x="1373" y="68"/>
                  <a:pt x="1373" y="68"/>
                </a:cubicBezTo>
                <a:cubicBezTo>
                  <a:pt x="1373" y="68"/>
                  <a:pt x="1373" y="68"/>
                  <a:pt x="1373" y="67"/>
                </a:cubicBezTo>
                <a:cubicBezTo>
                  <a:pt x="1373" y="67"/>
                  <a:pt x="1373" y="67"/>
                  <a:pt x="1373" y="67"/>
                </a:cubicBezTo>
                <a:cubicBezTo>
                  <a:pt x="1373" y="67"/>
                  <a:pt x="1374" y="67"/>
                  <a:pt x="1374" y="67"/>
                </a:cubicBezTo>
                <a:cubicBezTo>
                  <a:pt x="1374" y="67"/>
                  <a:pt x="1374" y="67"/>
                  <a:pt x="1374" y="67"/>
                </a:cubicBezTo>
                <a:cubicBezTo>
                  <a:pt x="1374" y="67"/>
                  <a:pt x="1374" y="67"/>
                  <a:pt x="1374" y="67"/>
                </a:cubicBezTo>
                <a:cubicBezTo>
                  <a:pt x="1374" y="67"/>
                  <a:pt x="1374" y="67"/>
                  <a:pt x="1374" y="67"/>
                </a:cubicBezTo>
                <a:cubicBezTo>
                  <a:pt x="1374" y="67"/>
                  <a:pt x="1374" y="66"/>
                  <a:pt x="1375" y="66"/>
                </a:cubicBezTo>
                <a:cubicBezTo>
                  <a:pt x="1375" y="66"/>
                  <a:pt x="1375" y="66"/>
                  <a:pt x="1375" y="66"/>
                </a:cubicBezTo>
                <a:cubicBezTo>
                  <a:pt x="1375" y="66"/>
                  <a:pt x="1375" y="66"/>
                  <a:pt x="1375" y="66"/>
                </a:cubicBezTo>
                <a:cubicBezTo>
                  <a:pt x="1375" y="66"/>
                  <a:pt x="1375" y="66"/>
                  <a:pt x="1375" y="66"/>
                </a:cubicBezTo>
                <a:cubicBezTo>
                  <a:pt x="1375" y="66"/>
                  <a:pt x="1376" y="66"/>
                  <a:pt x="1376" y="66"/>
                </a:cubicBezTo>
                <a:cubicBezTo>
                  <a:pt x="1376" y="66"/>
                  <a:pt x="1376" y="66"/>
                  <a:pt x="1376" y="66"/>
                </a:cubicBezTo>
                <a:cubicBezTo>
                  <a:pt x="1376" y="65"/>
                  <a:pt x="1376" y="66"/>
                  <a:pt x="1376" y="65"/>
                </a:cubicBezTo>
                <a:cubicBezTo>
                  <a:pt x="1376" y="65"/>
                  <a:pt x="1376" y="65"/>
                  <a:pt x="1376" y="65"/>
                </a:cubicBezTo>
                <a:cubicBezTo>
                  <a:pt x="1376" y="65"/>
                  <a:pt x="1377" y="65"/>
                  <a:pt x="1377" y="65"/>
                </a:cubicBezTo>
                <a:cubicBezTo>
                  <a:pt x="1377" y="65"/>
                  <a:pt x="1377" y="65"/>
                  <a:pt x="1377" y="65"/>
                </a:cubicBezTo>
                <a:cubicBezTo>
                  <a:pt x="1377" y="65"/>
                  <a:pt x="1377" y="65"/>
                  <a:pt x="1377" y="65"/>
                </a:cubicBezTo>
                <a:cubicBezTo>
                  <a:pt x="1377" y="65"/>
                  <a:pt x="1377" y="65"/>
                  <a:pt x="1377" y="65"/>
                </a:cubicBezTo>
                <a:cubicBezTo>
                  <a:pt x="1377"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9" y="63"/>
                  <a:pt x="1379" y="63"/>
                  <a:pt x="1379" y="63"/>
                </a:cubicBezTo>
                <a:cubicBezTo>
                  <a:pt x="1379" y="63"/>
                  <a:pt x="1379" y="63"/>
                  <a:pt x="1379" y="63"/>
                </a:cubicBezTo>
                <a:cubicBezTo>
                  <a:pt x="1379" y="63"/>
                  <a:pt x="1379" y="63"/>
                  <a:pt x="1379" y="63"/>
                </a:cubicBezTo>
                <a:cubicBezTo>
                  <a:pt x="1379" y="63"/>
                  <a:pt x="1379" y="63"/>
                  <a:pt x="1379" y="63"/>
                </a:cubicBezTo>
                <a:cubicBezTo>
                  <a:pt x="1380" y="63"/>
                  <a:pt x="1380" y="63"/>
                  <a:pt x="1380" y="63"/>
                </a:cubicBezTo>
                <a:cubicBezTo>
                  <a:pt x="1380" y="63"/>
                  <a:pt x="1380" y="63"/>
                  <a:pt x="1380" y="63"/>
                </a:cubicBezTo>
                <a:cubicBezTo>
                  <a:pt x="1380" y="62"/>
                  <a:pt x="1380" y="62"/>
                  <a:pt x="1380" y="62"/>
                </a:cubicBezTo>
                <a:cubicBezTo>
                  <a:pt x="1380" y="62"/>
                  <a:pt x="1380" y="62"/>
                  <a:pt x="1380" y="62"/>
                </a:cubicBezTo>
                <a:cubicBezTo>
                  <a:pt x="1381" y="62"/>
                  <a:pt x="1381" y="62"/>
                  <a:pt x="1381" y="62"/>
                </a:cubicBezTo>
                <a:cubicBezTo>
                  <a:pt x="1381" y="62"/>
                  <a:pt x="1381" y="62"/>
                  <a:pt x="1381" y="62"/>
                </a:cubicBezTo>
                <a:cubicBezTo>
                  <a:pt x="1381" y="62"/>
                  <a:pt x="1381" y="62"/>
                  <a:pt x="1381" y="61"/>
                </a:cubicBezTo>
                <a:cubicBezTo>
                  <a:pt x="1381" y="61"/>
                  <a:pt x="1381" y="61"/>
                  <a:pt x="1381" y="61"/>
                </a:cubicBezTo>
                <a:cubicBezTo>
                  <a:pt x="1381" y="61"/>
                  <a:pt x="1381" y="61"/>
                  <a:pt x="1382" y="61"/>
                </a:cubicBezTo>
                <a:cubicBezTo>
                  <a:pt x="1382" y="61"/>
                  <a:pt x="1382" y="61"/>
                  <a:pt x="1382" y="61"/>
                </a:cubicBezTo>
                <a:cubicBezTo>
                  <a:pt x="1382" y="61"/>
                  <a:pt x="1382" y="61"/>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4" y="60"/>
                  <a:pt x="1384" y="59"/>
                </a:cubicBezTo>
                <a:cubicBezTo>
                  <a:pt x="1384" y="59"/>
                  <a:pt x="1384" y="59"/>
                  <a:pt x="1384" y="59"/>
                </a:cubicBezTo>
                <a:cubicBezTo>
                  <a:pt x="1384" y="59"/>
                  <a:pt x="1384" y="59"/>
                  <a:pt x="1384" y="59"/>
                </a:cubicBezTo>
                <a:cubicBezTo>
                  <a:pt x="1384" y="59"/>
                  <a:pt x="1384" y="59"/>
                  <a:pt x="1384" y="59"/>
                </a:cubicBezTo>
                <a:cubicBezTo>
                  <a:pt x="1384" y="59"/>
                  <a:pt x="1385" y="58"/>
                  <a:pt x="1385" y="58"/>
                </a:cubicBezTo>
                <a:cubicBezTo>
                  <a:pt x="1385" y="58"/>
                  <a:pt x="1385" y="58"/>
                  <a:pt x="1385" y="58"/>
                </a:cubicBezTo>
                <a:cubicBezTo>
                  <a:pt x="1386" y="58"/>
                  <a:pt x="1386" y="58"/>
                  <a:pt x="1386" y="58"/>
                </a:cubicBezTo>
                <a:cubicBezTo>
                  <a:pt x="1386" y="58"/>
                  <a:pt x="1386" y="58"/>
                  <a:pt x="1386" y="58"/>
                </a:cubicBezTo>
                <a:cubicBezTo>
                  <a:pt x="1386" y="58"/>
                  <a:pt x="1386" y="57"/>
                  <a:pt x="1386" y="57"/>
                </a:cubicBezTo>
                <a:cubicBezTo>
                  <a:pt x="1386" y="57"/>
                  <a:pt x="1386" y="57"/>
                  <a:pt x="1386" y="57"/>
                </a:cubicBezTo>
                <a:cubicBezTo>
                  <a:pt x="1386" y="57"/>
                  <a:pt x="1386" y="57"/>
                  <a:pt x="1386" y="57"/>
                </a:cubicBezTo>
                <a:cubicBezTo>
                  <a:pt x="1386" y="57"/>
                  <a:pt x="1386" y="57"/>
                  <a:pt x="1386" y="57"/>
                </a:cubicBezTo>
                <a:cubicBezTo>
                  <a:pt x="1387" y="57"/>
                  <a:pt x="1387" y="57"/>
                  <a:pt x="1387" y="57"/>
                </a:cubicBezTo>
                <a:cubicBezTo>
                  <a:pt x="1387" y="57"/>
                  <a:pt x="1387" y="57"/>
                  <a:pt x="1387" y="57"/>
                </a:cubicBezTo>
                <a:cubicBezTo>
                  <a:pt x="1387" y="57"/>
                  <a:pt x="1387" y="56"/>
                  <a:pt x="1387" y="56"/>
                </a:cubicBezTo>
                <a:cubicBezTo>
                  <a:pt x="1387" y="56"/>
                  <a:pt x="1387" y="56"/>
                  <a:pt x="1387" y="56"/>
                </a:cubicBezTo>
                <a:cubicBezTo>
                  <a:pt x="1387" y="56"/>
                  <a:pt x="1387" y="56"/>
                  <a:pt x="1387" y="56"/>
                </a:cubicBezTo>
                <a:cubicBezTo>
                  <a:pt x="1387" y="56"/>
                  <a:pt x="1387" y="56"/>
                  <a:pt x="1387" y="56"/>
                </a:cubicBezTo>
                <a:cubicBezTo>
                  <a:pt x="1388" y="56"/>
                  <a:pt x="1388" y="56"/>
                  <a:pt x="1388" y="55"/>
                </a:cubicBezTo>
                <a:cubicBezTo>
                  <a:pt x="1388" y="55"/>
                  <a:pt x="1388" y="55"/>
                  <a:pt x="1388" y="55"/>
                </a:cubicBezTo>
                <a:cubicBezTo>
                  <a:pt x="1388" y="55"/>
                  <a:pt x="1388" y="55"/>
                  <a:pt x="1388" y="55"/>
                </a:cubicBezTo>
                <a:cubicBezTo>
                  <a:pt x="1388" y="55"/>
                  <a:pt x="1388" y="55"/>
                  <a:pt x="1388" y="55"/>
                </a:cubicBezTo>
                <a:cubicBezTo>
                  <a:pt x="1389" y="55"/>
                  <a:pt x="1389" y="54"/>
                  <a:pt x="1389" y="54"/>
                </a:cubicBezTo>
                <a:cubicBezTo>
                  <a:pt x="1389" y="54"/>
                  <a:pt x="1389" y="54"/>
                  <a:pt x="1389" y="54"/>
                </a:cubicBezTo>
                <a:cubicBezTo>
                  <a:pt x="1389" y="54"/>
                  <a:pt x="1389" y="54"/>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1" y="53"/>
                  <a:pt x="1391" y="52"/>
                  <a:pt x="1391" y="52"/>
                </a:cubicBezTo>
                <a:cubicBezTo>
                  <a:pt x="1391" y="52"/>
                  <a:pt x="1391" y="52"/>
                  <a:pt x="1391" y="52"/>
                </a:cubicBezTo>
                <a:cubicBezTo>
                  <a:pt x="1391" y="52"/>
                  <a:pt x="1391" y="51"/>
                  <a:pt x="1391" y="51"/>
                </a:cubicBezTo>
                <a:cubicBezTo>
                  <a:pt x="1391" y="51"/>
                  <a:pt x="1391" y="51"/>
                  <a:pt x="1391" y="51"/>
                </a:cubicBezTo>
                <a:cubicBezTo>
                  <a:pt x="1392" y="51"/>
                  <a:pt x="1391" y="51"/>
                  <a:pt x="1392" y="51"/>
                </a:cubicBezTo>
                <a:cubicBezTo>
                  <a:pt x="1392" y="51"/>
                  <a:pt x="1392" y="51"/>
                  <a:pt x="1392" y="51"/>
                </a:cubicBezTo>
                <a:cubicBezTo>
                  <a:pt x="1392" y="51"/>
                  <a:pt x="1392" y="50"/>
                  <a:pt x="1392" y="50"/>
                </a:cubicBezTo>
                <a:cubicBezTo>
                  <a:pt x="1392" y="50"/>
                  <a:pt x="1392" y="50"/>
                  <a:pt x="1392" y="50"/>
                </a:cubicBezTo>
                <a:cubicBezTo>
                  <a:pt x="1392" y="50"/>
                  <a:pt x="1392" y="50"/>
                  <a:pt x="1392" y="50"/>
                </a:cubicBezTo>
                <a:cubicBezTo>
                  <a:pt x="1392" y="50"/>
                  <a:pt x="1392" y="50"/>
                  <a:pt x="1392" y="50"/>
                </a:cubicBezTo>
                <a:cubicBezTo>
                  <a:pt x="1392" y="50"/>
                  <a:pt x="1393" y="49"/>
                  <a:pt x="1393" y="49"/>
                </a:cubicBezTo>
                <a:cubicBezTo>
                  <a:pt x="1393" y="49"/>
                  <a:pt x="1393" y="49"/>
                  <a:pt x="1393" y="49"/>
                </a:cubicBezTo>
                <a:cubicBezTo>
                  <a:pt x="1393" y="49"/>
                  <a:pt x="1393" y="49"/>
                  <a:pt x="1393" y="49"/>
                </a:cubicBezTo>
                <a:cubicBezTo>
                  <a:pt x="1393" y="49"/>
                  <a:pt x="1393" y="49"/>
                  <a:pt x="1393" y="49"/>
                </a:cubicBezTo>
                <a:cubicBezTo>
                  <a:pt x="1393" y="48"/>
                  <a:pt x="1393" y="48"/>
                  <a:pt x="1393" y="48"/>
                </a:cubicBezTo>
                <a:cubicBezTo>
                  <a:pt x="1393" y="48"/>
                  <a:pt x="1393" y="48"/>
                  <a:pt x="1393" y="48"/>
                </a:cubicBezTo>
                <a:cubicBezTo>
                  <a:pt x="1393" y="48"/>
                  <a:pt x="1393" y="48"/>
                  <a:pt x="1393" y="48"/>
                </a:cubicBezTo>
                <a:cubicBezTo>
                  <a:pt x="1394" y="48"/>
                  <a:pt x="1394" y="48"/>
                  <a:pt x="1394" y="47"/>
                </a:cubicBezTo>
                <a:cubicBezTo>
                  <a:pt x="1394" y="48"/>
                  <a:pt x="1394" y="48"/>
                  <a:pt x="1394" y="48"/>
                </a:cubicBezTo>
                <a:cubicBezTo>
                  <a:pt x="1394" y="47"/>
                  <a:pt x="1394" y="47"/>
                  <a:pt x="1394" y="47"/>
                </a:cubicBezTo>
                <a:cubicBezTo>
                  <a:pt x="1394" y="47"/>
                  <a:pt x="1394" y="47"/>
                  <a:pt x="1394" y="47"/>
                </a:cubicBezTo>
                <a:cubicBezTo>
                  <a:pt x="1394" y="47"/>
                  <a:pt x="1394" y="46"/>
                  <a:pt x="1394" y="46"/>
                </a:cubicBezTo>
                <a:cubicBezTo>
                  <a:pt x="1394" y="46"/>
                  <a:pt x="1394" y="46"/>
                  <a:pt x="1394" y="46"/>
                </a:cubicBezTo>
                <a:cubicBezTo>
                  <a:pt x="1395" y="46"/>
                  <a:pt x="1395" y="45"/>
                  <a:pt x="1395" y="45"/>
                </a:cubicBezTo>
                <a:cubicBezTo>
                  <a:pt x="1395" y="45"/>
                  <a:pt x="1395" y="45"/>
                  <a:pt x="1395" y="45"/>
                </a:cubicBezTo>
                <a:cubicBezTo>
                  <a:pt x="1395" y="45"/>
                  <a:pt x="1395" y="45"/>
                  <a:pt x="1395" y="44"/>
                </a:cubicBezTo>
                <a:cubicBezTo>
                  <a:pt x="1395" y="44"/>
                  <a:pt x="1395" y="44"/>
                  <a:pt x="1395" y="44"/>
                </a:cubicBezTo>
                <a:cubicBezTo>
                  <a:pt x="1395" y="44"/>
                  <a:pt x="1395" y="44"/>
                  <a:pt x="1395" y="43"/>
                </a:cubicBezTo>
                <a:cubicBezTo>
                  <a:pt x="1395" y="43"/>
                  <a:pt x="1395" y="43"/>
                  <a:pt x="1395" y="43"/>
                </a:cubicBezTo>
                <a:cubicBezTo>
                  <a:pt x="1396" y="43"/>
                  <a:pt x="1396" y="43"/>
                  <a:pt x="1396" y="43"/>
                </a:cubicBezTo>
                <a:cubicBezTo>
                  <a:pt x="1396" y="42"/>
                  <a:pt x="1396" y="42"/>
                  <a:pt x="1396" y="42"/>
                </a:cubicBezTo>
                <a:cubicBezTo>
                  <a:pt x="1396" y="42"/>
                  <a:pt x="1396" y="42"/>
                  <a:pt x="1396" y="42"/>
                </a:cubicBezTo>
                <a:cubicBezTo>
                  <a:pt x="1396" y="42"/>
                  <a:pt x="1396" y="42"/>
                  <a:pt x="1396" y="41"/>
                </a:cubicBezTo>
                <a:cubicBezTo>
                  <a:pt x="1396" y="41"/>
                  <a:pt x="1396" y="41"/>
                  <a:pt x="1396" y="41"/>
                </a:cubicBezTo>
                <a:cubicBezTo>
                  <a:pt x="1397" y="41"/>
                  <a:pt x="1396" y="40"/>
                  <a:pt x="1397" y="40"/>
                </a:cubicBezTo>
                <a:cubicBezTo>
                  <a:pt x="1397" y="40"/>
                  <a:pt x="1397" y="40"/>
                  <a:pt x="1397" y="40"/>
                </a:cubicBezTo>
                <a:cubicBezTo>
                  <a:pt x="1397" y="39"/>
                  <a:pt x="1397" y="39"/>
                  <a:pt x="1397" y="38"/>
                </a:cubicBezTo>
                <a:cubicBezTo>
                  <a:pt x="1397" y="38"/>
                  <a:pt x="1397" y="38"/>
                  <a:pt x="1397" y="38"/>
                </a:cubicBezTo>
                <a:cubicBezTo>
                  <a:pt x="1397" y="37"/>
                  <a:pt x="1397" y="37"/>
                  <a:pt x="1397" y="36"/>
                </a:cubicBezTo>
                <a:cubicBezTo>
                  <a:pt x="1397" y="36"/>
                  <a:pt x="1397" y="36"/>
                  <a:pt x="1397" y="35"/>
                </a:cubicBezTo>
                <a:cubicBezTo>
                  <a:pt x="1397" y="33"/>
                  <a:pt x="1397" y="30"/>
                  <a:pt x="1397" y="27"/>
                </a:cubicBezTo>
                <a:cubicBezTo>
                  <a:pt x="1397" y="27"/>
                  <a:pt x="1397" y="27"/>
                  <a:pt x="1397" y="27"/>
                </a:cubicBezTo>
                <a:cubicBezTo>
                  <a:pt x="1397" y="26"/>
                  <a:pt x="1397" y="25"/>
                  <a:pt x="1397" y="25"/>
                </a:cubicBezTo>
                <a:cubicBezTo>
                  <a:pt x="1397" y="25"/>
                  <a:pt x="1397" y="25"/>
                  <a:pt x="1397" y="25"/>
                </a:cubicBezTo>
                <a:cubicBezTo>
                  <a:pt x="1397" y="25"/>
                  <a:pt x="1397" y="25"/>
                  <a:pt x="1397" y="25"/>
                </a:cubicBezTo>
                <a:cubicBezTo>
                  <a:pt x="1397" y="24"/>
                  <a:pt x="1397" y="24"/>
                  <a:pt x="1397" y="24"/>
                </a:cubicBezTo>
                <a:cubicBezTo>
                  <a:pt x="1396" y="23"/>
                  <a:pt x="1396" y="23"/>
                  <a:pt x="1396" y="23"/>
                </a:cubicBezTo>
                <a:cubicBezTo>
                  <a:pt x="1396" y="23"/>
                  <a:pt x="1396" y="23"/>
                  <a:pt x="1396" y="23"/>
                </a:cubicBezTo>
                <a:cubicBezTo>
                  <a:pt x="1396" y="23"/>
                  <a:pt x="1396" y="22"/>
                  <a:pt x="1396" y="22"/>
                </a:cubicBezTo>
                <a:cubicBezTo>
                  <a:pt x="1396" y="22"/>
                  <a:pt x="1396" y="22"/>
                  <a:pt x="1396" y="22"/>
                </a:cubicBezTo>
                <a:cubicBezTo>
                  <a:pt x="1396" y="22"/>
                  <a:pt x="1396" y="21"/>
                  <a:pt x="1396" y="21"/>
                </a:cubicBezTo>
                <a:cubicBezTo>
                  <a:pt x="1396" y="21"/>
                  <a:pt x="1396" y="21"/>
                  <a:pt x="1396" y="21"/>
                </a:cubicBezTo>
                <a:cubicBezTo>
                  <a:pt x="1396" y="21"/>
                  <a:pt x="1396" y="21"/>
                  <a:pt x="1395" y="20"/>
                </a:cubicBezTo>
                <a:cubicBezTo>
                  <a:pt x="1395" y="20"/>
                  <a:pt x="1395" y="20"/>
                  <a:pt x="1395" y="20"/>
                </a:cubicBezTo>
                <a:cubicBezTo>
                  <a:pt x="1395" y="20"/>
                  <a:pt x="1395" y="20"/>
                  <a:pt x="1395" y="20"/>
                </a:cubicBezTo>
                <a:cubicBezTo>
                  <a:pt x="1395" y="20"/>
                  <a:pt x="1395" y="20"/>
                  <a:pt x="1395" y="20"/>
                </a:cubicBezTo>
                <a:cubicBezTo>
                  <a:pt x="1395" y="20"/>
                  <a:pt x="1395" y="20"/>
                  <a:pt x="1395" y="20"/>
                </a:cubicBezTo>
                <a:cubicBezTo>
                  <a:pt x="1395" y="19"/>
                  <a:pt x="1395" y="19"/>
                  <a:pt x="1395" y="19"/>
                </a:cubicBezTo>
                <a:cubicBezTo>
                  <a:pt x="1395" y="19"/>
                  <a:pt x="1395" y="19"/>
                  <a:pt x="1395" y="19"/>
                </a:cubicBezTo>
                <a:cubicBezTo>
                  <a:pt x="1395" y="19"/>
                  <a:pt x="1395" y="19"/>
                  <a:pt x="1395" y="19"/>
                </a:cubicBezTo>
                <a:cubicBezTo>
                  <a:pt x="1395" y="19"/>
                  <a:pt x="1395" y="18"/>
                  <a:pt x="1394" y="18"/>
                </a:cubicBezTo>
                <a:cubicBezTo>
                  <a:pt x="1394" y="18"/>
                  <a:pt x="1394" y="18"/>
                  <a:pt x="1394" y="18"/>
                </a:cubicBezTo>
                <a:cubicBezTo>
                  <a:pt x="1394" y="18"/>
                  <a:pt x="1394" y="18"/>
                  <a:pt x="1394" y="18"/>
                </a:cubicBezTo>
                <a:cubicBezTo>
                  <a:pt x="1394" y="18"/>
                  <a:pt x="1394" y="18"/>
                  <a:pt x="1394" y="18"/>
                </a:cubicBezTo>
                <a:cubicBezTo>
                  <a:pt x="1394" y="17"/>
                  <a:pt x="1394" y="17"/>
                  <a:pt x="1394" y="17"/>
                </a:cubicBezTo>
                <a:cubicBezTo>
                  <a:pt x="1394" y="17"/>
                  <a:pt x="1394" y="17"/>
                  <a:pt x="1394" y="17"/>
                </a:cubicBezTo>
                <a:cubicBezTo>
                  <a:pt x="1394" y="17"/>
                  <a:pt x="1393" y="17"/>
                  <a:pt x="1393" y="17"/>
                </a:cubicBezTo>
                <a:cubicBezTo>
                  <a:pt x="1393" y="17"/>
                  <a:pt x="1393" y="17"/>
                  <a:pt x="1393" y="17"/>
                </a:cubicBezTo>
                <a:cubicBezTo>
                  <a:pt x="1393" y="16"/>
                  <a:pt x="1393" y="16"/>
                  <a:pt x="1393" y="16"/>
                </a:cubicBezTo>
                <a:cubicBezTo>
                  <a:pt x="1393" y="16"/>
                  <a:pt x="1393" y="16"/>
                  <a:pt x="1393" y="16"/>
                </a:cubicBezTo>
                <a:cubicBezTo>
                  <a:pt x="1393" y="16"/>
                  <a:pt x="1393" y="16"/>
                  <a:pt x="1393" y="16"/>
                </a:cubicBezTo>
                <a:cubicBezTo>
                  <a:pt x="1393" y="16"/>
                  <a:pt x="1393" y="16"/>
                  <a:pt x="1393" y="16"/>
                </a:cubicBezTo>
                <a:cubicBezTo>
                  <a:pt x="1393" y="15"/>
                  <a:pt x="1392" y="15"/>
                  <a:pt x="1392" y="15"/>
                </a:cubicBezTo>
                <a:cubicBezTo>
                  <a:pt x="1392" y="15"/>
                  <a:pt x="1392" y="15"/>
                  <a:pt x="1392" y="15"/>
                </a:cubicBezTo>
                <a:cubicBezTo>
                  <a:pt x="1392" y="15"/>
                  <a:pt x="1392" y="15"/>
                  <a:pt x="1392" y="15"/>
                </a:cubicBezTo>
                <a:cubicBezTo>
                  <a:pt x="1392" y="15"/>
                  <a:pt x="1392" y="15"/>
                  <a:pt x="1392" y="15"/>
                </a:cubicBezTo>
                <a:cubicBezTo>
                  <a:pt x="1392" y="14"/>
                  <a:pt x="1392" y="14"/>
                  <a:pt x="1392" y="14"/>
                </a:cubicBezTo>
                <a:cubicBezTo>
                  <a:pt x="1392" y="14"/>
                  <a:pt x="1392" y="14"/>
                  <a:pt x="1392" y="14"/>
                </a:cubicBezTo>
                <a:cubicBezTo>
                  <a:pt x="1392" y="14"/>
                  <a:pt x="1391" y="14"/>
                  <a:pt x="1391" y="14"/>
                </a:cubicBezTo>
                <a:cubicBezTo>
                  <a:pt x="1391" y="14"/>
                  <a:pt x="1391" y="14"/>
                  <a:pt x="1391" y="14"/>
                </a:cubicBezTo>
                <a:cubicBezTo>
                  <a:pt x="1391" y="14"/>
                  <a:pt x="1391" y="14"/>
                  <a:pt x="1391" y="13"/>
                </a:cubicBezTo>
                <a:cubicBezTo>
                  <a:pt x="1391" y="14"/>
                  <a:pt x="1391" y="14"/>
                  <a:pt x="1391" y="14"/>
                </a:cubicBezTo>
                <a:cubicBezTo>
                  <a:pt x="1391" y="13"/>
                  <a:pt x="1391" y="13"/>
                  <a:pt x="1391" y="13"/>
                </a:cubicBezTo>
                <a:cubicBezTo>
                  <a:pt x="1391" y="13"/>
                  <a:pt x="1391" y="13"/>
                  <a:pt x="1391" y="13"/>
                </a:cubicBezTo>
                <a:cubicBezTo>
                  <a:pt x="1390" y="13"/>
                  <a:pt x="1390" y="13"/>
                  <a:pt x="1390" y="13"/>
                </a:cubicBezTo>
                <a:cubicBezTo>
                  <a:pt x="1390" y="13"/>
                  <a:pt x="1390" y="13"/>
                  <a:pt x="1390" y="13"/>
                </a:cubicBezTo>
                <a:cubicBezTo>
                  <a:pt x="1390" y="13"/>
                  <a:pt x="1390" y="12"/>
                  <a:pt x="1390" y="12"/>
                </a:cubicBezTo>
                <a:cubicBezTo>
                  <a:pt x="1390" y="12"/>
                  <a:pt x="1390" y="12"/>
                  <a:pt x="1390" y="12"/>
                </a:cubicBezTo>
                <a:cubicBezTo>
                  <a:pt x="1390" y="12"/>
                  <a:pt x="1390" y="12"/>
                  <a:pt x="1389" y="12"/>
                </a:cubicBezTo>
                <a:cubicBezTo>
                  <a:pt x="1389" y="12"/>
                  <a:pt x="1389" y="12"/>
                  <a:pt x="1389" y="12"/>
                </a:cubicBezTo>
                <a:cubicBezTo>
                  <a:pt x="1389" y="12"/>
                  <a:pt x="1389" y="12"/>
                  <a:pt x="1389" y="11"/>
                </a:cubicBezTo>
                <a:cubicBezTo>
                  <a:pt x="1389" y="11"/>
                  <a:pt x="1389" y="11"/>
                  <a:pt x="1389" y="11"/>
                </a:cubicBezTo>
                <a:cubicBezTo>
                  <a:pt x="1388" y="11"/>
                  <a:pt x="1388" y="11"/>
                  <a:pt x="1388" y="11"/>
                </a:cubicBezTo>
                <a:cubicBezTo>
                  <a:pt x="1388" y="11"/>
                  <a:pt x="1388" y="11"/>
                  <a:pt x="1388" y="11"/>
                </a:cubicBezTo>
                <a:cubicBezTo>
                  <a:pt x="1388" y="11"/>
                  <a:pt x="1388" y="11"/>
                  <a:pt x="1388" y="11"/>
                </a:cubicBezTo>
                <a:cubicBezTo>
                  <a:pt x="1388" y="11"/>
                  <a:pt x="1388" y="11"/>
                  <a:pt x="1388" y="11"/>
                </a:cubicBezTo>
                <a:cubicBezTo>
                  <a:pt x="1388" y="10"/>
                  <a:pt x="1387" y="11"/>
                  <a:pt x="1387" y="10"/>
                </a:cubicBezTo>
                <a:cubicBezTo>
                  <a:pt x="1387" y="10"/>
                  <a:pt x="1387" y="10"/>
                  <a:pt x="1387" y="10"/>
                </a:cubicBezTo>
                <a:cubicBezTo>
                  <a:pt x="1387" y="10"/>
                  <a:pt x="1387" y="10"/>
                  <a:pt x="1387" y="10"/>
                </a:cubicBezTo>
                <a:cubicBezTo>
                  <a:pt x="1387" y="10"/>
                  <a:pt x="1387" y="10"/>
                  <a:pt x="1387" y="10"/>
                </a:cubicBezTo>
                <a:cubicBezTo>
                  <a:pt x="1387" y="10"/>
                  <a:pt x="1386" y="10"/>
                  <a:pt x="1386" y="10"/>
                </a:cubicBezTo>
                <a:cubicBezTo>
                  <a:pt x="1386" y="10"/>
                  <a:pt x="1386" y="10"/>
                  <a:pt x="1386" y="10"/>
                </a:cubicBezTo>
                <a:cubicBezTo>
                  <a:pt x="1386" y="9"/>
                  <a:pt x="1386" y="9"/>
                  <a:pt x="1385" y="9"/>
                </a:cubicBezTo>
                <a:cubicBezTo>
                  <a:pt x="1385" y="9"/>
                  <a:pt x="1385" y="9"/>
                  <a:pt x="1385" y="9"/>
                </a:cubicBezTo>
                <a:cubicBezTo>
                  <a:pt x="1385" y="9"/>
                  <a:pt x="1385" y="9"/>
                  <a:pt x="1385" y="9"/>
                </a:cubicBezTo>
                <a:cubicBezTo>
                  <a:pt x="1385" y="9"/>
                  <a:pt x="1385" y="9"/>
                  <a:pt x="1385" y="9"/>
                </a:cubicBezTo>
                <a:cubicBezTo>
                  <a:pt x="1385" y="9"/>
                  <a:pt x="1384" y="9"/>
                  <a:pt x="1384" y="9"/>
                </a:cubicBezTo>
                <a:cubicBezTo>
                  <a:pt x="1384" y="9"/>
                  <a:pt x="1384" y="9"/>
                  <a:pt x="1384" y="9"/>
                </a:cubicBezTo>
                <a:cubicBezTo>
                  <a:pt x="1384" y="9"/>
                  <a:pt x="1384" y="9"/>
                  <a:pt x="1384" y="9"/>
                </a:cubicBezTo>
                <a:cubicBezTo>
                  <a:pt x="1384" y="8"/>
                  <a:pt x="1383" y="8"/>
                  <a:pt x="1383" y="8"/>
                </a:cubicBezTo>
                <a:cubicBezTo>
                  <a:pt x="1383" y="8"/>
                  <a:pt x="1383" y="8"/>
                  <a:pt x="1383" y="8"/>
                </a:cubicBezTo>
                <a:cubicBezTo>
                  <a:pt x="1383" y="8"/>
                  <a:pt x="1383" y="8"/>
                  <a:pt x="1383" y="8"/>
                </a:cubicBezTo>
                <a:cubicBezTo>
                  <a:pt x="1383" y="8"/>
                  <a:pt x="1383" y="8"/>
                  <a:pt x="1383" y="8"/>
                </a:cubicBezTo>
                <a:cubicBezTo>
                  <a:pt x="1382" y="8"/>
                  <a:pt x="1382" y="8"/>
                  <a:pt x="1382" y="8"/>
                </a:cubicBezTo>
                <a:cubicBezTo>
                  <a:pt x="1382" y="8"/>
                  <a:pt x="1382" y="8"/>
                  <a:pt x="1382" y="8"/>
                </a:cubicBezTo>
                <a:cubicBezTo>
                  <a:pt x="1382" y="8"/>
                  <a:pt x="1382" y="8"/>
                  <a:pt x="1382" y="8"/>
                </a:cubicBezTo>
                <a:cubicBezTo>
                  <a:pt x="1381" y="7"/>
                  <a:pt x="1381" y="7"/>
                  <a:pt x="1381" y="7"/>
                </a:cubicBezTo>
                <a:cubicBezTo>
                  <a:pt x="1381" y="7"/>
                  <a:pt x="1381" y="7"/>
                  <a:pt x="1381" y="7"/>
                </a:cubicBezTo>
                <a:cubicBezTo>
                  <a:pt x="1381" y="7"/>
                  <a:pt x="1381" y="7"/>
                  <a:pt x="1381" y="7"/>
                </a:cubicBezTo>
                <a:cubicBezTo>
                  <a:pt x="1380" y="7"/>
                  <a:pt x="1380" y="7"/>
                  <a:pt x="1379" y="7"/>
                </a:cubicBezTo>
                <a:cubicBezTo>
                  <a:pt x="1379" y="7"/>
                  <a:pt x="1379" y="7"/>
                  <a:pt x="1379" y="7"/>
                </a:cubicBezTo>
                <a:cubicBezTo>
                  <a:pt x="1379" y="6"/>
                  <a:pt x="1378" y="7"/>
                  <a:pt x="1378" y="7"/>
                </a:cubicBezTo>
                <a:cubicBezTo>
                  <a:pt x="1378" y="7"/>
                  <a:pt x="1378" y="7"/>
                  <a:pt x="1378" y="6"/>
                </a:cubicBezTo>
                <a:cubicBezTo>
                  <a:pt x="1377" y="6"/>
                  <a:pt x="1377" y="6"/>
                  <a:pt x="1376" y="6"/>
                </a:cubicBezTo>
                <a:cubicBezTo>
                  <a:pt x="1376" y="6"/>
                  <a:pt x="1376" y="6"/>
                  <a:pt x="1376" y="6"/>
                </a:cubicBezTo>
                <a:cubicBezTo>
                  <a:pt x="1375" y="6"/>
                  <a:pt x="1374" y="6"/>
                  <a:pt x="1373" y="6"/>
                </a:cubicBezTo>
                <a:cubicBezTo>
                  <a:pt x="1373" y="6"/>
                  <a:pt x="1372" y="6"/>
                  <a:pt x="1371" y="6"/>
                </a:cubicBezTo>
                <a:cubicBezTo>
                  <a:pt x="1371" y="6"/>
                  <a:pt x="1370" y="6"/>
                  <a:pt x="1369" y="6"/>
                </a:cubicBezTo>
                <a:cubicBezTo>
                  <a:pt x="1368" y="6"/>
                  <a:pt x="1368" y="6"/>
                  <a:pt x="1367" y="6"/>
                </a:cubicBezTo>
                <a:cubicBezTo>
                  <a:pt x="1366" y="6"/>
                  <a:pt x="1365" y="6"/>
                  <a:pt x="1364" y="6"/>
                </a:cubicBezTo>
                <a:cubicBezTo>
                  <a:pt x="1364" y="6"/>
                  <a:pt x="1364" y="6"/>
                  <a:pt x="1364" y="6"/>
                </a:cubicBezTo>
                <a:cubicBezTo>
                  <a:pt x="1363" y="7"/>
                  <a:pt x="1363" y="6"/>
                  <a:pt x="1362" y="6"/>
                </a:cubicBezTo>
                <a:cubicBezTo>
                  <a:pt x="1362" y="7"/>
                  <a:pt x="1362" y="7"/>
                  <a:pt x="1362" y="7"/>
                </a:cubicBezTo>
                <a:cubicBezTo>
                  <a:pt x="1361" y="7"/>
                  <a:pt x="1361" y="6"/>
                  <a:pt x="1360" y="7"/>
                </a:cubicBezTo>
                <a:cubicBezTo>
                  <a:pt x="1360" y="7"/>
                  <a:pt x="1360" y="7"/>
                  <a:pt x="1360" y="7"/>
                </a:cubicBezTo>
                <a:cubicBezTo>
                  <a:pt x="1360" y="7"/>
                  <a:pt x="1360" y="7"/>
                  <a:pt x="1359" y="7"/>
                </a:cubicBezTo>
                <a:cubicBezTo>
                  <a:pt x="1359" y="7"/>
                  <a:pt x="1359" y="7"/>
                  <a:pt x="1359" y="7"/>
                </a:cubicBezTo>
                <a:cubicBezTo>
                  <a:pt x="1359" y="7"/>
                  <a:pt x="1358" y="7"/>
                  <a:pt x="1358" y="7"/>
                </a:cubicBezTo>
                <a:cubicBezTo>
                  <a:pt x="1358" y="8"/>
                  <a:pt x="1358" y="8"/>
                  <a:pt x="1358" y="8"/>
                </a:cubicBezTo>
                <a:cubicBezTo>
                  <a:pt x="1358" y="8"/>
                  <a:pt x="1357" y="8"/>
                  <a:pt x="1357" y="8"/>
                </a:cubicBezTo>
                <a:cubicBezTo>
                  <a:pt x="1357" y="8"/>
                  <a:pt x="1357" y="8"/>
                  <a:pt x="1357" y="8"/>
                </a:cubicBezTo>
                <a:cubicBezTo>
                  <a:pt x="1357" y="8"/>
                  <a:pt x="1357" y="8"/>
                  <a:pt x="1357" y="8"/>
                </a:cubicBezTo>
                <a:cubicBezTo>
                  <a:pt x="1357" y="8"/>
                  <a:pt x="1356" y="8"/>
                  <a:pt x="1356" y="8"/>
                </a:cubicBezTo>
                <a:cubicBezTo>
                  <a:pt x="1356" y="8"/>
                  <a:pt x="1356" y="8"/>
                  <a:pt x="1356" y="8"/>
                </a:cubicBezTo>
                <a:cubicBezTo>
                  <a:pt x="1356" y="8"/>
                  <a:pt x="1356" y="8"/>
                  <a:pt x="1355" y="9"/>
                </a:cubicBezTo>
                <a:cubicBezTo>
                  <a:pt x="1355" y="9"/>
                  <a:pt x="1355" y="9"/>
                  <a:pt x="1355" y="9"/>
                </a:cubicBezTo>
                <a:cubicBezTo>
                  <a:pt x="1355" y="9"/>
                  <a:pt x="1355" y="9"/>
                  <a:pt x="1355" y="9"/>
                </a:cubicBezTo>
                <a:cubicBezTo>
                  <a:pt x="1355" y="9"/>
                  <a:pt x="1355" y="9"/>
                  <a:pt x="1355" y="9"/>
                </a:cubicBezTo>
                <a:cubicBezTo>
                  <a:pt x="1355" y="9"/>
                  <a:pt x="1354" y="9"/>
                  <a:pt x="1354" y="9"/>
                </a:cubicBezTo>
                <a:cubicBezTo>
                  <a:pt x="1354" y="9"/>
                  <a:pt x="1354" y="9"/>
                  <a:pt x="1354" y="9"/>
                </a:cubicBezTo>
                <a:cubicBezTo>
                  <a:pt x="1354" y="9"/>
                  <a:pt x="1354" y="9"/>
                  <a:pt x="1353" y="10"/>
                </a:cubicBezTo>
                <a:cubicBezTo>
                  <a:pt x="1353" y="10"/>
                  <a:pt x="1353" y="10"/>
                  <a:pt x="1353" y="10"/>
                </a:cubicBezTo>
                <a:cubicBezTo>
                  <a:pt x="1353" y="10"/>
                  <a:pt x="1353" y="10"/>
                  <a:pt x="1353" y="10"/>
                </a:cubicBezTo>
                <a:cubicBezTo>
                  <a:pt x="1353" y="10"/>
                  <a:pt x="1353" y="10"/>
                  <a:pt x="1353" y="10"/>
                </a:cubicBezTo>
                <a:cubicBezTo>
                  <a:pt x="1353" y="10"/>
                  <a:pt x="1352" y="10"/>
                  <a:pt x="1352" y="10"/>
                </a:cubicBezTo>
                <a:cubicBezTo>
                  <a:pt x="1352" y="10"/>
                  <a:pt x="1352" y="10"/>
                  <a:pt x="1352" y="10"/>
                </a:cubicBezTo>
                <a:cubicBezTo>
                  <a:pt x="1352" y="11"/>
                  <a:pt x="1352" y="10"/>
                  <a:pt x="1352" y="11"/>
                </a:cubicBezTo>
                <a:cubicBezTo>
                  <a:pt x="1352" y="11"/>
                  <a:pt x="1352" y="11"/>
                  <a:pt x="1352" y="11"/>
                </a:cubicBezTo>
                <a:cubicBezTo>
                  <a:pt x="1351" y="11"/>
                  <a:pt x="1351" y="11"/>
                  <a:pt x="1351" y="11"/>
                </a:cubicBezTo>
                <a:cubicBezTo>
                  <a:pt x="1351" y="11"/>
                  <a:pt x="1351" y="11"/>
                  <a:pt x="1351" y="11"/>
                </a:cubicBezTo>
                <a:cubicBezTo>
                  <a:pt x="1350" y="11"/>
                  <a:pt x="1350" y="12"/>
                  <a:pt x="1350" y="12"/>
                </a:cubicBezTo>
                <a:cubicBezTo>
                  <a:pt x="1350" y="12"/>
                  <a:pt x="1350" y="12"/>
                  <a:pt x="1350" y="12"/>
                </a:cubicBezTo>
                <a:cubicBezTo>
                  <a:pt x="1350" y="12"/>
                  <a:pt x="1350" y="12"/>
                  <a:pt x="1350" y="12"/>
                </a:cubicBezTo>
                <a:cubicBezTo>
                  <a:pt x="1350" y="12"/>
                  <a:pt x="1350" y="12"/>
                  <a:pt x="1350" y="12"/>
                </a:cubicBezTo>
                <a:cubicBezTo>
                  <a:pt x="1349" y="12"/>
                  <a:pt x="1349" y="12"/>
                  <a:pt x="1349" y="12"/>
                </a:cubicBezTo>
                <a:cubicBezTo>
                  <a:pt x="1349" y="12"/>
                  <a:pt x="1349" y="12"/>
                  <a:pt x="1349" y="12"/>
                </a:cubicBezTo>
                <a:cubicBezTo>
                  <a:pt x="1349" y="13"/>
                  <a:pt x="1349" y="13"/>
                  <a:pt x="1349" y="13"/>
                </a:cubicBezTo>
                <a:cubicBezTo>
                  <a:pt x="1349" y="13"/>
                  <a:pt x="1349" y="13"/>
                  <a:pt x="1349" y="13"/>
                </a:cubicBezTo>
                <a:cubicBezTo>
                  <a:pt x="1349" y="13"/>
                  <a:pt x="1348" y="13"/>
                  <a:pt x="1348" y="14"/>
                </a:cubicBezTo>
                <a:cubicBezTo>
                  <a:pt x="1348" y="14"/>
                  <a:pt x="1348" y="14"/>
                  <a:pt x="1348" y="14"/>
                </a:cubicBezTo>
                <a:cubicBezTo>
                  <a:pt x="1348" y="14"/>
                  <a:pt x="1348" y="14"/>
                  <a:pt x="1347" y="14"/>
                </a:cubicBezTo>
                <a:cubicBezTo>
                  <a:pt x="1348" y="14"/>
                  <a:pt x="1348" y="14"/>
                  <a:pt x="1348" y="14"/>
                </a:cubicBezTo>
                <a:cubicBezTo>
                  <a:pt x="1347" y="14"/>
                  <a:pt x="1347" y="14"/>
                  <a:pt x="1347" y="14"/>
                </a:cubicBezTo>
                <a:cubicBezTo>
                  <a:pt x="1347" y="14"/>
                  <a:pt x="1347" y="14"/>
                  <a:pt x="1347" y="14"/>
                </a:cubicBezTo>
                <a:cubicBezTo>
                  <a:pt x="1347" y="14"/>
                  <a:pt x="1347" y="14"/>
                  <a:pt x="1347" y="15"/>
                </a:cubicBezTo>
                <a:cubicBezTo>
                  <a:pt x="1347" y="15"/>
                  <a:pt x="1347" y="15"/>
                  <a:pt x="1347" y="15"/>
                </a:cubicBezTo>
                <a:cubicBezTo>
                  <a:pt x="1346" y="17"/>
                  <a:pt x="1347" y="19"/>
                  <a:pt x="1347" y="22"/>
                </a:cubicBezTo>
                <a:cubicBezTo>
                  <a:pt x="1347" y="23"/>
                  <a:pt x="1346" y="25"/>
                  <a:pt x="1347" y="26"/>
                </a:cubicBezTo>
                <a:cubicBezTo>
                  <a:pt x="1348" y="25"/>
                  <a:pt x="1349" y="24"/>
                  <a:pt x="1350" y="23"/>
                </a:cubicBezTo>
                <a:cubicBezTo>
                  <a:pt x="1350" y="23"/>
                  <a:pt x="1350" y="23"/>
                  <a:pt x="1350" y="23"/>
                </a:cubicBezTo>
                <a:cubicBezTo>
                  <a:pt x="1350" y="23"/>
                  <a:pt x="1350" y="23"/>
                  <a:pt x="1350" y="23"/>
                </a:cubicBezTo>
                <a:cubicBezTo>
                  <a:pt x="1350" y="23"/>
                  <a:pt x="1350" y="23"/>
                  <a:pt x="1350" y="23"/>
                </a:cubicBezTo>
                <a:cubicBezTo>
                  <a:pt x="1350" y="23"/>
                  <a:pt x="1350" y="23"/>
                  <a:pt x="1351" y="23"/>
                </a:cubicBezTo>
                <a:cubicBezTo>
                  <a:pt x="1351" y="23"/>
                  <a:pt x="1351" y="23"/>
                  <a:pt x="1351" y="23"/>
                </a:cubicBezTo>
                <a:cubicBezTo>
                  <a:pt x="1351" y="23"/>
                  <a:pt x="1351" y="23"/>
                  <a:pt x="1351" y="22"/>
                </a:cubicBezTo>
                <a:cubicBezTo>
                  <a:pt x="1351" y="22"/>
                  <a:pt x="1351" y="22"/>
                  <a:pt x="1351" y="22"/>
                </a:cubicBezTo>
                <a:cubicBezTo>
                  <a:pt x="1351" y="22"/>
                  <a:pt x="1351" y="22"/>
                  <a:pt x="1351" y="22"/>
                </a:cubicBezTo>
                <a:cubicBezTo>
                  <a:pt x="1351" y="22"/>
                  <a:pt x="1351" y="22"/>
                  <a:pt x="1351" y="22"/>
                </a:cubicBezTo>
                <a:cubicBezTo>
                  <a:pt x="1351" y="22"/>
                  <a:pt x="1352" y="22"/>
                  <a:pt x="1352" y="22"/>
                </a:cubicBezTo>
                <a:cubicBezTo>
                  <a:pt x="1352" y="22"/>
                  <a:pt x="1352" y="22"/>
                  <a:pt x="1352" y="22"/>
                </a:cubicBezTo>
                <a:cubicBezTo>
                  <a:pt x="1352" y="22"/>
                  <a:pt x="1352" y="22"/>
                  <a:pt x="1352" y="21"/>
                </a:cubicBezTo>
                <a:cubicBezTo>
                  <a:pt x="1352" y="21"/>
                  <a:pt x="1352" y="21"/>
                  <a:pt x="1352" y="21"/>
                </a:cubicBezTo>
                <a:cubicBezTo>
                  <a:pt x="1352" y="21"/>
                  <a:pt x="1353" y="21"/>
                  <a:pt x="1353" y="21"/>
                </a:cubicBezTo>
                <a:cubicBezTo>
                  <a:pt x="1353" y="21"/>
                  <a:pt x="1353" y="21"/>
                  <a:pt x="1353" y="21"/>
                </a:cubicBezTo>
                <a:cubicBezTo>
                  <a:pt x="1353" y="21"/>
                  <a:pt x="1353" y="21"/>
                  <a:pt x="1353" y="21"/>
                </a:cubicBezTo>
                <a:cubicBezTo>
                  <a:pt x="1353" y="21"/>
                  <a:pt x="1353" y="21"/>
                  <a:pt x="1353" y="21"/>
                </a:cubicBezTo>
                <a:cubicBezTo>
                  <a:pt x="1353" y="21"/>
                  <a:pt x="1354" y="21"/>
                  <a:pt x="1354" y="20"/>
                </a:cubicBezTo>
                <a:cubicBezTo>
                  <a:pt x="1354" y="20"/>
                  <a:pt x="1354" y="20"/>
                  <a:pt x="1354" y="20"/>
                </a:cubicBezTo>
                <a:cubicBezTo>
                  <a:pt x="1354" y="20"/>
                  <a:pt x="1354" y="20"/>
                  <a:pt x="1355" y="20"/>
                </a:cubicBezTo>
                <a:cubicBezTo>
                  <a:pt x="1355" y="20"/>
                  <a:pt x="1355" y="20"/>
                  <a:pt x="1355" y="20"/>
                </a:cubicBezTo>
                <a:cubicBezTo>
                  <a:pt x="1355" y="20"/>
                  <a:pt x="1355" y="20"/>
                  <a:pt x="1355" y="19"/>
                </a:cubicBezTo>
                <a:cubicBezTo>
                  <a:pt x="1355" y="19"/>
                  <a:pt x="1355" y="19"/>
                  <a:pt x="1355" y="19"/>
                </a:cubicBezTo>
                <a:cubicBezTo>
                  <a:pt x="1356" y="19"/>
                  <a:pt x="1356" y="19"/>
                  <a:pt x="1356" y="19"/>
                </a:cubicBezTo>
                <a:cubicBezTo>
                  <a:pt x="1356" y="19"/>
                  <a:pt x="1356" y="19"/>
                  <a:pt x="1356" y="19"/>
                </a:cubicBezTo>
                <a:cubicBezTo>
                  <a:pt x="1356" y="19"/>
                  <a:pt x="1356" y="19"/>
                  <a:pt x="1356" y="19"/>
                </a:cubicBezTo>
                <a:cubicBezTo>
                  <a:pt x="1356" y="19"/>
                  <a:pt x="1356" y="19"/>
                  <a:pt x="1356" y="19"/>
                </a:cubicBezTo>
                <a:cubicBezTo>
                  <a:pt x="1357" y="18"/>
                  <a:pt x="1357" y="19"/>
                  <a:pt x="1357" y="18"/>
                </a:cubicBezTo>
                <a:cubicBezTo>
                  <a:pt x="1357" y="18"/>
                  <a:pt x="1357" y="18"/>
                  <a:pt x="1357" y="18"/>
                </a:cubicBezTo>
                <a:cubicBezTo>
                  <a:pt x="1357" y="18"/>
                  <a:pt x="1358" y="18"/>
                  <a:pt x="1358" y="18"/>
                </a:cubicBezTo>
                <a:cubicBezTo>
                  <a:pt x="1358" y="18"/>
                  <a:pt x="1358" y="18"/>
                  <a:pt x="1358" y="18"/>
                </a:cubicBezTo>
                <a:cubicBezTo>
                  <a:pt x="1358" y="18"/>
                  <a:pt x="1358" y="18"/>
                  <a:pt x="1359" y="18"/>
                </a:cubicBezTo>
                <a:cubicBezTo>
                  <a:pt x="1359" y="18"/>
                  <a:pt x="1359" y="18"/>
                  <a:pt x="1359" y="18"/>
                </a:cubicBezTo>
                <a:cubicBezTo>
                  <a:pt x="1359" y="17"/>
                  <a:pt x="1359" y="17"/>
                  <a:pt x="1359" y="17"/>
                </a:cubicBezTo>
                <a:cubicBezTo>
                  <a:pt x="1359" y="17"/>
                  <a:pt x="1359" y="17"/>
                  <a:pt x="1359" y="17"/>
                </a:cubicBezTo>
                <a:cubicBezTo>
                  <a:pt x="1359" y="17"/>
                  <a:pt x="1360" y="17"/>
                  <a:pt x="1360" y="17"/>
                </a:cubicBezTo>
                <a:cubicBezTo>
                  <a:pt x="1360" y="17"/>
                  <a:pt x="1360" y="17"/>
                  <a:pt x="1360" y="17"/>
                </a:cubicBezTo>
                <a:cubicBezTo>
                  <a:pt x="1360" y="17"/>
                  <a:pt x="1360" y="17"/>
                  <a:pt x="1360" y="17"/>
                </a:cubicBezTo>
                <a:cubicBezTo>
                  <a:pt x="1360" y="17"/>
                  <a:pt x="1361" y="17"/>
                  <a:pt x="1361" y="17"/>
                </a:cubicBezTo>
                <a:cubicBezTo>
                  <a:pt x="1361" y="17"/>
                  <a:pt x="1361" y="17"/>
                  <a:pt x="1361" y="17"/>
                </a:cubicBezTo>
                <a:cubicBezTo>
                  <a:pt x="1361" y="16"/>
                  <a:pt x="1362" y="17"/>
                  <a:pt x="1362" y="16"/>
                </a:cubicBezTo>
                <a:cubicBezTo>
                  <a:pt x="1362" y="16"/>
                  <a:pt x="1362" y="16"/>
                  <a:pt x="1362" y="16"/>
                </a:cubicBezTo>
                <a:cubicBezTo>
                  <a:pt x="1362" y="16"/>
                  <a:pt x="1363" y="16"/>
                  <a:pt x="1363" y="16"/>
                </a:cubicBezTo>
                <a:cubicBezTo>
                  <a:pt x="1363" y="16"/>
                  <a:pt x="1363" y="16"/>
                  <a:pt x="1363" y="16"/>
                </a:cubicBezTo>
                <a:cubicBezTo>
                  <a:pt x="1363" y="16"/>
                  <a:pt x="1363" y="16"/>
                  <a:pt x="1363" y="16"/>
                </a:cubicBezTo>
                <a:cubicBezTo>
                  <a:pt x="1364" y="16"/>
                  <a:pt x="1364" y="16"/>
                  <a:pt x="1364" y="16"/>
                </a:cubicBezTo>
                <a:cubicBezTo>
                  <a:pt x="1365" y="15"/>
                  <a:pt x="1365" y="15"/>
                  <a:pt x="1365" y="15"/>
                </a:cubicBezTo>
                <a:cubicBezTo>
                  <a:pt x="1366" y="15"/>
                  <a:pt x="1366" y="16"/>
                  <a:pt x="1367" y="15"/>
                </a:cubicBezTo>
                <a:cubicBezTo>
                  <a:pt x="1367" y="15"/>
                  <a:pt x="1368" y="15"/>
                  <a:pt x="1368" y="15"/>
                </a:cubicBezTo>
                <a:cubicBezTo>
                  <a:pt x="1369" y="15"/>
                  <a:pt x="1369" y="15"/>
                  <a:pt x="1370" y="15"/>
                </a:cubicBezTo>
                <a:cubicBezTo>
                  <a:pt x="1371" y="15"/>
                  <a:pt x="1371" y="15"/>
                  <a:pt x="1371" y="15"/>
                </a:cubicBezTo>
                <a:cubicBezTo>
                  <a:pt x="1372" y="16"/>
                  <a:pt x="1373" y="15"/>
                  <a:pt x="1373" y="15"/>
                </a:cubicBezTo>
                <a:cubicBezTo>
                  <a:pt x="1373" y="15"/>
                  <a:pt x="1373" y="15"/>
                  <a:pt x="1373" y="15"/>
                </a:cubicBezTo>
                <a:cubicBezTo>
                  <a:pt x="1374" y="16"/>
                  <a:pt x="1374" y="16"/>
                  <a:pt x="1374" y="16"/>
                </a:cubicBezTo>
                <a:cubicBezTo>
                  <a:pt x="1374" y="16"/>
                  <a:pt x="1375" y="16"/>
                  <a:pt x="1375" y="16"/>
                </a:cubicBezTo>
                <a:cubicBezTo>
                  <a:pt x="1375" y="16"/>
                  <a:pt x="1375" y="16"/>
                  <a:pt x="1375" y="16"/>
                </a:cubicBezTo>
                <a:cubicBezTo>
                  <a:pt x="1375" y="16"/>
                  <a:pt x="1376" y="16"/>
                  <a:pt x="1376" y="16"/>
                </a:cubicBezTo>
                <a:cubicBezTo>
                  <a:pt x="1376" y="16"/>
                  <a:pt x="1376" y="16"/>
                  <a:pt x="1376" y="16"/>
                </a:cubicBezTo>
                <a:cubicBezTo>
                  <a:pt x="1376" y="17"/>
                  <a:pt x="1377" y="16"/>
                  <a:pt x="1377" y="17"/>
                </a:cubicBezTo>
                <a:cubicBezTo>
                  <a:pt x="1377" y="17"/>
                  <a:pt x="1377" y="17"/>
                  <a:pt x="1377" y="17"/>
                </a:cubicBezTo>
                <a:cubicBezTo>
                  <a:pt x="1377" y="17"/>
                  <a:pt x="1378" y="17"/>
                  <a:pt x="1378" y="17"/>
                </a:cubicBezTo>
                <a:cubicBezTo>
                  <a:pt x="1378" y="17"/>
                  <a:pt x="1378" y="17"/>
                  <a:pt x="1378" y="17"/>
                </a:cubicBezTo>
                <a:cubicBezTo>
                  <a:pt x="1378" y="17"/>
                  <a:pt x="1378" y="17"/>
                  <a:pt x="1378" y="17"/>
                </a:cubicBezTo>
                <a:cubicBezTo>
                  <a:pt x="1378" y="17"/>
                  <a:pt x="1378" y="17"/>
                  <a:pt x="1378" y="17"/>
                </a:cubicBezTo>
                <a:cubicBezTo>
                  <a:pt x="1379" y="17"/>
                  <a:pt x="1379" y="17"/>
                  <a:pt x="1379" y="18"/>
                </a:cubicBezTo>
                <a:cubicBezTo>
                  <a:pt x="1379" y="18"/>
                  <a:pt x="1379" y="18"/>
                  <a:pt x="1379" y="18"/>
                </a:cubicBezTo>
                <a:cubicBezTo>
                  <a:pt x="1379" y="18"/>
                  <a:pt x="1379" y="18"/>
                  <a:pt x="1380" y="18"/>
                </a:cubicBezTo>
                <a:cubicBezTo>
                  <a:pt x="1379" y="18"/>
                  <a:pt x="1379" y="18"/>
                  <a:pt x="1379" y="18"/>
                </a:cubicBezTo>
                <a:cubicBezTo>
                  <a:pt x="1380" y="18"/>
                  <a:pt x="1380" y="18"/>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1"/>
                  <a:pt x="1382" y="21"/>
                  <a:pt x="1383" y="21"/>
                </a:cubicBezTo>
                <a:cubicBezTo>
                  <a:pt x="1383" y="21"/>
                  <a:pt x="1383" y="21"/>
                  <a:pt x="1383" y="21"/>
                </a:cubicBezTo>
                <a:cubicBezTo>
                  <a:pt x="1383" y="21"/>
                  <a:pt x="1383" y="21"/>
                  <a:pt x="1383" y="21"/>
                </a:cubicBezTo>
                <a:cubicBezTo>
                  <a:pt x="1383" y="21"/>
                  <a:pt x="1383" y="21"/>
                  <a:pt x="1383" y="21"/>
                </a:cubicBezTo>
                <a:cubicBezTo>
                  <a:pt x="1383" y="21"/>
                  <a:pt x="1383" y="22"/>
                  <a:pt x="1383" y="22"/>
                </a:cubicBezTo>
                <a:cubicBezTo>
                  <a:pt x="1383" y="22"/>
                  <a:pt x="1383" y="22"/>
                  <a:pt x="1383" y="22"/>
                </a:cubicBezTo>
                <a:cubicBezTo>
                  <a:pt x="1383" y="22"/>
                  <a:pt x="1384" y="22"/>
                  <a:pt x="1384" y="22"/>
                </a:cubicBezTo>
                <a:cubicBezTo>
                  <a:pt x="1384" y="22"/>
                  <a:pt x="1384" y="22"/>
                  <a:pt x="1384" y="22"/>
                </a:cubicBezTo>
                <a:cubicBezTo>
                  <a:pt x="1384" y="22"/>
                  <a:pt x="1384" y="23"/>
                  <a:pt x="1384" y="23"/>
                </a:cubicBezTo>
                <a:cubicBezTo>
                  <a:pt x="1384" y="23"/>
                  <a:pt x="1384" y="23"/>
                  <a:pt x="1384" y="23"/>
                </a:cubicBezTo>
                <a:cubicBezTo>
                  <a:pt x="1384" y="23"/>
                  <a:pt x="1384" y="23"/>
                  <a:pt x="1384" y="24"/>
                </a:cubicBezTo>
                <a:cubicBezTo>
                  <a:pt x="1384" y="23"/>
                  <a:pt x="1384" y="23"/>
                  <a:pt x="1384" y="23"/>
                </a:cubicBezTo>
                <a:cubicBezTo>
                  <a:pt x="1385" y="24"/>
                  <a:pt x="1384" y="24"/>
                  <a:pt x="1385" y="24"/>
                </a:cubicBezTo>
                <a:cubicBezTo>
                  <a:pt x="1385" y="24"/>
                  <a:pt x="1385" y="24"/>
                  <a:pt x="1385" y="24"/>
                </a:cubicBezTo>
                <a:cubicBezTo>
                  <a:pt x="1385" y="24"/>
                  <a:pt x="1385" y="25"/>
                  <a:pt x="1385" y="25"/>
                </a:cubicBezTo>
                <a:cubicBezTo>
                  <a:pt x="1385" y="25"/>
                  <a:pt x="1385" y="25"/>
                  <a:pt x="1385" y="25"/>
                </a:cubicBezTo>
                <a:cubicBezTo>
                  <a:pt x="1385" y="25"/>
                  <a:pt x="1385" y="26"/>
                  <a:pt x="1385" y="26"/>
                </a:cubicBezTo>
                <a:cubicBezTo>
                  <a:pt x="1385" y="26"/>
                  <a:pt x="1385" y="26"/>
                  <a:pt x="1385" y="26"/>
                </a:cubicBezTo>
                <a:cubicBezTo>
                  <a:pt x="1386" y="26"/>
                  <a:pt x="1385" y="27"/>
                  <a:pt x="1386" y="27"/>
                </a:cubicBezTo>
                <a:cubicBezTo>
                  <a:pt x="1386" y="27"/>
                  <a:pt x="1386" y="27"/>
                  <a:pt x="1386" y="27"/>
                </a:cubicBezTo>
                <a:cubicBezTo>
                  <a:pt x="1386" y="28"/>
                  <a:pt x="1386" y="29"/>
                  <a:pt x="1386" y="29"/>
                </a:cubicBezTo>
                <a:cubicBezTo>
                  <a:pt x="1386" y="29"/>
                  <a:pt x="1386" y="29"/>
                  <a:pt x="1386" y="30"/>
                </a:cubicBezTo>
                <a:cubicBezTo>
                  <a:pt x="1386" y="31"/>
                  <a:pt x="1386" y="33"/>
                  <a:pt x="1386" y="35"/>
                </a:cubicBezTo>
                <a:cubicBezTo>
                  <a:pt x="1386" y="35"/>
                  <a:pt x="1386" y="35"/>
                  <a:pt x="1386" y="35"/>
                </a:cubicBezTo>
                <a:cubicBezTo>
                  <a:pt x="1386" y="36"/>
                  <a:pt x="1386" y="37"/>
                  <a:pt x="1386" y="37"/>
                </a:cubicBezTo>
                <a:close/>
                <a:moveTo>
                  <a:pt x="603" y="123"/>
                </a:moveTo>
                <a:cubicBezTo>
                  <a:pt x="603" y="124"/>
                  <a:pt x="603" y="124"/>
                  <a:pt x="603" y="123"/>
                </a:cubicBezTo>
                <a:cubicBezTo>
                  <a:pt x="601" y="124"/>
                  <a:pt x="600" y="124"/>
                  <a:pt x="599" y="123"/>
                </a:cubicBezTo>
                <a:cubicBezTo>
                  <a:pt x="599" y="124"/>
                  <a:pt x="599" y="124"/>
                  <a:pt x="598" y="123"/>
                </a:cubicBezTo>
                <a:cubicBezTo>
                  <a:pt x="598" y="123"/>
                  <a:pt x="597" y="123"/>
                  <a:pt x="597" y="123"/>
                </a:cubicBezTo>
                <a:cubicBezTo>
                  <a:pt x="597" y="123"/>
                  <a:pt x="597" y="123"/>
                  <a:pt x="597" y="123"/>
                </a:cubicBezTo>
                <a:cubicBezTo>
                  <a:pt x="596" y="123"/>
                  <a:pt x="596" y="123"/>
                  <a:pt x="596" y="123"/>
                </a:cubicBezTo>
                <a:cubicBezTo>
                  <a:pt x="596" y="123"/>
                  <a:pt x="596" y="123"/>
                  <a:pt x="596" y="123"/>
                </a:cubicBezTo>
                <a:cubicBezTo>
                  <a:pt x="595" y="122"/>
                  <a:pt x="594" y="123"/>
                  <a:pt x="594" y="123"/>
                </a:cubicBezTo>
                <a:cubicBezTo>
                  <a:pt x="594" y="126"/>
                  <a:pt x="594" y="129"/>
                  <a:pt x="594" y="132"/>
                </a:cubicBezTo>
                <a:cubicBezTo>
                  <a:pt x="594" y="132"/>
                  <a:pt x="594" y="132"/>
                  <a:pt x="595" y="132"/>
                </a:cubicBezTo>
                <a:cubicBezTo>
                  <a:pt x="595" y="132"/>
                  <a:pt x="595" y="132"/>
                  <a:pt x="595" y="132"/>
                </a:cubicBezTo>
                <a:cubicBezTo>
                  <a:pt x="595" y="133"/>
                  <a:pt x="595" y="133"/>
                  <a:pt x="595" y="133"/>
                </a:cubicBezTo>
                <a:cubicBezTo>
                  <a:pt x="596" y="133"/>
                  <a:pt x="596" y="133"/>
                  <a:pt x="597" y="133"/>
                </a:cubicBezTo>
                <a:cubicBezTo>
                  <a:pt x="597" y="133"/>
                  <a:pt x="597" y="133"/>
                  <a:pt x="597" y="133"/>
                </a:cubicBezTo>
                <a:cubicBezTo>
                  <a:pt x="600" y="133"/>
                  <a:pt x="602" y="133"/>
                  <a:pt x="605" y="133"/>
                </a:cubicBezTo>
                <a:cubicBezTo>
                  <a:pt x="605" y="133"/>
                  <a:pt x="605" y="133"/>
                  <a:pt x="605" y="133"/>
                </a:cubicBezTo>
                <a:cubicBezTo>
                  <a:pt x="605" y="133"/>
                  <a:pt x="605" y="133"/>
                  <a:pt x="605" y="133"/>
                </a:cubicBezTo>
                <a:cubicBezTo>
                  <a:pt x="606" y="132"/>
                  <a:pt x="606" y="133"/>
                  <a:pt x="607" y="132"/>
                </a:cubicBezTo>
                <a:cubicBezTo>
                  <a:pt x="607" y="132"/>
                  <a:pt x="607" y="132"/>
                  <a:pt x="607" y="132"/>
                </a:cubicBezTo>
                <a:cubicBezTo>
                  <a:pt x="607" y="132"/>
                  <a:pt x="607" y="132"/>
                  <a:pt x="608" y="132"/>
                </a:cubicBezTo>
                <a:cubicBezTo>
                  <a:pt x="608" y="132"/>
                  <a:pt x="608" y="132"/>
                  <a:pt x="608" y="132"/>
                </a:cubicBezTo>
                <a:cubicBezTo>
                  <a:pt x="608" y="132"/>
                  <a:pt x="608" y="132"/>
                  <a:pt x="608" y="132"/>
                </a:cubicBezTo>
                <a:cubicBezTo>
                  <a:pt x="608" y="132"/>
                  <a:pt x="609" y="132"/>
                  <a:pt x="609" y="132"/>
                </a:cubicBezTo>
                <a:cubicBezTo>
                  <a:pt x="609" y="132"/>
                  <a:pt x="609" y="132"/>
                  <a:pt x="609" y="132"/>
                </a:cubicBezTo>
                <a:cubicBezTo>
                  <a:pt x="609" y="132"/>
                  <a:pt x="609" y="132"/>
                  <a:pt x="609" y="131"/>
                </a:cubicBezTo>
                <a:cubicBezTo>
                  <a:pt x="610" y="131"/>
                  <a:pt x="610" y="131"/>
                  <a:pt x="610" y="131"/>
                </a:cubicBezTo>
                <a:cubicBezTo>
                  <a:pt x="610" y="131"/>
                  <a:pt x="610" y="131"/>
                  <a:pt x="610" y="131"/>
                </a:cubicBezTo>
                <a:cubicBezTo>
                  <a:pt x="610" y="131"/>
                  <a:pt x="610" y="131"/>
                  <a:pt x="610" y="131"/>
                </a:cubicBezTo>
                <a:cubicBezTo>
                  <a:pt x="610" y="131"/>
                  <a:pt x="610" y="131"/>
                  <a:pt x="610" y="131"/>
                </a:cubicBezTo>
                <a:cubicBezTo>
                  <a:pt x="611" y="131"/>
                  <a:pt x="611" y="131"/>
                  <a:pt x="611" y="131"/>
                </a:cubicBezTo>
                <a:cubicBezTo>
                  <a:pt x="611" y="131"/>
                  <a:pt x="611" y="131"/>
                  <a:pt x="611" y="131"/>
                </a:cubicBezTo>
                <a:cubicBezTo>
                  <a:pt x="611" y="131"/>
                  <a:pt x="611" y="131"/>
                  <a:pt x="611" y="131"/>
                </a:cubicBezTo>
                <a:cubicBezTo>
                  <a:pt x="611" y="131"/>
                  <a:pt x="611" y="131"/>
                  <a:pt x="612" y="130"/>
                </a:cubicBezTo>
                <a:cubicBezTo>
                  <a:pt x="612" y="130"/>
                  <a:pt x="612" y="130"/>
                  <a:pt x="612" y="130"/>
                </a:cubicBezTo>
                <a:cubicBezTo>
                  <a:pt x="612" y="130"/>
                  <a:pt x="612" y="130"/>
                  <a:pt x="612" y="130"/>
                </a:cubicBezTo>
                <a:cubicBezTo>
                  <a:pt x="612" y="130"/>
                  <a:pt x="612" y="130"/>
                  <a:pt x="612" y="130"/>
                </a:cubicBezTo>
                <a:cubicBezTo>
                  <a:pt x="612" y="130"/>
                  <a:pt x="612" y="130"/>
                  <a:pt x="613" y="130"/>
                </a:cubicBezTo>
                <a:cubicBezTo>
                  <a:pt x="613" y="130"/>
                  <a:pt x="613" y="130"/>
                  <a:pt x="613" y="130"/>
                </a:cubicBezTo>
                <a:cubicBezTo>
                  <a:pt x="613" y="129"/>
                  <a:pt x="613" y="130"/>
                  <a:pt x="613" y="129"/>
                </a:cubicBezTo>
                <a:cubicBezTo>
                  <a:pt x="613" y="129"/>
                  <a:pt x="613" y="129"/>
                  <a:pt x="613" y="129"/>
                </a:cubicBezTo>
                <a:cubicBezTo>
                  <a:pt x="613" y="129"/>
                  <a:pt x="614" y="129"/>
                  <a:pt x="614" y="129"/>
                </a:cubicBezTo>
                <a:cubicBezTo>
                  <a:pt x="614" y="129"/>
                  <a:pt x="614" y="129"/>
                  <a:pt x="614" y="129"/>
                </a:cubicBezTo>
                <a:cubicBezTo>
                  <a:pt x="614" y="129"/>
                  <a:pt x="614" y="129"/>
                  <a:pt x="614" y="129"/>
                </a:cubicBezTo>
                <a:cubicBezTo>
                  <a:pt x="614" y="129"/>
                  <a:pt x="614" y="129"/>
                  <a:pt x="614" y="129"/>
                </a:cubicBezTo>
                <a:cubicBezTo>
                  <a:pt x="614" y="128"/>
                  <a:pt x="615" y="128"/>
                  <a:pt x="615" y="128"/>
                </a:cubicBezTo>
                <a:cubicBezTo>
                  <a:pt x="615" y="128"/>
                  <a:pt x="615" y="128"/>
                  <a:pt x="615" y="128"/>
                </a:cubicBezTo>
                <a:cubicBezTo>
                  <a:pt x="615" y="128"/>
                  <a:pt x="615" y="128"/>
                  <a:pt x="615" y="128"/>
                </a:cubicBezTo>
                <a:cubicBezTo>
                  <a:pt x="615" y="128"/>
                  <a:pt x="615" y="128"/>
                  <a:pt x="615" y="128"/>
                </a:cubicBezTo>
                <a:cubicBezTo>
                  <a:pt x="616" y="128"/>
                  <a:pt x="616" y="127"/>
                  <a:pt x="616" y="127"/>
                </a:cubicBezTo>
                <a:cubicBezTo>
                  <a:pt x="616" y="127"/>
                  <a:pt x="616" y="127"/>
                  <a:pt x="616" y="127"/>
                </a:cubicBezTo>
                <a:cubicBezTo>
                  <a:pt x="616" y="127"/>
                  <a:pt x="616" y="127"/>
                  <a:pt x="616" y="127"/>
                </a:cubicBezTo>
                <a:cubicBezTo>
                  <a:pt x="616" y="127"/>
                  <a:pt x="616" y="127"/>
                  <a:pt x="616" y="127"/>
                </a:cubicBezTo>
                <a:cubicBezTo>
                  <a:pt x="616" y="127"/>
                  <a:pt x="616" y="127"/>
                  <a:pt x="616" y="126"/>
                </a:cubicBezTo>
                <a:cubicBezTo>
                  <a:pt x="616" y="127"/>
                  <a:pt x="616" y="127"/>
                  <a:pt x="616" y="127"/>
                </a:cubicBezTo>
                <a:cubicBezTo>
                  <a:pt x="617" y="126"/>
                  <a:pt x="617" y="126"/>
                  <a:pt x="617" y="126"/>
                </a:cubicBezTo>
                <a:cubicBezTo>
                  <a:pt x="617" y="126"/>
                  <a:pt x="617" y="126"/>
                  <a:pt x="617" y="126"/>
                </a:cubicBezTo>
                <a:cubicBezTo>
                  <a:pt x="617" y="126"/>
                  <a:pt x="617" y="126"/>
                  <a:pt x="617" y="126"/>
                </a:cubicBezTo>
                <a:cubicBezTo>
                  <a:pt x="617" y="126"/>
                  <a:pt x="617" y="126"/>
                  <a:pt x="617" y="126"/>
                </a:cubicBezTo>
                <a:cubicBezTo>
                  <a:pt x="617" y="126"/>
                  <a:pt x="618" y="125"/>
                  <a:pt x="618" y="125"/>
                </a:cubicBezTo>
                <a:cubicBezTo>
                  <a:pt x="618" y="125"/>
                  <a:pt x="618" y="125"/>
                  <a:pt x="618" y="125"/>
                </a:cubicBezTo>
                <a:cubicBezTo>
                  <a:pt x="618" y="125"/>
                  <a:pt x="618" y="125"/>
                  <a:pt x="618" y="124"/>
                </a:cubicBezTo>
                <a:cubicBezTo>
                  <a:pt x="618" y="124"/>
                  <a:pt x="618" y="124"/>
                  <a:pt x="618" y="124"/>
                </a:cubicBezTo>
                <a:cubicBezTo>
                  <a:pt x="618" y="124"/>
                  <a:pt x="618" y="124"/>
                  <a:pt x="618" y="124"/>
                </a:cubicBezTo>
                <a:cubicBezTo>
                  <a:pt x="618" y="124"/>
                  <a:pt x="618" y="124"/>
                  <a:pt x="618" y="124"/>
                </a:cubicBezTo>
                <a:cubicBezTo>
                  <a:pt x="619" y="124"/>
                  <a:pt x="619" y="123"/>
                  <a:pt x="619" y="123"/>
                </a:cubicBezTo>
                <a:cubicBezTo>
                  <a:pt x="619" y="123"/>
                  <a:pt x="619" y="123"/>
                  <a:pt x="619" y="123"/>
                </a:cubicBezTo>
                <a:cubicBezTo>
                  <a:pt x="619" y="123"/>
                  <a:pt x="619" y="123"/>
                  <a:pt x="620" y="123"/>
                </a:cubicBezTo>
                <a:cubicBezTo>
                  <a:pt x="619" y="123"/>
                  <a:pt x="619" y="123"/>
                  <a:pt x="619" y="123"/>
                </a:cubicBezTo>
                <a:cubicBezTo>
                  <a:pt x="620" y="123"/>
                  <a:pt x="620" y="122"/>
                  <a:pt x="620" y="122"/>
                </a:cubicBezTo>
                <a:cubicBezTo>
                  <a:pt x="620" y="122"/>
                  <a:pt x="620" y="122"/>
                  <a:pt x="620" y="122"/>
                </a:cubicBezTo>
                <a:cubicBezTo>
                  <a:pt x="620" y="122"/>
                  <a:pt x="620" y="122"/>
                  <a:pt x="620" y="122"/>
                </a:cubicBezTo>
                <a:cubicBezTo>
                  <a:pt x="620" y="122"/>
                  <a:pt x="620" y="122"/>
                  <a:pt x="620" y="122"/>
                </a:cubicBezTo>
                <a:cubicBezTo>
                  <a:pt x="621" y="122"/>
                  <a:pt x="620" y="121"/>
                  <a:pt x="621" y="121"/>
                </a:cubicBezTo>
                <a:cubicBezTo>
                  <a:pt x="621" y="121"/>
                  <a:pt x="621" y="121"/>
                  <a:pt x="621" y="121"/>
                </a:cubicBezTo>
                <a:cubicBezTo>
                  <a:pt x="621" y="121"/>
                  <a:pt x="621" y="120"/>
                  <a:pt x="621" y="120"/>
                </a:cubicBezTo>
                <a:cubicBezTo>
                  <a:pt x="621" y="120"/>
                  <a:pt x="621" y="120"/>
                  <a:pt x="621" y="120"/>
                </a:cubicBezTo>
                <a:cubicBezTo>
                  <a:pt x="621" y="120"/>
                  <a:pt x="621" y="120"/>
                  <a:pt x="621" y="120"/>
                </a:cubicBezTo>
                <a:cubicBezTo>
                  <a:pt x="621" y="120"/>
                  <a:pt x="621" y="120"/>
                  <a:pt x="621" y="120"/>
                </a:cubicBezTo>
                <a:cubicBezTo>
                  <a:pt x="622" y="120"/>
                  <a:pt x="621" y="119"/>
                  <a:pt x="622" y="119"/>
                </a:cubicBezTo>
                <a:cubicBezTo>
                  <a:pt x="622" y="119"/>
                  <a:pt x="622" y="119"/>
                  <a:pt x="622" y="119"/>
                </a:cubicBezTo>
                <a:cubicBezTo>
                  <a:pt x="622" y="119"/>
                  <a:pt x="622" y="119"/>
                  <a:pt x="622" y="119"/>
                </a:cubicBezTo>
                <a:cubicBezTo>
                  <a:pt x="622" y="119"/>
                  <a:pt x="622" y="119"/>
                  <a:pt x="622" y="119"/>
                </a:cubicBezTo>
                <a:cubicBezTo>
                  <a:pt x="622" y="118"/>
                  <a:pt x="622" y="118"/>
                  <a:pt x="622" y="118"/>
                </a:cubicBezTo>
                <a:cubicBezTo>
                  <a:pt x="622" y="118"/>
                  <a:pt x="622" y="118"/>
                  <a:pt x="622" y="118"/>
                </a:cubicBezTo>
                <a:cubicBezTo>
                  <a:pt x="623" y="118"/>
                  <a:pt x="622" y="117"/>
                  <a:pt x="623" y="117"/>
                </a:cubicBezTo>
                <a:cubicBezTo>
                  <a:pt x="623" y="117"/>
                  <a:pt x="623" y="117"/>
                  <a:pt x="623" y="117"/>
                </a:cubicBezTo>
                <a:cubicBezTo>
                  <a:pt x="623" y="117"/>
                  <a:pt x="623" y="117"/>
                  <a:pt x="623" y="116"/>
                </a:cubicBezTo>
                <a:cubicBezTo>
                  <a:pt x="623" y="116"/>
                  <a:pt x="623" y="116"/>
                  <a:pt x="623" y="116"/>
                </a:cubicBezTo>
                <a:cubicBezTo>
                  <a:pt x="623" y="116"/>
                  <a:pt x="623" y="116"/>
                  <a:pt x="623" y="116"/>
                </a:cubicBezTo>
                <a:cubicBezTo>
                  <a:pt x="623" y="116"/>
                  <a:pt x="623" y="116"/>
                  <a:pt x="623" y="116"/>
                </a:cubicBezTo>
                <a:cubicBezTo>
                  <a:pt x="624" y="116"/>
                  <a:pt x="624" y="115"/>
                  <a:pt x="624" y="115"/>
                </a:cubicBezTo>
                <a:cubicBezTo>
                  <a:pt x="624" y="115"/>
                  <a:pt x="624" y="115"/>
                  <a:pt x="624" y="115"/>
                </a:cubicBezTo>
                <a:cubicBezTo>
                  <a:pt x="624" y="115"/>
                  <a:pt x="624" y="115"/>
                  <a:pt x="624" y="114"/>
                </a:cubicBezTo>
                <a:cubicBezTo>
                  <a:pt x="624" y="114"/>
                  <a:pt x="624" y="114"/>
                  <a:pt x="624" y="114"/>
                </a:cubicBezTo>
                <a:cubicBezTo>
                  <a:pt x="624" y="114"/>
                  <a:pt x="624" y="114"/>
                  <a:pt x="624" y="114"/>
                </a:cubicBezTo>
                <a:cubicBezTo>
                  <a:pt x="624" y="113"/>
                  <a:pt x="624" y="113"/>
                  <a:pt x="624" y="113"/>
                </a:cubicBezTo>
                <a:cubicBezTo>
                  <a:pt x="624" y="113"/>
                  <a:pt x="624" y="113"/>
                  <a:pt x="624" y="113"/>
                </a:cubicBezTo>
                <a:cubicBezTo>
                  <a:pt x="625" y="113"/>
                  <a:pt x="625" y="113"/>
                  <a:pt x="625" y="113"/>
                </a:cubicBezTo>
                <a:cubicBezTo>
                  <a:pt x="625" y="113"/>
                  <a:pt x="625" y="113"/>
                  <a:pt x="625" y="113"/>
                </a:cubicBezTo>
                <a:cubicBezTo>
                  <a:pt x="625" y="112"/>
                  <a:pt x="625" y="112"/>
                  <a:pt x="625" y="112"/>
                </a:cubicBezTo>
                <a:cubicBezTo>
                  <a:pt x="625" y="112"/>
                  <a:pt x="625" y="112"/>
                  <a:pt x="625" y="112"/>
                </a:cubicBezTo>
                <a:cubicBezTo>
                  <a:pt x="625" y="112"/>
                  <a:pt x="625" y="112"/>
                  <a:pt x="625" y="112"/>
                </a:cubicBezTo>
                <a:cubicBezTo>
                  <a:pt x="625" y="111"/>
                  <a:pt x="625" y="111"/>
                  <a:pt x="625" y="111"/>
                </a:cubicBezTo>
                <a:cubicBezTo>
                  <a:pt x="625" y="111"/>
                  <a:pt x="625" y="111"/>
                  <a:pt x="625" y="111"/>
                </a:cubicBezTo>
                <a:cubicBezTo>
                  <a:pt x="626" y="111"/>
                  <a:pt x="626" y="110"/>
                  <a:pt x="626" y="110"/>
                </a:cubicBezTo>
                <a:cubicBezTo>
                  <a:pt x="626" y="110"/>
                  <a:pt x="626" y="110"/>
                  <a:pt x="626" y="110"/>
                </a:cubicBezTo>
                <a:cubicBezTo>
                  <a:pt x="626" y="110"/>
                  <a:pt x="626" y="110"/>
                  <a:pt x="626" y="110"/>
                </a:cubicBezTo>
                <a:cubicBezTo>
                  <a:pt x="626" y="110"/>
                  <a:pt x="626" y="109"/>
                  <a:pt x="626" y="109"/>
                </a:cubicBezTo>
                <a:cubicBezTo>
                  <a:pt x="626" y="109"/>
                  <a:pt x="626" y="109"/>
                  <a:pt x="626" y="109"/>
                </a:cubicBezTo>
                <a:cubicBezTo>
                  <a:pt x="626" y="109"/>
                  <a:pt x="626" y="109"/>
                  <a:pt x="626" y="108"/>
                </a:cubicBezTo>
                <a:cubicBezTo>
                  <a:pt x="626" y="108"/>
                  <a:pt x="626" y="108"/>
                  <a:pt x="626" y="108"/>
                </a:cubicBezTo>
                <a:cubicBezTo>
                  <a:pt x="627" y="108"/>
                  <a:pt x="627" y="108"/>
                  <a:pt x="627" y="108"/>
                </a:cubicBezTo>
                <a:cubicBezTo>
                  <a:pt x="627" y="108"/>
                  <a:pt x="627" y="108"/>
                  <a:pt x="627" y="107"/>
                </a:cubicBezTo>
                <a:cubicBezTo>
                  <a:pt x="627" y="107"/>
                  <a:pt x="627" y="107"/>
                  <a:pt x="627" y="107"/>
                </a:cubicBezTo>
                <a:cubicBezTo>
                  <a:pt x="627" y="107"/>
                  <a:pt x="627" y="107"/>
                  <a:pt x="627" y="106"/>
                </a:cubicBezTo>
                <a:cubicBezTo>
                  <a:pt x="627" y="106"/>
                  <a:pt x="627" y="106"/>
                  <a:pt x="627" y="106"/>
                </a:cubicBezTo>
                <a:cubicBezTo>
                  <a:pt x="627" y="106"/>
                  <a:pt x="627" y="106"/>
                  <a:pt x="628" y="106"/>
                </a:cubicBezTo>
                <a:cubicBezTo>
                  <a:pt x="628" y="106"/>
                  <a:pt x="628" y="106"/>
                  <a:pt x="628" y="106"/>
                </a:cubicBezTo>
                <a:cubicBezTo>
                  <a:pt x="628" y="105"/>
                  <a:pt x="628" y="105"/>
                  <a:pt x="628" y="105"/>
                </a:cubicBezTo>
                <a:cubicBezTo>
                  <a:pt x="628" y="105"/>
                  <a:pt x="628" y="105"/>
                  <a:pt x="628" y="105"/>
                </a:cubicBezTo>
                <a:cubicBezTo>
                  <a:pt x="628" y="104"/>
                  <a:pt x="628" y="104"/>
                  <a:pt x="628" y="104"/>
                </a:cubicBezTo>
                <a:cubicBezTo>
                  <a:pt x="628" y="104"/>
                  <a:pt x="628" y="104"/>
                  <a:pt x="628" y="104"/>
                </a:cubicBezTo>
                <a:cubicBezTo>
                  <a:pt x="629" y="104"/>
                  <a:pt x="628" y="103"/>
                  <a:pt x="629" y="103"/>
                </a:cubicBezTo>
                <a:cubicBezTo>
                  <a:pt x="629" y="103"/>
                  <a:pt x="629" y="103"/>
                  <a:pt x="629" y="103"/>
                </a:cubicBezTo>
                <a:cubicBezTo>
                  <a:pt x="629" y="103"/>
                  <a:pt x="629" y="102"/>
                  <a:pt x="629" y="102"/>
                </a:cubicBezTo>
                <a:cubicBezTo>
                  <a:pt x="629" y="102"/>
                  <a:pt x="629" y="102"/>
                  <a:pt x="629" y="102"/>
                </a:cubicBezTo>
                <a:cubicBezTo>
                  <a:pt x="629" y="102"/>
                  <a:pt x="629" y="101"/>
                  <a:pt x="629" y="101"/>
                </a:cubicBezTo>
                <a:cubicBezTo>
                  <a:pt x="629" y="101"/>
                  <a:pt x="629" y="101"/>
                  <a:pt x="629" y="101"/>
                </a:cubicBezTo>
                <a:cubicBezTo>
                  <a:pt x="630" y="101"/>
                  <a:pt x="630" y="101"/>
                  <a:pt x="630" y="100"/>
                </a:cubicBezTo>
                <a:cubicBezTo>
                  <a:pt x="630" y="100"/>
                  <a:pt x="630" y="100"/>
                  <a:pt x="630" y="100"/>
                </a:cubicBezTo>
                <a:cubicBezTo>
                  <a:pt x="630" y="100"/>
                  <a:pt x="630" y="100"/>
                  <a:pt x="630" y="99"/>
                </a:cubicBezTo>
                <a:cubicBezTo>
                  <a:pt x="630" y="99"/>
                  <a:pt x="630" y="99"/>
                  <a:pt x="630" y="99"/>
                </a:cubicBezTo>
                <a:cubicBezTo>
                  <a:pt x="630" y="99"/>
                  <a:pt x="630" y="99"/>
                  <a:pt x="630" y="99"/>
                </a:cubicBezTo>
                <a:cubicBezTo>
                  <a:pt x="630" y="99"/>
                  <a:pt x="630" y="98"/>
                  <a:pt x="630" y="98"/>
                </a:cubicBezTo>
                <a:cubicBezTo>
                  <a:pt x="631" y="98"/>
                  <a:pt x="631" y="98"/>
                  <a:pt x="631" y="98"/>
                </a:cubicBezTo>
                <a:cubicBezTo>
                  <a:pt x="631" y="98"/>
                  <a:pt x="631" y="98"/>
                  <a:pt x="631" y="98"/>
                </a:cubicBezTo>
                <a:cubicBezTo>
                  <a:pt x="631" y="97"/>
                  <a:pt x="631" y="97"/>
                  <a:pt x="631" y="97"/>
                </a:cubicBezTo>
                <a:cubicBezTo>
                  <a:pt x="631" y="97"/>
                  <a:pt x="631" y="97"/>
                  <a:pt x="631" y="97"/>
                </a:cubicBezTo>
                <a:cubicBezTo>
                  <a:pt x="631" y="96"/>
                  <a:pt x="631" y="96"/>
                  <a:pt x="631" y="96"/>
                </a:cubicBezTo>
                <a:cubicBezTo>
                  <a:pt x="631" y="96"/>
                  <a:pt x="631" y="96"/>
                  <a:pt x="631" y="96"/>
                </a:cubicBezTo>
                <a:cubicBezTo>
                  <a:pt x="632" y="96"/>
                  <a:pt x="632" y="95"/>
                  <a:pt x="632" y="95"/>
                </a:cubicBezTo>
                <a:cubicBezTo>
                  <a:pt x="632" y="95"/>
                  <a:pt x="632" y="95"/>
                  <a:pt x="632" y="95"/>
                </a:cubicBezTo>
                <a:cubicBezTo>
                  <a:pt x="632" y="95"/>
                  <a:pt x="632" y="95"/>
                  <a:pt x="632" y="95"/>
                </a:cubicBezTo>
                <a:cubicBezTo>
                  <a:pt x="632" y="95"/>
                  <a:pt x="632" y="94"/>
                  <a:pt x="632" y="94"/>
                </a:cubicBezTo>
                <a:cubicBezTo>
                  <a:pt x="632" y="94"/>
                  <a:pt x="632" y="94"/>
                  <a:pt x="632" y="94"/>
                </a:cubicBezTo>
                <a:cubicBezTo>
                  <a:pt x="632" y="94"/>
                  <a:pt x="632" y="94"/>
                  <a:pt x="632" y="93"/>
                </a:cubicBezTo>
                <a:cubicBezTo>
                  <a:pt x="632" y="93"/>
                  <a:pt x="632" y="93"/>
                  <a:pt x="632" y="93"/>
                </a:cubicBezTo>
                <a:cubicBezTo>
                  <a:pt x="632" y="93"/>
                  <a:pt x="632" y="93"/>
                  <a:pt x="632" y="93"/>
                </a:cubicBezTo>
                <a:cubicBezTo>
                  <a:pt x="633" y="93"/>
                  <a:pt x="633" y="93"/>
                  <a:pt x="633" y="92"/>
                </a:cubicBezTo>
                <a:cubicBezTo>
                  <a:pt x="633" y="92"/>
                  <a:pt x="633" y="92"/>
                  <a:pt x="633" y="92"/>
                </a:cubicBezTo>
                <a:cubicBezTo>
                  <a:pt x="633" y="92"/>
                  <a:pt x="633" y="92"/>
                  <a:pt x="633" y="92"/>
                </a:cubicBezTo>
                <a:cubicBezTo>
                  <a:pt x="633" y="91"/>
                  <a:pt x="633" y="91"/>
                  <a:pt x="633" y="91"/>
                </a:cubicBezTo>
                <a:cubicBezTo>
                  <a:pt x="633" y="91"/>
                  <a:pt x="633" y="91"/>
                  <a:pt x="633" y="91"/>
                </a:cubicBezTo>
                <a:cubicBezTo>
                  <a:pt x="633" y="91"/>
                  <a:pt x="633" y="91"/>
                  <a:pt x="633" y="91"/>
                </a:cubicBezTo>
                <a:cubicBezTo>
                  <a:pt x="633" y="91"/>
                  <a:pt x="633" y="91"/>
                  <a:pt x="633" y="91"/>
                </a:cubicBezTo>
                <a:cubicBezTo>
                  <a:pt x="634" y="90"/>
                  <a:pt x="634" y="90"/>
                  <a:pt x="634" y="90"/>
                </a:cubicBezTo>
                <a:cubicBezTo>
                  <a:pt x="634" y="90"/>
                  <a:pt x="634" y="90"/>
                  <a:pt x="634" y="90"/>
                </a:cubicBezTo>
                <a:cubicBezTo>
                  <a:pt x="634" y="90"/>
                  <a:pt x="634" y="90"/>
                  <a:pt x="634" y="90"/>
                </a:cubicBezTo>
                <a:cubicBezTo>
                  <a:pt x="634" y="89"/>
                  <a:pt x="634" y="89"/>
                  <a:pt x="634" y="89"/>
                </a:cubicBezTo>
                <a:cubicBezTo>
                  <a:pt x="634" y="89"/>
                  <a:pt x="634" y="89"/>
                  <a:pt x="634" y="89"/>
                </a:cubicBezTo>
                <a:cubicBezTo>
                  <a:pt x="634" y="89"/>
                  <a:pt x="634" y="88"/>
                  <a:pt x="634" y="88"/>
                </a:cubicBezTo>
                <a:cubicBezTo>
                  <a:pt x="634" y="88"/>
                  <a:pt x="634" y="88"/>
                  <a:pt x="634" y="88"/>
                </a:cubicBezTo>
                <a:cubicBezTo>
                  <a:pt x="635" y="88"/>
                  <a:pt x="635" y="88"/>
                  <a:pt x="635" y="88"/>
                </a:cubicBezTo>
                <a:cubicBezTo>
                  <a:pt x="635" y="88"/>
                  <a:pt x="635" y="87"/>
                  <a:pt x="635" y="87"/>
                </a:cubicBezTo>
                <a:cubicBezTo>
                  <a:pt x="635" y="87"/>
                  <a:pt x="635" y="87"/>
                  <a:pt x="635" y="87"/>
                </a:cubicBezTo>
                <a:cubicBezTo>
                  <a:pt x="635" y="87"/>
                  <a:pt x="635" y="86"/>
                  <a:pt x="635" y="86"/>
                </a:cubicBezTo>
                <a:cubicBezTo>
                  <a:pt x="635" y="86"/>
                  <a:pt x="635" y="86"/>
                  <a:pt x="635" y="86"/>
                </a:cubicBezTo>
                <a:cubicBezTo>
                  <a:pt x="635" y="86"/>
                  <a:pt x="635" y="86"/>
                  <a:pt x="636" y="85"/>
                </a:cubicBezTo>
                <a:cubicBezTo>
                  <a:pt x="636" y="85"/>
                  <a:pt x="636" y="85"/>
                  <a:pt x="636" y="85"/>
                </a:cubicBezTo>
                <a:cubicBezTo>
                  <a:pt x="636" y="85"/>
                  <a:pt x="636" y="85"/>
                  <a:pt x="636" y="84"/>
                </a:cubicBezTo>
                <a:cubicBezTo>
                  <a:pt x="636" y="84"/>
                  <a:pt x="636" y="84"/>
                  <a:pt x="636" y="84"/>
                </a:cubicBezTo>
                <a:cubicBezTo>
                  <a:pt x="636" y="84"/>
                  <a:pt x="636" y="84"/>
                  <a:pt x="636" y="84"/>
                </a:cubicBezTo>
                <a:cubicBezTo>
                  <a:pt x="636" y="84"/>
                  <a:pt x="636" y="84"/>
                  <a:pt x="636" y="84"/>
                </a:cubicBezTo>
                <a:cubicBezTo>
                  <a:pt x="637" y="83"/>
                  <a:pt x="636" y="83"/>
                  <a:pt x="637" y="83"/>
                </a:cubicBezTo>
                <a:cubicBezTo>
                  <a:pt x="637" y="83"/>
                  <a:pt x="637" y="83"/>
                  <a:pt x="637" y="83"/>
                </a:cubicBezTo>
                <a:cubicBezTo>
                  <a:pt x="637" y="83"/>
                  <a:pt x="637" y="82"/>
                  <a:pt x="637" y="82"/>
                </a:cubicBezTo>
                <a:cubicBezTo>
                  <a:pt x="637" y="82"/>
                  <a:pt x="637" y="82"/>
                  <a:pt x="637" y="82"/>
                </a:cubicBezTo>
                <a:cubicBezTo>
                  <a:pt x="637" y="82"/>
                  <a:pt x="637" y="81"/>
                  <a:pt x="637" y="81"/>
                </a:cubicBezTo>
                <a:cubicBezTo>
                  <a:pt x="637" y="81"/>
                  <a:pt x="637" y="81"/>
                  <a:pt x="637" y="81"/>
                </a:cubicBezTo>
                <a:cubicBezTo>
                  <a:pt x="638" y="81"/>
                  <a:pt x="638" y="80"/>
                  <a:pt x="638" y="80"/>
                </a:cubicBezTo>
                <a:cubicBezTo>
                  <a:pt x="638" y="80"/>
                  <a:pt x="638" y="80"/>
                  <a:pt x="638" y="80"/>
                </a:cubicBezTo>
                <a:cubicBezTo>
                  <a:pt x="638" y="80"/>
                  <a:pt x="638" y="79"/>
                  <a:pt x="638" y="79"/>
                </a:cubicBezTo>
                <a:cubicBezTo>
                  <a:pt x="638" y="79"/>
                  <a:pt x="638" y="79"/>
                  <a:pt x="638" y="79"/>
                </a:cubicBezTo>
                <a:cubicBezTo>
                  <a:pt x="638" y="79"/>
                  <a:pt x="638" y="79"/>
                  <a:pt x="638" y="78"/>
                </a:cubicBezTo>
                <a:cubicBezTo>
                  <a:pt x="638" y="78"/>
                  <a:pt x="638" y="78"/>
                  <a:pt x="638" y="78"/>
                </a:cubicBezTo>
                <a:cubicBezTo>
                  <a:pt x="639" y="78"/>
                  <a:pt x="639" y="78"/>
                  <a:pt x="639" y="77"/>
                </a:cubicBezTo>
                <a:cubicBezTo>
                  <a:pt x="639" y="77"/>
                  <a:pt x="639" y="77"/>
                  <a:pt x="639" y="77"/>
                </a:cubicBezTo>
                <a:cubicBezTo>
                  <a:pt x="639" y="77"/>
                  <a:pt x="639" y="77"/>
                  <a:pt x="639" y="77"/>
                </a:cubicBezTo>
                <a:cubicBezTo>
                  <a:pt x="639" y="77"/>
                  <a:pt x="639" y="76"/>
                  <a:pt x="639" y="76"/>
                </a:cubicBezTo>
                <a:cubicBezTo>
                  <a:pt x="639" y="76"/>
                  <a:pt x="639" y="76"/>
                  <a:pt x="639" y="76"/>
                </a:cubicBezTo>
                <a:cubicBezTo>
                  <a:pt x="639" y="76"/>
                  <a:pt x="639" y="76"/>
                  <a:pt x="639" y="76"/>
                </a:cubicBezTo>
                <a:cubicBezTo>
                  <a:pt x="640" y="76"/>
                  <a:pt x="640" y="75"/>
                  <a:pt x="640" y="75"/>
                </a:cubicBezTo>
                <a:cubicBezTo>
                  <a:pt x="640" y="75"/>
                  <a:pt x="640" y="75"/>
                  <a:pt x="640" y="75"/>
                </a:cubicBezTo>
                <a:cubicBezTo>
                  <a:pt x="640" y="75"/>
                  <a:pt x="640" y="75"/>
                  <a:pt x="640" y="75"/>
                </a:cubicBezTo>
                <a:cubicBezTo>
                  <a:pt x="640" y="74"/>
                  <a:pt x="640" y="74"/>
                  <a:pt x="640" y="74"/>
                </a:cubicBezTo>
                <a:cubicBezTo>
                  <a:pt x="640" y="74"/>
                  <a:pt x="640" y="74"/>
                  <a:pt x="640" y="74"/>
                </a:cubicBezTo>
                <a:cubicBezTo>
                  <a:pt x="640" y="74"/>
                  <a:pt x="640" y="73"/>
                  <a:pt x="640" y="73"/>
                </a:cubicBezTo>
                <a:cubicBezTo>
                  <a:pt x="640" y="73"/>
                  <a:pt x="640" y="73"/>
                  <a:pt x="640" y="73"/>
                </a:cubicBezTo>
                <a:cubicBezTo>
                  <a:pt x="640" y="73"/>
                  <a:pt x="640" y="73"/>
                  <a:pt x="640" y="73"/>
                </a:cubicBezTo>
                <a:cubicBezTo>
                  <a:pt x="641" y="73"/>
                  <a:pt x="641" y="72"/>
                  <a:pt x="641" y="72"/>
                </a:cubicBezTo>
                <a:cubicBezTo>
                  <a:pt x="641" y="72"/>
                  <a:pt x="641" y="72"/>
                  <a:pt x="641" y="72"/>
                </a:cubicBezTo>
                <a:cubicBezTo>
                  <a:pt x="641" y="72"/>
                  <a:pt x="641" y="72"/>
                  <a:pt x="641" y="71"/>
                </a:cubicBezTo>
                <a:cubicBezTo>
                  <a:pt x="641" y="71"/>
                  <a:pt x="641" y="71"/>
                  <a:pt x="641" y="71"/>
                </a:cubicBezTo>
                <a:cubicBezTo>
                  <a:pt x="641" y="71"/>
                  <a:pt x="641" y="71"/>
                  <a:pt x="641" y="71"/>
                </a:cubicBezTo>
                <a:cubicBezTo>
                  <a:pt x="641" y="71"/>
                  <a:pt x="641" y="71"/>
                  <a:pt x="641" y="70"/>
                </a:cubicBezTo>
                <a:cubicBezTo>
                  <a:pt x="641" y="71"/>
                  <a:pt x="641" y="71"/>
                  <a:pt x="641" y="71"/>
                </a:cubicBezTo>
                <a:cubicBezTo>
                  <a:pt x="642" y="70"/>
                  <a:pt x="642" y="70"/>
                  <a:pt x="642" y="70"/>
                </a:cubicBezTo>
                <a:cubicBezTo>
                  <a:pt x="642" y="70"/>
                  <a:pt x="642" y="70"/>
                  <a:pt x="642" y="70"/>
                </a:cubicBezTo>
                <a:cubicBezTo>
                  <a:pt x="642" y="69"/>
                  <a:pt x="642" y="69"/>
                  <a:pt x="642" y="69"/>
                </a:cubicBezTo>
                <a:cubicBezTo>
                  <a:pt x="642" y="69"/>
                  <a:pt x="642" y="69"/>
                  <a:pt x="642" y="69"/>
                </a:cubicBezTo>
                <a:cubicBezTo>
                  <a:pt x="642" y="69"/>
                  <a:pt x="642" y="69"/>
                  <a:pt x="642" y="69"/>
                </a:cubicBezTo>
                <a:cubicBezTo>
                  <a:pt x="643" y="69"/>
                  <a:pt x="642" y="68"/>
                  <a:pt x="643" y="68"/>
                </a:cubicBezTo>
                <a:cubicBezTo>
                  <a:pt x="643" y="68"/>
                  <a:pt x="643" y="68"/>
                  <a:pt x="643" y="68"/>
                </a:cubicBezTo>
                <a:cubicBezTo>
                  <a:pt x="643" y="68"/>
                  <a:pt x="643" y="67"/>
                  <a:pt x="643" y="67"/>
                </a:cubicBezTo>
                <a:cubicBezTo>
                  <a:pt x="643" y="67"/>
                  <a:pt x="643" y="67"/>
                  <a:pt x="643" y="67"/>
                </a:cubicBezTo>
                <a:cubicBezTo>
                  <a:pt x="643" y="67"/>
                  <a:pt x="643" y="66"/>
                  <a:pt x="643" y="66"/>
                </a:cubicBezTo>
                <a:cubicBezTo>
                  <a:pt x="643" y="66"/>
                  <a:pt x="643" y="66"/>
                  <a:pt x="643" y="66"/>
                </a:cubicBezTo>
                <a:cubicBezTo>
                  <a:pt x="643" y="66"/>
                  <a:pt x="643" y="65"/>
                  <a:pt x="644" y="65"/>
                </a:cubicBezTo>
                <a:cubicBezTo>
                  <a:pt x="644" y="65"/>
                  <a:pt x="644" y="65"/>
                  <a:pt x="644" y="65"/>
                </a:cubicBezTo>
                <a:cubicBezTo>
                  <a:pt x="644" y="65"/>
                  <a:pt x="644" y="65"/>
                  <a:pt x="644" y="64"/>
                </a:cubicBezTo>
                <a:cubicBezTo>
                  <a:pt x="644" y="64"/>
                  <a:pt x="644" y="64"/>
                  <a:pt x="644" y="64"/>
                </a:cubicBezTo>
                <a:cubicBezTo>
                  <a:pt x="644" y="64"/>
                  <a:pt x="644" y="64"/>
                  <a:pt x="644" y="64"/>
                </a:cubicBezTo>
                <a:cubicBezTo>
                  <a:pt x="644" y="64"/>
                  <a:pt x="644" y="64"/>
                  <a:pt x="644" y="64"/>
                </a:cubicBezTo>
                <a:cubicBezTo>
                  <a:pt x="645" y="63"/>
                  <a:pt x="644" y="63"/>
                  <a:pt x="645" y="63"/>
                </a:cubicBezTo>
                <a:cubicBezTo>
                  <a:pt x="645" y="63"/>
                  <a:pt x="645" y="63"/>
                  <a:pt x="645" y="63"/>
                </a:cubicBezTo>
                <a:cubicBezTo>
                  <a:pt x="645" y="62"/>
                  <a:pt x="645" y="62"/>
                  <a:pt x="645" y="62"/>
                </a:cubicBezTo>
                <a:cubicBezTo>
                  <a:pt x="645" y="62"/>
                  <a:pt x="645" y="62"/>
                  <a:pt x="645" y="62"/>
                </a:cubicBezTo>
                <a:cubicBezTo>
                  <a:pt x="645" y="62"/>
                  <a:pt x="645" y="61"/>
                  <a:pt x="645" y="61"/>
                </a:cubicBezTo>
                <a:cubicBezTo>
                  <a:pt x="645" y="61"/>
                  <a:pt x="645" y="61"/>
                  <a:pt x="645" y="61"/>
                </a:cubicBezTo>
                <a:cubicBezTo>
                  <a:pt x="646" y="61"/>
                  <a:pt x="646" y="60"/>
                  <a:pt x="646" y="60"/>
                </a:cubicBezTo>
                <a:cubicBezTo>
                  <a:pt x="646" y="60"/>
                  <a:pt x="646" y="60"/>
                  <a:pt x="646" y="60"/>
                </a:cubicBezTo>
                <a:cubicBezTo>
                  <a:pt x="646" y="60"/>
                  <a:pt x="646" y="59"/>
                  <a:pt x="646" y="59"/>
                </a:cubicBezTo>
                <a:cubicBezTo>
                  <a:pt x="646" y="59"/>
                  <a:pt x="646" y="59"/>
                  <a:pt x="646" y="59"/>
                </a:cubicBezTo>
                <a:cubicBezTo>
                  <a:pt x="646" y="59"/>
                  <a:pt x="646" y="58"/>
                  <a:pt x="646" y="58"/>
                </a:cubicBezTo>
                <a:cubicBezTo>
                  <a:pt x="646" y="58"/>
                  <a:pt x="646" y="58"/>
                  <a:pt x="646" y="58"/>
                </a:cubicBezTo>
                <a:cubicBezTo>
                  <a:pt x="647" y="58"/>
                  <a:pt x="647" y="57"/>
                  <a:pt x="647" y="57"/>
                </a:cubicBezTo>
                <a:cubicBezTo>
                  <a:pt x="647" y="57"/>
                  <a:pt x="647" y="57"/>
                  <a:pt x="647" y="57"/>
                </a:cubicBezTo>
                <a:cubicBezTo>
                  <a:pt x="647" y="57"/>
                  <a:pt x="647" y="57"/>
                  <a:pt x="647" y="56"/>
                </a:cubicBezTo>
                <a:cubicBezTo>
                  <a:pt x="647" y="56"/>
                  <a:pt x="647" y="56"/>
                  <a:pt x="647" y="56"/>
                </a:cubicBezTo>
                <a:cubicBezTo>
                  <a:pt x="647" y="56"/>
                  <a:pt x="647" y="56"/>
                  <a:pt x="647" y="56"/>
                </a:cubicBezTo>
                <a:cubicBezTo>
                  <a:pt x="647" y="56"/>
                  <a:pt x="647" y="56"/>
                  <a:pt x="647" y="56"/>
                </a:cubicBezTo>
                <a:cubicBezTo>
                  <a:pt x="648" y="55"/>
                  <a:pt x="648" y="55"/>
                  <a:pt x="648" y="55"/>
                </a:cubicBezTo>
                <a:cubicBezTo>
                  <a:pt x="648" y="55"/>
                  <a:pt x="648" y="55"/>
                  <a:pt x="648" y="55"/>
                </a:cubicBezTo>
                <a:cubicBezTo>
                  <a:pt x="648" y="55"/>
                  <a:pt x="648" y="55"/>
                  <a:pt x="648" y="55"/>
                </a:cubicBezTo>
                <a:cubicBezTo>
                  <a:pt x="648" y="54"/>
                  <a:pt x="648" y="54"/>
                  <a:pt x="648" y="54"/>
                </a:cubicBezTo>
                <a:cubicBezTo>
                  <a:pt x="648" y="54"/>
                  <a:pt x="648" y="54"/>
                  <a:pt x="648" y="54"/>
                </a:cubicBezTo>
                <a:cubicBezTo>
                  <a:pt x="648" y="54"/>
                  <a:pt x="648" y="53"/>
                  <a:pt x="648" y="53"/>
                </a:cubicBezTo>
                <a:cubicBezTo>
                  <a:pt x="648" y="53"/>
                  <a:pt x="648" y="53"/>
                  <a:pt x="648" y="53"/>
                </a:cubicBezTo>
                <a:cubicBezTo>
                  <a:pt x="648" y="53"/>
                  <a:pt x="648" y="53"/>
                  <a:pt x="648" y="53"/>
                </a:cubicBezTo>
                <a:cubicBezTo>
                  <a:pt x="649" y="53"/>
                  <a:pt x="649" y="52"/>
                  <a:pt x="649" y="52"/>
                </a:cubicBezTo>
                <a:cubicBezTo>
                  <a:pt x="649" y="52"/>
                  <a:pt x="649" y="52"/>
                  <a:pt x="649" y="52"/>
                </a:cubicBezTo>
                <a:cubicBezTo>
                  <a:pt x="649" y="52"/>
                  <a:pt x="649" y="52"/>
                  <a:pt x="649" y="51"/>
                </a:cubicBezTo>
                <a:cubicBezTo>
                  <a:pt x="649" y="51"/>
                  <a:pt x="649" y="51"/>
                  <a:pt x="649" y="51"/>
                </a:cubicBezTo>
                <a:cubicBezTo>
                  <a:pt x="649" y="51"/>
                  <a:pt x="649" y="51"/>
                  <a:pt x="649" y="51"/>
                </a:cubicBezTo>
                <a:cubicBezTo>
                  <a:pt x="649" y="51"/>
                  <a:pt x="649" y="51"/>
                  <a:pt x="649" y="50"/>
                </a:cubicBezTo>
                <a:cubicBezTo>
                  <a:pt x="649" y="50"/>
                  <a:pt x="649" y="50"/>
                  <a:pt x="649" y="50"/>
                </a:cubicBezTo>
                <a:cubicBezTo>
                  <a:pt x="650" y="50"/>
                  <a:pt x="650" y="50"/>
                  <a:pt x="650" y="49"/>
                </a:cubicBezTo>
                <a:cubicBezTo>
                  <a:pt x="650" y="49"/>
                  <a:pt x="650" y="49"/>
                  <a:pt x="650" y="49"/>
                </a:cubicBezTo>
                <a:cubicBezTo>
                  <a:pt x="650" y="49"/>
                  <a:pt x="650" y="49"/>
                  <a:pt x="650" y="49"/>
                </a:cubicBezTo>
                <a:cubicBezTo>
                  <a:pt x="650" y="49"/>
                  <a:pt x="650" y="49"/>
                  <a:pt x="650" y="49"/>
                </a:cubicBezTo>
                <a:cubicBezTo>
                  <a:pt x="650" y="49"/>
                  <a:pt x="650" y="49"/>
                  <a:pt x="650" y="49"/>
                </a:cubicBezTo>
                <a:cubicBezTo>
                  <a:pt x="651" y="48"/>
                  <a:pt x="650" y="48"/>
                  <a:pt x="651" y="48"/>
                </a:cubicBezTo>
                <a:cubicBezTo>
                  <a:pt x="651" y="48"/>
                  <a:pt x="651" y="48"/>
                  <a:pt x="651" y="48"/>
                </a:cubicBezTo>
                <a:cubicBezTo>
                  <a:pt x="651" y="47"/>
                  <a:pt x="651" y="47"/>
                  <a:pt x="651" y="47"/>
                </a:cubicBezTo>
                <a:cubicBezTo>
                  <a:pt x="651" y="47"/>
                  <a:pt x="651" y="47"/>
                  <a:pt x="651" y="47"/>
                </a:cubicBezTo>
                <a:cubicBezTo>
                  <a:pt x="651" y="47"/>
                  <a:pt x="651" y="46"/>
                  <a:pt x="651" y="46"/>
                </a:cubicBezTo>
                <a:cubicBezTo>
                  <a:pt x="651" y="46"/>
                  <a:pt x="651" y="46"/>
                  <a:pt x="651" y="46"/>
                </a:cubicBezTo>
                <a:cubicBezTo>
                  <a:pt x="651" y="46"/>
                  <a:pt x="651" y="45"/>
                  <a:pt x="652" y="45"/>
                </a:cubicBezTo>
                <a:cubicBezTo>
                  <a:pt x="652" y="45"/>
                  <a:pt x="652" y="45"/>
                  <a:pt x="652" y="45"/>
                </a:cubicBezTo>
                <a:cubicBezTo>
                  <a:pt x="652" y="45"/>
                  <a:pt x="652" y="44"/>
                  <a:pt x="652" y="44"/>
                </a:cubicBezTo>
                <a:cubicBezTo>
                  <a:pt x="652" y="44"/>
                  <a:pt x="652" y="44"/>
                  <a:pt x="652" y="44"/>
                </a:cubicBezTo>
                <a:cubicBezTo>
                  <a:pt x="652" y="44"/>
                  <a:pt x="652" y="44"/>
                  <a:pt x="652" y="43"/>
                </a:cubicBezTo>
                <a:cubicBezTo>
                  <a:pt x="652" y="43"/>
                  <a:pt x="652" y="43"/>
                  <a:pt x="652" y="43"/>
                </a:cubicBezTo>
                <a:cubicBezTo>
                  <a:pt x="653" y="43"/>
                  <a:pt x="652" y="43"/>
                  <a:pt x="653" y="42"/>
                </a:cubicBezTo>
                <a:cubicBezTo>
                  <a:pt x="653" y="42"/>
                  <a:pt x="653" y="42"/>
                  <a:pt x="653" y="42"/>
                </a:cubicBezTo>
                <a:cubicBezTo>
                  <a:pt x="653" y="42"/>
                  <a:pt x="653" y="42"/>
                  <a:pt x="653" y="42"/>
                </a:cubicBezTo>
                <a:cubicBezTo>
                  <a:pt x="653" y="42"/>
                  <a:pt x="653" y="42"/>
                  <a:pt x="653" y="42"/>
                </a:cubicBezTo>
                <a:cubicBezTo>
                  <a:pt x="653" y="41"/>
                  <a:pt x="653" y="41"/>
                  <a:pt x="653" y="41"/>
                </a:cubicBezTo>
                <a:cubicBezTo>
                  <a:pt x="653" y="41"/>
                  <a:pt x="653" y="41"/>
                  <a:pt x="653" y="41"/>
                </a:cubicBezTo>
                <a:cubicBezTo>
                  <a:pt x="654" y="40"/>
                  <a:pt x="654" y="40"/>
                  <a:pt x="654" y="40"/>
                </a:cubicBezTo>
                <a:cubicBezTo>
                  <a:pt x="654" y="40"/>
                  <a:pt x="654" y="40"/>
                  <a:pt x="654" y="40"/>
                </a:cubicBezTo>
                <a:cubicBezTo>
                  <a:pt x="654" y="39"/>
                  <a:pt x="654" y="39"/>
                  <a:pt x="654" y="39"/>
                </a:cubicBezTo>
                <a:cubicBezTo>
                  <a:pt x="654" y="39"/>
                  <a:pt x="654" y="39"/>
                  <a:pt x="654" y="39"/>
                </a:cubicBezTo>
                <a:cubicBezTo>
                  <a:pt x="654" y="39"/>
                  <a:pt x="654" y="38"/>
                  <a:pt x="654" y="38"/>
                </a:cubicBezTo>
                <a:cubicBezTo>
                  <a:pt x="654" y="38"/>
                  <a:pt x="654" y="38"/>
                  <a:pt x="654" y="38"/>
                </a:cubicBezTo>
                <a:cubicBezTo>
                  <a:pt x="655" y="38"/>
                  <a:pt x="655" y="37"/>
                  <a:pt x="655" y="37"/>
                </a:cubicBezTo>
                <a:cubicBezTo>
                  <a:pt x="655" y="37"/>
                  <a:pt x="655" y="37"/>
                  <a:pt x="655" y="37"/>
                </a:cubicBezTo>
                <a:cubicBezTo>
                  <a:pt x="655" y="37"/>
                  <a:pt x="655" y="37"/>
                  <a:pt x="655" y="36"/>
                </a:cubicBezTo>
                <a:cubicBezTo>
                  <a:pt x="655" y="36"/>
                  <a:pt x="655" y="36"/>
                  <a:pt x="655" y="36"/>
                </a:cubicBezTo>
                <a:cubicBezTo>
                  <a:pt x="655" y="36"/>
                  <a:pt x="655" y="36"/>
                  <a:pt x="655" y="36"/>
                </a:cubicBezTo>
                <a:cubicBezTo>
                  <a:pt x="655" y="36"/>
                  <a:pt x="655" y="36"/>
                  <a:pt x="655" y="35"/>
                </a:cubicBezTo>
                <a:cubicBezTo>
                  <a:pt x="655" y="35"/>
                  <a:pt x="655" y="35"/>
                  <a:pt x="655" y="35"/>
                </a:cubicBezTo>
                <a:cubicBezTo>
                  <a:pt x="656" y="35"/>
                  <a:pt x="656" y="35"/>
                  <a:pt x="656" y="35"/>
                </a:cubicBezTo>
                <a:cubicBezTo>
                  <a:pt x="656" y="35"/>
                  <a:pt x="656" y="35"/>
                  <a:pt x="656" y="35"/>
                </a:cubicBezTo>
                <a:cubicBezTo>
                  <a:pt x="656" y="34"/>
                  <a:pt x="655" y="34"/>
                  <a:pt x="655" y="34"/>
                </a:cubicBezTo>
                <a:cubicBezTo>
                  <a:pt x="652" y="34"/>
                  <a:pt x="648" y="34"/>
                  <a:pt x="645" y="34"/>
                </a:cubicBezTo>
                <a:cubicBezTo>
                  <a:pt x="645" y="34"/>
                  <a:pt x="644" y="34"/>
                  <a:pt x="644" y="34"/>
                </a:cubicBezTo>
                <a:cubicBezTo>
                  <a:pt x="644" y="35"/>
                  <a:pt x="644" y="35"/>
                  <a:pt x="644" y="35"/>
                </a:cubicBezTo>
                <a:cubicBezTo>
                  <a:pt x="644" y="35"/>
                  <a:pt x="644" y="35"/>
                  <a:pt x="644" y="35"/>
                </a:cubicBezTo>
                <a:cubicBezTo>
                  <a:pt x="644" y="35"/>
                  <a:pt x="644" y="35"/>
                  <a:pt x="644" y="35"/>
                </a:cubicBezTo>
                <a:cubicBezTo>
                  <a:pt x="644" y="35"/>
                  <a:pt x="644" y="35"/>
                  <a:pt x="644" y="35"/>
                </a:cubicBezTo>
                <a:cubicBezTo>
                  <a:pt x="644" y="36"/>
                  <a:pt x="644" y="36"/>
                  <a:pt x="644" y="36"/>
                </a:cubicBezTo>
                <a:cubicBezTo>
                  <a:pt x="644" y="36"/>
                  <a:pt x="644" y="36"/>
                  <a:pt x="644" y="36"/>
                </a:cubicBezTo>
                <a:cubicBezTo>
                  <a:pt x="643" y="37"/>
                  <a:pt x="643" y="37"/>
                  <a:pt x="643" y="37"/>
                </a:cubicBezTo>
                <a:cubicBezTo>
                  <a:pt x="643" y="37"/>
                  <a:pt x="643" y="37"/>
                  <a:pt x="643" y="37"/>
                </a:cubicBezTo>
                <a:cubicBezTo>
                  <a:pt x="643" y="37"/>
                  <a:pt x="643" y="37"/>
                  <a:pt x="643" y="37"/>
                </a:cubicBezTo>
                <a:cubicBezTo>
                  <a:pt x="643" y="38"/>
                  <a:pt x="643" y="38"/>
                  <a:pt x="643" y="38"/>
                </a:cubicBezTo>
                <a:cubicBezTo>
                  <a:pt x="643" y="38"/>
                  <a:pt x="643" y="38"/>
                  <a:pt x="643" y="39"/>
                </a:cubicBezTo>
                <a:cubicBezTo>
                  <a:pt x="643" y="39"/>
                  <a:pt x="643" y="39"/>
                  <a:pt x="643" y="39"/>
                </a:cubicBezTo>
                <a:cubicBezTo>
                  <a:pt x="643" y="39"/>
                  <a:pt x="643" y="39"/>
                  <a:pt x="643" y="39"/>
                </a:cubicBezTo>
                <a:cubicBezTo>
                  <a:pt x="642" y="39"/>
                  <a:pt x="643" y="40"/>
                  <a:pt x="642" y="40"/>
                </a:cubicBezTo>
                <a:cubicBezTo>
                  <a:pt x="642" y="40"/>
                  <a:pt x="642" y="40"/>
                  <a:pt x="642" y="40"/>
                </a:cubicBezTo>
                <a:cubicBezTo>
                  <a:pt x="642" y="40"/>
                  <a:pt x="642" y="41"/>
                  <a:pt x="642" y="41"/>
                </a:cubicBezTo>
                <a:cubicBezTo>
                  <a:pt x="642" y="41"/>
                  <a:pt x="642" y="41"/>
                  <a:pt x="642" y="41"/>
                </a:cubicBezTo>
                <a:cubicBezTo>
                  <a:pt x="642" y="42"/>
                  <a:pt x="642" y="42"/>
                  <a:pt x="642" y="42"/>
                </a:cubicBezTo>
                <a:cubicBezTo>
                  <a:pt x="642" y="42"/>
                  <a:pt x="642" y="42"/>
                  <a:pt x="642" y="42"/>
                </a:cubicBezTo>
                <a:cubicBezTo>
                  <a:pt x="641" y="42"/>
                  <a:pt x="641" y="43"/>
                  <a:pt x="641" y="43"/>
                </a:cubicBezTo>
                <a:cubicBezTo>
                  <a:pt x="641" y="43"/>
                  <a:pt x="641" y="43"/>
                  <a:pt x="641" y="43"/>
                </a:cubicBezTo>
                <a:cubicBezTo>
                  <a:pt x="641" y="43"/>
                  <a:pt x="641" y="44"/>
                  <a:pt x="641" y="44"/>
                </a:cubicBezTo>
                <a:cubicBezTo>
                  <a:pt x="641" y="44"/>
                  <a:pt x="641" y="44"/>
                  <a:pt x="641" y="44"/>
                </a:cubicBezTo>
                <a:cubicBezTo>
                  <a:pt x="641" y="44"/>
                  <a:pt x="641" y="44"/>
                  <a:pt x="641" y="44"/>
                </a:cubicBezTo>
                <a:cubicBezTo>
                  <a:pt x="641" y="44"/>
                  <a:pt x="641" y="45"/>
                  <a:pt x="640" y="45"/>
                </a:cubicBezTo>
                <a:cubicBezTo>
                  <a:pt x="641" y="45"/>
                  <a:pt x="641" y="45"/>
                  <a:pt x="640" y="45"/>
                </a:cubicBezTo>
                <a:cubicBezTo>
                  <a:pt x="640" y="45"/>
                  <a:pt x="640" y="46"/>
                  <a:pt x="640" y="46"/>
                </a:cubicBezTo>
                <a:cubicBezTo>
                  <a:pt x="640" y="46"/>
                  <a:pt x="640" y="46"/>
                  <a:pt x="640" y="46"/>
                </a:cubicBezTo>
                <a:cubicBezTo>
                  <a:pt x="640" y="46"/>
                  <a:pt x="640" y="47"/>
                  <a:pt x="640" y="47"/>
                </a:cubicBezTo>
                <a:cubicBezTo>
                  <a:pt x="640" y="47"/>
                  <a:pt x="640" y="47"/>
                  <a:pt x="640" y="47"/>
                </a:cubicBezTo>
                <a:cubicBezTo>
                  <a:pt x="640" y="47"/>
                  <a:pt x="640" y="47"/>
                  <a:pt x="639" y="48"/>
                </a:cubicBezTo>
                <a:cubicBezTo>
                  <a:pt x="639" y="48"/>
                  <a:pt x="639" y="48"/>
                  <a:pt x="639" y="48"/>
                </a:cubicBezTo>
                <a:cubicBezTo>
                  <a:pt x="639" y="48"/>
                  <a:pt x="639" y="48"/>
                  <a:pt x="639" y="48"/>
                </a:cubicBezTo>
                <a:cubicBezTo>
                  <a:pt x="639" y="48"/>
                  <a:pt x="639" y="48"/>
                  <a:pt x="639" y="49"/>
                </a:cubicBezTo>
                <a:cubicBezTo>
                  <a:pt x="639" y="49"/>
                  <a:pt x="639" y="49"/>
                  <a:pt x="639" y="49"/>
                </a:cubicBezTo>
                <a:cubicBezTo>
                  <a:pt x="639" y="49"/>
                  <a:pt x="639" y="49"/>
                  <a:pt x="639" y="50"/>
                </a:cubicBezTo>
                <a:cubicBezTo>
                  <a:pt x="639" y="50"/>
                  <a:pt x="639" y="50"/>
                  <a:pt x="639" y="50"/>
                </a:cubicBezTo>
                <a:cubicBezTo>
                  <a:pt x="638" y="50"/>
                  <a:pt x="639" y="50"/>
                  <a:pt x="638" y="51"/>
                </a:cubicBezTo>
                <a:cubicBezTo>
                  <a:pt x="638" y="51"/>
                  <a:pt x="638" y="51"/>
                  <a:pt x="638" y="51"/>
                </a:cubicBezTo>
                <a:cubicBezTo>
                  <a:pt x="638" y="51"/>
                  <a:pt x="638" y="51"/>
                  <a:pt x="638" y="52"/>
                </a:cubicBezTo>
                <a:cubicBezTo>
                  <a:pt x="638" y="52"/>
                  <a:pt x="638" y="52"/>
                  <a:pt x="638" y="52"/>
                </a:cubicBezTo>
                <a:cubicBezTo>
                  <a:pt x="638" y="52"/>
                  <a:pt x="638" y="52"/>
                  <a:pt x="638" y="52"/>
                </a:cubicBezTo>
                <a:cubicBezTo>
                  <a:pt x="638" y="52"/>
                  <a:pt x="638" y="52"/>
                  <a:pt x="638" y="52"/>
                </a:cubicBezTo>
                <a:cubicBezTo>
                  <a:pt x="637" y="53"/>
                  <a:pt x="638" y="53"/>
                  <a:pt x="637" y="53"/>
                </a:cubicBezTo>
                <a:cubicBezTo>
                  <a:pt x="637" y="53"/>
                  <a:pt x="637" y="53"/>
                  <a:pt x="637" y="53"/>
                </a:cubicBezTo>
                <a:cubicBezTo>
                  <a:pt x="637" y="54"/>
                  <a:pt x="637" y="54"/>
                  <a:pt x="637" y="54"/>
                </a:cubicBezTo>
                <a:cubicBezTo>
                  <a:pt x="637" y="54"/>
                  <a:pt x="637" y="54"/>
                  <a:pt x="637" y="54"/>
                </a:cubicBezTo>
                <a:cubicBezTo>
                  <a:pt x="637" y="55"/>
                  <a:pt x="637" y="55"/>
                  <a:pt x="637" y="55"/>
                </a:cubicBezTo>
                <a:cubicBezTo>
                  <a:pt x="637" y="55"/>
                  <a:pt x="637" y="55"/>
                  <a:pt x="637" y="55"/>
                </a:cubicBezTo>
                <a:cubicBezTo>
                  <a:pt x="637" y="55"/>
                  <a:pt x="637" y="56"/>
                  <a:pt x="637" y="56"/>
                </a:cubicBezTo>
                <a:cubicBezTo>
                  <a:pt x="636" y="56"/>
                  <a:pt x="636" y="56"/>
                  <a:pt x="636" y="56"/>
                </a:cubicBezTo>
                <a:cubicBezTo>
                  <a:pt x="636" y="56"/>
                  <a:pt x="636" y="56"/>
                  <a:pt x="636" y="56"/>
                </a:cubicBezTo>
                <a:cubicBezTo>
                  <a:pt x="636" y="57"/>
                  <a:pt x="636" y="57"/>
                  <a:pt x="636" y="57"/>
                </a:cubicBezTo>
                <a:cubicBezTo>
                  <a:pt x="636" y="57"/>
                  <a:pt x="636" y="57"/>
                  <a:pt x="636" y="57"/>
                </a:cubicBezTo>
                <a:cubicBezTo>
                  <a:pt x="636" y="58"/>
                  <a:pt x="636" y="58"/>
                  <a:pt x="636" y="58"/>
                </a:cubicBezTo>
                <a:cubicBezTo>
                  <a:pt x="636" y="58"/>
                  <a:pt x="636" y="58"/>
                  <a:pt x="636" y="58"/>
                </a:cubicBezTo>
                <a:cubicBezTo>
                  <a:pt x="636" y="58"/>
                  <a:pt x="636" y="58"/>
                  <a:pt x="636" y="58"/>
                </a:cubicBezTo>
                <a:cubicBezTo>
                  <a:pt x="635" y="59"/>
                  <a:pt x="635" y="59"/>
                  <a:pt x="635" y="59"/>
                </a:cubicBezTo>
                <a:cubicBezTo>
                  <a:pt x="635" y="59"/>
                  <a:pt x="635" y="59"/>
                  <a:pt x="635" y="59"/>
                </a:cubicBezTo>
                <a:cubicBezTo>
                  <a:pt x="635" y="59"/>
                  <a:pt x="635" y="60"/>
                  <a:pt x="635" y="60"/>
                </a:cubicBezTo>
                <a:cubicBezTo>
                  <a:pt x="635" y="60"/>
                  <a:pt x="635" y="60"/>
                  <a:pt x="635" y="60"/>
                </a:cubicBezTo>
                <a:cubicBezTo>
                  <a:pt x="635" y="60"/>
                  <a:pt x="635" y="61"/>
                  <a:pt x="635" y="61"/>
                </a:cubicBezTo>
                <a:cubicBezTo>
                  <a:pt x="635" y="61"/>
                  <a:pt x="635" y="61"/>
                  <a:pt x="635" y="61"/>
                </a:cubicBezTo>
                <a:cubicBezTo>
                  <a:pt x="635" y="61"/>
                  <a:pt x="635" y="61"/>
                  <a:pt x="635" y="61"/>
                </a:cubicBezTo>
                <a:cubicBezTo>
                  <a:pt x="634" y="61"/>
                  <a:pt x="634" y="62"/>
                  <a:pt x="634" y="62"/>
                </a:cubicBezTo>
                <a:cubicBezTo>
                  <a:pt x="634" y="62"/>
                  <a:pt x="634" y="62"/>
                  <a:pt x="634" y="62"/>
                </a:cubicBezTo>
                <a:cubicBezTo>
                  <a:pt x="634" y="62"/>
                  <a:pt x="634" y="63"/>
                  <a:pt x="634" y="63"/>
                </a:cubicBezTo>
                <a:cubicBezTo>
                  <a:pt x="634" y="63"/>
                  <a:pt x="634" y="63"/>
                  <a:pt x="634" y="63"/>
                </a:cubicBezTo>
                <a:cubicBezTo>
                  <a:pt x="634" y="63"/>
                  <a:pt x="634" y="64"/>
                  <a:pt x="634" y="64"/>
                </a:cubicBezTo>
                <a:cubicBezTo>
                  <a:pt x="634" y="64"/>
                  <a:pt x="634" y="64"/>
                  <a:pt x="634" y="64"/>
                </a:cubicBezTo>
                <a:cubicBezTo>
                  <a:pt x="633" y="64"/>
                  <a:pt x="633" y="64"/>
                  <a:pt x="633" y="65"/>
                </a:cubicBezTo>
                <a:cubicBezTo>
                  <a:pt x="633" y="65"/>
                  <a:pt x="633" y="65"/>
                  <a:pt x="633" y="65"/>
                </a:cubicBezTo>
                <a:cubicBezTo>
                  <a:pt x="633" y="65"/>
                  <a:pt x="633" y="65"/>
                  <a:pt x="633" y="65"/>
                </a:cubicBezTo>
                <a:cubicBezTo>
                  <a:pt x="633" y="65"/>
                  <a:pt x="633" y="65"/>
                  <a:pt x="633" y="66"/>
                </a:cubicBezTo>
                <a:cubicBezTo>
                  <a:pt x="633" y="66"/>
                  <a:pt x="633" y="66"/>
                  <a:pt x="633" y="66"/>
                </a:cubicBezTo>
                <a:cubicBezTo>
                  <a:pt x="632" y="66"/>
                  <a:pt x="633" y="66"/>
                  <a:pt x="632" y="67"/>
                </a:cubicBezTo>
                <a:cubicBezTo>
                  <a:pt x="632" y="67"/>
                  <a:pt x="632" y="67"/>
                  <a:pt x="632" y="67"/>
                </a:cubicBezTo>
                <a:cubicBezTo>
                  <a:pt x="632" y="67"/>
                  <a:pt x="632" y="67"/>
                  <a:pt x="632" y="68"/>
                </a:cubicBezTo>
                <a:cubicBezTo>
                  <a:pt x="632" y="68"/>
                  <a:pt x="632" y="68"/>
                  <a:pt x="632" y="68"/>
                </a:cubicBezTo>
                <a:cubicBezTo>
                  <a:pt x="632" y="68"/>
                  <a:pt x="632" y="68"/>
                  <a:pt x="632" y="69"/>
                </a:cubicBezTo>
                <a:cubicBezTo>
                  <a:pt x="632" y="69"/>
                  <a:pt x="632" y="69"/>
                  <a:pt x="632" y="69"/>
                </a:cubicBezTo>
                <a:cubicBezTo>
                  <a:pt x="632" y="69"/>
                  <a:pt x="632" y="69"/>
                  <a:pt x="631" y="70"/>
                </a:cubicBezTo>
                <a:cubicBezTo>
                  <a:pt x="631" y="70"/>
                  <a:pt x="631" y="70"/>
                  <a:pt x="631" y="70"/>
                </a:cubicBezTo>
                <a:cubicBezTo>
                  <a:pt x="631" y="70"/>
                  <a:pt x="631" y="70"/>
                  <a:pt x="631" y="71"/>
                </a:cubicBezTo>
                <a:cubicBezTo>
                  <a:pt x="631" y="71"/>
                  <a:pt x="631" y="71"/>
                  <a:pt x="631" y="71"/>
                </a:cubicBezTo>
                <a:cubicBezTo>
                  <a:pt x="631" y="71"/>
                  <a:pt x="631" y="71"/>
                  <a:pt x="631" y="71"/>
                </a:cubicBezTo>
                <a:cubicBezTo>
                  <a:pt x="631" y="72"/>
                  <a:pt x="631" y="72"/>
                  <a:pt x="631" y="72"/>
                </a:cubicBezTo>
                <a:cubicBezTo>
                  <a:pt x="631" y="72"/>
                  <a:pt x="631" y="72"/>
                  <a:pt x="631" y="72"/>
                </a:cubicBezTo>
                <a:cubicBezTo>
                  <a:pt x="631" y="72"/>
                  <a:pt x="631" y="72"/>
                  <a:pt x="630" y="72"/>
                </a:cubicBezTo>
                <a:cubicBezTo>
                  <a:pt x="630" y="72"/>
                  <a:pt x="630" y="73"/>
                  <a:pt x="630" y="73"/>
                </a:cubicBezTo>
                <a:cubicBezTo>
                  <a:pt x="630" y="73"/>
                  <a:pt x="630" y="73"/>
                  <a:pt x="630" y="73"/>
                </a:cubicBezTo>
                <a:cubicBezTo>
                  <a:pt x="630" y="73"/>
                  <a:pt x="630" y="73"/>
                  <a:pt x="630" y="73"/>
                </a:cubicBezTo>
                <a:cubicBezTo>
                  <a:pt x="630" y="74"/>
                  <a:pt x="630" y="74"/>
                  <a:pt x="630" y="74"/>
                </a:cubicBezTo>
                <a:cubicBezTo>
                  <a:pt x="630" y="74"/>
                  <a:pt x="630" y="74"/>
                  <a:pt x="630" y="74"/>
                </a:cubicBezTo>
                <a:cubicBezTo>
                  <a:pt x="629" y="75"/>
                  <a:pt x="629" y="75"/>
                  <a:pt x="629" y="75"/>
                </a:cubicBezTo>
                <a:cubicBezTo>
                  <a:pt x="629" y="75"/>
                  <a:pt x="629" y="75"/>
                  <a:pt x="629" y="75"/>
                </a:cubicBezTo>
                <a:cubicBezTo>
                  <a:pt x="629" y="75"/>
                  <a:pt x="629" y="75"/>
                  <a:pt x="629" y="75"/>
                </a:cubicBezTo>
                <a:cubicBezTo>
                  <a:pt x="629" y="76"/>
                  <a:pt x="629" y="76"/>
                  <a:pt x="629" y="76"/>
                </a:cubicBezTo>
                <a:cubicBezTo>
                  <a:pt x="629" y="76"/>
                  <a:pt x="629" y="76"/>
                  <a:pt x="629" y="76"/>
                </a:cubicBezTo>
                <a:cubicBezTo>
                  <a:pt x="629" y="76"/>
                  <a:pt x="629" y="77"/>
                  <a:pt x="629" y="77"/>
                </a:cubicBezTo>
                <a:cubicBezTo>
                  <a:pt x="629" y="77"/>
                  <a:pt x="629" y="77"/>
                  <a:pt x="629" y="77"/>
                </a:cubicBezTo>
                <a:cubicBezTo>
                  <a:pt x="628" y="77"/>
                  <a:pt x="628" y="78"/>
                  <a:pt x="628" y="78"/>
                </a:cubicBezTo>
                <a:cubicBezTo>
                  <a:pt x="628" y="78"/>
                  <a:pt x="628" y="78"/>
                  <a:pt x="628" y="78"/>
                </a:cubicBezTo>
                <a:cubicBezTo>
                  <a:pt x="628" y="78"/>
                  <a:pt x="628" y="78"/>
                  <a:pt x="628" y="78"/>
                </a:cubicBezTo>
                <a:cubicBezTo>
                  <a:pt x="628" y="78"/>
                  <a:pt x="628" y="79"/>
                  <a:pt x="628" y="79"/>
                </a:cubicBezTo>
                <a:cubicBezTo>
                  <a:pt x="628" y="79"/>
                  <a:pt x="628" y="79"/>
                  <a:pt x="628" y="79"/>
                </a:cubicBezTo>
                <a:cubicBezTo>
                  <a:pt x="628" y="79"/>
                  <a:pt x="628" y="80"/>
                  <a:pt x="628" y="80"/>
                </a:cubicBezTo>
                <a:cubicBezTo>
                  <a:pt x="628" y="80"/>
                  <a:pt x="628" y="80"/>
                  <a:pt x="628" y="80"/>
                </a:cubicBezTo>
                <a:cubicBezTo>
                  <a:pt x="627" y="80"/>
                  <a:pt x="628" y="81"/>
                  <a:pt x="627" y="81"/>
                </a:cubicBezTo>
                <a:cubicBezTo>
                  <a:pt x="627" y="81"/>
                  <a:pt x="627" y="81"/>
                  <a:pt x="627" y="81"/>
                </a:cubicBezTo>
                <a:cubicBezTo>
                  <a:pt x="627" y="81"/>
                  <a:pt x="627" y="82"/>
                  <a:pt x="627" y="82"/>
                </a:cubicBezTo>
                <a:cubicBezTo>
                  <a:pt x="627" y="82"/>
                  <a:pt x="627" y="82"/>
                  <a:pt x="627" y="82"/>
                </a:cubicBezTo>
                <a:cubicBezTo>
                  <a:pt x="627" y="82"/>
                  <a:pt x="627" y="82"/>
                  <a:pt x="627" y="82"/>
                </a:cubicBezTo>
                <a:cubicBezTo>
                  <a:pt x="627" y="82"/>
                  <a:pt x="627" y="83"/>
                  <a:pt x="627" y="83"/>
                </a:cubicBezTo>
                <a:cubicBezTo>
                  <a:pt x="627" y="83"/>
                  <a:pt x="627" y="83"/>
                  <a:pt x="626" y="83"/>
                </a:cubicBezTo>
                <a:cubicBezTo>
                  <a:pt x="626" y="83"/>
                  <a:pt x="626" y="84"/>
                  <a:pt x="626" y="84"/>
                </a:cubicBezTo>
                <a:cubicBezTo>
                  <a:pt x="626" y="84"/>
                  <a:pt x="626" y="84"/>
                  <a:pt x="626" y="84"/>
                </a:cubicBezTo>
                <a:cubicBezTo>
                  <a:pt x="626" y="84"/>
                  <a:pt x="626" y="85"/>
                  <a:pt x="626" y="85"/>
                </a:cubicBezTo>
                <a:cubicBezTo>
                  <a:pt x="626" y="85"/>
                  <a:pt x="626" y="85"/>
                  <a:pt x="626" y="85"/>
                </a:cubicBezTo>
                <a:cubicBezTo>
                  <a:pt x="626" y="85"/>
                  <a:pt x="626" y="85"/>
                  <a:pt x="626" y="86"/>
                </a:cubicBezTo>
                <a:cubicBezTo>
                  <a:pt x="626" y="86"/>
                  <a:pt x="626" y="86"/>
                  <a:pt x="626" y="86"/>
                </a:cubicBezTo>
                <a:cubicBezTo>
                  <a:pt x="625" y="86"/>
                  <a:pt x="625" y="86"/>
                  <a:pt x="625" y="86"/>
                </a:cubicBezTo>
                <a:cubicBezTo>
                  <a:pt x="625" y="86"/>
                  <a:pt x="625" y="86"/>
                  <a:pt x="625" y="87"/>
                </a:cubicBezTo>
                <a:cubicBezTo>
                  <a:pt x="625" y="87"/>
                  <a:pt x="625" y="87"/>
                  <a:pt x="625" y="87"/>
                </a:cubicBezTo>
                <a:cubicBezTo>
                  <a:pt x="625" y="87"/>
                  <a:pt x="625" y="87"/>
                  <a:pt x="625" y="88"/>
                </a:cubicBezTo>
                <a:cubicBezTo>
                  <a:pt x="625" y="88"/>
                  <a:pt x="625" y="88"/>
                  <a:pt x="625" y="88"/>
                </a:cubicBezTo>
                <a:cubicBezTo>
                  <a:pt x="625" y="88"/>
                  <a:pt x="625" y="88"/>
                  <a:pt x="625" y="88"/>
                </a:cubicBezTo>
                <a:cubicBezTo>
                  <a:pt x="625" y="89"/>
                  <a:pt x="625" y="89"/>
                  <a:pt x="625" y="89"/>
                </a:cubicBezTo>
                <a:cubicBezTo>
                  <a:pt x="624" y="89"/>
                  <a:pt x="624" y="89"/>
                  <a:pt x="624" y="89"/>
                </a:cubicBezTo>
                <a:cubicBezTo>
                  <a:pt x="624" y="89"/>
                  <a:pt x="624" y="89"/>
                  <a:pt x="624" y="89"/>
                </a:cubicBezTo>
                <a:cubicBezTo>
                  <a:pt x="624" y="89"/>
                  <a:pt x="624" y="89"/>
                  <a:pt x="624" y="89"/>
                </a:cubicBezTo>
                <a:cubicBezTo>
                  <a:pt x="623" y="90"/>
                  <a:pt x="624" y="89"/>
                  <a:pt x="623" y="89"/>
                </a:cubicBezTo>
                <a:cubicBezTo>
                  <a:pt x="623" y="89"/>
                  <a:pt x="623" y="89"/>
                  <a:pt x="623" y="89"/>
                </a:cubicBezTo>
                <a:cubicBezTo>
                  <a:pt x="623" y="88"/>
                  <a:pt x="623" y="88"/>
                  <a:pt x="623" y="88"/>
                </a:cubicBezTo>
                <a:cubicBezTo>
                  <a:pt x="623" y="88"/>
                  <a:pt x="623" y="88"/>
                  <a:pt x="623" y="88"/>
                </a:cubicBezTo>
                <a:cubicBezTo>
                  <a:pt x="623" y="87"/>
                  <a:pt x="623" y="87"/>
                  <a:pt x="623" y="87"/>
                </a:cubicBezTo>
                <a:cubicBezTo>
                  <a:pt x="623" y="87"/>
                  <a:pt x="623" y="87"/>
                  <a:pt x="623" y="87"/>
                </a:cubicBezTo>
                <a:cubicBezTo>
                  <a:pt x="623" y="86"/>
                  <a:pt x="623" y="86"/>
                  <a:pt x="622" y="86"/>
                </a:cubicBezTo>
                <a:cubicBezTo>
                  <a:pt x="622" y="86"/>
                  <a:pt x="622" y="86"/>
                  <a:pt x="622" y="86"/>
                </a:cubicBezTo>
                <a:cubicBezTo>
                  <a:pt x="622" y="85"/>
                  <a:pt x="622" y="85"/>
                  <a:pt x="622" y="85"/>
                </a:cubicBezTo>
                <a:cubicBezTo>
                  <a:pt x="622" y="85"/>
                  <a:pt x="622" y="85"/>
                  <a:pt x="622" y="85"/>
                </a:cubicBezTo>
                <a:cubicBezTo>
                  <a:pt x="622" y="84"/>
                  <a:pt x="622" y="84"/>
                  <a:pt x="622" y="84"/>
                </a:cubicBezTo>
                <a:cubicBezTo>
                  <a:pt x="622" y="84"/>
                  <a:pt x="622" y="84"/>
                  <a:pt x="622" y="84"/>
                </a:cubicBezTo>
                <a:cubicBezTo>
                  <a:pt x="622" y="84"/>
                  <a:pt x="622" y="84"/>
                  <a:pt x="622" y="84"/>
                </a:cubicBezTo>
                <a:cubicBezTo>
                  <a:pt x="622" y="83"/>
                  <a:pt x="622" y="83"/>
                  <a:pt x="621" y="83"/>
                </a:cubicBezTo>
                <a:cubicBezTo>
                  <a:pt x="621" y="83"/>
                  <a:pt x="621" y="83"/>
                  <a:pt x="621" y="83"/>
                </a:cubicBezTo>
                <a:cubicBezTo>
                  <a:pt x="621" y="83"/>
                  <a:pt x="621" y="83"/>
                  <a:pt x="621" y="83"/>
                </a:cubicBezTo>
                <a:cubicBezTo>
                  <a:pt x="621" y="82"/>
                  <a:pt x="621" y="82"/>
                  <a:pt x="621" y="82"/>
                </a:cubicBezTo>
                <a:cubicBezTo>
                  <a:pt x="621" y="82"/>
                  <a:pt x="621" y="82"/>
                  <a:pt x="621" y="82"/>
                </a:cubicBezTo>
                <a:cubicBezTo>
                  <a:pt x="621" y="81"/>
                  <a:pt x="621" y="81"/>
                  <a:pt x="621" y="81"/>
                </a:cubicBezTo>
                <a:cubicBezTo>
                  <a:pt x="621" y="81"/>
                  <a:pt x="621" y="81"/>
                  <a:pt x="621" y="81"/>
                </a:cubicBezTo>
                <a:cubicBezTo>
                  <a:pt x="620" y="80"/>
                  <a:pt x="621" y="80"/>
                  <a:pt x="620" y="80"/>
                </a:cubicBezTo>
                <a:cubicBezTo>
                  <a:pt x="620" y="80"/>
                  <a:pt x="620" y="80"/>
                  <a:pt x="620" y="80"/>
                </a:cubicBezTo>
                <a:cubicBezTo>
                  <a:pt x="620" y="79"/>
                  <a:pt x="620" y="79"/>
                  <a:pt x="620" y="79"/>
                </a:cubicBezTo>
                <a:cubicBezTo>
                  <a:pt x="620" y="79"/>
                  <a:pt x="620" y="79"/>
                  <a:pt x="620" y="79"/>
                </a:cubicBezTo>
                <a:cubicBezTo>
                  <a:pt x="620" y="78"/>
                  <a:pt x="620" y="78"/>
                  <a:pt x="620" y="78"/>
                </a:cubicBezTo>
                <a:cubicBezTo>
                  <a:pt x="619" y="78"/>
                  <a:pt x="619" y="78"/>
                  <a:pt x="620" y="78"/>
                </a:cubicBezTo>
                <a:cubicBezTo>
                  <a:pt x="619" y="77"/>
                  <a:pt x="619" y="77"/>
                  <a:pt x="619" y="77"/>
                </a:cubicBezTo>
                <a:cubicBezTo>
                  <a:pt x="619" y="77"/>
                  <a:pt x="619" y="77"/>
                  <a:pt x="619" y="77"/>
                </a:cubicBezTo>
                <a:cubicBezTo>
                  <a:pt x="619" y="77"/>
                  <a:pt x="619" y="77"/>
                  <a:pt x="619" y="77"/>
                </a:cubicBezTo>
                <a:cubicBezTo>
                  <a:pt x="619" y="76"/>
                  <a:pt x="619" y="76"/>
                  <a:pt x="619" y="76"/>
                </a:cubicBezTo>
                <a:cubicBezTo>
                  <a:pt x="619" y="76"/>
                  <a:pt x="619" y="76"/>
                  <a:pt x="619" y="76"/>
                </a:cubicBezTo>
                <a:cubicBezTo>
                  <a:pt x="619" y="76"/>
                  <a:pt x="619" y="76"/>
                  <a:pt x="619" y="76"/>
                </a:cubicBezTo>
                <a:cubicBezTo>
                  <a:pt x="619" y="75"/>
                  <a:pt x="619" y="75"/>
                  <a:pt x="619" y="75"/>
                </a:cubicBezTo>
                <a:cubicBezTo>
                  <a:pt x="619" y="75"/>
                  <a:pt x="619" y="75"/>
                  <a:pt x="619" y="75"/>
                </a:cubicBezTo>
                <a:cubicBezTo>
                  <a:pt x="618" y="74"/>
                  <a:pt x="619" y="74"/>
                  <a:pt x="618" y="74"/>
                </a:cubicBezTo>
                <a:cubicBezTo>
                  <a:pt x="618" y="74"/>
                  <a:pt x="618" y="74"/>
                  <a:pt x="618" y="74"/>
                </a:cubicBezTo>
                <a:cubicBezTo>
                  <a:pt x="618" y="73"/>
                  <a:pt x="618" y="73"/>
                  <a:pt x="618" y="73"/>
                </a:cubicBezTo>
                <a:cubicBezTo>
                  <a:pt x="618" y="73"/>
                  <a:pt x="618" y="73"/>
                  <a:pt x="618" y="73"/>
                </a:cubicBezTo>
                <a:cubicBezTo>
                  <a:pt x="618" y="72"/>
                  <a:pt x="618" y="72"/>
                  <a:pt x="617" y="72"/>
                </a:cubicBezTo>
                <a:cubicBezTo>
                  <a:pt x="617" y="72"/>
                  <a:pt x="617" y="72"/>
                  <a:pt x="617" y="72"/>
                </a:cubicBezTo>
                <a:cubicBezTo>
                  <a:pt x="617" y="71"/>
                  <a:pt x="617" y="71"/>
                  <a:pt x="617" y="71"/>
                </a:cubicBezTo>
                <a:cubicBezTo>
                  <a:pt x="617" y="71"/>
                  <a:pt x="617" y="71"/>
                  <a:pt x="617" y="71"/>
                </a:cubicBezTo>
                <a:cubicBezTo>
                  <a:pt x="617" y="70"/>
                  <a:pt x="617" y="70"/>
                  <a:pt x="617" y="70"/>
                </a:cubicBezTo>
                <a:cubicBezTo>
                  <a:pt x="617" y="70"/>
                  <a:pt x="617" y="70"/>
                  <a:pt x="617" y="70"/>
                </a:cubicBezTo>
                <a:cubicBezTo>
                  <a:pt x="617" y="70"/>
                  <a:pt x="617" y="70"/>
                  <a:pt x="617" y="70"/>
                </a:cubicBezTo>
                <a:cubicBezTo>
                  <a:pt x="617" y="69"/>
                  <a:pt x="617" y="69"/>
                  <a:pt x="616" y="69"/>
                </a:cubicBezTo>
                <a:cubicBezTo>
                  <a:pt x="616" y="69"/>
                  <a:pt x="616" y="69"/>
                  <a:pt x="616" y="69"/>
                </a:cubicBezTo>
                <a:cubicBezTo>
                  <a:pt x="616" y="69"/>
                  <a:pt x="616" y="69"/>
                  <a:pt x="616" y="69"/>
                </a:cubicBezTo>
                <a:cubicBezTo>
                  <a:pt x="616" y="68"/>
                  <a:pt x="616" y="68"/>
                  <a:pt x="616" y="68"/>
                </a:cubicBezTo>
                <a:cubicBezTo>
                  <a:pt x="616" y="68"/>
                  <a:pt x="616" y="68"/>
                  <a:pt x="616" y="68"/>
                </a:cubicBezTo>
                <a:cubicBezTo>
                  <a:pt x="616" y="67"/>
                  <a:pt x="616" y="67"/>
                  <a:pt x="616" y="67"/>
                </a:cubicBezTo>
                <a:cubicBezTo>
                  <a:pt x="616" y="67"/>
                  <a:pt x="616" y="67"/>
                  <a:pt x="616" y="67"/>
                </a:cubicBezTo>
                <a:cubicBezTo>
                  <a:pt x="615" y="66"/>
                  <a:pt x="616" y="66"/>
                  <a:pt x="615" y="66"/>
                </a:cubicBezTo>
                <a:cubicBezTo>
                  <a:pt x="615" y="66"/>
                  <a:pt x="615" y="66"/>
                  <a:pt x="615" y="66"/>
                </a:cubicBezTo>
                <a:cubicBezTo>
                  <a:pt x="615" y="65"/>
                  <a:pt x="615" y="65"/>
                  <a:pt x="615" y="65"/>
                </a:cubicBezTo>
                <a:cubicBezTo>
                  <a:pt x="615" y="65"/>
                  <a:pt x="615" y="65"/>
                  <a:pt x="615" y="65"/>
                </a:cubicBezTo>
                <a:cubicBezTo>
                  <a:pt x="615" y="64"/>
                  <a:pt x="615" y="64"/>
                  <a:pt x="615" y="64"/>
                </a:cubicBezTo>
                <a:cubicBezTo>
                  <a:pt x="615" y="64"/>
                  <a:pt x="615" y="64"/>
                  <a:pt x="615" y="64"/>
                </a:cubicBezTo>
                <a:cubicBezTo>
                  <a:pt x="615" y="63"/>
                  <a:pt x="615" y="63"/>
                  <a:pt x="614" y="63"/>
                </a:cubicBezTo>
                <a:cubicBezTo>
                  <a:pt x="614" y="63"/>
                  <a:pt x="614" y="63"/>
                  <a:pt x="614" y="63"/>
                </a:cubicBezTo>
                <a:cubicBezTo>
                  <a:pt x="614" y="62"/>
                  <a:pt x="614" y="62"/>
                  <a:pt x="614" y="62"/>
                </a:cubicBezTo>
                <a:cubicBezTo>
                  <a:pt x="614" y="62"/>
                  <a:pt x="614" y="62"/>
                  <a:pt x="614" y="62"/>
                </a:cubicBezTo>
                <a:cubicBezTo>
                  <a:pt x="614" y="62"/>
                  <a:pt x="614" y="62"/>
                  <a:pt x="614" y="62"/>
                </a:cubicBezTo>
                <a:cubicBezTo>
                  <a:pt x="614" y="61"/>
                  <a:pt x="614" y="61"/>
                  <a:pt x="614" y="61"/>
                </a:cubicBezTo>
                <a:cubicBezTo>
                  <a:pt x="614" y="61"/>
                  <a:pt x="614" y="61"/>
                  <a:pt x="614" y="61"/>
                </a:cubicBezTo>
                <a:cubicBezTo>
                  <a:pt x="613" y="61"/>
                  <a:pt x="614" y="60"/>
                  <a:pt x="613" y="60"/>
                </a:cubicBezTo>
                <a:cubicBezTo>
                  <a:pt x="613" y="60"/>
                  <a:pt x="613" y="60"/>
                  <a:pt x="613" y="60"/>
                </a:cubicBezTo>
                <a:cubicBezTo>
                  <a:pt x="613" y="59"/>
                  <a:pt x="613" y="59"/>
                  <a:pt x="613" y="59"/>
                </a:cubicBezTo>
                <a:cubicBezTo>
                  <a:pt x="613" y="59"/>
                  <a:pt x="613" y="59"/>
                  <a:pt x="613" y="59"/>
                </a:cubicBezTo>
                <a:cubicBezTo>
                  <a:pt x="613" y="58"/>
                  <a:pt x="613" y="58"/>
                  <a:pt x="613" y="58"/>
                </a:cubicBezTo>
                <a:cubicBezTo>
                  <a:pt x="613" y="58"/>
                  <a:pt x="613" y="58"/>
                  <a:pt x="613" y="58"/>
                </a:cubicBezTo>
                <a:cubicBezTo>
                  <a:pt x="612" y="57"/>
                  <a:pt x="612" y="57"/>
                  <a:pt x="612" y="57"/>
                </a:cubicBezTo>
                <a:cubicBezTo>
                  <a:pt x="612" y="57"/>
                  <a:pt x="612" y="57"/>
                  <a:pt x="612" y="57"/>
                </a:cubicBezTo>
                <a:cubicBezTo>
                  <a:pt x="612" y="56"/>
                  <a:pt x="612" y="56"/>
                  <a:pt x="612" y="56"/>
                </a:cubicBezTo>
                <a:cubicBezTo>
                  <a:pt x="612" y="56"/>
                  <a:pt x="612" y="56"/>
                  <a:pt x="612" y="56"/>
                </a:cubicBezTo>
                <a:cubicBezTo>
                  <a:pt x="612" y="55"/>
                  <a:pt x="612" y="55"/>
                  <a:pt x="612" y="55"/>
                </a:cubicBezTo>
                <a:cubicBezTo>
                  <a:pt x="611" y="55"/>
                  <a:pt x="611" y="55"/>
                  <a:pt x="611" y="55"/>
                </a:cubicBezTo>
                <a:cubicBezTo>
                  <a:pt x="612" y="55"/>
                  <a:pt x="612" y="55"/>
                  <a:pt x="612" y="55"/>
                </a:cubicBezTo>
                <a:cubicBezTo>
                  <a:pt x="611" y="54"/>
                  <a:pt x="611" y="54"/>
                  <a:pt x="611" y="54"/>
                </a:cubicBezTo>
                <a:cubicBezTo>
                  <a:pt x="611" y="54"/>
                  <a:pt x="611" y="54"/>
                  <a:pt x="611" y="54"/>
                </a:cubicBezTo>
                <a:cubicBezTo>
                  <a:pt x="611" y="54"/>
                  <a:pt x="611" y="54"/>
                  <a:pt x="611" y="54"/>
                </a:cubicBezTo>
                <a:cubicBezTo>
                  <a:pt x="611" y="53"/>
                  <a:pt x="611" y="53"/>
                  <a:pt x="611" y="53"/>
                </a:cubicBezTo>
                <a:cubicBezTo>
                  <a:pt x="611" y="53"/>
                  <a:pt x="611" y="53"/>
                  <a:pt x="611" y="53"/>
                </a:cubicBezTo>
                <a:cubicBezTo>
                  <a:pt x="611" y="53"/>
                  <a:pt x="611" y="52"/>
                  <a:pt x="611" y="52"/>
                </a:cubicBezTo>
                <a:cubicBezTo>
                  <a:pt x="611" y="52"/>
                  <a:pt x="611" y="52"/>
                  <a:pt x="611" y="52"/>
                </a:cubicBezTo>
                <a:cubicBezTo>
                  <a:pt x="610" y="51"/>
                  <a:pt x="611" y="51"/>
                  <a:pt x="610" y="51"/>
                </a:cubicBezTo>
                <a:cubicBezTo>
                  <a:pt x="610" y="51"/>
                  <a:pt x="610" y="51"/>
                  <a:pt x="610" y="51"/>
                </a:cubicBezTo>
                <a:cubicBezTo>
                  <a:pt x="610" y="50"/>
                  <a:pt x="610" y="50"/>
                  <a:pt x="610" y="50"/>
                </a:cubicBezTo>
                <a:cubicBezTo>
                  <a:pt x="610" y="50"/>
                  <a:pt x="610" y="50"/>
                  <a:pt x="610" y="50"/>
                </a:cubicBezTo>
                <a:cubicBezTo>
                  <a:pt x="610" y="49"/>
                  <a:pt x="610" y="49"/>
                  <a:pt x="610" y="49"/>
                </a:cubicBezTo>
                <a:cubicBezTo>
                  <a:pt x="609" y="49"/>
                  <a:pt x="609" y="49"/>
                  <a:pt x="609" y="49"/>
                </a:cubicBezTo>
                <a:cubicBezTo>
                  <a:pt x="609" y="48"/>
                  <a:pt x="609" y="48"/>
                  <a:pt x="609" y="48"/>
                </a:cubicBezTo>
                <a:cubicBezTo>
                  <a:pt x="609" y="48"/>
                  <a:pt x="609" y="48"/>
                  <a:pt x="609" y="48"/>
                </a:cubicBezTo>
                <a:cubicBezTo>
                  <a:pt x="609" y="48"/>
                  <a:pt x="609" y="48"/>
                  <a:pt x="609" y="48"/>
                </a:cubicBezTo>
                <a:cubicBezTo>
                  <a:pt x="609" y="47"/>
                  <a:pt x="609" y="47"/>
                  <a:pt x="609" y="47"/>
                </a:cubicBezTo>
                <a:cubicBezTo>
                  <a:pt x="609" y="47"/>
                  <a:pt x="609" y="47"/>
                  <a:pt x="609" y="47"/>
                </a:cubicBezTo>
                <a:cubicBezTo>
                  <a:pt x="609" y="47"/>
                  <a:pt x="609" y="47"/>
                  <a:pt x="609" y="47"/>
                </a:cubicBezTo>
                <a:cubicBezTo>
                  <a:pt x="609" y="46"/>
                  <a:pt x="609" y="46"/>
                  <a:pt x="608" y="46"/>
                </a:cubicBezTo>
                <a:cubicBezTo>
                  <a:pt x="608" y="46"/>
                  <a:pt x="608" y="46"/>
                  <a:pt x="608" y="46"/>
                </a:cubicBezTo>
                <a:cubicBezTo>
                  <a:pt x="608" y="46"/>
                  <a:pt x="608" y="45"/>
                  <a:pt x="608" y="45"/>
                </a:cubicBezTo>
                <a:cubicBezTo>
                  <a:pt x="608" y="45"/>
                  <a:pt x="608" y="45"/>
                  <a:pt x="608" y="45"/>
                </a:cubicBezTo>
                <a:cubicBezTo>
                  <a:pt x="608" y="45"/>
                  <a:pt x="608" y="44"/>
                  <a:pt x="608" y="44"/>
                </a:cubicBezTo>
                <a:cubicBezTo>
                  <a:pt x="608" y="44"/>
                  <a:pt x="608" y="44"/>
                  <a:pt x="608" y="44"/>
                </a:cubicBezTo>
                <a:cubicBezTo>
                  <a:pt x="607" y="43"/>
                  <a:pt x="608" y="43"/>
                  <a:pt x="607" y="43"/>
                </a:cubicBezTo>
                <a:cubicBezTo>
                  <a:pt x="607" y="43"/>
                  <a:pt x="607" y="43"/>
                  <a:pt x="607" y="43"/>
                </a:cubicBezTo>
                <a:cubicBezTo>
                  <a:pt x="607" y="43"/>
                  <a:pt x="607" y="42"/>
                  <a:pt x="607" y="42"/>
                </a:cubicBezTo>
                <a:cubicBezTo>
                  <a:pt x="607" y="42"/>
                  <a:pt x="607" y="42"/>
                  <a:pt x="607" y="42"/>
                </a:cubicBezTo>
                <a:cubicBezTo>
                  <a:pt x="607" y="41"/>
                  <a:pt x="607" y="41"/>
                  <a:pt x="607" y="41"/>
                </a:cubicBezTo>
                <a:cubicBezTo>
                  <a:pt x="607" y="41"/>
                  <a:pt x="607" y="41"/>
                  <a:pt x="607" y="41"/>
                </a:cubicBezTo>
                <a:cubicBezTo>
                  <a:pt x="607" y="41"/>
                  <a:pt x="607" y="41"/>
                  <a:pt x="607" y="41"/>
                </a:cubicBezTo>
                <a:cubicBezTo>
                  <a:pt x="607" y="40"/>
                  <a:pt x="607" y="40"/>
                  <a:pt x="606" y="40"/>
                </a:cubicBezTo>
                <a:cubicBezTo>
                  <a:pt x="606" y="40"/>
                  <a:pt x="606" y="40"/>
                  <a:pt x="606" y="40"/>
                </a:cubicBezTo>
                <a:cubicBezTo>
                  <a:pt x="606" y="40"/>
                  <a:pt x="606" y="40"/>
                  <a:pt x="606" y="40"/>
                </a:cubicBezTo>
                <a:cubicBezTo>
                  <a:pt x="606" y="39"/>
                  <a:pt x="606" y="39"/>
                  <a:pt x="606" y="39"/>
                </a:cubicBezTo>
                <a:cubicBezTo>
                  <a:pt x="606" y="39"/>
                  <a:pt x="606" y="39"/>
                  <a:pt x="606" y="39"/>
                </a:cubicBezTo>
                <a:cubicBezTo>
                  <a:pt x="606" y="39"/>
                  <a:pt x="606" y="38"/>
                  <a:pt x="606" y="38"/>
                </a:cubicBezTo>
                <a:cubicBezTo>
                  <a:pt x="606" y="38"/>
                  <a:pt x="606" y="38"/>
                  <a:pt x="606" y="38"/>
                </a:cubicBezTo>
                <a:cubicBezTo>
                  <a:pt x="605" y="38"/>
                  <a:pt x="606" y="37"/>
                  <a:pt x="605" y="37"/>
                </a:cubicBezTo>
                <a:cubicBezTo>
                  <a:pt x="605" y="37"/>
                  <a:pt x="605" y="37"/>
                  <a:pt x="605" y="37"/>
                </a:cubicBezTo>
                <a:cubicBezTo>
                  <a:pt x="605" y="37"/>
                  <a:pt x="605" y="36"/>
                  <a:pt x="605" y="36"/>
                </a:cubicBezTo>
                <a:cubicBezTo>
                  <a:pt x="605" y="36"/>
                  <a:pt x="605" y="36"/>
                  <a:pt x="605" y="36"/>
                </a:cubicBezTo>
                <a:cubicBezTo>
                  <a:pt x="605" y="36"/>
                  <a:pt x="605" y="35"/>
                  <a:pt x="605" y="35"/>
                </a:cubicBezTo>
                <a:cubicBezTo>
                  <a:pt x="605" y="35"/>
                  <a:pt x="605" y="35"/>
                  <a:pt x="605" y="35"/>
                </a:cubicBezTo>
                <a:cubicBezTo>
                  <a:pt x="604" y="34"/>
                  <a:pt x="604" y="34"/>
                  <a:pt x="604" y="34"/>
                </a:cubicBezTo>
                <a:cubicBezTo>
                  <a:pt x="600" y="34"/>
                  <a:pt x="597" y="34"/>
                  <a:pt x="593" y="34"/>
                </a:cubicBezTo>
                <a:cubicBezTo>
                  <a:pt x="592" y="34"/>
                  <a:pt x="592" y="35"/>
                  <a:pt x="592" y="35"/>
                </a:cubicBezTo>
                <a:cubicBezTo>
                  <a:pt x="593" y="35"/>
                  <a:pt x="593" y="35"/>
                  <a:pt x="593" y="35"/>
                </a:cubicBezTo>
                <a:cubicBezTo>
                  <a:pt x="592" y="35"/>
                  <a:pt x="592" y="35"/>
                  <a:pt x="592" y="35"/>
                </a:cubicBezTo>
                <a:cubicBezTo>
                  <a:pt x="593" y="36"/>
                  <a:pt x="593" y="36"/>
                  <a:pt x="593" y="36"/>
                </a:cubicBezTo>
                <a:cubicBezTo>
                  <a:pt x="593" y="36"/>
                  <a:pt x="593" y="36"/>
                  <a:pt x="593" y="36"/>
                </a:cubicBezTo>
                <a:cubicBezTo>
                  <a:pt x="593" y="36"/>
                  <a:pt x="593" y="37"/>
                  <a:pt x="593" y="37"/>
                </a:cubicBezTo>
                <a:cubicBezTo>
                  <a:pt x="593" y="37"/>
                  <a:pt x="593" y="37"/>
                  <a:pt x="593" y="37"/>
                </a:cubicBezTo>
                <a:cubicBezTo>
                  <a:pt x="593" y="37"/>
                  <a:pt x="593" y="38"/>
                  <a:pt x="593" y="38"/>
                </a:cubicBezTo>
                <a:cubicBezTo>
                  <a:pt x="593" y="38"/>
                  <a:pt x="593" y="38"/>
                  <a:pt x="593" y="38"/>
                </a:cubicBezTo>
                <a:cubicBezTo>
                  <a:pt x="594" y="38"/>
                  <a:pt x="594" y="38"/>
                  <a:pt x="594" y="39"/>
                </a:cubicBezTo>
                <a:cubicBezTo>
                  <a:pt x="594" y="39"/>
                  <a:pt x="594" y="39"/>
                  <a:pt x="594" y="39"/>
                </a:cubicBezTo>
                <a:cubicBezTo>
                  <a:pt x="594" y="39"/>
                  <a:pt x="594" y="39"/>
                  <a:pt x="594" y="40"/>
                </a:cubicBezTo>
                <a:cubicBezTo>
                  <a:pt x="594" y="40"/>
                  <a:pt x="594" y="40"/>
                  <a:pt x="594" y="40"/>
                </a:cubicBezTo>
                <a:cubicBezTo>
                  <a:pt x="595" y="40"/>
                  <a:pt x="594" y="40"/>
                  <a:pt x="595" y="41"/>
                </a:cubicBezTo>
                <a:cubicBezTo>
                  <a:pt x="595" y="41"/>
                  <a:pt x="595" y="41"/>
                  <a:pt x="595" y="41"/>
                </a:cubicBezTo>
                <a:cubicBezTo>
                  <a:pt x="595" y="41"/>
                  <a:pt x="595" y="41"/>
                  <a:pt x="595" y="41"/>
                </a:cubicBezTo>
                <a:cubicBezTo>
                  <a:pt x="595" y="41"/>
                  <a:pt x="595" y="41"/>
                  <a:pt x="595" y="41"/>
                </a:cubicBezTo>
                <a:cubicBezTo>
                  <a:pt x="595" y="42"/>
                  <a:pt x="595" y="42"/>
                  <a:pt x="595" y="42"/>
                </a:cubicBezTo>
                <a:cubicBezTo>
                  <a:pt x="595" y="42"/>
                  <a:pt x="595" y="42"/>
                  <a:pt x="595" y="42"/>
                </a:cubicBezTo>
                <a:cubicBezTo>
                  <a:pt x="595" y="43"/>
                  <a:pt x="595" y="43"/>
                  <a:pt x="596" y="43"/>
                </a:cubicBezTo>
                <a:cubicBezTo>
                  <a:pt x="596" y="43"/>
                  <a:pt x="596" y="43"/>
                  <a:pt x="596" y="43"/>
                </a:cubicBezTo>
                <a:cubicBezTo>
                  <a:pt x="596" y="43"/>
                  <a:pt x="596" y="43"/>
                  <a:pt x="596" y="43"/>
                </a:cubicBezTo>
                <a:cubicBezTo>
                  <a:pt x="596" y="44"/>
                  <a:pt x="596" y="44"/>
                  <a:pt x="596" y="44"/>
                </a:cubicBezTo>
                <a:cubicBezTo>
                  <a:pt x="596" y="44"/>
                  <a:pt x="596" y="44"/>
                  <a:pt x="596" y="44"/>
                </a:cubicBezTo>
                <a:cubicBezTo>
                  <a:pt x="596" y="44"/>
                  <a:pt x="596" y="45"/>
                  <a:pt x="596" y="45"/>
                </a:cubicBezTo>
                <a:cubicBezTo>
                  <a:pt x="596" y="45"/>
                  <a:pt x="596" y="45"/>
                  <a:pt x="596" y="45"/>
                </a:cubicBezTo>
                <a:cubicBezTo>
                  <a:pt x="596" y="45"/>
                  <a:pt x="596" y="46"/>
                  <a:pt x="597" y="46"/>
                </a:cubicBezTo>
                <a:cubicBezTo>
                  <a:pt x="597" y="46"/>
                  <a:pt x="597" y="46"/>
                  <a:pt x="597" y="46"/>
                </a:cubicBezTo>
                <a:cubicBezTo>
                  <a:pt x="597" y="46"/>
                  <a:pt x="597" y="46"/>
                  <a:pt x="597" y="47"/>
                </a:cubicBezTo>
                <a:cubicBezTo>
                  <a:pt x="597" y="47"/>
                  <a:pt x="597" y="47"/>
                  <a:pt x="597" y="47"/>
                </a:cubicBezTo>
                <a:cubicBezTo>
                  <a:pt x="597" y="47"/>
                  <a:pt x="597" y="47"/>
                  <a:pt x="597" y="48"/>
                </a:cubicBezTo>
                <a:cubicBezTo>
                  <a:pt x="597" y="48"/>
                  <a:pt x="597" y="48"/>
                  <a:pt x="597" y="48"/>
                </a:cubicBezTo>
                <a:cubicBezTo>
                  <a:pt x="598" y="48"/>
                  <a:pt x="597" y="48"/>
                  <a:pt x="598" y="49"/>
                </a:cubicBezTo>
                <a:cubicBezTo>
                  <a:pt x="598" y="49"/>
                  <a:pt x="598" y="49"/>
                  <a:pt x="598" y="49"/>
                </a:cubicBezTo>
                <a:cubicBezTo>
                  <a:pt x="598" y="49"/>
                  <a:pt x="598" y="49"/>
                  <a:pt x="598" y="49"/>
                </a:cubicBezTo>
                <a:cubicBezTo>
                  <a:pt x="598" y="49"/>
                  <a:pt x="598" y="49"/>
                  <a:pt x="598" y="49"/>
                </a:cubicBezTo>
                <a:cubicBezTo>
                  <a:pt x="598" y="50"/>
                  <a:pt x="598" y="50"/>
                  <a:pt x="598" y="50"/>
                </a:cubicBezTo>
                <a:cubicBezTo>
                  <a:pt x="598" y="50"/>
                  <a:pt x="598" y="50"/>
                  <a:pt x="598" y="50"/>
                </a:cubicBezTo>
                <a:cubicBezTo>
                  <a:pt x="599" y="51"/>
                  <a:pt x="598" y="51"/>
                  <a:pt x="599" y="51"/>
                </a:cubicBezTo>
                <a:cubicBezTo>
                  <a:pt x="599" y="51"/>
                  <a:pt x="599" y="51"/>
                  <a:pt x="599" y="51"/>
                </a:cubicBezTo>
                <a:cubicBezTo>
                  <a:pt x="599" y="51"/>
                  <a:pt x="599" y="51"/>
                  <a:pt x="599" y="51"/>
                </a:cubicBezTo>
                <a:cubicBezTo>
                  <a:pt x="599" y="52"/>
                  <a:pt x="599" y="52"/>
                  <a:pt x="599" y="52"/>
                </a:cubicBezTo>
                <a:cubicBezTo>
                  <a:pt x="599" y="52"/>
                  <a:pt x="599" y="52"/>
                  <a:pt x="599" y="52"/>
                </a:cubicBezTo>
                <a:cubicBezTo>
                  <a:pt x="599" y="52"/>
                  <a:pt x="599" y="53"/>
                  <a:pt x="599" y="53"/>
                </a:cubicBezTo>
                <a:cubicBezTo>
                  <a:pt x="599" y="53"/>
                  <a:pt x="599" y="53"/>
                  <a:pt x="599" y="53"/>
                </a:cubicBezTo>
                <a:cubicBezTo>
                  <a:pt x="600" y="53"/>
                  <a:pt x="600" y="54"/>
                  <a:pt x="600" y="54"/>
                </a:cubicBezTo>
                <a:cubicBezTo>
                  <a:pt x="600" y="54"/>
                  <a:pt x="600" y="54"/>
                  <a:pt x="600" y="54"/>
                </a:cubicBezTo>
                <a:cubicBezTo>
                  <a:pt x="600" y="54"/>
                  <a:pt x="600" y="54"/>
                  <a:pt x="600" y="55"/>
                </a:cubicBezTo>
                <a:cubicBezTo>
                  <a:pt x="600" y="55"/>
                  <a:pt x="600" y="55"/>
                  <a:pt x="600" y="55"/>
                </a:cubicBezTo>
                <a:cubicBezTo>
                  <a:pt x="600" y="55"/>
                  <a:pt x="600" y="55"/>
                  <a:pt x="600" y="56"/>
                </a:cubicBezTo>
                <a:cubicBezTo>
                  <a:pt x="600" y="56"/>
                  <a:pt x="600" y="56"/>
                  <a:pt x="600" y="56"/>
                </a:cubicBezTo>
                <a:cubicBezTo>
                  <a:pt x="601" y="56"/>
                  <a:pt x="600" y="56"/>
                  <a:pt x="601" y="57"/>
                </a:cubicBezTo>
                <a:cubicBezTo>
                  <a:pt x="601" y="57"/>
                  <a:pt x="601" y="57"/>
                  <a:pt x="601" y="57"/>
                </a:cubicBezTo>
                <a:cubicBezTo>
                  <a:pt x="601" y="57"/>
                  <a:pt x="601" y="57"/>
                  <a:pt x="601" y="57"/>
                </a:cubicBezTo>
                <a:cubicBezTo>
                  <a:pt x="601" y="57"/>
                  <a:pt x="601" y="57"/>
                  <a:pt x="601" y="57"/>
                </a:cubicBezTo>
                <a:cubicBezTo>
                  <a:pt x="601" y="58"/>
                  <a:pt x="601" y="58"/>
                  <a:pt x="602" y="58"/>
                </a:cubicBezTo>
                <a:cubicBezTo>
                  <a:pt x="602" y="58"/>
                  <a:pt x="602" y="58"/>
                  <a:pt x="602" y="58"/>
                </a:cubicBezTo>
                <a:cubicBezTo>
                  <a:pt x="602" y="59"/>
                  <a:pt x="602" y="59"/>
                  <a:pt x="602" y="59"/>
                </a:cubicBezTo>
                <a:cubicBezTo>
                  <a:pt x="602" y="59"/>
                  <a:pt x="602" y="59"/>
                  <a:pt x="602" y="59"/>
                </a:cubicBezTo>
                <a:cubicBezTo>
                  <a:pt x="602" y="59"/>
                  <a:pt x="602" y="59"/>
                  <a:pt x="602" y="59"/>
                </a:cubicBezTo>
                <a:cubicBezTo>
                  <a:pt x="602" y="60"/>
                  <a:pt x="602" y="60"/>
                  <a:pt x="602" y="60"/>
                </a:cubicBezTo>
                <a:cubicBezTo>
                  <a:pt x="602" y="60"/>
                  <a:pt x="602" y="60"/>
                  <a:pt x="602" y="60"/>
                </a:cubicBezTo>
                <a:cubicBezTo>
                  <a:pt x="602" y="60"/>
                  <a:pt x="602" y="61"/>
                  <a:pt x="602" y="61"/>
                </a:cubicBezTo>
                <a:cubicBezTo>
                  <a:pt x="603" y="61"/>
                  <a:pt x="603" y="61"/>
                  <a:pt x="603" y="61"/>
                </a:cubicBezTo>
                <a:cubicBezTo>
                  <a:pt x="603" y="61"/>
                  <a:pt x="603" y="62"/>
                  <a:pt x="603" y="62"/>
                </a:cubicBezTo>
                <a:cubicBezTo>
                  <a:pt x="603" y="62"/>
                  <a:pt x="603" y="62"/>
                  <a:pt x="603" y="62"/>
                </a:cubicBezTo>
                <a:cubicBezTo>
                  <a:pt x="603" y="62"/>
                  <a:pt x="603" y="62"/>
                  <a:pt x="603" y="63"/>
                </a:cubicBezTo>
                <a:cubicBezTo>
                  <a:pt x="603" y="63"/>
                  <a:pt x="603" y="63"/>
                  <a:pt x="603" y="63"/>
                </a:cubicBezTo>
                <a:cubicBezTo>
                  <a:pt x="603" y="63"/>
                  <a:pt x="603" y="63"/>
                  <a:pt x="604" y="64"/>
                </a:cubicBezTo>
                <a:cubicBezTo>
                  <a:pt x="604" y="64"/>
                  <a:pt x="604" y="64"/>
                  <a:pt x="604" y="64"/>
                </a:cubicBezTo>
                <a:cubicBezTo>
                  <a:pt x="604" y="64"/>
                  <a:pt x="604" y="64"/>
                  <a:pt x="604" y="65"/>
                </a:cubicBezTo>
                <a:cubicBezTo>
                  <a:pt x="604" y="65"/>
                  <a:pt x="604" y="65"/>
                  <a:pt x="604" y="65"/>
                </a:cubicBezTo>
                <a:cubicBezTo>
                  <a:pt x="604" y="65"/>
                  <a:pt x="604" y="65"/>
                  <a:pt x="604" y="65"/>
                </a:cubicBezTo>
                <a:cubicBezTo>
                  <a:pt x="604" y="65"/>
                  <a:pt x="604" y="65"/>
                  <a:pt x="604" y="65"/>
                </a:cubicBezTo>
                <a:cubicBezTo>
                  <a:pt x="605" y="66"/>
                  <a:pt x="604" y="66"/>
                  <a:pt x="605" y="66"/>
                </a:cubicBezTo>
                <a:cubicBezTo>
                  <a:pt x="605" y="66"/>
                  <a:pt x="605" y="66"/>
                  <a:pt x="605" y="66"/>
                </a:cubicBezTo>
                <a:cubicBezTo>
                  <a:pt x="605" y="67"/>
                  <a:pt x="605" y="67"/>
                  <a:pt x="605" y="67"/>
                </a:cubicBezTo>
                <a:cubicBezTo>
                  <a:pt x="605" y="67"/>
                  <a:pt x="605" y="67"/>
                  <a:pt x="605" y="67"/>
                </a:cubicBezTo>
                <a:cubicBezTo>
                  <a:pt x="605" y="67"/>
                  <a:pt x="605" y="67"/>
                  <a:pt x="605" y="67"/>
                </a:cubicBezTo>
                <a:cubicBezTo>
                  <a:pt x="605" y="68"/>
                  <a:pt x="605" y="68"/>
                  <a:pt x="605" y="68"/>
                </a:cubicBezTo>
                <a:cubicBezTo>
                  <a:pt x="605" y="68"/>
                  <a:pt x="605" y="68"/>
                  <a:pt x="605" y="68"/>
                </a:cubicBezTo>
                <a:cubicBezTo>
                  <a:pt x="605" y="68"/>
                  <a:pt x="605" y="69"/>
                  <a:pt x="606" y="69"/>
                </a:cubicBezTo>
                <a:cubicBezTo>
                  <a:pt x="606" y="69"/>
                  <a:pt x="606" y="69"/>
                  <a:pt x="606" y="69"/>
                </a:cubicBezTo>
                <a:cubicBezTo>
                  <a:pt x="606" y="69"/>
                  <a:pt x="606" y="70"/>
                  <a:pt x="606" y="70"/>
                </a:cubicBezTo>
                <a:cubicBezTo>
                  <a:pt x="606" y="70"/>
                  <a:pt x="606" y="70"/>
                  <a:pt x="606" y="70"/>
                </a:cubicBezTo>
                <a:cubicBezTo>
                  <a:pt x="606" y="70"/>
                  <a:pt x="606" y="70"/>
                  <a:pt x="606" y="71"/>
                </a:cubicBezTo>
                <a:cubicBezTo>
                  <a:pt x="606" y="71"/>
                  <a:pt x="606" y="71"/>
                  <a:pt x="606" y="71"/>
                </a:cubicBezTo>
                <a:cubicBezTo>
                  <a:pt x="607" y="71"/>
                  <a:pt x="606" y="71"/>
                  <a:pt x="607" y="72"/>
                </a:cubicBezTo>
                <a:cubicBezTo>
                  <a:pt x="607" y="72"/>
                  <a:pt x="607" y="72"/>
                  <a:pt x="607" y="72"/>
                </a:cubicBezTo>
                <a:cubicBezTo>
                  <a:pt x="607" y="72"/>
                  <a:pt x="607" y="72"/>
                  <a:pt x="607" y="73"/>
                </a:cubicBezTo>
                <a:cubicBezTo>
                  <a:pt x="607" y="73"/>
                  <a:pt x="607" y="73"/>
                  <a:pt x="607" y="73"/>
                </a:cubicBezTo>
                <a:cubicBezTo>
                  <a:pt x="607" y="73"/>
                  <a:pt x="607" y="73"/>
                  <a:pt x="607" y="73"/>
                </a:cubicBezTo>
                <a:cubicBezTo>
                  <a:pt x="607" y="73"/>
                  <a:pt x="607" y="73"/>
                  <a:pt x="607" y="73"/>
                </a:cubicBezTo>
                <a:cubicBezTo>
                  <a:pt x="608" y="74"/>
                  <a:pt x="607" y="74"/>
                  <a:pt x="608" y="74"/>
                </a:cubicBezTo>
                <a:cubicBezTo>
                  <a:pt x="608" y="74"/>
                  <a:pt x="608" y="74"/>
                  <a:pt x="608" y="74"/>
                </a:cubicBezTo>
                <a:cubicBezTo>
                  <a:pt x="608" y="75"/>
                  <a:pt x="608" y="75"/>
                  <a:pt x="608" y="75"/>
                </a:cubicBezTo>
                <a:cubicBezTo>
                  <a:pt x="608" y="75"/>
                  <a:pt x="608" y="75"/>
                  <a:pt x="608" y="75"/>
                </a:cubicBezTo>
                <a:cubicBezTo>
                  <a:pt x="608" y="75"/>
                  <a:pt x="608" y="75"/>
                  <a:pt x="608" y="75"/>
                </a:cubicBezTo>
                <a:cubicBezTo>
                  <a:pt x="608" y="76"/>
                  <a:pt x="608" y="76"/>
                  <a:pt x="608" y="76"/>
                </a:cubicBezTo>
                <a:cubicBezTo>
                  <a:pt x="608" y="76"/>
                  <a:pt x="608" y="76"/>
                  <a:pt x="608" y="76"/>
                </a:cubicBezTo>
                <a:cubicBezTo>
                  <a:pt x="609" y="76"/>
                  <a:pt x="609" y="77"/>
                  <a:pt x="609" y="77"/>
                </a:cubicBezTo>
                <a:cubicBezTo>
                  <a:pt x="609" y="77"/>
                  <a:pt x="609" y="77"/>
                  <a:pt x="609" y="77"/>
                </a:cubicBezTo>
                <a:cubicBezTo>
                  <a:pt x="609" y="77"/>
                  <a:pt x="609" y="77"/>
                  <a:pt x="609" y="77"/>
                </a:cubicBezTo>
                <a:cubicBezTo>
                  <a:pt x="609" y="77"/>
                  <a:pt x="609" y="78"/>
                  <a:pt x="609" y="78"/>
                </a:cubicBezTo>
                <a:cubicBezTo>
                  <a:pt x="609" y="78"/>
                  <a:pt x="609" y="78"/>
                  <a:pt x="609" y="78"/>
                </a:cubicBezTo>
                <a:cubicBezTo>
                  <a:pt x="609" y="78"/>
                  <a:pt x="609" y="78"/>
                  <a:pt x="609" y="79"/>
                </a:cubicBezTo>
                <a:cubicBezTo>
                  <a:pt x="610" y="79"/>
                  <a:pt x="610" y="79"/>
                  <a:pt x="610" y="79"/>
                </a:cubicBezTo>
                <a:cubicBezTo>
                  <a:pt x="610" y="79"/>
                  <a:pt x="610" y="79"/>
                  <a:pt x="610" y="80"/>
                </a:cubicBezTo>
                <a:cubicBezTo>
                  <a:pt x="610" y="80"/>
                  <a:pt x="610" y="80"/>
                  <a:pt x="610" y="80"/>
                </a:cubicBezTo>
                <a:cubicBezTo>
                  <a:pt x="610" y="80"/>
                  <a:pt x="610" y="80"/>
                  <a:pt x="610" y="81"/>
                </a:cubicBezTo>
                <a:cubicBezTo>
                  <a:pt x="610" y="81"/>
                  <a:pt x="610" y="81"/>
                  <a:pt x="610" y="81"/>
                </a:cubicBezTo>
                <a:cubicBezTo>
                  <a:pt x="610" y="81"/>
                  <a:pt x="610" y="81"/>
                  <a:pt x="611" y="81"/>
                </a:cubicBezTo>
                <a:cubicBezTo>
                  <a:pt x="611" y="81"/>
                  <a:pt x="611" y="81"/>
                  <a:pt x="611" y="81"/>
                </a:cubicBezTo>
                <a:cubicBezTo>
                  <a:pt x="611" y="82"/>
                  <a:pt x="611" y="82"/>
                  <a:pt x="611" y="82"/>
                </a:cubicBezTo>
                <a:cubicBezTo>
                  <a:pt x="611" y="82"/>
                  <a:pt x="611" y="82"/>
                  <a:pt x="611" y="82"/>
                </a:cubicBezTo>
                <a:cubicBezTo>
                  <a:pt x="611" y="83"/>
                  <a:pt x="611" y="83"/>
                  <a:pt x="611" y="83"/>
                </a:cubicBezTo>
                <a:cubicBezTo>
                  <a:pt x="611" y="83"/>
                  <a:pt x="611" y="83"/>
                  <a:pt x="611" y="83"/>
                </a:cubicBezTo>
                <a:cubicBezTo>
                  <a:pt x="611" y="83"/>
                  <a:pt x="611" y="83"/>
                  <a:pt x="611" y="83"/>
                </a:cubicBezTo>
                <a:cubicBezTo>
                  <a:pt x="611" y="84"/>
                  <a:pt x="611" y="84"/>
                  <a:pt x="612" y="84"/>
                </a:cubicBezTo>
                <a:cubicBezTo>
                  <a:pt x="612" y="84"/>
                  <a:pt x="612" y="84"/>
                  <a:pt x="612" y="84"/>
                </a:cubicBezTo>
                <a:cubicBezTo>
                  <a:pt x="612" y="84"/>
                  <a:pt x="612" y="85"/>
                  <a:pt x="612" y="85"/>
                </a:cubicBezTo>
                <a:cubicBezTo>
                  <a:pt x="612" y="85"/>
                  <a:pt x="612" y="85"/>
                  <a:pt x="612" y="85"/>
                </a:cubicBezTo>
                <a:cubicBezTo>
                  <a:pt x="612" y="85"/>
                  <a:pt x="612" y="85"/>
                  <a:pt x="612" y="85"/>
                </a:cubicBezTo>
                <a:cubicBezTo>
                  <a:pt x="612" y="85"/>
                  <a:pt x="612" y="86"/>
                  <a:pt x="612" y="86"/>
                </a:cubicBezTo>
                <a:cubicBezTo>
                  <a:pt x="612" y="86"/>
                  <a:pt x="612" y="86"/>
                  <a:pt x="612" y="86"/>
                </a:cubicBezTo>
                <a:cubicBezTo>
                  <a:pt x="612" y="86"/>
                  <a:pt x="612" y="86"/>
                  <a:pt x="613" y="87"/>
                </a:cubicBezTo>
                <a:cubicBezTo>
                  <a:pt x="613" y="87"/>
                  <a:pt x="613" y="87"/>
                  <a:pt x="613" y="87"/>
                </a:cubicBezTo>
                <a:cubicBezTo>
                  <a:pt x="613" y="87"/>
                  <a:pt x="613" y="87"/>
                  <a:pt x="613" y="88"/>
                </a:cubicBezTo>
                <a:cubicBezTo>
                  <a:pt x="613" y="88"/>
                  <a:pt x="613" y="88"/>
                  <a:pt x="613" y="88"/>
                </a:cubicBezTo>
                <a:cubicBezTo>
                  <a:pt x="613" y="88"/>
                  <a:pt x="613" y="88"/>
                  <a:pt x="613" y="89"/>
                </a:cubicBezTo>
                <a:cubicBezTo>
                  <a:pt x="613" y="89"/>
                  <a:pt x="613" y="89"/>
                  <a:pt x="613" y="89"/>
                </a:cubicBezTo>
                <a:cubicBezTo>
                  <a:pt x="613" y="89"/>
                  <a:pt x="613" y="89"/>
                  <a:pt x="614" y="89"/>
                </a:cubicBezTo>
                <a:cubicBezTo>
                  <a:pt x="614" y="89"/>
                  <a:pt x="614" y="89"/>
                  <a:pt x="614" y="89"/>
                </a:cubicBezTo>
                <a:cubicBezTo>
                  <a:pt x="614" y="90"/>
                  <a:pt x="614" y="90"/>
                  <a:pt x="614" y="90"/>
                </a:cubicBezTo>
                <a:cubicBezTo>
                  <a:pt x="614" y="90"/>
                  <a:pt x="614" y="90"/>
                  <a:pt x="614" y="90"/>
                </a:cubicBezTo>
                <a:cubicBezTo>
                  <a:pt x="614" y="91"/>
                  <a:pt x="614" y="91"/>
                  <a:pt x="614" y="91"/>
                </a:cubicBezTo>
                <a:cubicBezTo>
                  <a:pt x="614" y="91"/>
                  <a:pt x="614" y="91"/>
                  <a:pt x="614" y="91"/>
                </a:cubicBezTo>
                <a:cubicBezTo>
                  <a:pt x="614" y="91"/>
                  <a:pt x="614" y="91"/>
                  <a:pt x="614" y="91"/>
                </a:cubicBezTo>
                <a:cubicBezTo>
                  <a:pt x="615" y="92"/>
                  <a:pt x="614" y="92"/>
                  <a:pt x="615" y="92"/>
                </a:cubicBezTo>
                <a:cubicBezTo>
                  <a:pt x="615" y="92"/>
                  <a:pt x="615" y="92"/>
                  <a:pt x="615" y="92"/>
                </a:cubicBezTo>
                <a:cubicBezTo>
                  <a:pt x="615" y="92"/>
                  <a:pt x="615" y="93"/>
                  <a:pt x="615" y="93"/>
                </a:cubicBezTo>
                <a:cubicBezTo>
                  <a:pt x="615" y="93"/>
                  <a:pt x="615" y="93"/>
                  <a:pt x="615" y="93"/>
                </a:cubicBezTo>
                <a:cubicBezTo>
                  <a:pt x="615" y="93"/>
                  <a:pt x="615" y="93"/>
                  <a:pt x="615" y="93"/>
                </a:cubicBezTo>
                <a:cubicBezTo>
                  <a:pt x="615" y="93"/>
                  <a:pt x="615" y="94"/>
                  <a:pt x="615" y="94"/>
                </a:cubicBezTo>
                <a:cubicBezTo>
                  <a:pt x="615" y="94"/>
                  <a:pt x="615" y="94"/>
                  <a:pt x="615" y="94"/>
                </a:cubicBezTo>
                <a:cubicBezTo>
                  <a:pt x="616" y="94"/>
                  <a:pt x="616" y="94"/>
                  <a:pt x="616" y="95"/>
                </a:cubicBezTo>
                <a:cubicBezTo>
                  <a:pt x="616" y="95"/>
                  <a:pt x="616" y="95"/>
                  <a:pt x="616" y="95"/>
                </a:cubicBezTo>
                <a:cubicBezTo>
                  <a:pt x="616" y="95"/>
                  <a:pt x="616" y="95"/>
                  <a:pt x="616" y="96"/>
                </a:cubicBezTo>
                <a:cubicBezTo>
                  <a:pt x="616" y="96"/>
                  <a:pt x="616" y="96"/>
                  <a:pt x="616" y="96"/>
                </a:cubicBezTo>
                <a:cubicBezTo>
                  <a:pt x="616" y="96"/>
                  <a:pt x="616" y="96"/>
                  <a:pt x="617" y="97"/>
                </a:cubicBezTo>
                <a:cubicBezTo>
                  <a:pt x="616" y="97"/>
                  <a:pt x="616" y="97"/>
                  <a:pt x="616" y="97"/>
                </a:cubicBezTo>
                <a:cubicBezTo>
                  <a:pt x="617" y="97"/>
                  <a:pt x="617" y="97"/>
                  <a:pt x="617" y="97"/>
                </a:cubicBezTo>
                <a:cubicBezTo>
                  <a:pt x="617" y="97"/>
                  <a:pt x="617" y="97"/>
                  <a:pt x="617" y="97"/>
                </a:cubicBezTo>
                <a:cubicBezTo>
                  <a:pt x="617" y="98"/>
                  <a:pt x="617" y="98"/>
                  <a:pt x="617" y="98"/>
                </a:cubicBezTo>
                <a:cubicBezTo>
                  <a:pt x="617" y="98"/>
                  <a:pt x="617" y="98"/>
                  <a:pt x="617" y="98"/>
                </a:cubicBezTo>
                <a:cubicBezTo>
                  <a:pt x="617" y="99"/>
                  <a:pt x="617" y="99"/>
                  <a:pt x="617" y="99"/>
                </a:cubicBezTo>
                <a:cubicBezTo>
                  <a:pt x="618" y="99"/>
                  <a:pt x="618" y="99"/>
                  <a:pt x="618" y="99"/>
                </a:cubicBezTo>
                <a:cubicBezTo>
                  <a:pt x="618" y="99"/>
                  <a:pt x="618" y="99"/>
                  <a:pt x="618" y="99"/>
                </a:cubicBezTo>
                <a:cubicBezTo>
                  <a:pt x="618" y="100"/>
                  <a:pt x="618" y="100"/>
                  <a:pt x="618" y="100"/>
                </a:cubicBezTo>
                <a:cubicBezTo>
                  <a:pt x="618" y="100"/>
                  <a:pt x="618" y="100"/>
                  <a:pt x="618" y="100"/>
                </a:cubicBezTo>
                <a:cubicBezTo>
                  <a:pt x="618" y="100"/>
                  <a:pt x="618" y="101"/>
                  <a:pt x="618" y="101"/>
                </a:cubicBezTo>
                <a:cubicBezTo>
                  <a:pt x="618" y="101"/>
                  <a:pt x="619" y="101"/>
                  <a:pt x="618" y="102"/>
                </a:cubicBezTo>
                <a:cubicBezTo>
                  <a:pt x="618" y="102"/>
                  <a:pt x="618" y="102"/>
                  <a:pt x="618" y="103"/>
                </a:cubicBezTo>
                <a:cubicBezTo>
                  <a:pt x="618" y="103"/>
                  <a:pt x="618" y="103"/>
                  <a:pt x="618" y="103"/>
                </a:cubicBezTo>
                <a:cubicBezTo>
                  <a:pt x="618" y="103"/>
                  <a:pt x="618" y="103"/>
                  <a:pt x="618" y="103"/>
                </a:cubicBezTo>
                <a:cubicBezTo>
                  <a:pt x="618" y="103"/>
                  <a:pt x="618" y="103"/>
                  <a:pt x="618" y="103"/>
                </a:cubicBezTo>
                <a:cubicBezTo>
                  <a:pt x="617" y="103"/>
                  <a:pt x="617" y="104"/>
                  <a:pt x="617" y="104"/>
                </a:cubicBezTo>
                <a:cubicBezTo>
                  <a:pt x="617" y="104"/>
                  <a:pt x="617" y="104"/>
                  <a:pt x="617" y="104"/>
                </a:cubicBezTo>
                <a:cubicBezTo>
                  <a:pt x="617" y="104"/>
                  <a:pt x="617" y="104"/>
                  <a:pt x="617" y="104"/>
                </a:cubicBezTo>
                <a:cubicBezTo>
                  <a:pt x="617" y="105"/>
                  <a:pt x="617" y="105"/>
                  <a:pt x="617" y="105"/>
                </a:cubicBezTo>
                <a:cubicBezTo>
                  <a:pt x="617" y="105"/>
                  <a:pt x="617" y="105"/>
                  <a:pt x="617" y="105"/>
                </a:cubicBezTo>
                <a:cubicBezTo>
                  <a:pt x="617" y="105"/>
                  <a:pt x="617" y="106"/>
                  <a:pt x="616" y="106"/>
                </a:cubicBezTo>
                <a:cubicBezTo>
                  <a:pt x="617" y="106"/>
                  <a:pt x="617" y="106"/>
                  <a:pt x="617" y="106"/>
                </a:cubicBezTo>
                <a:cubicBezTo>
                  <a:pt x="616" y="106"/>
                  <a:pt x="616" y="106"/>
                  <a:pt x="616" y="107"/>
                </a:cubicBezTo>
                <a:cubicBezTo>
                  <a:pt x="616" y="107"/>
                  <a:pt x="616" y="107"/>
                  <a:pt x="616" y="107"/>
                </a:cubicBezTo>
                <a:cubicBezTo>
                  <a:pt x="616" y="107"/>
                  <a:pt x="616" y="107"/>
                  <a:pt x="616" y="107"/>
                </a:cubicBezTo>
                <a:cubicBezTo>
                  <a:pt x="616" y="107"/>
                  <a:pt x="616" y="107"/>
                  <a:pt x="616" y="107"/>
                </a:cubicBezTo>
                <a:cubicBezTo>
                  <a:pt x="616" y="107"/>
                  <a:pt x="616" y="107"/>
                  <a:pt x="616" y="107"/>
                </a:cubicBezTo>
                <a:cubicBezTo>
                  <a:pt x="616" y="108"/>
                  <a:pt x="616" y="108"/>
                  <a:pt x="615" y="108"/>
                </a:cubicBezTo>
                <a:cubicBezTo>
                  <a:pt x="615" y="108"/>
                  <a:pt x="615" y="108"/>
                  <a:pt x="615" y="108"/>
                </a:cubicBezTo>
                <a:cubicBezTo>
                  <a:pt x="615" y="109"/>
                  <a:pt x="615" y="109"/>
                  <a:pt x="615" y="109"/>
                </a:cubicBezTo>
                <a:cubicBezTo>
                  <a:pt x="615" y="109"/>
                  <a:pt x="615" y="109"/>
                  <a:pt x="615" y="109"/>
                </a:cubicBezTo>
                <a:cubicBezTo>
                  <a:pt x="615" y="109"/>
                  <a:pt x="615" y="110"/>
                  <a:pt x="615" y="110"/>
                </a:cubicBezTo>
                <a:cubicBezTo>
                  <a:pt x="615" y="110"/>
                  <a:pt x="615" y="110"/>
                  <a:pt x="615" y="110"/>
                </a:cubicBezTo>
                <a:cubicBezTo>
                  <a:pt x="614" y="110"/>
                  <a:pt x="615" y="110"/>
                  <a:pt x="614" y="111"/>
                </a:cubicBezTo>
                <a:cubicBezTo>
                  <a:pt x="614" y="111"/>
                  <a:pt x="614" y="111"/>
                  <a:pt x="614" y="111"/>
                </a:cubicBezTo>
                <a:cubicBezTo>
                  <a:pt x="614" y="111"/>
                  <a:pt x="614" y="111"/>
                  <a:pt x="614" y="111"/>
                </a:cubicBezTo>
                <a:cubicBezTo>
                  <a:pt x="614" y="111"/>
                  <a:pt x="614" y="111"/>
                  <a:pt x="614" y="112"/>
                </a:cubicBezTo>
                <a:cubicBezTo>
                  <a:pt x="614" y="112"/>
                  <a:pt x="614" y="112"/>
                  <a:pt x="614" y="112"/>
                </a:cubicBezTo>
                <a:cubicBezTo>
                  <a:pt x="614" y="112"/>
                  <a:pt x="614" y="112"/>
                  <a:pt x="614" y="112"/>
                </a:cubicBezTo>
                <a:cubicBezTo>
                  <a:pt x="614" y="112"/>
                  <a:pt x="614" y="112"/>
                  <a:pt x="614" y="112"/>
                </a:cubicBezTo>
                <a:cubicBezTo>
                  <a:pt x="613" y="113"/>
                  <a:pt x="613" y="113"/>
                  <a:pt x="613" y="113"/>
                </a:cubicBezTo>
                <a:cubicBezTo>
                  <a:pt x="613" y="113"/>
                  <a:pt x="613" y="113"/>
                  <a:pt x="613" y="113"/>
                </a:cubicBezTo>
                <a:cubicBezTo>
                  <a:pt x="613" y="113"/>
                  <a:pt x="613" y="113"/>
                  <a:pt x="613" y="113"/>
                </a:cubicBezTo>
                <a:cubicBezTo>
                  <a:pt x="613" y="114"/>
                  <a:pt x="613" y="114"/>
                  <a:pt x="613" y="114"/>
                </a:cubicBezTo>
                <a:cubicBezTo>
                  <a:pt x="613" y="114"/>
                  <a:pt x="613" y="114"/>
                  <a:pt x="613" y="114"/>
                </a:cubicBezTo>
                <a:cubicBezTo>
                  <a:pt x="613" y="114"/>
                  <a:pt x="613" y="115"/>
                  <a:pt x="613" y="115"/>
                </a:cubicBezTo>
                <a:cubicBezTo>
                  <a:pt x="613" y="115"/>
                  <a:pt x="613" y="115"/>
                  <a:pt x="613" y="115"/>
                </a:cubicBezTo>
                <a:cubicBezTo>
                  <a:pt x="612" y="115"/>
                  <a:pt x="612" y="115"/>
                  <a:pt x="612" y="116"/>
                </a:cubicBezTo>
                <a:cubicBezTo>
                  <a:pt x="612" y="115"/>
                  <a:pt x="612" y="115"/>
                  <a:pt x="612" y="115"/>
                </a:cubicBezTo>
                <a:cubicBezTo>
                  <a:pt x="612" y="116"/>
                  <a:pt x="612" y="116"/>
                  <a:pt x="612" y="116"/>
                </a:cubicBezTo>
                <a:cubicBezTo>
                  <a:pt x="612" y="116"/>
                  <a:pt x="612" y="116"/>
                  <a:pt x="612" y="116"/>
                </a:cubicBezTo>
                <a:cubicBezTo>
                  <a:pt x="612" y="116"/>
                  <a:pt x="612" y="117"/>
                  <a:pt x="612" y="117"/>
                </a:cubicBezTo>
                <a:cubicBezTo>
                  <a:pt x="612" y="117"/>
                  <a:pt x="612" y="117"/>
                  <a:pt x="612" y="117"/>
                </a:cubicBezTo>
                <a:cubicBezTo>
                  <a:pt x="611" y="117"/>
                  <a:pt x="611" y="117"/>
                  <a:pt x="611" y="118"/>
                </a:cubicBezTo>
                <a:cubicBezTo>
                  <a:pt x="611" y="118"/>
                  <a:pt x="611" y="118"/>
                  <a:pt x="611" y="118"/>
                </a:cubicBezTo>
                <a:cubicBezTo>
                  <a:pt x="611" y="118"/>
                  <a:pt x="611" y="118"/>
                  <a:pt x="611" y="118"/>
                </a:cubicBezTo>
                <a:cubicBezTo>
                  <a:pt x="611" y="118"/>
                  <a:pt x="611" y="118"/>
                  <a:pt x="611" y="118"/>
                </a:cubicBezTo>
                <a:cubicBezTo>
                  <a:pt x="611" y="118"/>
                  <a:pt x="611" y="118"/>
                  <a:pt x="611" y="119"/>
                </a:cubicBezTo>
                <a:cubicBezTo>
                  <a:pt x="611" y="119"/>
                  <a:pt x="611" y="119"/>
                  <a:pt x="611" y="119"/>
                </a:cubicBezTo>
                <a:cubicBezTo>
                  <a:pt x="610" y="119"/>
                  <a:pt x="610" y="119"/>
                  <a:pt x="610" y="119"/>
                </a:cubicBezTo>
                <a:cubicBezTo>
                  <a:pt x="610" y="119"/>
                  <a:pt x="610" y="119"/>
                  <a:pt x="610" y="119"/>
                </a:cubicBezTo>
                <a:cubicBezTo>
                  <a:pt x="610" y="119"/>
                  <a:pt x="610" y="119"/>
                  <a:pt x="610" y="119"/>
                </a:cubicBezTo>
                <a:cubicBezTo>
                  <a:pt x="610" y="119"/>
                  <a:pt x="610" y="119"/>
                  <a:pt x="610" y="119"/>
                </a:cubicBezTo>
                <a:cubicBezTo>
                  <a:pt x="610" y="119"/>
                  <a:pt x="610" y="119"/>
                  <a:pt x="610" y="120"/>
                </a:cubicBezTo>
                <a:cubicBezTo>
                  <a:pt x="610" y="120"/>
                  <a:pt x="610" y="120"/>
                  <a:pt x="610" y="120"/>
                </a:cubicBezTo>
                <a:cubicBezTo>
                  <a:pt x="609" y="120"/>
                  <a:pt x="609" y="120"/>
                  <a:pt x="609" y="120"/>
                </a:cubicBezTo>
                <a:cubicBezTo>
                  <a:pt x="609" y="120"/>
                  <a:pt x="609" y="120"/>
                  <a:pt x="609" y="120"/>
                </a:cubicBezTo>
                <a:cubicBezTo>
                  <a:pt x="609" y="120"/>
                  <a:pt x="609" y="120"/>
                  <a:pt x="609" y="120"/>
                </a:cubicBezTo>
                <a:cubicBezTo>
                  <a:pt x="609" y="120"/>
                  <a:pt x="609" y="120"/>
                  <a:pt x="609" y="120"/>
                </a:cubicBezTo>
                <a:cubicBezTo>
                  <a:pt x="609" y="120"/>
                  <a:pt x="609" y="121"/>
                  <a:pt x="609" y="121"/>
                </a:cubicBezTo>
                <a:cubicBezTo>
                  <a:pt x="609" y="121"/>
                  <a:pt x="609" y="121"/>
                  <a:pt x="609" y="121"/>
                </a:cubicBezTo>
                <a:cubicBezTo>
                  <a:pt x="608" y="121"/>
                  <a:pt x="608" y="121"/>
                  <a:pt x="608" y="121"/>
                </a:cubicBezTo>
                <a:cubicBezTo>
                  <a:pt x="608" y="121"/>
                  <a:pt x="608" y="121"/>
                  <a:pt x="608" y="121"/>
                </a:cubicBezTo>
                <a:cubicBezTo>
                  <a:pt x="608" y="121"/>
                  <a:pt x="608" y="121"/>
                  <a:pt x="608" y="121"/>
                </a:cubicBezTo>
                <a:cubicBezTo>
                  <a:pt x="608" y="121"/>
                  <a:pt x="608" y="121"/>
                  <a:pt x="608" y="121"/>
                </a:cubicBezTo>
                <a:cubicBezTo>
                  <a:pt x="607" y="122"/>
                  <a:pt x="607" y="122"/>
                  <a:pt x="607" y="122"/>
                </a:cubicBezTo>
                <a:cubicBezTo>
                  <a:pt x="607" y="122"/>
                  <a:pt x="607" y="122"/>
                  <a:pt x="607" y="122"/>
                </a:cubicBezTo>
                <a:cubicBezTo>
                  <a:pt x="607" y="122"/>
                  <a:pt x="606" y="122"/>
                  <a:pt x="606" y="122"/>
                </a:cubicBezTo>
                <a:cubicBezTo>
                  <a:pt x="606" y="122"/>
                  <a:pt x="606" y="122"/>
                  <a:pt x="606" y="122"/>
                </a:cubicBezTo>
                <a:cubicBezTo>
                  <a:pt x="606" y="123"/>
                  <a:pt x="606" y="123"/>
                  <a:pt x="605" y="123"/>
                </a:cubicBezTo>
                <a:cubicBezTo>
                  <a:pt x="605" y="123"/>
                  <a:pt x="605" y="123"/>
                  <a:pt x="605" y="123"/>
                </a:cubicBezTo>
                <a:cubicBezTo>
                  <a:pt x="605" y="123"/>
                  <a:pt x="605" y="123"/>
                  <a:pt x="605" y="123"/>
                </a:cubicBezTo>
                <a:cubicBezTo>
                  <a:pt x="605" y="123"/>
                  <a:pt x="604" y="123"/>
                  <a:pt x="604" y="123"/>
                </a:cubicBezTo>
                <a:cubicBezTo>
                  <a:pt x="604" y="123"/>
                  <a:pt x="604" y="123"/>
                  <a:pt x="603" y="123"/>
                </a:cubicBezTo>
                <a:close/>
                <a:moveTo>
                  <a:pt x="1154" y="49"/>
                </a:moveTo>
                <a:cubicBezTo>
                  <a:pt x="1154" y="49"/>
                  <a:pt x="1154" y="49"/>
                  <a:pt x="1154" y="49"/>
                </a:cubicBezTo>
                <a:cubicBezTo>
                  <a:pt x="1154" y="49"/>
                  <a:pt x="1154" y="49"/>
                  <a:pt x="1154" y="49"/>
                </a:cubicBezTo>
                <a:cubicBezTo>
                  <a:pt x="1154" y="49"/>
                  <a:pt x="1154" y="49"/>
                  <a:pt x="1154" y="48"/>
                </a:cubicBezTo>
                <a:cubicBezTo>
                  <a:pt x="1153" y="48"/>
                  <a:pt x="1153" y="48"/>
                  <a:pt x="1154" y="48"/>
                </a:cubicBezTo>
                <a:cubicBezTo>
                  <a:pt x="1153" y="48"/>
                  <a:pt x="1154" y="47"/>
                  <a:pt x="1153" y="47"/>
                </a:cubicBezTo>
                <a:cubicBezTo>
                  <a:pt x="1153" y="47"/>
                  <a:pt x="1153" y="47"/>
                  <a:pt x="1153" y="47"/>
                </a:cubicBezTo>
                <a:cubicBezTo>
                  <a:pt x="1153" y="47"/>
                  <a:pt x="1153" y="46"/>
                  <a:pt x="1153" y="46"/>
                </a:cubicBezTo>
                <a:cubicBezTo>
                  <a:pt x="1153" y="46"/>
                  <a:pt x="1153" y="46"/>
                  <a:pt x="1153" y="46"/>
                </a:cubicBezTo>
                <a:cubicBezTo>
                  <a:pt x="1153" y="46"/>
                  <a:pt x="1153" y="45"/>
                  <a:pt x="1152" y="45"/>
                </a:cubicBezTo>
                <a:cubicBezTo>
                  <a:pt x="1152" y="45"/>
                  <a:pt x="1152" y="45"/>
                  <a:pt x="1152" y="45"/>
                </a:cubicBezTo>
                <a:cubicBezTo>
                  <a:pt x="1152" y="45"/>
                  <a:pt x="1152" y="45"/>
                  <a:pt x="1152" y="44"/>
                </a:cubicBezTo>
                <a:cubicBezTo>
                  <a:pt x="1152" y="44"/>
                  <a:pt x="1152" y="44"/>
                  <a:pt x="1152" y="44"/>
                </a:cubicBezTo>
                <a:cubicBezTo>
                  <a:pt x="1152" y="44"/>
                  <a:pt x="1152" y="44"/>
                  <a:pt x="1152" y="44"/>
                </a:cubicBezTo>
                <a:cubicBezTo>
                  <a:pt x="1152" y="44"/>
                  <a:pt x="1152" y="44"/>
                  <a:pt x="1152" y="44"/>
                </a:cubicBezTo>
                <a:cubicBezTo>
                  <a:pt x="1152" y="44"/>
                  <a:pt x="1152" y="43"/>
                  <a:pt x="1151" y="43"/>
                </a:cubicBezTo>
                <a:cubicBezTo>
                  <a:pt x="1151" y="43"/>
                  <a:pt x="1151" y="43"/>
                  <a:pt x="1151" y="43"/>
                </a:cubicBezTo>
                <a:cubicBezTo>
                  <a:pt x="1151" y="43"/>
                  <a:pt x="1151" y="43"/>
                  <a:pt x="1151" y="42"/>
                </a:cubicBezTo>
                <a:cubicBezTo>
                  <a:pt x="1151" y="42"/>
                  <a:pt x="1151" y="42"/>
                  <a:pt x="1151" y="42"/>
                </a:cubicBezTo>
                <a:cubicBezTo>
                  <a:pt x="1151" y="42"/>
                  <a:pt x="1151" y="42"/>
                  <a:pt x="1151" y="42"/>
                </a:cubicBezTo>
                <a:cubicBezTo>
                  <a:pt x="1151" y="42"/>
                  <a:pt x="1151" y="42"/>
                  <a:pt x="1151" y="42"/>
                </a:cubicBezTo>
                <a:cubicBezTo>
                  <a:pt x="1151" y="42"/>
                  <a:pt x="1151" y="41"/>
                  <a:pt x="1150" y="41"/>
                </a:cubicBezTo>
                <a:cubicBezTo>
                  <a:pt x="1150" y="41"/>
                  <a:pt x="1150" y="41"/>
                  <a:pt x="1150" y="41"/>
                </a:cubicBezTo>
                <a:cubicBezTo>
                  <a:pt x="1150" y="41"/>
                  <a:pt x="1150" y="41"/>
                  <a:pt x="1150" y="41"/>
                </a:cubicBezTo>
                <a:cubicBezTo>
                  <a:pt x="1150" y="41"/>
                  <a:pt x="1150" y="41"/>
                  <a:pt x="1150" y="41"/>
                </a:cubicBezTo>
                <a:cubicBezTo>
                  <a:pt x="1150" y="40"/>
                  <a:pt x="1150" y="40"/>
                  <a:pt x="1150" y="40"/>
                </a:cubicBezTo>
                <a:cubicBezTo>
                  <a:pt x="1150" y="40"/>
                  <a:pt x="1150" y="40"/>
                  <a:pt x="1150" y="40"/>
                </a:cubicBezTo>
                <a:cubicBezTo>
                  <a:pt x="1150" y="40"/>
                  <a:pt x="1149" y="40"/>
                  <a:pt x="1149" y="40"/>
                </a:cubicBezTo>
                <a:cubicBezTo>
                  <a:pt x="1149" y="40"/>
                  <a:pt x="1149" y="40"/>
                  <a:pt x="1149" y="40"/>
                </a:cubicBezTo>
                <a:cubicBezTo>
                  <a:pt x="1149" y="40"/>
                  <a:pt x="1149" y="39"/>
                  <a:pt x="1149" y="39"/>
                </a:cubicBezTo>
                <a:cubicBezTo>
                  <a:pt x="1149" y="39"/>
                  <a:pt x="1149" y="39"/>
                  <a:pt x="1149" y="39"/>
                </a:cubicBezTo>
                <a:cubicBezTo>
                  <a:pt x="1149" y="39"/>
                  <a:pt x="1148" y="39"/>
                  <a:pt x="1148" y="39"/>
                </a:cubicBezTo>
                <a:cubicBezTo>
                  <a:pt x="1148" y="39"/>
                  <a:pt x="1148" y="39"/>
                  <a:pt x="1148" y="39"/>
                </a:cubicBezTo>
                <a:cubicBezTo>
                  <a:pt x="1148" y="38"/>
                  <a:pt x="1148" y="38"/>
                  <a:pt x="1148" y="38"/>
                </a:cubicBezTo>
                <a:cubicBezTo>
                  <a:pt x="1148" y="38"/>
                  <a:pt x="1148" y="38"/>
                  <a:pt x="1148" y="38"/>
                </a:cubicBezTo>
                <a:cubicBezTo>
                  <a:pt x="1148" y="38"/>
                  <a:pt x="1148" y="38"/>
                  <a:pt x="1148" y="38"/>
                </a:cubicBezTo>
                <a:cubicBezTo>
                  <a:pt x="1148" y="38"/>
                  <a:pt x="1148" y="38"/>
                  <a:pt x="1148" y="38"/>
                </a:cubicBezTo>
                <a:cubicBezTo>
                  <a:pt x="1148" y="38"/>
                  <a:pt x="1147" y="38"/>
                  <a:pt x="1147" y="38"/>
                </a:cubicBezTo>
                <a:cubicBezTo>
                  <a:pt x="1147" y="38"/>
                  <a:pt x="1147" y="38"/>
                  <a:pt x="1147" y="38"/>
                </a:cubicBezTo>
                <a:cubicBezTo>
                  <a:pt x="1147" y="37"/>
                  <a:pt x="1147" y="37"/>
                  <a:pt x="1146" y="37"/>
                </a:cubicBezTo>
                <a:cubicBezTo>
                  <a:pt x="1146" y="37"/>
                  <a:pt x="1146" y="37"/>
                  <a:pt x="1146" y="37"/>
                </a:cubicBezTo>
                <a:cubicBezTo>
                  <a:pt x="1146" y="37"/>
                  <a:pt x="1146" y="37"/>
                  <a:pt x="1146" y="36"/>
                </a:cubicBezTo>
                <a:cubicBezTo>
                  <a:pt x="1146" y="36"/>
                  <a:pt x="1146" y="36"/>
                  <a:pt x="1146" y="36"/>
                </a:cubicBezTo>
                <a:cubicBezTo>
                  <a:pt x="1146" y="36"/>
                  <a:pt x="1145" y="36"/>
                  <a:pt x="1145" y="36"/>
                </a:cubicBezTo>
                <a:cubicBezTo>
                  <a:pt x="1145" y="36"/>
                  <a:pt x="1145" y="36"/>
                  <a:pt x="1145" y="36"/>
                </a:cubicBezTo>
                <a:cubicBezTo>
                  <a:pt x="1145" y="36"/>
                  <a:pt x="1145" y="36"/>
                  <a:pt x="1145" y="36"/>
                </a:cubicBezTo>
                <a:cubicBezTo>
                  <a:pt x="1145" y="36"/>
                  <a:pt x="1145" y="36"/>
                  <a:pt x="1145" y="36"/>
                </a:cubicBezTo>
                <a:cubicBezTo>
                  <a:pt x="1145" y="36"/>
                  <a:pt x="1144" y="36"/>
                  <a:pt x="1144" y="35"/>
                </a:cubicBezTo>
                <a:cubicBezTo>
                  <a:pt x="1144" y="35"/>
                  <a:pt x="1144" y="35"/>
                  <a:pt x="1144" y="35"/>
                </a:cubicBezTo>
                <a:cubicBezTo>
                  <a:pt x="1144" y="35"/>
                  <a:pt x="1144" y="35"/>
                  <a:pt x="1144" y="35"/>
                </a:cubicBezTo>
                <a:cubicBezTo>
                  <a:pt x="1144" y="35"/>
                  <a:pt x="1144" y="35"/>
                  <a:pt x="1144" y="35"/>
                </a:cubicBezTo>
                <a:cubicBezTo>
                  <a:pt x="1143" y="35"/>
                  <a:pt x="1143" y="35"/>
                  <a:pt x="1143" y="35"/>
                </a:cubicBezTo>
                <a:cubicBezTo>
                  <a:pt x="1143" y="35"/>
                  <a:pt x="1143" y="35"/>
                  <a:pt x="1143" y="35"/>
                </a:cubicBezTo>
                <a:cubicBezTo>
                  <a:pt x="1143" y="35"/>
                  <a:pt x="1143" y="35"/>
                  <a:pt x="1143" y="35"/>
                </a:cubicBezTo>
                <a:cubicBezTo>
                  <a:pt x="1143" y="35"/>
                  <a:pt x="1143" y="35"/>
                  <a:pt x="1143" y="35"/>
                </a:cubicBezTo>
                <a:cubicBezTo>
                  <a:pt x="1143" y="34"/>
                  <a:pt x="1142" y="35"/>
                  <a:pt x="1142" y="34"/>
                </a:cubicBezTo>
                <a:cubicBezTo>
                  <a:pt x="1142" y="34"/>
                  <a:pt x="1142" y="34"/>
                  <a:pt x="1142" y="34"/>
                </a:cubicBezTo>
                <a:cubicBezTo>
                  <a:pt x="1142" y="34"/>
                  <a:pt x="1142" y="34"/>
                  <a:pt x="1141" y="34"/>
                </a:cubicBezTo>
                <a:cubicBezTo>
                  <a:pt x="1141" y="34"/>
                  <a:pt x="1141" y="34"/>
                  <a:pt x="1141" y="34"/>
                </a:cubicBezTo>
                <a:cubicBezTo>
                  <a:pt x="1141" y="34"/>
                  <a:pt x="1141" y="34"/>
                  <a:pt x="1140" y="34"/>
                </a:cubicBezTo>
                <a:cubicBezTo>
                  <a:pt x="1140" y="34"/>
                  <a:pt x="1140" y="34"/>
                  <a:pt x="1140" y="34"/>
                </a:cubicBezTo>
                <a:cubicBezTo>
                  <a:pt x="1140" y="33"/>
                  <a:pt x="1139" y="34"/>
                  <a:pt x="1139" y="33"/>
                </a:cubicBezTo>
                <a:cubicBezTo>
                  <a:pt x="1139" y="33"/>
                  <a:pt x="1139" y="33"/>
                  <a:pt x="1139" y="33"/>
                </a:cubicBezTo>
                <a:cubicBezTo>
                  <a:pt x="1139" y="33"/>
                  <a:pt x="1139" y="33"/>
                  <a:pt x="1139" y="33"/>
                </a:cubicBezTo>
                <a:cubicBezTo>
                  <a:pt x="1138" y="33"/>
                  <a:pt x="1138" y="33"/>
                  <a:pt x="1137" y="33"/>
                </a:cubicBezTo>
                <a:cubicBezTo>
                  <a:pt x="1137" y="33"/>
                  <a:pt x="1137" y="33"/>
                  <a:pt x="1137" y="33"/>
                </a:cubicBezTo>
                <a:cubicBezTo>
                  <a:pt x="1136" y="33"/>
                  <a:pt x="1135" y="33"/>
                  <a:pt x="1135" y="33"/>
                </a:cubicBezTo>
                <a:cubicBezTo>
                  <a:pt x="1133" y="33"/>
                  <a:pt x="1132" y="33"/>
                  <a:pt x="1130" y="33"/>
                </a:cubicBezTo>
                <a:cubicBezTo>
                  <a:pt x="1129" y="33"/>
                  <a:pt x="1128" y="33"/>
                  <a:pt x="1127" y="33"/>
                </a:cubicBezTo>
                <a:cubicBezTo>
                  <a:pt x="1127" y="33"/>
                  <a:pt x="1127" y="33"/>
                  <a:pt x="1127" y="33"/>
                </a:cubicBezTo>
                <a:cubicBezTo>
                  <a:pt x="1127" y="33"/>
                  <a:pt x="1127" y="33"/>
                  <a:pt x="1127" y="33"/>
                </a:cubicBezTo>
                <a:cubicBezTo>
                  <a:pt x="1127" y="33"/>
                  <a:pt x="1126" y="33"/>
                  <a:pt x="1126" y="33"/>
                </a:cubicBezTo>
                <a:cubicBezTo>
                  <a:pt x="1126" y="33"/>
                  <a:pt x="1126" y="33"/>
                  <a:pt x="1126" y="33"/>
                </a:cubicBezTo>
                <a:cubicBezTo>
                  <a:pt x="1126" y="33"/>
                  <a:pt x="1126" y="33"/>
                  <a:pt x="1126" y="33"/>
                </a:cubicBezTo>
                <a:cubicBezTo>
                  <a:pt x="1125" y="34"/>
                  <a:pt x="1125" y="33"/>
                  <a:pt x="1124" y="34"/>
                </a:cubicBezTo>
                <a:cubicBezTo>
                  <a:pt x="1124" y="34"/>
                  <a:pt x="1124" y="34"/>
                  <a:pt x="1124" y="34"/>
                </a:cubicBezTo>
                <a:cubicBezTo>
                  <a:pt x="1124" y="34"/>
                  <a:pt x="1124" y="34"/>
                  <a:pt x="1123" y="34"/>
                </a:cubicBezTo>
                <a:cubicBezTo>
                  <a:pt x="1123" y="34"/>
                  <a:pt x="1123" y="34"/>
                  <a:pt x="1123" y="34"/>
                </a:cubicBezTo>
                <a:cubicBezTo>
                  <a:pt x="1123" y="34"/>
                  <a:pt x="1123" y="34"/>
                  <a:pt x="1123" y="34"/>
                </a:cubicBezTo>
                <a:cubicBezTo>
                  <a:pt x="1123" y="34"/>
                  <a:pt x="1122" y="34"/>
                  <a:pt x="1122" y="34"/>
                </a:cubicBezTo>
                <a:cubicBezTo>
                  <a:pt x="1122" y="35"/>
                  <a:pt x="1122" y="34"/>
                  <a:pt x="1122" y="35"/>
                </a:cubicBezTo>
                <a:cubicBezTo>
                  <a:pt x="1122" y="35"/>
                  <a:pt x="1122" y="35"/>
                  <a:pt x="1122" y="35"/>
                </a:cubicBezTo>
                <a:cubicBezTo>
                  <a:pt x="1121" y="35"/>
                  <a:pt x="1121" y="35"/>
                  <a:pt x="1121" y="35"/>
                </a:cubicBezTo>
                <a:cubicBezTo>
                  <a:pt x="1121" y="35"/>
                  <a:pt x="1121" y="35"/>
                  <a:pt x="1121" y="35"/>
                </a:cubicBezTo>
                <a:cubicBezTo>
                  <a:pt x="1121" y="35"/>
                  <a:pt x="1120" y="35"/>
                  <a:pt x="1120" y="35"/>
                </a:cubicBezTo>
                <a:cubicBezTo>
                  <a:pt x="1120" y="35"/>
                  <a:pt x="1120" y="35"/>
                  <a:pt x="1120" y="35"/>
                </a:cubicBezTo>
                <a:cubicBezTo>
                  <a:pt x="1120" y="36"/>
                  <a:pt x="1120" y="36"/>
                  <a:pt x="1119" y="36"/>
                </a:cubicBezTo>
                <a:cubicBezTo>
                  <a:pt x="1119" y="36"/>
                  <a:pt x="1119" y="36"/>
                  <a:pt x="1119" y="36"/>
                </a:cubicBezTo>
                <a:cubicBezTo>
                  <a:pt x="1119" y="36"/>
                  <a:pt x="1119" y="36"/>
                  <a:pt x="1119" y="36"/>
                </a:cubicBezTo>
                <a:cubicBezTo>
                  <a:pt x="1119" y="36"/>
                  <a:pt x="1119" y="36"/>
                  <a:pt x="1119" y="36"/>
                </a:cubicBezTo>
                <a:cubicBezTo>
                  <a:pt x="1119" y="36"/>
                  <a:pt x="1119" y="36"/>
                  <a:pt x="1118" y="36"/>
                </a:cubicBezTo>
                <a:cubicBezTo>
                  <a:pt x="1118" y="36"/>
                  <a:pt x="1118" y="36"/>
                  <a:pt x="1118" y="36"/>
                </a:cubicBezTo>
                <a:cubicBezTo>
                  <a:pt x="1118" y="37"/>
                  <a:pt x="1118" y="37"/>
                  <a:pt x="1118" y="37"/>
                </a:cubicBezTo>
                <a:cubicBezTo>
                  <a:pt x="1118" y="37"/>
                  <a:pt x="1118" y="37"/>
                  <a:pt x="1118" y="37"/>
                </a:cubicBezTo>
                <a:cubicBezTo>
                  <a:pt x="1118" y="37"/>
                  <a:pt x="1117" y="37"/>
                  <a:pt x="1117" y="37"/>
                </a:cubicBezTo>
                <a:cubicBezTo>
                  <a:pt x="1117" y="37"/>
                  <a:pt x="1117" y="37"/>
                  <a:pt x="1117" y="37"/>
                </a:cubicBezTo>
                <a:cubicBezTo>
                  <a:pt x="1117" y="37"/>
                  <a:pt x="1117" y="37"/>
                  <a:pt x="1117" y="37"/>
                </a:cubicBezTo>
                <a:cubicBezTo>
                  <a:pt x="1117" y="37"/>
                  <a:pt x="1117" y="37"/>
                  <a:pt x="1117" y="37"/>
                </a:cubicBezTo>
                <a:cubicBezTo>
                  <a:pt x="1117" y="38"/>
                  <a:pt x="1116" y="38"/>
                  <a:pt x="1116" y="38"/>
                </a:cubicBezTo>
                <a:cubicBezTo>
                  <a:pt x="1116" y="38"/>
                  <a:pt x="1116" y="38"/>
                  <a:pt x="1116" y="38"/>
                </a:cubicBezTo>
                <a:cubicBezTo>
                  <a:pt x="1116" y="38"/>
                  <a:pt x="1116" y="38"/>
                  <a:pt x="1116" y="39"/>
                </a:cubicBezTo>
                <a:cubicBezTo>
                  <a:pt x="1116" y="39"/>
                  <a:pt x="1116" y="39"/>
                  <a:pt x="1116" y="39"/>
                </a:cubicBezTo>
                <a:cubicBezTo>
                  <a:pt x="1115" y="39"/>
                  <a:pt x="1115" y="39"/>
                  <a:pt x="1115" y="39"/>
                </a:cubicBezTo>
                <a:cubicBezTo>
                  <a:pt x="1115" y="39"/>
                  <a:pt x="1115" y="39"/>
                  <a:pt x="1115" y="39"/>
                </a:cubicBezTo>
                <a:cubicBezTo>
                  <a:pt x="1115" y="39"/>
                  <a:pt x="1115" y="39"/>
                  <a:pt x="1115" y="39"/>
                </a:cubicBezTo>
                <a:cubicBezTo>
                  <a:pt x="1115" y="39"/>
                  <a:pt x="1115" y="39"/>
                  <a:pt x="1115" y="39"/>
                </a:cubicBezTo>
                <a:cubicBezTo>
                  <a:pt x="1115" y="39"/>
                  <a:pt x="1115" y="39"/>
                  <a:pt x="1115" y="40"/>
                </a:cubicBezTo>
                <a:cubicBezTo>
                  <a:pt x="1115" y="40"/>
                  <a:pt x="1115" y="40"/>
                  <a:pt x="1115" y="40"/>
                </a:cubicBezTo>
                <a:cubicBezTo>
                  <a:pt x="1114" y="40"/>
                  <a:pt x="1114" y="40"/>
                  <a:pt x="1114" y="40"/>
                </a:cubicBezTo>
                <a:cubicBezTo>
                  <a:pt x="1114" y="40"/>
                  <a:pt x="1114" y="40"/>
                  <a:pt x="1114" y="40"/>
                </a:cubicBezTo>
                <a:cubicBezTo>
                  <a:pt x="1114" y="40"/>
                  <a:pt x="1114" y="40"/>
                  <a:pt x="1114" y="40"/>
                </a:cubicBezTo>
                <a:cubicBezTo>
                  <a:pt x="1114" y="40"/>
                  <a:pt x="1114" y="40"/>
                  <a:pt x="1114" y="40"/>
                </a:cubicBezTo>
                <a:cubicBezTo>
                  <a:pt x="1114" y="40"/>
                  <a:pt x="1114" y="40"/>
                  <a:pt x="1114" y="41"/>
                </a:cubicBezTo>
                <a:cubicBezTo>
                  <a:pt x="1114" y="41"/>
                  <a:pt x="1114" y="41"/>
                  <a:pt x="1114" y="41"/>
                </a:cubicBezTo>
                <a:cubicBezTo>
                  <a:pt x="1113" y="41"/>
                  <a:pt x="1113" y="41"/>
                  <a:pt x="1113" y="41"/>
                </a:cubicBezTo>
                <a:cubicBezTo>
                  <a:pt x="1113" y="41"/>
                  <a:pt x="1113" y="41"/>
                  <a:pt x="1113" y="41"/>
                </a:cubicBezTo>
                <a:cubicBezTo>
                  <a:pt x="1113" y="41"/>
                  <a:pt x="1113" y="42"/>
                  <a:pt x="1112" y="42"/>
                </a:cubicBezTo>
                <a:cubicBezTo>
                  <a:pt x="1112" y="42"/>
                  <a:pt x="1112" y="42"/>
                  <a:pt x="1112" y="42"/>
                </a:cubicBezTo>
                <a:cubicBezTo>
                  <a:pt x="1112" y="42"/>
                  <a:pt x="1112" y="42"/>
                  <a:pt x="1112" y="42"/>
                </a:cubicBezTo>
                <a:cubicBezTo>
                  <a:pt x="1112" y="42"/>
                  <a:pt x="1112" y="42"/>
                  <a:pt x="1112" y="42"/>
                </a:cubicBezTo>
                <a:cubicBezTo>
                  <a:pt x="1112" y="43"/>
                  <a:pt x="1112" y="43"/>
                  <a:pt x="1111" y="43"/>
                </a:cubicBezTo>
                <a:cubicBezTo>
                  <a:pt x="1111" y="43"/>
                  <a:pt x="1111" y="43"/>
                  <a:pt x="1111" y="43"/>
                </a:cubicBezTo>
                <a:cubicBezTo>
                  <a:pt x="1111" y="44"/>
                  <a:pt x="1111" y="44"/>
                  <a:pt x="1111" y="44"/>
                </a:cubicBezTo>
                <a:cubicBezTo>
                  <a:pt x="1111" y="44"/>
                  <a:pt x="1111" y="44"/>
                  <a:pt x="1111" y="44"/>
                </a:cubicBezTo>
                <a:cubicBezTo>
                  <a:pt x="1111" y="44"/>
                  <a:pt x="1111" y="44"/>
                  <a:pt x="1111" y="44"/>
                </a:cubicBezTo>
                <a:cubicBezTo>
                  <a:pt x="1111" y="44"/>
                  <a:pt x="1111" y="44"/>
                  <a:pt x="1111" y="44"/>
                </a:cubicBezTo>
                <a:cubicBezTo>
                  <a:pt x="1110" y="44"/>
                  <a:pt x="1110" y="44"/>
                  <a:pt x="1110" y="43"/>
                </a:cubicBezTo>
                <a:cubicBezTo>
                  <a:pt x="1110" y="41"/>
                  <a:pt x="1110" y="38"/>
                  <a:pt x="1110" y="35"/>
                </a:cubicBezTo>
                <a:cubicBezTo>
                  <a:pt x="1110" y="34"/>
                  <a:pt x="1110" y="34"/>
                  <a:pt x="1109" y="34"/>
                </a:cubicBezTo>
                <a:cubicBezTo>
                  <a:pt x="1106" y="34"/>
                  <a:pt x="1104" y="34"/>
                  <a:pt x="1101" y="34"/>
                </a:cubicBezTo>
                <a:cubicBezTo>
                  <a:pt x="1099" y="34"/>
                  <a:pt x="1099" y="34"/>
                  <a:pt x="1099" y="36"/>
                </a:cubicBezTo>
                <a:cubicBezTo>
                  <a:pt x="1099" y="57"/>
                  <a:pt x="1099" y="79"/>
                  <a:pt x="1099" y="100"/>
                </a:cubicBezTo>
                <a:cubicBezTo>
                  <a:pt x="1099" y="100"/>
                  <a:pt x="1099" y="101"/>
                  <a:pt x="1099" y="101"/>
                </a:cubicBezTo>
                <a:cubicBezTo>
                  <a:pt x="1099" y="101"/>
                  <a:pt x="1099" y="101"/>
                  <a:pt x="1099" y="101"/>
                </a:cubicBezTo>
                <a:cubicBezTo>
                  <a:pt x="1101" y="102"/>
                  <a:pt x="1104" y="102"/>
                  <a:pt x="1106" y="102"/>
                </a:cubicBezTo>
                <a:cubicBezTo>
                  <a:pt x="1107" y="102"/>
                  <a:pt x="1109" y="102"/>
                  <a:pt x="1110" y="101"/>
                </a:cubicBezTo>
                <a:cubicBezTo>
                  <a:pt x="1110" y="101"/>
                  <a:pt x="1110" y="101"/>
                  <a:pt x="1110" y="101"/>
                </a:cubicBezTo>
                <a:cubicBezTo>
                  <a:pt x="1110" y="101"/>
                  <a:pt x="1110" y="100"/>
                  <a:pt x="1110" y="100"/>
                </a:cubicBezTo>
                <a:cubicBezTo>
                  <a:pt x="1110" y="87"/>
                  <a:pt x="1110" y="74"/>
                  <a:pt x="1110" y="62"/>
                </a:cubicBezTo>
                <a:cubicBezTo>
                  <a:pt x="1110" y="61"/>
                  <a:pt x="1110" y="61"/>
                  <a:pt x="1110" y="60"/>
                </a:cubicBezTo>
                <a:cubicBezTo>
                  <a:pt x="1110" y="60"/>
                  <a:pt x="1110" y="60"/>
                  <a:pt x="1110" y="59"/>
                </a:cubicBezTo>
                <a:cubicBezTo>
                  <a:pt x="1111" y="59"/>
                  <a:pt x="1110" y="58"/>
                  <a:pt x="1111" y="58"/>
                </a:cubicBezTo>
                <a:cubicBezTo>
                  <a:pt x="1111" y="57"/>
                  <a:pt x="1111" y="57"/>
                  <a:pt x="1111" y="57"/>
                </a:cubicBezTo>
                <a:cubicBezTo>
                  <a:pt x="1111" y="57"/>
                  <a:pt x="1111" y="57"/>
                  <a:pt x="1111" y="56"/>
                </a:cubicBezTo>
                <a:cubicBezTo>
                  <a:pt x="1111" y="56"/>
                  <a:pt x="1111" y="56"/>
                  <a:pt x="1111" y="56"/>
                </a:cubicBezTo>
                <a:cubicBezTo>
                  <a:pt x="1111" y="56"/>
                  <a:pt x="1111" y="55"/>
                  <a:pt x="1111" y="55"/>
                </a:cubicBezTo>
                <a:cubicBezTo>
                  <a:pt x="1111" y="55"/>
                  <a:pt x="1111" y="55"/>
                  <a:pt x="1111" y="55"/>
                </a:cubicBezTo>
                <a:cubicBezTo>
                  <a:pt x="1111" y="55"/>
                  <a:pt x="1111" y="55"/>
                  <a:pt x="1111" y="55"/>
                </a:cubicBezTo>
                <a:cubicBezTo>
                  <a:pt x="1112" y="55"/>
                  <a:pt x="1112" y="54"/>
                  <a:pt x="1112" y="54"/>
                </a:cubicBezTo>
                <a:cubicBezTo>
                  <a:pt x="1112" y="54"/>
                  <a:pt x="1112" y="54"/>
                  <a:pt x="1112" y="54"/>
                </a:cubicBezTo>
                <a:cubicBezTo>
                  <a:pt x="1112" y="54"/>
                  <a:pt x="1112" y="53"/>
                  <a:pt x="1112" y="53"/>
                </a:cubicBezTo>
                <a:cubicBezTo>
                  <a:pt x="1112" y="53"/>
                  <a:pt x="1112" y="53"/>
                  <a:pt x="1112" y="53"/>
                </a:cubicBezTo>
                <a:cubicBezTo>
                  <a:pt x="1112" y="53"/>
                  <a:pt x="1112" y="53"/>
                  <a:pt x="1112" y="52"/>
                </a:cubicBezTo>
                <a:cubicBezTo>
                  <a:pt x="1112" y="52"/>
                  <a:pt x="1112" y="52"/>
                  <a:pt x="1112" y="52"/>
                </a:cubicBezTo>
                <a:cubicBezTo>
                  <a:pt x="1113" y="52"/>
                  <a:pt x="1113" y="52"/>
                  <a:pt x="1113" y="52"/>
                </a:cubicBezTo>
                <a:cubicBezTo>
                  <a:pt x="1113" y="52"/>
                  <a:pt x="1113" y="52"/>
                  <a:pt x="1113" y="52"/>
                </a:cubicBezTo>
                <a:cubicBezTo>
                  <a:pt x="1113" y="52"/>
                  <a:pt x="1113" y="51"/>
                  <a:pt x="1113" y="51"/>
                </a:cubicBezTo>
                <a:cubicBezTo>
                  <a:pt x="1113" y="51"/>
                  <a:pt x="1113" y="51"/>
                  <a:pt x="1113" y="51"/>
                </a:cubicBezTo>
                <a:cubicBezTo>
                  <a:pt x="1113" y="51"/>
                  <a:pt x="1113" y="51"/>
                  <a:pt x="1113" y="51"/>
                </a:cubicBezTo>
                <a:cubicBezTo>
                  <a:pt x="1113" y="51"/>
                  <a:pt x="1113" y="51"/>
                  <a:pt x="1113" y="51"/>
                </a:cubicBezTo>
                <a:cubicBezTo>
                  <a:pt x="1114" y="51"/>
                  <a:pt x="1114" y="50"/>
                  <a:pt x="1114" y="50"/>
                </a:cubicBezTo>
                <a:cubicBezTo>
                  <a:pt x="1114" y="50"/>
                  <a:pt x="1114" y="50"/>
                  <a:pt x="1114" y="50"/>
                </a:cubicBezTo>
                <a:cubicBezTo>
                  <a:pt x="1114" y="50"/>
                  <a:pt x="1114" y="50"/>
                  <a:pt x="1114" y="50"/>
                </a:cubicBezTo>
                <a:cubicBezTo>
                  <a:pt x="1114" y="50"/>
                  <a:pt x="1114" y="50"/>
                  <a:pt x="1114" y="50"/>
                </a:cubicBezTo>
                <a:cubicBezTo>
                  <a:pt x="1115" y="49"/>
                  <a:pt x="1115" y="49"/>
                  <a:pt x="1115" y="49"/>
                </a:cubicBezTo>
                <a:cubicBezTo>
                  <a:pt x="1115" y="49"/>
                  <a:pt x="1115" y="49"/>
                  <a:pt x="1115" y="49"/>
                </a:cubicBezTo>
                <a:cubicBezTo>
                  <a:pt x="1115" y="48"/>
                  <a:pt x="1115" y="48"/>
                  <a:pt x="1115" y="48"/>
                </a:cubicBezTo>
                <a:cubicBezTo>
                  <a:pt x="1115" y="48"/>
                  <a:pt x="1115" y="48"/>
                  <a:pt x="1115" y="48"/>
                </a:cubicBezTo>
                <a:cubicBezTo>
                  <a:pt x="1115" y="48"/>
                  <a:pt x="1116" y="48"/>
                  <a:pt x="1116" y="48"/>
                </a:cubicBezTo>
                <a:cubicBezTo>
                  <a:pt x="1116" y="48"/>
                  <a:pt x="1116" y="48"/>
                  <a:pt x="1116" y="48"/>
                </a:cubicBezTo>
                <a:cubicBezTo>
                  <a:pt x="1116" y="48"/>
                  <a:pt x="1116" y="48"/>
                  <a:pt x="1116" y="47"/>
                </a:cubicBezTo>
                <a:cubicBezTo>
                  <a:pt x="1116" y="48"/>
                  <a:pt x="1116" y="48"/>
                  <a:pt x="1116" y="48"/>
                </a:cubicBezTo>
                <a:cubicBezTo>
                  <a:pt x="1116" y="47"/>
                  <a:pt x="1116" y="47"/>
                  <a:pt x="1116" y="47"/>
                </a:cubicBezTo>
                <a:cubicBezTo>
                  <a:pt x="1116" y="47"/>
                  <a:pt x="1116" y="47"/>
                  <a:pt x="1116" y="47"/>
                </a:cubicBezTo>
                <a:cubicBezTo>
                  <a:pt x="1116" y="47"/>
                  <a:pt x="1117" y="47"/>
                  <a:pt x="1117" y="47"/>
                </a:cubicBezTo>
                <a:cubicBezTo>
                  <a:pt x="1117" y="47"/>
                  <a:pt x="1117" y="47"/>
                  <a:pt x="1117" y="47"/>
                </a:cubicBezTo>
                <a:cubicBezTo>
                  <a:pt x="1117" y="47"/>
                  <a:pt x="1117" y="47"/>
                  <a:pt x="1117" y="46"/>
                </a:cubicBezTo>
                <a:cubicBezTo>
                  <a:pt x="1117" y="46"/>
                  <a:pt x="1117" y="46"/>
                  <a:pt x="1117" y="46"/>
                </a:cubicBezTo>
                <a:cubicBezTo>
                  <a:pt x="1117" y="46"/>
                  <a:pt x="1117" y="46"/>
                  <a:pt x="1117" y="46"/>
                </a:cubicBezTo>
                <a:cubicBezTo>
                  <a:pt x="1117" y="46"/>
                  <a:pt x="1117" y="46"/>
                  <a:pt x="1117" y="46"/>
                </a:cubicBezTo>
                <a:cubicBezTo>
                  <a:pt x="1117" y="46"/>
                  <a:pt x="1118" y="46"/>
                  <a:pt x="1118" y="46"/>
                </a:cubicBezTo>
                <a:cubicBezTo>
                  <a:pt x="1118" y="46"/>
                  <a:pt x="1118" y="46"/>
                  <a:pt x="1118" y="46"/>
                </a:cubicBezTo>
                <a:cubicBezTo>
                  <a:pt x="1118" y="46"/>
                  <a:pt x="1118" y="45"/>
                  <a:pt x="1119" y="45"/>
                </a:cubicBezTo>
                <a:cubicBezTo>
                  <a:pt x="1119" y="45"/>
                  <a:pt x="1119" y="45"/>
                  <a:pt x="1119" y="45"/>
                </a:cubicBezTo>
                <a:cubicBezTo>
                  <a:pt x="1119" y="45"/>
                  <a:pt x="1119" y="45"/>
                  <a:pt x="1119" y="45"/>
                </a:cubicBezTo>
                <a:cubicBezTo>
                  <a:pt x="1119" y="45"/>
                  <a:pt x="1119" y="45"/>
                  <a:pt x="1119" y="45"/>
                </a:cubicBezTo>
                <a:cubicBezTo>
                  <a:pt x="1119" y="45"/>
                  <a:pt x="1120" y="45"/>
                  <a:pt x="1120" y="44"/>
                </a:cubicBezTo>
                <a:cubicBezTo>
                  <a:pt x="1120" y="44"/>
                  <a:pt x="1120" y="44"/>
                  <a:pt x="1120" y="44"/>
                </a:cubicBezTo>
                <a:cubicBezTo>
                  <a:pt x="1120" y="44"/>
                  <a:pt x="1120" y="44"/>
                  <a:pt x="1120" y="44"/>
                </a:cubicBezTo>
                <a:cubicBezTo>
                  <a:pt x="1120" y="44"/>
                  <a:pt x="1120" y="44"/>
                  <a:pt x="1120" y="44"/>
                </a:cubicBezTo>
                <a:cubicBezTo>
                  <a:pt x="1120" y="44"/>
                  <a:pt x="1120" y="44"/>
                  <a:pt x="1120" y="44"/>
                </a:cubicBezTo>
                <a:cubicBezTo>
                  <a:pt x="1121" y="44"/>
                  <a:pt x="1121" y="44"/>
                  <a:pt x="1121" y="44"/>
                </a:cubicBezTo>
                <a:cubicBezTo>
                  <a:pt x="1121" y="44"/>
                  <a:pt x="1121" y="44"/>
                  <a:pt x="1121" y="44"/>
                </a:cubicBezTo>
                <a:cubicBezTo>
                  <a:pt x="1121" y="44"/>
                  <a:pt x="1121" y="44"/>
                  <a:pt x="1121" y="44"/>
                </a:cubicBezTo>
                <a:cubicBezTo>
                  <a:pt x="1121" y="44"/>
                  <a:pt x="1121" y="44"/>
                  <a:pt x="1122" y="43"/>
                </a:cubicBezTo>
                <a:cubicBezTo>
                  <a:pt x="1122" y="43"/>
                  <a:pt x="1122" y="43"/>
                  <a:pt x="1122" y="43"/>
                </a:cubicBezTo>
                <a:cubicBezTo>
                  <a:pt x="1122" y="43"/>
                  <a:pt x="1122" y="43"/>
                  <a:pt x="1122" y="43"/>
                </a:cubicBezTo>
                <a:cubicBezTo>
                  <a:pt x="1122" y="43"/>
                  <a:pt x="1122" y="43"/>
                  <a:pt x="1123" y="43"/>
                </a:cubicBezTo>
                <a:cubicBezTo>
                  <a:pt x="1123" y="43"/>
                  <a:pt x="1123" y="43"/>
                  <a:pt x="1123" y="43"/>
                </a:cubicBezTo>
                <a:cubicBezTo>
                  <a:pt x="1123" y="43"/>
                  <a:pt x="1123" y="43"/>
                  <a:pt x="1124" y="43"/>
                </a:cubicBezTo>
                <a:cubicBezTo>
                  <a:pt x="1124" y="43"/>
                  <a:pt x="1124" y="43"/>
                  <a:pt x="1124" y="43"/>
                </a:cubicBezTo>
                <a:cubicBezTo>
                  <a:pt x="1124" y="43"/>
                  <a:pt x="1124" y="43"/>
                  <a:pt x="1124" y="43"/>
                </a:cubicBezTo>
                <a:cubicBezTo>
                  <a:pt x="1124" y="42"/>
                  <a:pt x="1125" y="43"/>
                  <a:pt x="1125" y="42"/>
                </a:cubicBezTo>
                <a:cubicBezTo>
                  <a:pt x="1125" y="42"/>
                  <a:pt x="1125" y="42"/>
                  <a:pt x="1125" y="42"/>
                </a:cubicBezTo>
                <a:cubicBezTo>
                  <a:pt x="1125" y="42"/>
                  <a:pt x="1125" y="42"/>
                  <a:pt x="1125" y="42"/>
                </a:cubicBezTo>
                <a:cubicBezTo>
                  <a:pt x="1126" y="42"/>
                  <a:pt x="1127" y="42"/>
                  <a:pt x="1127" y="42"/>
                </a:cubicBezTo>
                <a:cubicBezTo>
                  <a:pt x="1128" y="42"/>
                  <a:pt x="1129" y="42"/>
                  <a:pt x="1130" y="42"/>
                </a:cubicBezTo>
                <a:cubicBezTo>
                  <a:pt x="1131" y="42"/>
                  <a:pt x="1131" y="42"/>
                  <a:pt x="1132" y="42"/>
                </a:cubicBezTo>
                <a:cubicBezTo>
                  <a:pt x="1132" y="42"/>
                  <a:pt x="1132" y="42"/>
                  <a:pt x="1132" y="42"/>
                </a:cubicBezTo>
                <a:cubicBezTo>
                  <a:pt x="1132" y="42"/>
                  <a:pt x="1132" y="42"/>
                  <a:pt x="1132" y="42"/>
                </a:cubicBezTo>
                <a:cubicBezTo>
                  <a:pt x="1133" y="43"/>
                  <a:pt x="1133" y="42"/>
                  <a:pt x="1134" y="43"/>
                </a:cubicBezTo>
                <a:cubicBezTo>
                  <a:pt x="1134" y="43"/>
                  <a:pt x="1134" y="43"/>
                  <a:pt x="1134" y="43"/>
                </a:cubicBezTo>
                <a:cubicBezTo>
                  <a:pt x="1134" y="43"/>
                  <a:pt x="1134" y="43"/>
                  <a:pt x="1135" y="43"/>
                </a:cubicBezTo>
                <a:cubicBezTo>
                  <a:pt x="1135" y="43"/>
                  <a:pt x="1135" y="43"/>
                  <a:pt x="1135" y="43"/>
                </a:cubicBezTo>
                <a:cubicBezTo>
                  <a:pt x="1135" y="43"/>
                  <a:pt x="1135" y="43"/>
                  <a:pt x="1135" y="43"/>
                </a:cubicBezTo>
                <a:cubicBezTo>
                  <a:pt x="1135" y="43"/>
                  <a:pt x="1135" y="43"/>
                  <a:pt x="1135" y="43"/>
                </a:cubicBezTo>
                <a:cubicBezTo>
                  <a:pt x="1136" y="44"/>
                  <a:pt x="1136" y="44"/>
                  <a:pt x="1136" y="44"/>
                </a:cubicBezTo>
                <a:cubicBezTo>
                  <a:pt x="1136" y="44"/>
                  <a:pt x="1136" y="44"/>
                  <a:pt x="1136" y="44"/>
                </a:cubicBezTo>
                <a:cubicBezTo>
                  <a:pt x="1136" y="44"/>
                  <a:pt x="1137" y="44"/>
                  <a:pt x="1137" y="44"/>
                </a:cubicBezTo>
                <a:cubicBezTo>
                  <a:pt x="1137" y="44"/>
                  <a:pt x="1137" y="44"/>
                  <a:pt x="1137" y="44"/>
                </a:cubicBezTo>
                <a:cubicBezTo>
                  <a:pt x="1137" y="44"/>
                  <a:pt x="1137" y="44"/>
                  <a:pt x="1137" y="44"/>
                </a:cubicBezTo>
                <a:cubicBezTo>
                  <a:pt x="1137" y="44"/>
                  <a:pt x="1137" y="44"/>
                  <a:pt x="1137" y="44"/>
                </a:cubicBezTo>
                <a:cubicBezTo>
                  <a:pt x="1137" y="45"/>
                  <a:pt x="1138" y="45"/>
                  <a:pt x="1138" y="45"/>
                </a:cubicBezTo>
                <a:cubicBezTo>
                  <a:pt x="1138" y="45"/>
                  <a:pt x="1138" y="45"/>
                  <a:pt x="1138" y="45"/>
                </a:cubicBezTo>
                <a:cubicBezTo>
                  <a:pt x="1138" y="45"/>
                  <a:pt x="1138" y="45"/>
                  <a:pt x="1138" y="45"/>
                </a:cubicBezTo>
                <a:cubicBezTo>
                  <a:pt x="1138" y="45"/>
                  <a:pt x="1138" y="45"/>
                  <a:pt x="1138" y="45"/>
                </a:cubicBezTo>
                <a:cubicBezTo>
                  <a:pt x="1138" y="45"/>
                  <a:pt x="1138" y="45"/>
                  <a:pt x="1139" y="45"/>
                </a:cubicBezTo>
                <a:cubicBezTo>
                  <a:pt x="1139" y="45"/>
                  <a:pt x="1139" y="45"/>
                  <a:pt x="1139" y="45"/>
                </a:cubicBezTo>
                <a:cubicBezTo>
                  <a:pt x="1139" y="46"/>
                  <a:pt x="1139" y="46"/>
                  <a:pt x="1139" y="46"/>
                </a:cubicBezTo>
                <a:cubicBezTo>
                  <a:pt x="1139" y="46"/>
                  <a:pt x="1139" y="46"/>
                  <a:pt x="1139" y="46"/>
                </a:cubicBezTo>
                <a:cubicBezTo>
                  <a:pt x="1139" y="46"/>
                  <a:pt x="1139" y="46"/>
                  <a:pt x="1139" y="46"/>
                </a:cubicBezTo>
                <a:cubicBezTo>
                  <a:pt x="1139" y="46"/>
                  <a:pt x="1139" y="46"/>
                  <a:pt x="1139" y="46"/>
                </a:cubicBezTo>
                <a:cubicBezTo>
                  <a:pt x="1139" y="46"/>
                  <a:pt x="1140" y="46"/>
                  <a:pt x="1140" y="47"/>
                </a:cubicBezTo>
                <a:cubicBezTo>
                  <a:pt x="1140" y="46"/>
                  <a:pt x="1140" y="46"/>
                  <a:pt x="1140" y="46"/>
                </a:cubicBezTo>
                <a:cubicBezTo>
                  <a:pt x="1140" y="47"/>
                  <a:pt x="1140" y="47"/>
                  <a:pt x="1140" y="47"/>
                </a:cubicBezTo>
                <a:cubicBezTo>
                  <a:pt x="1140" y="47"/>
                  <a:pt x="1140" y="47"/>
                  <a:pt x="1140" y="47"/>
                </a:cubicBezTo>
                <a:cubicBezTo>
                  <a:pt x="1140" y="47"/>
                  <a:pt x="1140" y="47"/>
                  <a:pt x="1140" y="47"/>
                </a:cubicBezTo>
                <a:cubicBezTo>
                  <a:pt x="1140" y="47"/>
                  <a:pt x="1140" y="47"/>
                  <a:pt x="1140" y="47"/>
                </a:cubicBezTo>
                <a:cubicBezTo>
                  <a:pt x="1140" y="48"/>
                  <a:pt x="1141" y="48"/>
                  <a:pt x="1141" y="48"/>
                </a:cubicBezTo>
                <a:cubicBezTo>
                  <a:pt x="1141" y="48"/>
                  <a:pt x="1141" y="48"/>
                  <a:pt x="1141" y="48"/>
                </a:cubicBezTo>
                <a:cubicBezTo>
                  <a:pt x="1141" y="48"/>
                  <a:pt x="1141" y="48"/>
                  <a:pt x="1141" y="49"/>
                </a:cubicBezTo>
                <a:cubicBezTo>
                  <a:pt x="1141" y="49"/>
                  <a:pt x="1141" y="49"/>
                  <a:pt x="1141" y="49"/>
                </a:cubicBezTo>
                <a:cubicBezTo>
                  <a:pt x="1141" y="49"/>
                  <a:pt x="1141" y="49"/>
                  <a:pt x="1141" y="49"/>
                </a:cubicBezTo>
                <a:cubicBezTo>
                  <a:pt x="1141" y="49"/>
                  <a:pt x="1141" y="49"/>
                  <a:pt x="1141" y="49"/>
                </a:cubicBezTo>
                <a:cubicBezTo>
                  <a:pt x="1141" y="49"/>
                  <a:pt x="1141" y="49"/>
                  <a:pt x="1141" y="49"/>
                </a:cubicBezTo>
                <a:cubicBezTo>
                  <a:pt x="1141" y="49"/>
                  <a:pt x="1142" y="49"/>
                  <a:pt x="1142" y="50"/>
                </a:cubicBezTo>
                <a:cubicBezTo>
                  <a:pt x="1142" y="50"/>
                  <a:pt x="1142" y="50"/>
                  <a:pt x="1142" y="50"/>
                </a:cubicBezTo>
                <a:cubicBezTo>
                  <a:pt x="1142" y="50"/>
                  <a:pt x="1142" y="50"/>
                  <a:pt x="1142" y="50"/>
                </a:cubicBezTo>
                <a:cubicBezTo>
                  <a:pt x="1142" y="50"/>
                  <a:pt x="1142" y="50"/>
                  <a:pt x="1142" y="51"/>
                </a:cubicBezTo>
                <a:cubicBezTo>
                  <a:pt x="1142" y="51"/>
                  <a:pt x="1142" y="51"/>
                  <a:pt x="1142" y="51"/>
                </a:cubicBezTo>
                <a:cubicBezTo>
                  <a:pt x="1142" y="51"/>
                  <a:pt x="1142" y="51"/>
                  <a:pt x="1142" y="51"/>
                </a:cubicBezTo>
                <a:cubicBezTo>
                  <a:pt x="1142" y="51"/>
                  <a:pt x="1142" y="51"/>
                  <a:pt x="1142" y="51"/>
                </a:cubicBezTo>
                <a:cubicBezTo>
                  <a:pt x="1142" y="52"/>
                  <a:pt x="1142" y="52"/>
                  <a:pt x="1142" y="52"/>
                </a:cubicBezTo>
                <a:cubicBezTo>
                  <a:pt x="1143" y="52"/>
                  <a:pt x="1143" y="52"/>
                  <a:pt x="1143" y="52"/>
                </a:cubicBezTo>
                <a:cubicBezTo>
                  <a:pt x="1143" y="53"/>
                  <a:pt x="1143" y="53"/>
                  <a:pt x="1143" y="53"/>
                </a:cubicBezTo>
                <a:cubicBezTo>
                  <a:pt x="1143" y="53"/>
                  <a:pt x="1143" y="53"/>
                  <a:pt x="1143" y="53"/>
                </a:cubicBezTo>
                <a:cubicBezTo>
                  <a:pt x="1143" y="53"/>
                  <a:pt x="1143" y="53"/>
                  <a:pt x="1143" y="54"/>
                </a:cubicBezTo>
                <a:cubicBezTo>
                  <a:pt x="1143" y="54"/>
                  <a:pt x="1143" y="54"/>
                  <a:pt x="1143" y="54"/>
                </a:cubicBezTo>
                <a:cubicBezTo>
                  <a:pt x="1143" y="54"/>
                  <a:pt x="1143" y="55"/>
                  <a:pt x="1143" y="55"/>
                </a:cubicBezTo>
                <a:cubicBezTo>
                  <a:pt x="1144" y="55"/>
                  <a:pt x="1144" y="55"/>
                  <a:pt x="1143" y="55"/>
                </a:cubicBezTo>
                <a:cubicBezTo>
                  <a:pt x="1144" y="56"/>
                  <a:pt x="1143" y="57"/>
                  <a:pt x="1144" y="57"/>
                </a:cubicBezTo>
                <a:cubicBezTo>
                  <a:pt x="1144" y="57"/>
                  <a:pt x="1144" y="58"/>
                  <a:pt x="1144" y="58"/>
                </a:cubicBezTo>
                <a:cubicBezTo>
                  <a:pt x="1144" y="59"/>
                  <a:pt x="1144" y="61"/>
                  <a:pt x="1144" y="62"/>
                </a:cubicBezTo>
                <a:cubicBezTo>
                  <a:pt x="1144" y="62"/>
                  <a:pt x="1144" y="62"/>
                  <a:pt x="1144" y="63"/>
                </a:cubicBezTo>
                <a:cubicBezTo>
                  <a:pt x="1144" y="76"/>
                  <a:pt x="1144" y="88"/>
                  <a:pt x="1144" y="101"/>
                </a:cubicBezTo>
                <a:cubicBezTo>
                  <a:pt x="1145" y="102"/>
                  <a:pt x="1145" y="102"/>
                  <a:pt x="1146" y="102"/>
                </a:cubicBezTo>
                <a:cubicBezTo>
                  <a:pt x="1148" y="102"/>
                  <a:pt x="1151" y="102"/>
                  <a:pt x="1153" y="102"/>
                </a:cubicBezTo>
                <a:cubicBezTo>
                  <a:pt x="1155" y="102"/>
                  <a:pt x="1155" y="102"/>
                  <a:pt x="1155" y="100"/>
                </a:cubicBezTo>
                <a:cubicBezTo>
                  <a:pt x="1155" y="86"/>
                  <a:pt x="1155" y="72"/>
                  <a:pt x="1155" y="58"/>
                </a:cubicBezTo>
                <a:cubicBezTo>
                  <a:pt x="1155" y="57"/>
                  <a:pt x="1155" y="56"/>
                  <a:pt x="1155" y="56"/>
                </a:cubicBezTo>
                <a:cubicBezTo>
                  <a:pt x="1155" y="56"/>
                  <a:pt x="1155" y="55"/>
                  <a:pt x="1155" y="55"/>
                </a:cubicBezTo>
                <a:cubicBezTo>
                  <a:pt x="1155" y="54"/>
                  <a:pt x="1155" y="53"/>
                  <a:pt x="1155" y="53"/>
                </a:cubicBezTo>
                <a:cubicBezTo>
                  <a:pt x="1154" y="53"/>
                  <a:pt x="1154" y="53"/>
                  <a:pt x="1155" y="53"/>
                </a:cubicBezTo>
                <a:cubicBezTo>
                  <a:pt x="1154" y="52"/>
                  <a:pt x="1155" y="51"/>
                  <a:pt x="1154" y="51"/>
                </a:cubicBezTo>
                <a:cubicBezTo>
                  <a:pt x="1154" y="51"/>
                  <a:pt x="1154" y="51"/>
                  <a:pt x="1154" y="51"/>
                </a:cubicBezTo>
                <a:cubicBezTo>
                  <a:pt x="1154" y="50"/>
                  <a:pt x="1154" y="50"/>
                  <a:pt x="1154" y="49"/>
                </a:cubicBezTo>
                <a:close/>
                <a:moveTo>
                  <a:pt x="680" y="63"/>
                </a:moveTo>
                <a:cubicBezTo>
                  <a:pt x="680" y="63"/>
                  <a:pt x="680" y="63"/>
                  <a:pt x="680" y="63"/>
                </a:cubicBezTo>
                <a:cubicBezTo>
                  <a:pt x="680" y="62"/>
                  <a:pt x="679" y="62"/>
                  <a:pt x="679" y="62"/>
                </a:cubicBezTo>
                <a:cubicBezTo>
                  <a:pt x="679" y="62"/>
                  <a:pt x="679" y="62"/>
                  <a:pt x="679" y="62"/>
                </a:cubicBezTo>
                <a:cubicBezTo>
                  <a:pt x="679" y="62"/>
                  <a:pt x="679" y="62"/>
                  <a:pt x="678" y="62"/>
                </a:cubicBezTo>
                <a:cubicBezTo>
                  <a:pt x="678" y="62"/>
                  <a:pt x="678" y="62"/>
                  <a:pt x="678" y="62"/>
                </a:cubicBezTo>
                <a:cubicBezTo>
                  <a:pt x="678" y="62"/>
                  <a:pt x="678" y="62"/>
                  <a:pt x="678" y="62"/>
                </a:cubicBezTo>
                <a:cubicBezTo>
                  <a:pt x="678" y="62"/>
                  <a:pt x="678" y="62"/>
                  <a:pt x="678" y="62"/>
                </a:cubicBezTo>
                <a:cubicBezTo>
                  <a:pt x="678" y="61"/>
                  <a:pt x="677" y="61"/>
                  <a:pt x="677" y="61"/>
                </a:cubicBezTo>
                <a:cubicBezTo>
                  <a:pt x="677" y="61"/>
                  <a:pt x="677" y="61"/>
                  <a:pt x="677" y="61"/>
                </a:cubicBezTo>
                <a:cubicBezTo>
                  <a:pt x="677" y="61"/>
                  <a:pt x="676" y="61"/>
                  <a:pt x="676" y="61"/>
                </a:cubicBezTo>
                <a:cubicBezTo>
                  <a:pt x="676" y="61"/>
                  <a:pt x="676" y="61"/>
                  <a:pt x="676" y="61"/>
                </a:cubicBezTo>
                <a:cubicBezTo>
                  <a:pt x="676" y="61"/>
                  <a:pt x="676" y="61"/>
                  <a:pt x="676" y="60"/>
                </a:cubicBezTo>
                <a:cubicBezTo>
                  <a:pt x="676" y="60"/>
                  <a:pt x="676" y="60"/>
                  <a:pt x="676" y="60"/>
                </a:cubicBezTo>
                <a:cubicBezTo>
                  <a:pt x="675" y="60"/>
                  <a:pt x="675" y="60"/>
                  <a:pt x="675" y="60"/>
                </a:cubicBezTo>
                <a:cubicBezTo>
                  <a:pt x="675" y="60"/>
                  <a:pt x="675" y="60"/>
                  <a:pt x="675" y="60"/>
                </a:cubicBezTo>
                <a:cubicBezTo>
                  <a:pt x="675" y="60"/>
                  <a:pt x="675" y="60"/>
                  <a:pt x="675" y="60"/>
                </a:cubicBezTo>
                <a:cubicBezTo>
                  <a:pt x="675" y="60"/>
                  <a:pt x="675" y="60"/>
                  <a:pt x="675" y="60"/>
                </a:cubicBezTo>
                <a:cubicBezTo>
                  <a:pt x="674" y="60"/>
                  <a:pt x="674" y="60"/>
                  <a:pt x="674" y="59"/>
                </a:cubicBezTo>
                <a:cubicBezTo>
                  <a:pt x="674" y="59"/>
                  <a:pt x="674" y="59"/>
                  <a:pt x="674" y="59"/>
                </a:cubicBezTo>
                <a:cubicBezTo>
                  <a:pt x="674" y="59"/>
                  <a:pt x="674" y="59"/>
                  <a:pt x="673" y="59"/>
                </a:cubicBezTo>
                <a:cubicBezTo>
                  <a:pt x="673" y="59"/>
                  <a:pt x="673" y="59"/>
                  <a:pt x="673" y="59"/>
                </a:cubicBezTo>
                <a:cubicBezTo>
                  <a:pt x="673" y="59"/>
                  <a:pt x="673" y="59"/>
                  <a:pt x="673" y="59"/>
                </a:cubicBezTo>
                <a:cubicBezTo>
                  <a:pt x="673" y="59"/>
                  <a:pt x="673" y="59"/>
                  <a:pt x="673" y="59"/>
                </a:cubicBezTo>
                <a:cubicBezTo>
                  <a:pt x="673" y="59"/>
                  <a:pt x="673"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7"/>
                  <a:pt x="671" y="57"/>
                </a:cubicBezTo>
                <a:cubicBezTo>
                  <a:pt x="671" y="57"/>
                  <a:pt x="671" y="57"/>
                  <a:pt x="671" y="57"/>
                </a:cubicBezTo>
                <a:cubicBezTo>
                  <a:pt x="671" y="57"/>
                  <a:pt x="671" y="57"/>
                  <a:pt x="671" y="57"/>
                </a:cubicBezTo>
                <a:cubicBezTo>
                  <a:pt x="671" y="57"/>
                  <a:pt x="671" y="57"/>
                  <a:pt x="671" y="57"/>
                </a:cubicBezTo>
                <a:cubicBezTo>
                  <a:pt x="671" y="56"/>
                  <a:pt x="671" y="56"/>
                  <a:pt x="671" y="56"/>
                </a:cubicBezTo>
                <a:cubicBezTo>
                  <a:pt x="671" y="56"/>
                  <a:pt x="671" y="56"/>
                  <a:pt x="671" y="56"/>
                </a:cubicBezTo>
                <a:cubicBezTo>
                  <a:pt x="671" y="56"/>
                  <a:pt x="671" y="56"/>
                  <a:pt x="670" y="56"/>
                </a:cubicBezTo>
                <a:cubicBezTo>
                  <a:pt x="670" y="56"/>
                  <a:pt x="670" y="56"/>
                  <a:pt x="670" y="56"/>
                </a:cubicBezTo>
                <a:cubicBezTo>
                  <a:pt x="670" y="55"/>
                  <a:pt x="670" y="55"/>
                  <a:pt x="670" y="55"/>
                </a:cubicBezTo>
                <a:cubicBezTo>
                  <a:pt x="670" y="54"/>
                  <a:pt x="670" y="54"/>
                  <a:pt x="670" y="54"/>
                </a:cubicBezTo>
                <a:cubicBezTo>
                  <a:pt x="670" y="54"/>
                  <a:pt x="670" y="54"/>
                  <a:pt x="670" y="54"/>
                </a:cubicBezTo>
                <a:cubicBezTo>
                  <a:pt x="670" y="54"/>
                  <a:pt x="670" y="54"/>
                  <a:pt x="670" y="53"/>
                </a:cubicBezTo>
                <a:cubicBezTo>
                  <a:pt x="670" y="53"/>
                  <a:pt x="670" y="53"/>
                  <a:pt x="670" y="52"/>
                </a:cubicBezTo>
                <a:cubicBezTo>
                  <a:pt x="669" y="52"/>
                  <a:pt x="669" y="51"/>
                  <a:pt x="670" y="50"/>
                </a:cubicBezTo>
                <a:cubicBezTo>
                  <a:pt x="670" y="50"/>
                  <a:pt x="670" y="50"/>
                  <a:pt x="670" y="50"/>
                </a:cubicBezTo>
                <a:cubicBezTo>
                  <a:pt x="670" y="50"/>
                  <a:pt x="670" y="49"/>
                  <a:pt x="670" y="49"/>
                </a:cubicBezTo>
                <a:cubicBezTo>
                  <a:pt x="670" y="49"/>
                  <a:pt x="670" y="49"/>
                  <a:pt x="670" y="49"/>
                </a:cubicBezTo>
                <a:cubicBezTo>
                  <a:pt x="670" y="48"/>
                  <a:pt x="670" y="48"/>
                  <a:pt x="670" y="48"/>
                </a:cubicBezTo>
                <a:cubicBezTo>
                  <a:pt x="670" y="48"/>
                  <a:pt x="670" y="48"/>
                  <a:pt x="670" y="48"/>
                </a:cubicBezTo>
                <a:cubicBezTo>
                  <a:pt x="671" y="47"/>
                  <a:pt x="671" y="47"/>
                  <a:pt x="671" y="47"/>
                </a:cubicBezTo>
                <a:cubicBezTo>
                  <a:pt x="671" y="47"/>
                  <a:pt x="671" y="47"/>
                  <a:pt x="671" y="47"/>
                </a:cubicBezTo>
                <a:cubicBezTo>
                  <a:pt x="671" y="47"/>
                  <a:pt x="671" y="47"/>
                  <a:pt x="671" y="46"/>
                </a:cubicBezTo>
                <a:cubicBezTo>
                  <a:pt x="671" y="46"/>
                  <a:pt x="671" y="46"/>
                  <a:pt x="671" y="46"/>
                </a:cubicBezTo>
                <a:cubicBezTo>
                  <a:pt x="671" y="46"/>
                  <a:pt x="671" y="46"/>
                  <a:pt x="671" y="46"/>
                </a:cubicBezTo>
                <a:cubicBezTo>
                  <a:pt x="671" y="46"/>
                  <a:pt x="671" y="46"/>
                  <a:pt x="671" y="46"/>
                </a:cubicBezTo>
                <a:cubicBezTo>
                  <a:pt x="672" y="46"/>
                  <a:pt x="673" y="45"/>
                  <a:pt x="673" y="44"/>
                </a:cubicBezTo>
                <a:cubicBezTo>
                  <a:pt x="673" y="44"/>
                  <a:pt x="673" y="44"/>
                  <a:pt x="673" y="44"/>
                </a:cubicBezTo>
                <a:cubicBezTo>
                  <a:pt x="673" y="44"/>
                  <a:pt x="673" y="44"/>
                  <a:pt x="674" y="44"/>
                </a:cubicBezTo>
                <a:cubicBezTo>
                  <a:pt x="674" y="44"/>
                  <a:pt x="674" y="44"/>
                  <a:pt x="674" y="44"/>
                </a:cubicBezTo>
                <a:cubicBezTo>
                  <a:pt x="674" y="44"/>
                  <a:pt x="674" y="44"/>
                  <a:pt x="674" y="44"/>
                </a:cubicBezTo>
                <a:cubicBezTo>
                  <a:pt x="674" y="44"/>
                  <a:pt x="674" y="44"/>
                  <a:pt x="674" y="44"/>
                </a:cubicBezTo>
                <a:cubicBezTo>
                  <a:pt x="674" y="44"/>
                  <a:pt x="674" y="44"/>
                  <a:pt x="675" y="43"/>
                </a:cubicBezTo>
                <a:cubicBezTo>
                  <a:pt x="675" y="43"/>
                  <a:pt x="675" y="43"/>
                  <a:pt x="675" y="43"/>
                </a:cubicBezTo>
                <a:cubicBezTo>
                  <a:pt x="675" y="43"/>
                  <a:pt x="675" y="43"/>
                  <a:pt x="675" y="43"/>
                </a:cubicBezTo>
                <a:cubicBezTo>
                  <a:pt x="675" y="43"/>
                  <a:pt x="675" y="43"/>
                  <a:pt x="676" y="43"/>
                </a:cubicBezTo>
                <a:cubicBezTo>
                  <a:pt x="676" y="43"/>
                  <a:pt x="676" y="43"/>
                  <a:pt x="676" y="43"/>
                </a:cubicBezTo>
                <a:cubicBezTo>
                  <a:pt x="676" y="43"/>
                  <a:pt x="676" y="43"/>
                  <a:pt x="676" y="43"/>
                </a:cubicBezTo>
                <a:cubicBezTo>
                  <a:pt x="676" y="43"/>
                  <a:pt x="676" y="43"/>
                  <a:pt x="676" y="43"/>
                </a:cubicBezTo>
                <a:cubicBezTo>
                  <a:pt x="677" y="43"/>
                  <a:pt x="677" y="43"/>
                  <a:pt x="677" y="43"/>
                </a:cubicBezTo>
                <a:cubicBezTo>
                  <a:pt x="677" y="42"/>
                  <a:pt x="677" y="43"/>
                  <a:pt x="678" y="42"/>
                </a:cubicBezTo>
                <a:cubicBezTo>
                  <a:pt x="678" y="42"/>
                  <a:pt x="678" y="42"/>
                  <a:pt x="678" y="42"/>
                </a:cubicBezTo>
                <a:cubicBezTo>
                  <a:pt x="678" y="42"/>
                  <a:pt x="678" y="42"/>
                  <a:pt x="678" y="42"/>
                </a:cubicBezTo>
                <a:cubicBezTo>
                  <a:pt x="679" y="42"/>
                  <a:pt x="679" y="42"/>
                  <a:pt x="680" y="42"/>
                </a:cubicBezTo>
                <a:cubicBezTo>
                  <a:pt x="681" y="42"/>
                  <a:pt x="682" y="42"/>
                  <a:pt x="683" y="42"/>
                </a:cubicBezTo>
                <a:cubicBezTo>
                  <a:pt x="684" y="42"/>
                  <a:pt x="685" y="42"/>
                  <a:pt x="685" y="42"/>
                </a:cubicBezTo>
                <a:cubicBezTo>
                  <a:pt x="686" y="42"/>
                  <a:pt x="686" y="42"/>
                  <a:pt x="686" y="42"/>
                </a:cubicBezTo>
                <a:cubicBezTo>
                  <a:pt x="686" y="42"/>
                  <a:pt x="686" y="42"/>
                  <a:pt x="686" y="42"/>
                </a:cubicBezTo>
                <a:cubicBezTo>
                  <a:pt x="686" y="43"/>
                  <a:pt x="687" y="42"/>
                  <a:pt x="687" y="43"/>
                </a:cubicBezTo>
                <a:cubicBezTo>
                  <a:pt x="687" y="43"/>
                  <a:pt x="687" y="43"/>
                  <a:pt x="687" y="43"/>
                </a:cubicBezTo>
                <a:cubicBezTo>
                  <a:pt x="687" y="43"/>
                  <a:pt x="687" y="43"/>
                  <a:pt x="687" y="43"/>
                </a:cubicBezTo>
                <a:cubicBezTo>
                  <a:pt x="688" y="43"/>
                  <a:pt x="688" y="43"/>
                  <a:pt x="689" y="43"/>
                </a:cubicBezTo>
                <a:cubicBezTo>
                  <a:pt x="689" y="43"/>
                  <a:pt x="689" y="43"/>
                  <a:pt x="689" y="43"/>
                </a:cubicBezTo>
                <a:cubicBezTo>
                  <a:pt x="689" y="43"/>
                  <a:pt x="689" y="43"/>
                  <a:pt x="689" y="43"/>
                </a:cubicBezTo>
                <a:cubicBezTo>
                  <a:pt x="689" y="43"/>
                  <a:pt x="690" y="43"/>
                  <a:pt x="690" y="43"/>
                </a:cubicBezTo>
                <a:cubicBezTo>
                  <a:pt x="690" y="43"/>
                  <a:pt x="690" y="43"/>
                  <a:pt x="690" y="43"/>
                </a:cubicBezTo>
                <a:cubicBezTo>
                  <a:pt x="690" y="44"/>
                  <a:pt x="691" y="43"/>
                  <a:pt x="691" y="44"/>
                </a:cubicBezTo>
                <a:cubicBezTo>
                  <a:pt x="691" y="44"/>
                  <a:pt x="691" y="44"/>
                  <a:pt x="691" y="44"/>
                </a:cubicBezTo>
                <a:cubicBezTo>
                  <a:pt x="691" y="44"/>
                  <a:pt x="691" y="44"/>
                  <a:pt x="692" y="44"/>
                </a:cubicBezTo>
                <a:cubicBezTo>
                  <a:pt x="692" y="44"/>
                  <a:pt x="692" y="44"/>
                  <a:pt x="692" y="44"/>
                </a:cubicBezTo>
                <a:cubicBezTo>
                  <a:pt x="692" y="44"/>
                  <a:pt x="692" y="44"/>
                  <a:pt x="692" y="44"/>
                </a:cubicBezTo>
                <a:cubicBezTo>
                  <a:pt x="692" y="44"/>
                  <a:pt x="692" y="44"/>
                  <a:pt x="692" y="44"/>
                </a:cubicBezTo>
                <a:cubicBezTo>
                  <a:pt x="693" y="45"/>
                  <a:pt x="693" y="45"/>
                  <a:pt x="693" y="45"/>
                </a:cubicBezTo>
                <a:cubicBezTo>
                  <a:pt x="693" y="45"/>
                  <a:pt x="693" y="45"/>
                  <a:pt x="693" y="45"/>
                </a:cubicBezTo>
                <a:cubicBezTo>
                  <a:pt x="693" y="45"/>
                  <a:pt x="694" y="45"/>
                  <a:pt x="694" y="45"/>
                </a:cubicBezTo>
                <a:cubicBezTo>
                  <a:pt x="694" y="45"/>
                  <a:pt x="694" y="45"/>
                  <a:pt x="694" y="45"/>
                </a:cubicBezTo>
                <a:cubicBezTo>
                  <a:pt x="694" y="45"/>
                  <a:pt x="694" y="45"/>
                  <a:pt x="694" y="45"/>
                </a:cubicBezTo>
                <a:cubicBezTo>
                  <a:pt x="694" y="45"/>
                  <a:pt x="694" y="45"/>
                  <a:pt x="694" y="45"/>
                </a:cubicBezTo>
                <a:cubicBezTo>
                  <a:pt x="695" y="46"/>
                  <a:pt x="695" y="46"/>
                  <a:pt x="695" y="46"/>
                </a:cubicBezTo>
                <a:cubicBezTo>
                  <a:pt x="695" y="46"/>
                  <a:pt x="695" y="46"/>
                  <a:pt x="695" y="46"/>
                </a:cubicBezTo>
                <a:cubicBezTo>
                  <a:pt x="695" y="46"/>
                  <a:pt x="695" y="46"/>
                  <a:pt x="696" y="46"/>
                </a:cubicBezTo>
                <a:cubicBezTo>
                  <a:pt x="695" y="46"/>
                  <a:pt x="695" y="46"/>
                  <a:pt x="695" y="46"/>
                </a:cubicBezTo>
                <a:cubicBezTo>
                  <a:pt x="696" y="46"/>
                  <a:pt x="696" y="46"/>
                  <a:pt x="696" y="47"/>
                </a:cubicBezTo>
                <a:cubicBezTo>
                  <a:pt x="696" y="47"/>
                  <a:pt x="696" y="47"/>
                  <a:pt x="696" y="47"/>
                </a:cubicBezTo>
                <a:cubicBezTo>
                  <a:pt x="696" y="47"/>
                  <a:pt x="697" y="46"/>
                  <a:pt x="697" y="46"/>
                </a:cubicBezTo>
                <a:cubicBezTo>
                  <a:pt x="697" y="43"/>
                  <a:pt x="697" y="39"/>
                  <a:pt x="696" y="36"/>
                </a:cubicBezTo>
                <a:cubicBezTo>
                  <a:pt x="696" y="36"/>
                  <a:pt x="696" y="36"/>
                  <a:pt x="696" y="36"/>
                </a:cubicBezTo>
                <a:cubicBezTo>
                  <a:pt x="696" y="36"/>
                  <a:pt x="696" y="36"/>
                  <a:pt x="696" y="35"/>
                </a:cubicBezTo>
                <a:cubicBezTo>
                  <a:pt x="696" y="35"/>
                  <a:pt x="696" y="35"/>
                  <a:pt x="696" y="35"/>
                </a:cubicBezTo>
                <a:cubicBezTo>
                  <a:pt x="696" y="35"/>
                  <a:pt x="695" y="35"/>
                  <a:pt x="695" y="35"/>
                </a:cubicBezTo>
                <a:cubicBezTo>
                  <a:pt x="695" y="35"/>
                  <a:pt x="695" y="35"/>
                  <a:pt x="695" y="35"/>
                </a:cubicBezTo>
                <a:cubicBezTo>
                  <a:pt x="695" y="35"/>
                  <a:pt x="695" y="35"/>
                  <a:pt x="694" y="35"/>
                </a:cubicBezTo>
                <a:cubicBezTo>
                  <a:pt x="694" y="35"/>
                  <a:pt x="694" y="35"/>
                  <a:pt x="694" y="35"/>
                </a:cubicBezTo>
                <a:cubicBezTo>
                  <a:pt x="694" y="34"/>
                  <a:pt x="694" y="35"/>
                  <a:pt x="693" y="34"/>
                </a:cubicBezTo>
                <a:cubicBezTo>
                  <a:pt x="693" y="34"/>
                  <a:pt x="693" y="34"/>
                  <a:pt x="693" y="34"/>
                </a:cubicBezTo>
                <a:cubicBezTo>
                  <a:pt x="693" y="34"/>
                  <a:pt x="693" y="34"/>
                  <a:pt x="692" y="34"/>
                </a:cubicBezTo>
                <a:cubicBezTo>
                  <a:pt x="692" y="34"/>
                  <a:pt x="692" y="34"/>
                  <a:pt x="692" y="34"/>
                </a:cubicBezTo>
                <a:cubicBezTo>
                  <a:pt x="692" y="34"/>
                  <a:pt x="692" y="34"/>
                  <a:pt x="691" y="34"/>
                </a:cubicBezTo>
                <a:cubicBezTo>
                  <a:pt x="691" y="34"/>
                  <a:pt x="691" y="34"/>
                  <a:pt x="691" y="34"/>
                </a:cubicBezTo>
                <a:cubicBezTo>
                  <a:pt x="691" y="34"/>
                  <a:pt x="691" y="34"/>
                  <a:pt x="691" y="34"/>
                </a:cubicBezTo>
                <a:cubicBezTo>
                  <a:pt x="691" y="33"/>
                  <a:pt x="690" y="34"/>
                  <a:pt x="690" y="33"/>
                </a:cubicBezTo>
                <a:cubicBezTo>
                  <a:pt x="690" y="33"/>
                  <a:pt x="690" y="33"/>
                  <a:pt x="690" y="33"/>
                </a:cubicBezTo>
                <a:cubicBezTo>
                  <a:pt x="690" y="33"/>
                  <a:pt x="690" y="33"/>
                  <a:pt x="690" y="33"/>
                </a:cubicBezTo>
                <a:cubicBezTo>
                  <a:pt x="689" y="33"/>
                  <a:pt x="688" y="33"/>
                  <a:pt x="688" y="33"/>
                </a:cubicBezTo>
                <a:cubicBezTo>
                  <a:pt x="688" y="33"/>
                  <a:pt x="688" y="33"/>
                  <a:pt x="687" y="33"/>
                </a:cubicBezTo>
                <a:cubicBezTo>
                  <a:pt x="687" y="33"/>
                  <a:pt x="686" y="33"/>
                  <a:pt x="685" y="33"/>
                </a:cubicBezTo>
                <a:cubicBezTo>
                  <a:pt x="683" y="33"/>
                  <a:pt x="681" y="33"/>
                  <a:pt x="680" y="33"/>
                </a:cubicBezTo>
                <a:cubicBezTo>
                  <a:pt x="679" y="33"/>
                  <a:pt x="678" y="33"/>
                  <a:pt x="677" y="33"/>
                </a:cubicBezTo>
                <a:cubicBezTo>
                  <a:pt x="677" y="33"/>
                  <a:pt x="677" y="33"/>
                  <a:pt x="677" y="33"/>
                </a:cubicBezTo>
                <a:cubicBezTo>
                  <a:pt x="676" y="33"/>
                  <a:pt x="676" y="33"/>
                  <a:pt x="675" y="33"/>
                </a:cubicBezTo>
                <a:cubicBezTo>
                  <a:pt x="675" y="33"/>
                  <a:pt x="675" y="33"/>
                  <a:pt x="675" y="33"/>
                </a:cubicBezTo>
                <a:cubicBezTo>
                  <a:pt x="675" y="34"/>
                  <a:pt x="674" y="33"/>
                  <a:pt x="674" y="34"/>
                </a:cubicBezTo>
                <a:cubicBezTo>
                  <a:pt x="674" y="34"/>
                  <a:pt x="674" y="34"/>
                  <a:pt x="674" y="34"/>
                </a:cubicBezTo>
                <a:cubicBezTo>
                  <a:pt x="673" y="34"/>
                  <a:pt x="673" y="34"/>
                  <a:pt x="672" y="34"/>
                </a:cubicBezTo>
                <a:cubicBezTo>
                  <a:pt x="673" y="34"/>
                  <a:pt x="673" y="34"/>
                  <a:pt x="673" y="34"/>
                </a:cubicBezTo>
                <a:cubicBezTo>
                  <a:pt x="672" y="34"/>
                  <a:pt x="672" y="34"/>
                  <a:pt x="671" y="34"/>
                </a:cubicBezTo>
                <a:cubicBezTo>
                  <a:pt x="671" y="34"/>
                  <a:pt x="671" y="34"/>
                  <a:pt x="671" y="34"/>
                </a:cubicBezTo>
                <a:cubicBezTo>
                  <a:pt x="671" y="35"/>
                  <a:pt x="671" y="34"/>
                  <a:pt x="671" y="35"/>
                </a:cubicBezTo>
                <a:cubicBezTo>
                  <a:pt x="671" y="35"/>
                  <a:pt x="671" y="35"/>
                  <a:pt x="671" y="35"/>
                </a:cubicBezTo>
                <a:cubicBezTo>
                  <a:pt x="671" y="35"/>
                  <a:pt x="670" y="35"/>
                  <a:pt x="670" y="35"/>
                </a:cubicBezTo>
                <a:cubicBezTo>
                  <a:pt x="670" y="35"/>
                  <a:pt x="670" y="35"/>
                  <a:pt x="670" y="35"/>
                </a:cubicBezTo>
                <a:cubicBezTo>
                  <a:pt x="670" y="35"/>
                  <a:pt x="670" y="35"/>
                  <a:pt x="670" y="35"/>
                </a:cubicBezTo>
                <a:cubicBezTo>
                  <a:pt x="670" y="35"/>
                  <a:pt x="670" y="35"/>
                  <a:pt x="669" y="35"/>
                </a:cubicBezTo>
                <a:cubicBezTo>
                  <a:pt x="669" y="35"/>
                  <a:pt x="669" y="35"/>
                  <a:pt x="669" y="35"/>
                </a:cubicBezTo>
                <a:cubicBezTo>
                  <a:pt x="669" y="35"/>
                  <a:pt x="669" y="35"/>
                  <a:pt x="669" y="35"/>
                </a:cubicBezTo>
                <a:cubicBezTo>
                  <a:pt x="669" y="35"/>
                  <a:pt x="669" y="36"/>
                  <a:pt x="669" y="36"/>
                </a:cubicBezTo>
                <a:cubicBezTo>
                  <a:pt x="669" y="36"/>
                  <a:pt x="669" y="36"/>
                  <a:pt x="669" y="36"/>
                </a:cubicBezTo>
                <a:cubicBezTo>
                  <a:pt x="668" y="36"/>
                  <a:pt x="668" y="36"/>
                  <a:pt x="668" y="36"/>
                </a:cubicBezTo>
                <a:cubicBezTo>
                  <a:pt x="668" y="36"/>
                  <a:pt x="668" y="36"/>
                  <a:pt x="668" y="36"/>
                </a:cubicBezTo>
                <a:cubicBezTo>
                  <a:pt x="668" y="36"/>
                  <a:pt x="667" y="36"/>
                  <a:pt x="667" y="37"/>
                </a:cubicBezTo>
                <a:cubicBezTo>
                  <a:pt x="667" y="36"/>
                  <a:pt x="667" y="36"/>
                  <a:pt x="667" y="36"/>
                </a:cubicBezTo>
                <a:cubicBezTo>
                  <a:pt x="667" y="37"/>
                  <a:pt x="667" y="37"/>
                  <a:pt x="667" y="37"/>
                </a:cubicBezTo>
                <a:cubicBezTo>
                  <a:pt x="667" y="37"/>
                  <a:pt x="667" y="37"/>
                  <a:pt x="667" y="37"/>
                </a:cubicBezTo>
                <a:cubicBezTo>
                  <a:pt x="667" y="37"/>
                  <a:pt x="666" y="37"/>
                  <a:pt x="666" y="37"/>
                </a:cubicBezTo>
                <a:cubicBezTo>
                  <a:pt x="666" y="37"/>
                  <a:pt x="666" y="37"/>
                  <a:pt x="666" y="37"/>
                </a:cubicBezTo>
                <a:cubicBezTo>
                  <a:pt x="666" y="37"/>
                  <a:pt x="666" y="37"/>
                  <a:pt x="666" y="38"/>
                </a:cubicBezTo>
                <a:cubicBezTo>
                  <a:pt x="666" y="37"/>
                  <a:pt x="666" y="37"/>
                  <a:pt x="666" y="37"/>
                </a:cubicBezTo>
                <a:cubicBezTo>
                  <a:pt x="666" y="38"/>
                  <a:pt x="666" y="38"/>
                  <a:pt x="666" y="38"/>
                </a:cubicBezTo>
                <a:cubicBezTo>
                  <a:pt x="666" y="38"/>
                  <a:pt x="666" y="38"/>
                  <a:pt x="666" y="38"/>
                </a:cubicBezTo>
                <a:cubicBezTo>
                  <a:pt x="665" y="38"/>
                  <a:pt x="665" y="38"/>
                  <a:pt x="665" y="39"/>
                </a:cubicBezTo>
                <a:cubicBezTo>
                  <a:pt x="665" y="39"/>
                  <a:pt x="665" y="39"/>
                  <a:pt x="665" y="39"/>
                </a:cubicBezTo>
                <a:cubicBezTo>
                  <a:pt x="664" y="39"/>
                  <a:pt x="664" y="39"/>
                  <a:pt x="664" y="39"/>
                </a:cubicBezTo>
                <a:cubicBezTo>
                  <a:pt x="664" y="39"/>
                  <a:pt x="664" y="39"/>
                  <a:pt x="664" y="39"/>
                </a:cubicBezTo>
                <a:cubicBezTo>
                  <a:pt x="664" y="39"/>
                  <a:pt x="664" y="39"/>
                  <a:pt x="664" y="39"/>
                </a:cubicBezTo>
                <a:cubicBezTo>
                  <a:pt x="664" y="39"/>
                  <a:pt x="664" y="39"/>
                  <a:pt x="664" y="39"/>
                </a:cubicBezTo>
                <a:cubicBezTo>
                  <a:pt x="664" y="39"/>
                  <a:pt x="664" y="39"/>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2" y="40"/>
                  <a:pt x="662" y="41"/>
                </a:cubicBezTo>
                <a:cubicBezTo>
                  <a:pt x="663" y="41"/>
                  <a:pt x="663" y="41"/>
                  <a:pt x="663" y="41"/>
                </a:cubicBezTo>
                <a:cubicBezTo>
                  <a:pt x="662" y="41"/>
                  <a:pt x="662" y="41"/>
                  <a:pt x="662" y="41"/>
                </a:cubicBezTo>
                <a:cubicBezTo>
                  <a:pt x="662" y="41"/>
                  <a:pt x="662" y="41"/>
                  <a:pt x="662" y="41"/>
                </a:cubicBezTo>
                <a:cubicBezTo>
                  <a:pt x="662" y="41"/>
                  <a:pt x="662" y="42"/>
                  <a:pt x="662" y="42"/>
                </a:cubicBezTo>
                <a:cubicBezTo>
                  <a:pt x="662" y="42"/>
                  <a:pt x="662" y="42"/>
                  <a:pt x="662" y="42"/>
                </a:cubicBezTo>
                <a:cubicBezTo>
                  <a:pt x="662" y="42"/>
                  <a:pt x="661" y="42"/>
                  <a:pt x="661" y="42"/>
                </a:cubicBezTo>
                <a:cubicBezTo>
                  <a:pt x="661" y="42"/>
                  <a:pt x="661" y="42"/>
                  <a:pt x="661" y="42"/>
                </a:cubicBezTo>
                <a:cubicBezTo>
                  <a:pt x="661" y="42"/>
                  <a:pt x="661" y="43"/>
                  <a:pt x="661" y="43"/>
                </a:cubicBezTo>
                <a:cubicBezTo>
                  <a:pt x="661" y="43"/>
                  <a:pt x="661" y="43"/>
                  <a:pt x="661" y="43"/>
                </a:cubicBezTo>
                <a:cubicBezTo>
                  <a:pt x="661" y="43"/>
                  <a:pt x="661" y="43"/>
                  <a:pt x="661" y="43"/>
                </a:cubicBezTo>
                <a:cubicBezTo>
                  <a:pt x="661" y="43"/>
                  <a:pt x="661" y="43"/>
                  <a:pt x="661" y="43"/>
                </a:cubicBezTo>
                <a:cubicBezTo>
                  <a:pt x="660" y="43"/>
                  <a:pt x="660" y="44"/>
                  <a:pt x="660" y="44"/>
                </a:cubicBezTo>
                <a:cubicBezTo>
                  <a:pt x="660" y="44"/>
                  <a:pt x="660" y="44"/>
                  <a:pt x="660" y="44"/>
                </a:cubicBezTo>
                <a:cubicBezTo>
                  <a:pt x="660" y="44"/>
                  <a:pt x="660" y="44"/>
                  <a:pt x="660" y="44"/>
                </a:cubicBezTo>
                <a:cubicBezTo>
                  <a:pt x="660" y="44"/>
                  <a:pt x="660" y="44"/>
                  <a:pt x="660" y="44"/>
                </a:cubicBezTo>
                <a:cubicBezTo>
                  <a:pt x="660" y="45"/>
                  <a:pt x="660" y="45"/>
                  <a:pt x="660" y="45"/>
                </a:cubicBezTo>
                <a:cubicBezTo>
                  <a:pt x="660" y="45"/>
                  <a:pt x="660" y="45"/>
                  <a:pt x="660" y="45"/>
                </a:cubicBezTo>
                <a:cubicBezTo>
                  <a:pt x="660" y="45"/>
                  <a:pt x="660" y="45"/>
                  <a:pt x="660" y="45"/>
                </a:cubicBezTo>
                <a:cubicBezTo>
                  <a:pt x="659" y="46"/>
                  <a:pt x="659" y="46"/>
                  <a:pt x="659" y="46"/>
                </a:cubicBezTo>
                <a:cubicBezTo>
                  <a:pt x="659" y="46"/>
                  <a:pt x="659" y="46"/>
                  <a:pt x="659" y="46"/>
                </a:cubicBezTo>
                <a:cubicBezTo>
                  <a:pt x="659" y="46"/>
                  <a:pt x="659" y="47"/>
                  <a:pt x="659" y="47"/>
                </a:cubicBezTo>
                <a:cubicBezTo>
                  <a:pt x="659" y="47"/>
                  <a:pt x="659" y="48"/>
                  <a:pt x="659" y="48"/>
                </a:cubicBezTo>
                <a:cubicBezTo>
                  <a:pt x="659" y="48"/>
                  <a:pt x="659" y="49"/>
                  <a:pt x="659" y="49"/>
                </a:cubicBezTo>
                <a:cubicBezTo>
                  <a:pt x="659" y="49"/>
                  <a:pt x="659" y="49"/>
                  <a:pt x="659" y="49"/>
                </a:cubicBezTo>
                <a:cubicBezTo>
                  <a:pt x="658" y="51"/>
                  <a:pt x="658" y="53"/>
                  <a:pt x="659" y="55"/>
                </a:cubicBezTo>
                <a:cubicBezTo>
                  <a:pt x="659" y="55"/>
                  <a:pt x="659" y="56"/>
                  <a:pt x="659" y="56"/>
                </a:cubicBezTo>
                <a:cubicBezTo>
                  <a:pt x="659" y="56"/>
                  <a:pt x="659" y="57"/>
                  <a:pt x="659" y="57"/>
                </a:cubicBezTo>
                <a:cubicBezTo>
                  <a:pt x="659" y="57"/>
                  <a:pt x="659" y="57"/>
                  <a:pt x="659" y="58"/>
                </a:cubicBezTo>
                <a:cubicBezTo>
                  <a:pt x="659" y="58"/>
                  <a:pt x="659" y="58"/>
                  <a:pt x="659" y="59"/>
                </a:cubicBezTo>
                <a:cubicBezTo>
                  <a:pt x="659" y="59"/>
                  <a:pt x="659" y="59"/>
                  <a:pt x="659" y="59"/>
                </a:cubicBezTo>
                <a:cubicBezTo>
                  <a:pt x="659" y="59"/>
                  <a:pt x="659" y="59"/>
                  <a:pt x="659" y="59"/>
                </a:cubicBezTo>
                <a:cubicBezTo>
                  <a:pt x="659" y="59"/>
                  <a:pt x="659" y="59"/>
                  <a:pt x="660" y="60"/>
                </a:cubicBezTo>
                <a:cubicBezTo>
                  <a:pt x="660" y="60"/>
                  <a:pt x="660" y="60"/>
                  <a:pt x="660" y="60"/>
                </a:cubicBezTo>
                <a:cubicBezTo>
                  <a:pt x="660" y="60"/>
                  <a:pt x="660" y="60"/>
                  <a:pt x="660" y="60"/>
                </a:cubicBezTo>
                <a:cubicBezTo>
                  <a:pt x="660" y="60"/>
                  <a:pt x="660" y="60"/>
                  <a:pt x="660" y="60"/>
                </a:cubicBezTo>
                <a:cubicBezTo>
                  <a:pt x="660" y="61"/>
                  <a:pt x="660" y="61"/>
                  <a:pt x="660" y="61"/>
                </a:cubicBezTo>
                <a:cubicBezTo>
                  <a:pt x="660" y="61"/>
                  <a:pt x="660" y="61"/>
                  <a:pt x="660" y="61"/>
                </a:cubicBezTo>
                <a:cubicBezTo>
                  <a:pt x="660" y="61"/>
                  <a:pt x="660" y="61"/>
                  <a:pt x="660" y="61"/>
                </a:cubicBezTo>
                <a:cubicBezTo>
                  <a:pt x="660" y="61"/>
                  <a:pt x="660" y="61"/>
                  <a:pt x="660" y="61"/>
                </a:cubicBezTo>
                <a:cubicBezTo>
                  <a:pt x="660" y="62"/>
                  <a:pt x="661" y="62"/>
                  <a:pt x="661" y="62"/>
                </a:cubicBezTo>
                <a:cubicBezTo>
                  <a:pt x="661" y="62"/>
                  <a:pt x="661" y="62"/>
                  <a:pt x="661" y="62"/>
                </a:cubicBezTo>
                <a:cubicBezTo>
                  <a:pt x="661" y="62"/>
                  <a:pt x="661" y="62"/>
                  <a:pt x="661" y="62"/>
                </a:cubicBezTo>
                <a:cubicBezTo>
                  <a:pt x="661" y="62"/>
                  <a:pt x="661" y="62"/>
                  <a:pt x="661" y="62"/>
                </a:cubicBezTo>
                <a:cubicBezTo>
                  <a:pt x="661" y="63"/>
                  <a:pt x="661" y="63"/>
                  <a:pt x="661" y="63"/>
                </a:cubicBezTo>
                <a:cubicBezTo>
                  <a:pt x="661" y="63"/>
                  <a:pt x="661" y="63"/>
                  <a:pt x="661" y="63"/>
                </a:cubicBezTo>
                <a:cubicBezTo>
                  <a:pt x="662" y="63"/>
                  <a:pt x="661" y="63"/>
                  <a:pt x="662" y="64"/>
                </a:cubicBezTo>
                <a:cubicBezTo>
                  <a:pt x="662" y="63"/>
                  <a:pt x="662" y="63"/>
                  <a:pt x="662" y="63"/>
                </a:cubicBezTo>
                <a:cubicBezTo>
                  <a:pt x="662" y="64"/>
                  <a:pt x="662" y="64"/>
                  <a:pt x="662" y="64"/>
                </a:cubicBezTo>
                <a:cubicBezTo>
                  <a:pt x="662" y="64"/>
                  <a:pt x="662" y="64"/>
                  <a:pt x="662" y="64"/>
                </a:cubicBezTo>
                <a:cubicBezTo>
                  <a:pt x="662" y="64"/>
                  <a:pt x="662" y="64"/>
                  <a:pt x="662" y="64"/>
                </a:cubicBezTo>
                <a:cubicBezTo>
                  <a:pt x="662" y="64"/>
                  <a:pt x="662" y="64"/>
                  <a:pt x="662" y="64"/>
                </a:cubicBezTo>
                <a:cubicBezTo>
                  <a:pt x="662" y="64"/>
                  <a:pt x="663" y="64"/>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4" y="65"/>
                  <a:pt x="664" y="66"/>
                  <a:pt x="664" y="66"/>
                </a:cubicBezTo>
                <a:cubicBezTo>
                  <a:pt x="664" y="66"/>
                  <a:pt x="664" y="66"/>
                  <a:pt x="664" y="66"/>
                </a:cubicBezTo>
                <a:cubicBezTo>
                  <a:pt x="664" y="66"/>
                  <a:pt x="664" y="66"/>
                  <a:pt x="664" y="66"/>
                </a:cubicBezTo>
                <a:cubicBezTo>
                  <a:pt x="664" y="66"/>
                  <a:pt x="664" y="66"/>
                  <a:pt x="664" y="66"/>
                </a:cubicBezTo>
                <a:cubicBezTo>
                  <a:pt x="664" y="66"/>
                  <a:pt x="664" y="66"/>
                  <a:pt x="665" y="66"/>
                </a:cubicBezTo>
                <a:cubicBezTo>
                  <a:pt x="665" y="66"/>
                  <a:pt x="665" y="66"/>
                  <a:pt x="665" y="66"/>
                </a:cubicBezTo>
                <a:cubicBezTo>
                  <a:pt x="665" y="67"/>
                  <a:pt x="665" y="66"/>
                  <a:pt x="665" y="67"/>
                </a:cubicBezTo>
                <a:cubicBezTo>
                  <a:pt x="665" y="67"/>
                  <a:pt x="665" y="67"/>
                  <a:pt x="665" y="67"/>
                </a:cubicBezTo>
                <a:cubicBezTo>
                  <a:pt x="665" y="67"/>
                  <a:pt x="665" y="67"/>
                  <a:pt x="666" y="67"/>
                </a:cubicBezTo>
                <a:cubicBezTo>
                  <a:pt x="666" y="67"/>
                  <a:pt x="666" y="67"/>
                  <a:pt x="666" y="67"/>
                </a:cubicBezTo>
                <a:cubicBezTo>
                  <a:pt x="666" y="67"/>
                  <a:pt x="666" y="67"/>
                  <a:pt x="666" y="67"/>
                </a:cubicBezTo>
                <a:cubicBezTo>
                  <a:pt x="666" y="67"/>
                  <a:pt x="666" y="67"/>
                  <a:pt x="666" y="67"/>
                </a:cubicBezTo>
                <a:cubicBezTo>
                  <a:pt x="666" y="68"/>
                  <a:pt x="666" y="68"/>
                  <a:pt x="667" y="68"/>
                </a:cubicBezTo>
                <a:cubicBezTo>
                  <a:pt x="667" y="68"/>
                  <a:pt x="667" y="68"/>
                  <a:pt x="667" y="68"/>
                </a:cubicBezTo>
                <a:cubicBezTo>
                  <a:pt x="667" y="68"/>
                  <a:pt x="667" y="68"/>
                  <a:pt x="667" y="68"/>
                </a:cubicBezTo>
                <a:cubicBezTo>
                  <a:pt x="667" y="68"/>
                  <a:pt x="667" y="68"/>
                  <a:pt x="667" y="68"/>
                </a:cubicBezTo>
                <a:cubicBezTo>
                  <a:pt x="667" y="68"/>
                  <a:pt x="667" y="68"/>
                  <a:pt x="668" y="68"/>
                </a:cubicBezTo>
                <a:cubicBezTo>
                  <a:pt x="668" y="68"/>
                  <a:pt x="668" y="68"/>
                  <a:pt x="668" y="68"/>
                </a:cubicBezTo>
                <a:cubicBezTo>
                  <a:pt x="668" y="69"/>
                  <a:pt x="668" y="69"/>
                  <a:pt x="668" y="69"/>
                </a:cubicBezTo>
                <a:cubicBezTo>
                  <a:pt x="668" y="69"/>
                  <a:pt x="668" y="69"/>
                  <a:pt x="668" y="69"/>
                </a:cubicBezTo>
                <a:cubicBezTo>
                  <a:pt x="668" y="69"/>
                  <a:pt x="669" y="69"/>
                  <a:pt x="669" y="69"/>
                </a:cubicBezTo>
                <a:cubicBezTo>
                  <a:pt x="669" y="69"/>
                  <a:pt x="669" y="69"/>
                  <a:pt x="669" y="69"/>
                </a:cubicBezTo>
                <a:cubicBezTo>
                  <a:pt x="669" y="69"/>
                  <a:pt x="669" y="69"/>
                  <a:pt x="669" y="69"/>
                </a:cubicBezTo>
                <a:cubicBezTo>
                  <a:pt x="669" y="69"/>
                  <a:pt x="669" y="69"/>
                  <a:pt x="669" y="69"/>
                </a:cubicBezTo>
                <a:cubicBezTo>
                  <a:pt x="670" y="70"/>
                  <a:pt x="670" y="70"/>
                  <a:pt x="670" y="70"/>
                </a:cubicBezTo>
                <a:cubicBezTo>
                  <a:pt x="670" y="70"/>
                  <a:pt x="670" y="70"/>
                  <a:pt x="670" y="70"/>
                </a:cubicBezTo>
                <a:cubicBezTo>
                  <a:pt x="670" y="70"/>
                  <a:pt x="671" y="70"/>
                  <a:pt x="671" y="70"/>
                </a:cubicBezTo>
                <a:cubicBezTo>
                  <a:pt x="671" y="70"/>
                  <a:pt x="671" y="70"/>
                  <a:pt x="671" y="70"/>
                </a:cubicBezTo>
                <a:cubicBezTo>
                  <a:pt x="671" y="70"/>
                  <a:pt x="671" y="70"/>
                  <a:pt x="671" y="71"/>
                </a:cubicBezTo>
                <a:cubicBezTo>
                  <a:pt x="671" y="71"/>
                  <a:pt x="671" y="71"/>
                  <a:pt x="671" y="71"/>
                </a:cubicBezTo>
                <a:cubicBezTo>
                  <a:pt x="672" y="71"/>
                  <a:pt x="672" y="71"/>
                  <a:pt x="672" y="71"/>
                </a:cubicBezTo>
                <a:cubicBezTo>
                  <a:pt x="672" y="71"/>
                  <a:pt x="672" y="71"/>
                  <a:pt x="672" y="71"/>
                </a:cubicBezTo>
                <a:cubicBezTo>
                  <a:pt x="672" y="71"/>
                  <a:pt x="673" y="71"/>
                  <a:pt x="673" y="71"/>
                </a:cubicBezTo>
                <a:cubicBezTo>
                  <a:pt x="673" y="71"/>
                  <a:pt x="673" y="71"/>
                  <a:pt x="673" y="71"/>
                </a:cubicBezTo>
                <a:cubicBezTo>
                  <a:pt x="673" y="71"/>
                  <a:pt x="673" y="71"/>
                  <a:pt x="674" y="72"/>
                </a:cubicBezTo>
                <a:cubicBezTo>
                  <a:pt x="674" y="72"/>
                  <a:pt x="674" y="72"/>
                  <a:pt x="674" y="72"/>
                </a:cubicBezTo>
                <a:cubicBezTo>
                  <a:pt x="674" y="72"/>
                  <a:pt x="674" y="72"/>
                  <a:pt x="674" y="72"/>
                </a:cubicBezTo>
                <a:cubicBezTo>
                  <a:pt x="674" y="72"/>
                  <a:pt x="674" y="72"/>
                  <a:pt x="674" y="72"/>
                </a:cubicBezTo>
                <a:cubicBezTo>
                  <a:pt x="675" y="72"/>
                  <a:pt x="675" y="72"/>
                  <a:pt x="675" y="72"/>
                </a:cubicBezTo>
                <a:cubicBezTo>
                  <a:pt x="675" y="72"/>
                  <a:pt x="675" y="72"/>
                  <a:pt x="675" y="72"/>
                </a:cubicBezTo>
                <a:cubicBezTo>
                  <a:pt x="675" y="72"/>
                  <a:pt x="675" y="72"/>
                  <a:pt x="675" y="72"/>
                </a:cubicBezTo>
                <a:cubicBezTo>
                  <a:pt x="675" y="72"/>
                  <a:pt x="676" y="72"/>
                  <a:pt x="676" y="73"/>
                </a:cubicBezTo>
                <a:cubicBezTo>
                  <a:pt x="676" y="73"/>
                  <a:pt x="676" y="73"/>
                  <a:pt x="676" y="73"/>
                </a:cubicBezTo>
                <a:cubicBezTo>
                  <a:pt x="676" y="73"/>
                  <a:pt x="676" y="73"/>
                  <a:pt x="677" y="73"/>
                </a:cubicBezTo>
                <a:cubicBezTo>
                  <a:pt x="677" y="73"/>
                  <a:pt x="677" y="73"/>
                  <a:pt x="677" y="73"/>
                </a:cubicBezTo>
                <a:cubicBezTo>
                  <a:pt x="677" y="73"/>
                  <a:pt x="677" y="73"/>
                  <a:pt x="677" y="73"/>
                </a:cubicBezTo>
                <a:cubicBezTo>
                  <a:pt x="677" y="73"/>
                  <a:pt x="677" y="73"/>
                  <a:pt x="677" y="73"/>
                </a:cubicBezTo>
                <a:cubicBezTo>
                  <a:pt x="678" y="74"/>
                  <a:pt x="678" y="73"/>
                  <a:pt x="678" y="74"/>
                </a:cubicBezTo>
                <a:cubicBezTo>
                  <a:pt x="678" y="74"/>
                  <a:pt x="678" y="74"/>
                  <a:pt x="678" y="74"/>
                </a:cubicBezTo>
                <a:cubicBezTo>
                  <a:pt x="678" y="74"/>
                  <a:pt x="679" y="74"/>
                  <a:pt x="679" y="74"/>
                </a:cubicBezTo>
                <a:cubicBezTo>
                  <a:pt x="679" y="74"/>
                  <a:pt x="679" y="74"/>
                  <a:pt x="679" y="74"/>
                </a:cubicBezTo>
                <a:cubicBezTo>
                  <a:pt x="679" y="74"/>
                  <a:pt x="679" y="74"/>
                  <a:pt x="679" y="74"/>
                </a:cubicBezTo>
                <a:cubicBezTo>
                  <a:pt x="679" y="74"/>
                  <a:pt x="679" y="74"/>
                  <a:pt x="679" y="74"/>
                </a:cubicBezTo>
                <a:cubicBezTo>
                  <a:pt x="680" y="75"/>
                  <a:pt x="680" y="75"/>
                  <a:pt x="680" y="75"/>
                </a:cubicBezTo>
                <a:cubicBezTo>
                  <a:pt x="680" y="75"/>
                  <a:pt x="680" y="75"/>
                  <a:pt x="680" y="75"/>
                </a:cubicBezTo>
                <a:cubicBezTo>
                  <a:pt x="680" y="75"/>
                  <a:pt x="681" y="75"/>
                  <a:pt x="681" y="75"/>
                </a:cubicBezTo>
                <a:cubicBezTo>
                  <a:pt x="681" y="75"/>
                  <a:pt x="681" y="75"/>
                  <a:pt x="681" y="75"/>
                </a:cubicBezTo>
                <a:cubicBezTo>
                  <a:pt x="681" y="75"/>
                  <a:pt x="681" y="75"/>
                  <a:pt x="682" y="75"/>
                </a:cubicBezTo>
                <a:cubicBezTo>
                  <a:pt x="682" y="75"/>
                  <a:pt x="682" y="75"/>
                  <a:pt x="682" y="75"/>
                </a:cubicBezTo>
                <a:cubicBezTo>
                  <a:pt x="682" y="76"/>
                  <a:pt x="682" y="76"/>
                  <a:pt x="682" y="76"/>
                </a:cubicBezTo>
                <a:cubicBezTo>
                  <a:pt x="682" y="76"/>
                  <a:pt x="682" y="76"/>
                  <a:pt x="682" y="76"/>
                </a:cubicBezTo>
                <a:cubicBezTo>
                  <a:pt x="682" y="76"/>
                  <a:pt x="682" y="76"/>
                  <a:pt x="683" y="76"/>
                </a:cubicBezTo>
                <a:cubicBezTo>
                  <a:pt x="683" y="76"/>
                  <a:pt x="683" y="76"/>
                  <a:pt x="683" y="76"/>
                </a:cubicBezTo>
                <a:cubicBezTo>
                  <a:pt x="683" y="76"/>
                  <a:pt x="683" y="76"/>
                  <a:pt x="683" y="76"/>
                </a:cubicBezTo>
                <a:cubicBezTo>
                  <a:pt x="683" y="76"/>
                  <a:pt x="683" y="76"/>
                  <a:pt x="683" y="76"/>
                </a:cubicBezTo>
                <a:cubicBezTo>
                  <a:pt x="683" y="77"/>
                  <a:pt x="684" y="77"/>
                  <a:pt x="684" y="77"/>
                </a:cubicBezTo>
                <a:cubicBezTo>
                  <a:pt x="684" y="77"/>
                  <a:pt x="684" y="77"/>
                  <a:pt x="684" y="77"/>
                </a:cubicBezTo>
                <a:cubicBezTo>
                  <a:pt x="684" y="77"/>
                  <a:pt x="684" y="77"/>
                  <a:pt x="684" y="77"/>
                </a:cubicBezTo>
                <a:cubicBezTo>
                  <a:pt x="684" y="77"/>
                  <a:pt x="684" y="77"/>
                  <a:pt x="684" y="77"/>
                </a:cubicBezTo>
                <a:cubicBezTo>
                  <a:pt x="684" y="77"/>
                  <a:pt x="685" y="77"/>
                  <a:pt x="685" y="77"/>
                </a:cubicBezTo>
                <a:cubicBezTo>
                  <a:pt x="685" y="77"/>
                  <a:pt x="685" y="77"/>
                  <a:pt x="685" y="77"/>
                </a:cubicBezTo>
                <a:cubicBezTo>
                  <a:pt x="685" y="78"/>
                  <a:pt x="685" y="78"/>
                  <a:pt x="686" y="78"/>
                </a:cubicBezTo>
                <a:cubicBezTo>
                  <a:pt x="686" y="78"/>
                  <a:pt x="686" y="78"/>
                  <a:pt x="686" y="78"/>
                </a:cubicBezTo>
                <a:cubicBezTo>
                  <a:pt x="686" y="78"/>
                  <a:pt x="686" y="78"/>
                  <a:pt x="686" y="79"/>
                </a:cubicBezTo>
                <a:cubicBezTo>
                  <a:pt x="686" y="79"/>
                  <a:pt x="686" y="79"/>
                  <a:pt x="686" y="79"/>
                </a:cubicBezTo>
                <a:cubicBezTo>
                  <a:pt x="686" y="79"/>
                  <a:pt x="686" y="79"/>
                  <a:pt x="686" y="79"/>
                </a:cubicBezTo>
                <a:cubicBezTo>
                  <a:pt x="686" y="79"/>
                  <a:pt x="686" y="79"/>
                  <a:pt x="686" y="79"/>
                </a:cubicBezTo>
                <a:cubicBezTo>
                  <a:pt x="687" y="79"/>
                  <a:pt x="687" y="79"/>
                  <a:pt x="687" y="79"/>
                </a:cubicBezTo>
                <a:cubicBezTo>
                  <a:pt x="687" y="79"/>
                  <a:pt x="687" y="79"/>
                  <a:pt x="687" y="79"/>
                </a:cubicBezTo>
                <a:cubicBezTo>
                  <a:pt x="687" y="79"/>
                  <a:pt x="687" y="80"/>
                  <a:pt x="687" y="80"/>
                </a:cubicBezTo>
                <a:cubicBezTo>
                  <a:pt x="687" y="80"/>
                  <a:pt x="687" y="80"/>
                  <a:pt x="687" y="80"/>
                </a:cubicBezTo>
                <a:cubicBezTo>
                  <a:pt x="687" y="80"/>
                  <a:pt x="687" y="80"/>
                  <a:pt x="687" y="80"/>
                </a:cubicBezTo>
                <a:cubicBezTo>
                  <a:pt x="688" y="80"/>
                  <a:pt x="688" y="80"/>
                  <a:pt x="688" y="80"/>
                </a:cubicBezTo>
                <a:cubicBezTo>
                  <a:pt x="688" y="80"/>
                  <a:pt x="688" y="80"/>
                  <a:pt x="688" y="80"/>
                </a:cubicBezTo>
                <a:cubicBezTo>
                  <a:pt x="688" y="81"/>
                  <a:pt x="688" y="81"/>
                  <a:pt x="688" y="81"/>
                </a:cubicBezTo>
                <a:cubicBezTo>
                  <a:pt x="688" y="81"/>
                  <a:pt x="688" y="81"/>
                  <a:pt x="688" y="81"/>
                </a:cubicBezTo>
                <a:cubicBezTo>
                  <a:pt x="688" y="81"/>
                  <a:pt x="688" y="82"/>
                  <a:pt x="688" y="82"/>
                </a:cubicBezTo>
                <a:cubicBezTo>
                  <a:pt x="688" y="82"/>
                  <a:pt x="688" y="82"/>
                  <a:pt x="688" y="82"/>
                </a:cubicBezTo>
                <a:cubicBezTo>
                  <a:pt x="688" y="84"/>
                  <a:pt x="688" y="85"/>
                  <a:pt x="688" y="87"/>
                </a:cubicBezTo>
                <a:cubicBezTo>
                  <a:pt x="688" y="87"/>
                  <a:pt x="688" y="87"/>
                  <a:pt x="688" y="87"/>
                </a:cubicBezTo>
                <a:cubicBezTo>
                  <a:pt x="688" y="87"/>
                  <a:pt x="688" y="88"/>
                  <a:pt x="688" y="88"/>
                </a:cubicBezTo>
                <a:cubicBezTo>
                  <a:pt x="688" y="88"/>
                  <a:pt x="688" y="88"/>
                  <a:pt x="688" y="88"/>
                </a:cubicBezTo>
                <a:cubicBezTo>
                  <a:pt x="688" y="88"/>
                  <a:pt x="688" y="88"/>
                  <a:pt x="688" y="88"/>
                </a:cubicBezTo>
                <a:cubicBezTo>
                  <a:pt x="688" y="88"/>
                  <a:pt x="688" y="89"/>
                  <a:pt x="687" y="89"/>
                </a:cubicBezTo>
                <a:cubicBezTo>
                  <a:pt x="687" y="89"/>
                  <a:pt x="687" y="89"/>
                  <a:pt x="687" y="89"/>
                </a:cubicBezTo>
                <a:cubicBezTo>
                  <a:pt x="687" y="89"/>
                  <a:pt x="687" y="89"/>
                  <a:pt x="687" y="89"/>
                </a:cubicBezTo>
                <a:cubicBezTo>
                  <a:pt x="687" y="89"/>
                  <a:pt x="687" y="89"/>
                  <a:pt x="687" y="89"/>
                </a:cubicBezTo>
                <a:cubicBezTo>
                  <a:pt x="687" y="89"/>
                  <a:pt x="687" y="90"/>
                  <a:pt x="687" y="90"/>
                </a:cubicBezTo>
                <a:cubicBezTo>
                  <a:pt x="687" y="90"/>
                  <a:pt x="687" y="90"/>
                  <a:pt x="687" y="90"/>
                </a:cubicBezTo>
                <a:cubicBezTo>
                  <a:pt x="687" y="90"/>
                  <a:pt x="687" y="90"/>
                  <a:pt x="686" y="90"/>
                </a:cubicBezTo>
                <a:cubicBezTo>
                  <a:pt x="686" y="90"/>
                  <a:pt x="686" y="90"/>
                  <a:pt x="686" y="90"/>
                </a:cubicBezTo>
                <a:cubicBezTo>
                  <a:pt x="686" y="90"/>
                  <a:pt x="686" y="91"/>
                  <a:pt x="686" y="91"/>
                </a:cubicBezTo>
                <a:cubicBezTo>
                  <a:pt x="686" y="91"/>
                  <a:pt x="686" y="91"/>
                  <a:pt x="686" y="91"/>
                </a:cubicBezTo>
                <a:cubicBezTo>
                  <a:pt x="686" y="91"/>
                  <a:pt x="686" y="91"/>
                  <a:pt x="686" y="91"/>
                </a:cubicBezTo>
                <a:cubicBezTo>
                  <a:pt x="686" y="91"/>
                  <a:pt x="686" y="91"/>
                  <a:pt x="686" y="91"/>
                </a:cubicBezTo>
                <a:cubicBezTo>
                  <a:pt x="686" y="91"/>
                  <a:pt x="685" y="91"/>
                  <a:pt x="685" y="91"/>
                </a:cubicBezTo>
                <a:cubicBezTo>
                  <a:pt x="685" y="91"/>
                  <a:pt x="685" y="91"/>
                  <a:pt x="685" y="91"/>
                </a:cubicBezTo>
                <a:cubicBezTo>
                  <a:pt x="685" y="92"/>
                  <a:pt x="685" y="92"/>
                  <a:pt x="685" y="92"/>
                </a:cubicBezTo>
                <a:cubicBezTo>
                  <a:pt x="685" y="92"/>
                  <a:pt x="685" y="92"/>
                  <a:pt x="685" y="92"/>
                </a:cubicBezTo>
                <a:cubicBezTo>
                  <a:pt x="685" y="92"/>
                  <a:pt x="684" y="92"/>
                  <a:pt x="684" y="92"/>
                </a:cubicBezTo>
                <a:cubicBezTo>
                  <a:pt x="684" y="92"/>
                  <a:pt x="684" y="92"/>
                  <a:pt x="684" y="92"/>
                </a:cubicBezTo>
                <a:cubicBezTo>
                  <a:pt x="684" y="92"/>
                  <a:pt x="684" y="92"/>
                  <a:pt x="684" y="92"/>
                </a:cubicBezTo>
                <a:cubicBezTo>
                  <a:pt x="684" y="93"/>
                  <a:pt x="684" y="93"/>
                  <a:pt x="684" y="93"/>
                </a:cubicBezTo>
                <a:cubicBezTo>
                  <a:pt x="683" y="93"/>
                  <a:pt x="683" y="93"/>
                  <a:pt x="683" y="93"/>
                </a:cubicBezTo>
                <a:cubicBezTo>
                  <a:pt x="683" y="93"/>
                  <a:pt x="683" y="93"/>
                  <a:pt x="683" y="93"/>
                </a:cubicBezTo>
                <a:cubicBezTo>
                  <a:pt x="683" y="93"/>
                  <a:pt x="683" y="93"/>
                  <a:pt x="683" y="93"/>
                </a:cubicBezTo>
                <a:cubicBezTo>
                  <a:pt x="682" y="93"/>
                  <a:pt x="682" y="93"/>
                  <a:pt x="682" y="93"/>
                </a:cubicBezTo>
                <a:cubicBezTo>
                  <a:pt x="681" y="93"/>
                  <a:pt x="681" y="93"/>
                  <a:pt x="681" y="93"/>
                </a:cubicBezTo>
                <a:cubicBezTo>
                  <a:pt x="681" y="93"/>
                  <a:pt x="681" y="93"/>
                  <a:pt x="681" y="93"/>
                </a:cubicBezTo>
                <a:cubicBezTo>
                  <a:pt x="681" y="93"/>
                  <a:pt x="680" y="93"/>
                  <a:pt x="680" y="94"/>
                </a:cubicBezTo>
                <a:cubicBezTo>
                  <a:pt x="680" y="94"/>
                  <a:pt x="680" y="94"/>
                  <a:pt x="680" y="94"/>
                </a:cubicBezTo>
                <a:cubicBezTo>
                  <a:pt x="677" y="94"/>
                  <a:pt x="675" y="94"/>
                  <a:pt x="672" y="94"/>
                </a:cubicBezTo>
                <a:cubicBezTo>
                  <a:pt x="672" y="94"/>
                  <a:pt x="672" y="94"/>
                  <a:pt x="672" y="93"/>
                </a:cubicBezTo>
                <a:cubicBezTo>
                  <a:pt x="671" y="93"/>
                  <a:pt x="671" y="93"/>
                  <a:pt x="670" y="93"/>
                </a:cubicBezTo>
                <a:cubicBezTo>
                  <a:pt x="670" y="93"/>
                  <a:pt x="670" y="93"/>
                  <a:pt x="670" y="93"/>
                </a:cubicBezTo>
                <a:cubicBezTo>
                  <a:pt x="670" y="93"/>
                  <a:pt x="670" y="93"/>
                  <a:pt x="670" y="93"/>
                </a:cubicBezTo>
                <a:cubicBezTo>
                  <a:pt x="670" y="93"/>
                  <a:pt x="669" y="93"/>
                  <a:pt x="669" y="93"/>
                </a:cubicBezTo>
                <a:cubicBezTo>
                  <a:pt x="669" y="93"/>
                  <a:pt x="669" y="93"/>
                  <a:pt x="669" y="93"/>
                </a:cubicBezTo>
                <a:cubicBezTo>
                  <a:pt x="669" y="93"/>
                  <a:pt x="669" y="93"/>
                  <a:pt x="669" y="93"/>
                </a:cubicBezTo>
                <a:cubicBezTo>
                  <a:pt x="668" y="93"/>
                  <a:pt x="668" y="93"/>
                  <a:pt x="668" y="92"/>
                </a:cubicBezTo>
                <a:cubicBezTo>
                  <a:pt x="668" y="92"/>
                  <a:pt x="668" y="92"/>
                  <a:pt x="668" y="92"/>
                </a:cubicBezTo>
                <a:cubicBezTo>
                  <a:pt x="667" y="92"/>
                  <a:pt x="667" y="92"/>
                  <a:pt x="667" y="92"/>
                </a:cubicBezTo>
                <a:cubicBezTo>
                  <a:pt x="667" y="92"/>
                  <a:pt x="667" y="92"/>
                  <a:pt x="667" y="92"/>
                </a:cubicBezTo>
                <a:cubicBezTo>
                  <a:pt x="666" y="92"/>
                  <a:pt x="666" y="92"/>
                  <a:pt x="666" y="92"/>
                </a:cubicBezTo>
                <a:cubicBezTo>
                  <a:pt x="666" y="92"/>
                  <a:pt x="666" y="92"/>
                  <a:pt x="666" y="92"/>
                </a:cubicBezTo>
                <a:cubicBezTo>
                  <a:pt x="665" y="92"/>
                  <a:pt x="665" y="92"/>
                  <a:pt x="665" y="91"/>
                </a:cubicBezTo>
                <a:cubicBezTo>
                  <a:pt x="665" y="91"/>
                  <a:pt x="665" y="91"/>
                  <a:pt x="665" y="91"/>
                </a:cubicBezTo>
                <a:cubicBezTo>
                  <a:pt x="665" y="91"/>
                  <a:pt x="664" y="91"/>
                  <a:pt x="664" y="91"/>
                </a:cubicBezTo>
                <a:cubicBezTo>
                  <a:pt x="664" y="91"/>
                  <a:pt x="664" y="91"/>
                  <a:pt x="664" y="91"/>
                </a:cubicBezTo>
                <a:cubicBezTo>
                  <a:pt x="664" y="91"/>
                  <a:pt x="664" y="91"/>
                  <a:pt x="663" y="91"/>
                </a:cubicBezTo>
                <a:cubicBezTo>
                  <a:pt x="663" y="91"/>
                  <a:pt x="663" y="91"/>
                  <a:pt x="663" y="91"/>
                </a:cubicBezTo>
                <a:cubicBezTo>
                  <a:pt x="663" y="91"/>
                  <a:pt x="663" y="91"/>
                  <a:pt x="663" y="90"/>
                </a:cubicBezTo>
                <a:cubicBezTo>
                  <a:pt x="663" y="90"/>
                  <a:pt x="663" y="90"/>
                  <a:pt x="663" y="90"/>
                </a:cubicBezTo>
                <a:cubicBezTo>
                  <a:pt x="663" y="90"/>
                  <a:pt x="662" y="90"/>
                  <a:pt x="662" y="90"/>
                </a:cubicBezTo>
                <a:cubicBezTo>
                  <a:pt x="662" y="90"/>
                  <a:pt x="662" y="90"/>
                  <a:pt x="662" y="90"/>
                </a:cubicBezTo>
                <a:cubicBezTo>
                  <a:pt x="662" y="90"/>
                  <a:pt x="662" y="90"/>
                  <a:pt x="662" y="90"/>
                </a:cubicBezTo>
                <a:cubicBezTo>
                  <a:pt x="662" y="90"/>
                  <a:pt x="662" y="90"/>
                  <a:pt x="662" y="90"/>
                </a:cubicBezTo>
                <a:cubicBezTo>
                  <a:pt x="662" y="89"/>
                  <a:pt x="661" y="90"/>
                  <a:pt x="661" y="89"/>
                </a:cubicBezTo>
                <a:cubicBezTo>
                  <a:pt x="661" y="89"/>
                  <a:pt x="661" y="89"/>
                  <a:pt x="661" y="89"/>
                </a:cubicBezTo>
                <a:cubicBezTo>
                  <a:pt x="661" y="89"/>
                  <a:pt x="661" y="89"/>
                  <a:pt x="661" y="89"/>
                </a:cubicBezTo>
                <a:cubicBezTo>
                  <a:pt x="661" y="89"/>
                  <a:pt x="661" y="89"/>
                  <a:pt x="661" y="89"/>
                </a:cubicBezTo>
                <a:cubicBezTo>
                  <a:pt x="660" y="89"/>
                  <a:pt x="660" y="89"/>
                  <a:pt x="660" y="88"/>
                </a:cubicBezTo>
                <a:cubicBezTo>
                  <a:pt x="660" y="88"/>
                  <a:pt x="660" y="88"/>
                  <a:pt x="660" y="88"/>
                </a:cubicBezTo>
                <a:cubicBezTo>
                  <a:pt x="659" y="88"/>
                  <a:pt x="659" y="88"/>
                  <a:pt x="659" y="88"/>
                </a:cubicBezTo>
                <a:cubicBezTo>
                  <a:pt x="659" y="88"/>
                  <a:pt x="659" y="88"/>
                  <a:pt x="659" y="88"/>
                </a:cubicBezTo>
                <a:cubicBezTo>
                  <a:pt x="659" y="88"/>
                  <a:pt x="659" y="87"/>
                  <a:pt x="658" y="88"/>
                </a:cubicBezTo>
                <a:cubicBezTo>
                  <a:pt x="658" y="91"/>
                  <a:pt x="658" y="95"/>
                  <a:pt x="658" y="99"/>
                </a:cubicBezTo>
                <a:cubicBezTo>
                  <a:pt x="658" y="99"/>
                  <a:pt x="658" y="99"/>
                  <a:pt x="659" y="99"/>
                </a:cubicBezTo>
                <a:cubicBezTo>
                  <a:pt x="659" y="99"/>
                  <a:pt x="659" y="99"/>
                  <a:pt x="659" y="99"/>
                </a:cubicBezTo>
                <a:cubicBezTo>
                  <a:pt x="659" y="100"/>
                  <a:pt x="659" y="100"/>
                  <a:pt x="659" y="100"/>
                </a:cubicBezTo>
                <a:cubicBezTo>
                  <a:pt x="659" y="100"/>
                  <a:pt x="659" y="100"/>
                  <a:pt x="659" y="100"/>
                </a:cubicBezTo>
                <a:cubicBezTo>
                  <a:pt x="659" y="100"/>
                  <a:pt x="660" y="100"/>
                  <a:pt x="660" y="100"/>
                </a:cubicBezTo>
                <a:cubicBezTo>
                  <a:pt x="660" y="100"/>
                  <a:pt x="660" y="100"/>
                  <a:pt x="660" y="100"/>
                </a:cubicBezTo>
                <a:cubicBezTo>
                  <a:pt x="660" y="100"/>
                  <a:pt x="661" y="100"/>
                  <a:pt x="661" y="100"/>
                </a:cubicBezTo>
                <a:cubicBezTo>
                  <a:pt x="661" y="100"/>
                  <a:pt x="661" y="100"/>
                  <a:pt x="661" y="100"/>
                </a:cubicBezTo>
                <a:cubicBezTo>
                  <a:pt x="661" y="101"/>
                  <a:pt x="661" y="101"/>
                  <a:pt x="661" y="101"/>
                </a:cubicBezTo>
                <a:cubicBezTo>
                  <a:pt x="661" y="101"/>
                  <a:pt x="662" y="101"/>
                  <a:pt x="662" y="101"/>
                </a:cubicBezTo>
                <a:cubicBezTo>
                  <a:pt x="662" y="101"/>
                  <a:pt x="662" y="101"/>
                  <a:pt x="662" y="101"/>
                </a:cubicBezTo>
                <a:cubicBezTo>
                  <a:pt x="662" y="101"/>
                  <a:pt x="662" y="101"/>
                  <a:pt x="662" y="101"/>
                </a:cubicBezTo>
                <a:cubicBezTo>
                  <a:pt x="663" y="101"/>
                  <a:pt x="663" y="101"/>
                  <a:pt x="663" y="101"/>
                </a:cubicBezTo>
                <a:cubicBezTo>
                  <a:pt x="663" y="101"/>
                  <a:pt x="663" y="101"/>
                  <a:pt x="663" y="101"/>
                </a:cubicBezTo>
                <a:cubicBezTo>
                  <a:pt x="663" y="101"/>
                  <a:pt x="663" y="101"/>
                  <a:pt x="663" y="101"/>
                </a:cubicBezTo>
                <a:cubicBezTo>
                  <a:pt x="663" y="101"/>
                  <a:pt x="663" y="101"/>
                  <a:pt x="663" y="101"/>
                </a:cubicBezTo>
                <a:cubicBezTo>
                  <a:pt x="664" y="102"/>
                  <a:pt x="664" y="102"/>
                  <a:pt x="665" y="102"/>
                </a:cubicBezTo>
                <a:cubicBezTo>
                  <a:pt x="665" y="102"/>
                  <a:pt x="665" y="102"/>
                  <a:pt x="665" y="102"/>
                </a:cubicBezTo>
                <a:cubicBezTo>
                  <a:pt x="665" y="102"/>
                  <a:pt x="665" y="102"/>
                  <a:pt x="665" y="102"/>
                </a:cubicBezTo>
                <a:cubicBezTo>
                  <a:pt x="665" y="102"/>
                  <a:pt x="666" y="102"/>
                  <a:pt x="666" y="102"/>
                </a:cubicBezTo>
                <a:cubicBezTo>
                  <a:pt x="666" y="102"/>
                  <a:pt x="666" y="102"/>
                  <a:pt x="666" y="102"/>
                </a:cubicBezTo>
                <a:cubicBezTo>
                  <a:pt x="666" y="102"/>
                  <a:pt x="666" y="102"/>
                  <a:pt x="666" y="102"/>
                </a:cubicBezTo>
                <a:cubicBezTo>
                  <a:pt x="667" y="102"/>
                  <a:pt x="667" y="102"/>
                  <a:pt x="667" y="103"/>
                </a:cubicBezTo>
                <a:cubicBezTo>
                  <a:pt x="668" y="102"/>
                  <a:pt x="668" y="102"/>
                  <a:pt x="668" y="102"/>
                </a:cubicBezTo>
                <a:cubicBezTo>
                  <a:pt x="668" y="103"/>
                  <a:pt x="668" y="103"/>
                  <a:pt x="668" y="103"/>
                </a:cubicBezTo>
                <a:cubicBezTo>
                  <a:pt x="668" y="103"/>
                  <a:pt x="669" y="103"/>
                  <a:pt x="669" y="103"/>
                </a:cubicBezTo>
                <a:cubicBezTo>
                  <a:pt x="670" y="103"/>
                  <a:pt x="670" y="103"/>
                  <a:pt x="670" y="103"/>
                </a:cubicBezTo>
                <a:cubicBezTo>
                  <a:pt x="671" y="103"/>
                  <a:pt x="672" y="103"/>
                  <a:pt x="673" y="103"/>
                </a:cubicBezTo>
                <a:cubicBezTo>
                  <a:pt x="674" y="103"/>
                  <a:pt x="675" y="103"/>
                  <a:pt x="676" y="103"/>
                </a:cubicBezTo>
                <a:cubicBezTo>
                  <a:pt x="678" y="103"/>
                  <a:pt x="679" y="103"/>
                  <a:pt x="680" y="103"/>
                </a:cubicBezTo>
                <a:cubicBezTo>
                  <a:pt x="680" y="103"/>
                  <a:pt x="680" y="103"/>
                  <a:pt x="681" y="103"/>
                </a:cubicBezTo>
                <a:cubicBezTo>
                  <a:pt x="681" y="103"/>
                  <a:pt x="682" y="103"/>
                  <a:pt x="682" y="103"/>
                </a:cubicBezTo>
                <a:cubicBezTo>
                  <a:pt x="682" y="102"/>
                  <a:pt x="682" y="102"/>
                  <a:pt x="682" y="102"/>
                </a:cubicBezTo>
                <a:cubicBezTo>
                  <a:pt x="683" y="103"/>
                  <a:pt x="683" y="103"/>
                  <a:pt x="683" y="103"/>
                </a:cubicBezTo>
                <a:cubicBezTo>
                  <a:pt x="683" y="102"/>
                  <a:pt x="684" y="103"/>
                  <a:pt x="684" y="102"/>
                </a:cubicBezTo>
                <a:cubicBezTo>
                  <a:pt x="684" y="102"/>
                  <a:pt x="684" y="102"/>
                  <a:pt x="684" y="102"/>
                </a:cubicBezTo>
                <a:cubicBezTo>
                  <a:pt x="684" y="102"/>
                  <a:pt x="685" y="102"/>
                  <a:pt x="685" y="102"/>
                </a:cubicBezTo>
                <a:cubicBezTo>
                  <a:pt x="685" y="102"/>
                  <a:pt x="685" y="102"/>
                  <a:pt x="685" y="102"/>
                </a:cubicBezTo>
                <a:cubicBezTo>
                  <a:pt x="685" y="102"/>
                  <a:pt x="685" y="102"/>
                  <a:pt x="685" y="102"/>
                </a:cubicBezTo>
                <a:cubicBezTo>
                  <a:pt x="686" y="102"/>
                  <a:pt x="686" y="102"/>
                  <a:pt x="686" y="102"/>
                </a:cubicBezTo>
                <a:cubicBezTo>
                  <a:pt x="686" y="101"/>
                  <a:pt x="686" y="101"/>
                  <a:pt x="686" y="101"/>
                </a:cubicBezTo>
                <a:cubicBezTo>
                  <a:pt x="686" y="101"/>
                  <a:pt x="686" y="101"/>
                  <a:pt x="686" y="101"/>
                </a:cubicBezTo>
                <a:cubicBezTo>
                  <a:pt x="687" y="101"/>
                  <a:pt x="687" y="101"/>
                  <a:pt x="687" y="101"/>
                </a:cubicBezTo>
                <a:cubicBezTo>
                  <a:pt x="687" y="101"/>
                  <a:pt x="687" y="101"/>
                  <a:pt x="687" y="101"/>
                </a:cubicBezTo>
                <a:cubicBezTo>
                  <a:pt x="687" y="101"/>
                  <a:pt x="688" y="101"/>
                  <a:pt x="688" y="101"/>
                </a:cubicBezTo>
                <a:cubicBezTo>
                  <a:pt x="688" y="101"/>
                  <a:pt x="688" y="101"/>
                  <a:pt x="688" y="101"/>
                </a:cubicBezTo>
                <a:cubicBezTo>
                  <a:pt x="688" y="101"/>
                  <a:pt x="688" y="101"/>
                  <a:pt x="688" y="101"/>
                </a:cubicBezTo>
                <a:cubicBezTo>
                  <a:pt x="688" y="101"/>
                  <a:pt x="689" y="101"/>
                  <a:pt x="689" y="100"/>
                </a:cubicBezTo>
                <a:cubicBezTo>
                  <a:pt x="689" y="100"/>
                  <a:pt x="689" y="100"/>
                  <a:pt x="689" y="100"/>
                </a:cubicBezTo>
                <a:cubicBezTo>
                  <a:pt x="689" y="100"/>
                  <a:pt x="689" y="100"/>
                  <a:pt x="690" y="100"/>
                </a:cubicBezTo>
                <a:cubicBezTo>
                  <a:pt x="689" y="100"/>
                  <a:pt x="689" y="100"/>
                  <a:pt x="689" y="100"/>
                </a:cubicBezTo>
                <a:cubicBezTo>
                  <a:pt x="690" y="100"/>
                  <a:pt x="690" y="100"/>
                  <a:pt x="690" y="100"/>
                </a:cubicBezTo>
                <a:cubicBezTo>
                  <a:pt x="690" y="100"/>
                  <a:pt x="690" y="100"/>
                  <a:pt x="690" y="100"/>
                </a:cubicBezTo>
                <a:cubicBezTo>
                  <a:pt x="690" y="100"/>
                  <a:pt x="690" y="100"/>
                  <a:pt x="690" y="100"/>
                </a:cubicBezTo>
                <a:cubicBezTo>
                  <a:pt x="690" y="100"/>
                  <a:pt x="690" y="100"/>
                  <a:pt x="691" y="99"/>
                </a:cubicBezTo>
                <a:cubicBezTo>
                  <a:pt x="691" y="99"/>
                  <a:pt x="691" y="99"/>
                  <a:pt x="691" y="99"/>
                </a:cubicBezTo>
                <a:cubicBezTo>
                  <a:pt x="691" y="99"/>
                  <a:pt x="691" y="99"/>
                  <a:pt x="691" y="99"/>
                </a:cubicBezTo>
                <a:cubicBezTo>
                  <a:pt x="691" y="99"/>
                  <a:pt x="691" y="99"/>
                  <a:pt x="691" y="99"/>
                </a:cubicBezTo>
                <a:cubicBezTo>
                  <a:pt x="691" y="99"/>
                  <a:pt x="692" y="99"/>
                  <a:pt x="692" y="99"/>
                </a:cubicBezTo>
                <a:cubicBezTo>
                  <a:pt x="692" y="99"/>
                  <a:pt x="692" y="99"/>
                  <a:pt x="692" y="99"/>
                </a:cubicBezTo>
                <a:cubicBezTo>
                  <a:pt x="692" y="99"/>
                  <a:pt x="692" y="99"/>
                  <a:pt x="692" y="98"/>
                </a:cubicBezTo>
                <a:cubicBezTo>
                  <a:pt x="692" y="98"/>
                  <a:pt x="692" y="98"/>
                  <a:pt x="692" y="98"/>
                </a:cubicBezTo>
                <a:cubicBezTo>
                  <a:pt x="692" y="98"/>
                  <a:pt x="693" y="98"/>
                  <a:pt x="693" y="98"/>
                </a:cubicBezTo>
                <a:cubicBezTo>
                  <a:pt x="693" y="98"/>
                  <a:pt x="693" y="98"/>
                  <a:pt x="693" y="98"/>
                </a:cubicBezTo>
                <a:cubicBezTo>
                  <a:pt x="693" y="98"/>
                  <a:pt x="693" y="98"/>
                  <a:pt x="693" y="98"/>
                </a:cubicBezTo>
                <a:cubicBezTo>
                  <a:pt x="693" y="98"/>
                  <a:pt x="693" y="98"/>
                  <a:pt x="693" y="98"/>
                </a:cubicBezTo>
                <a:cubicBezTo>
                  <a:pt x="693" y="97"/>
                  <a:pt x="694" y="97"/>
                  <a:pt x="694" y="97"/>
                </a:cubicBezTo>
                <a:cubicBezTo>
                  <a:pt x="694" y="97"/>
                  <a:pt x="694" y="97"/>
                  <a:pt x="694" y="97"/>
                </a:cubicBezTo>
                <a:cubicBezTo>
                  <a:pt x="695" y="97"/>
                  <a:pt x="695" y="96"/>
                  <a:pt x="695" y="96"/>
                </a:cubicBezTo>
                <a:cubicBezTo>
                  <a:pt x="695" y="96"/>
                  <a:pt x="695" y="96"/>
                  <a:pt x="695" y="96"/>
                </a:cubicBezTo>
                <a:cubicBezTo>
                  <a:pt x="695" y="96"/>
                  <a:pt x="695" y="96"/>
                  <a:pt x="695" y="96"/>
                </a:cubicBezTo>
                <a:cubicBezTo>
                  <a:pt x="695" y="96"/>
                  <a:pt x="695" y="96"/>
                  <a:pt x="695" y="96"/>
                </a:cubicBezTo>
                <a:cubicBezTo>
                  <a:pt x="695" y="96"/>
                  <a:pt x="695" y="95"/>
                  <a:pt x="696" y="95"/>
                </a:cubicBezTo>
                <a:cubicBezTo>
                  <a:pt x="696" y="95"/>
                  <a:pt x="696" y="95"/>
                  <a:pt x="696" y="95"/>
                </a:cubicBezTo>
                <a:cubicBezTo>
                  <a:pt x="696" y="95"/>
                  <a:pt x="696" y="95"/>
                  <a:pt x="696" y="95"/>
                </a:cubicBezTo>
                <a:cubicBezTo>
                  <a:pt x="696" y="95"/>
                  <a:pt x="696" y="95"/>
                  <a:pt x="696" y="95"/>
                </a:cubicBezTo>
                <a:cubicBezTo>
                  <a:pt x="696" y="94"/>
                  <a:pt x="696" y="94"/>
                  <a:pt x="696" y="94"/>
                </a:cubicBezTo>
                <a:cubicBezTo>
                  <a:pt x="696" y="94"/>
                  <a:pt x="696" y="94"/>
                  <a:pt x="696" y="94"/>
                </a:cubicBezTo>
                <a:cubicBezTo>
                  <a:pt x="697" y="94"/>
                  <a:pt x="697" y="94"/>
                  <a:pt x="697" y="94"/>
                </a:cubicBezTo>
                <a:cubicBezTo>
                  <a:pt x="697" y="94"/>
                  <a:pt x="697" y="94"/>
                  <a:pt x="697" y="94"/>
                </a:cubicBezTo>
                <a:cubicBezTo>
                  <a:pt x="697" y="93"/>
                  <a:pt x="697" y="93"/>
                  <a:pt x="697" y="93"/>
                </a:cubicBezTo>
                <a:cubicBezTo>
                  <a:pt x="697" y="93"/>
                  <a:pt x="697" y="93"/>
                  <a:pt x="697" y="93"/>
                </a:cubicBezTo>
                <a:cubicBezTo>
                  <a:pt x="697" y="93"/>
                  <a:pt x="697" y="93"/>
                  <a:pt x="698" y="92"/>
                </a:cubicBezTo>
                <a:cubicBezTo>
                  <a:pt x="698" y="92"/>
                  <a:pt x="698" y="92"/>
                  <a:pt x="698" y="92"/>
                </a:cubicBezTo>
                <a:cubicBezTo>
                  <a:pt x="698" y="92"/>
                  <a:pt x="698" y="92"/>
                  <a:pt x="698" y="92"/>
                </a:cubicBezTo>
                <a:cubicBezTo>
                  <a:pt x="698" y="92"/>
                  <a:pt x="698" y="92"/>
                  <a:pt x="698" y="92"/>
                </a:cubicBezTo>
                <a:cubicBezTo>
                  <a:pt x="698" y="92"/>
                  <a:pt x="698" y="91"/>
                  <a:pt x="698" y="91"/>
                </a:cubicBezTo>
                <a:cubicBezTo>
                  <a:pt x="698" y="91"/>
                  <a:pt x="698" y="91"/>
                  <a:pt x="698" y="91"/>
                </a:cubicBezTo>
                <a:cubicBezTo>
                  <a:pt x="698" y="91"/>
                  <a:pt x="698" y="91"/>
                  <a:pt x="699" y="90"/>
                </a:cubicBezTo>
                <a:cubicBezTo>
                  <a:pt x="699" y="90"/>
                  <a:pt x="699" y="90"/>
                  <a:pt x="699" y="90"/>
                </a:cubicBezTo>
                <a:cubicBezTo>
                  <a:pt x="699" y="90"/>
                  <a:pt x="699" y="90"/>
                  <a:pt x="699" y="90"/>
                </a:cubicBezTo>
                <a:cubicBezTo>
                  <a:pt x="699" y="90"/>
                  <a:pt x="699" y="89"/>
                  <a:pt x="699" y="89"/>
                </a:cubicBezTo>
                <a:cubicBezTo>
                  <a:pt x="699" y="89"/>
                  <a:pt x="699" y="89"/>
                  <a:pt x="699" y="89"/>
                </a:cubicBezTo>
                <a:cubicBezTo>
                  <a:pt x="699" y="89"/>
                  <a:pt x="699" y="88"/>
                  <a:pt x="699" y="88"/>
                </a:cubicBezTo>
                <a:cubicBezTo>
                  <a:pt x="699" y="88"/>
                  <a:pt x="699" y="88"/>
                  <a:pt x="699" y="88"/>
                </a:cubicBezTo>
                <a:cubicBezTo>
                  <a:pt x="700" y="87"/>
                  <a:pt x="699" y="86"/>
                  <a:pt x="700" y="86"/>
                </a:cubicBezTo>
                <a:cubicBezTo>
                  <a:pt x="700" y="85"/>
                  <a:pt x="700" y="85"/>
                  <a:pt x="700" y="85"/>
                </a:cubicBezTo>
                <a:cubicBezTo>
                  <a:pt x="700" y="84"/>
                  <a:pt x="700" y="83"/>
                  <a:pt x="700" y="82"/>
                </a:cubicBezTo>
                <a:cubicBezTo>
                  <a:pt x="700" y="82"/>
                  <a:pt x="699" y="81"/>
                  <a:pt x="700" y="81"/>
                </a:cubicBezTo>
                <a:cubicBezTo>
                  <a:pt x="699" y="81"/>
                  <a:pt x="700" y="80"/>
                  <a:pt x="699" y="79"/>
                </a:cubicBezTo>
                <a:cubicBezTo>
                  <a:pt x="699" y="79"/>
                  <a:pt x="699" y="79"/>
                  <a:pt x="699" y="79"/>
                </a:cubicBezTo>
                <a:cubicBezTo>
                  <a:pt x="699" y="79"/>
                  <a:pt x="699" y="79"/>
                  <a:pt x="699" y="79"/>
                </a:cubicBezTo>
                <a:cubicBezTo>
                  <a:pt x="699" y="79"/>
                  <a:pt x="699" y="78"/>
                  <a:pt x="699" y="78"/>
                </a:cubicBezTo>
                <a:cubicBezTo>
                  <a:pt x="699" y="78"/>
                  <a:pt x="699" y="78"/>
                  <a:pt x="699" y="78"/>
                </a:cubicBezTo>
                <a:cubicBezTo>
                  <a:pt x="699" y="78"/>
                  <a:pt x="699" y="77"/>
                  <a:pt x="699" y="77"/>
                </a:cubicBezTo>
                <a:cubicBezTo>
                  <a:pt x="699" y="77"/>
                  <a:pt x="699" y="77"/>
                  <a:pt x="699" y="77"/>
                </a:cubicBezTo>
                <a:cubicBezTo>
                  <a:pt x="698" y="77"/>
                  <a:pt x="698" y="76"/>
                  <a:pt x="698" y="76"/>
                </a:cubicBezTo>
                <a:cubicBezTo>
                  <a:pt x="698" y="76"/>
                  <a:pt x="698" y="76"/>
                  <a:pt x="698" y="76"/>
                </a:cubicBezTo>
                <a:cubicBezTo>
                  <a:pt x="698" y="76"/>
                  <a:pt x="698" y="76"/>
                  <a:pt x="698" y="76"/>
                </a:cubicBezTo>
                <a:cubicBezTo>
                  <a:pt x="698" y="76"/>
                  <a:pt x="698" y="76"/>
                  <a:pt x="698" y="75"/>
                </a:cubicBezTo>
                <a:cubicBezTo>
                  <a:pt x="698" y="75"/>
                  <a:pt x="698" y="75"/>
                  <a:pt x="698" y="75"/>
                </a:cubicBezTo>
                <a:cubicBezTo>
                  <a:pt x="698" y="75"/>
                  <a:pt x="698" y="75"/>
                  <a:pt x="698" y="75"/>
                </a:cubicBezTo>
                <a:cubicBezTo>
                  <a:pt x="698" y="75"/>
                  <a:pt x="698" y="75"/>
                  <a:pt x="698" y="75"/>
                </a:cubicBezTo>
                <a:cubicBezTo>
                  <a:pt x="698" y="75"/>
                  <a:pt x="698" y="75"/>
                  <a:pt x="698" y="75"/>
                </a:cubicBezTo>
                <a:cubicBezTo>
                  <a:pt x="697" y="75"/>
                  <a:pt x="697" y="74"/>
                  <a:pt x="697" y="74"/>
                </a:cubicBezTo>
                <a:cubicBezTo>
                  <a:pt x="697" y="74"/>
                  <a:pt x="697" y="74"/>
                  <a:pt x="697" y="74"/>
                </a:cubicBezTo>
                <a:cubicBezTo>
                  <a:pt x="697" y="74"/>
                  <a:pt x="697" y="73"/>
                  <a:pt x="697" y="73"/>
                </a:cubicBezTo>
                <a:cubicBezTo>
                  <a:pt x="697" y="73"/>
                  <a:pt x="697" y="73"/>
                  <a:pt x="697" y="73"/>
                </a:cubicBezTo>
                <a:cubicBezTo>
                  <a:pt x="697" y="73"/>
                  <a:pt x="697" y="73"/>
                  <a:pt x="696" y="73"/>
                </a:cubicBezTo>
                <a:cubicBezTo>
                  <a:pt x="696" y="73"/>
                  <a:pt x="696" y="73"/>
                  <a:pt x="696" y="73"/>
                </a:cubicBezTo>
                <a:cubicBezTo>
                  <a:pt x="696" y="73"/>
                  <a:pt x="696" y="73"/>
                  <a:pt x="696" y="73"/>
                </a:cubicBezTo>
                <a:cubicBezTo>
                  <a:pt x="696" y="73"/>
                  <a:pt x="696" y="73"/>
                  <a:pt x="696" y="73"/>
                </a:cubicBezTo>
                <a:cubicBezTo>
                  <a:pt x="695" y="72"/>
                  <a:pt x="695" y="71"/>
                  <a:pt x="694" y="70"/>
                </a:cubicBezTo>
                <a:cubicBezTo>
                  <a:pt x="694" y="70"/>
                  <a:pt x="694" y="70"/>
                  <a:pt x="694" y="70"/>
                </a:cubicBezTo>
                <a:cubicBezTo>
                  <a:pt x="694" y="70"/>
                  <a:pt x="693" y="70"/>
                  <a:pt x="693" y="70"/>
                </a:cubicBezTo>
                <a:cubicBezTo>
                  <a:pt x="693" y="70"/>
                  <a:pt x="693" y="70"/>
                  <a:pt x="693" y="70"/>
                </a:cubicBezTo>
                <a:cubicBezTo>
                  <a:pt x="693" y="70"/>
                  <a:pt x="693" y="70"/>
                  <a:pt x="693" y="70"/>
                </a:cubicBezTo>
                <a:cubicBezTo>
                  <a:pt x="693" y="70"/>
                  <a:pt x="693" y="70"/>
                  <a:pt x="693" y="70"/>
                </a:cubicBezTo>
                <a:cubicBezTo>
                  <a:pt x="693" y="69"/>
                  <a:pt x="692" y="69"/>
                  <a:pt x="692" y="69"/>
                </a:cubicBezTo>
                <a:cubicBezTo>
                  <a:pt x="692" y="69"/>
                  <a:pt x="692" y="69"/>
                  <a:pt x="692" y="69"/>
                </a:cubicBezTo>
                <a:cubicBezTo>
                  <a:pt x="692" y="69"/>
                  <a:pt x="692" y="69"/>
                  <a:pt x="692" y="69"/>
                </a:cubicBezTo>
                <a:cubicBezTo>
                  <a:pt x="692" y="69"/>
                  <a:pt x="692" y="69"/>
                  <a:pt x="692" y="69"/>
                </a:cubicBezTo>
                <a:cubicBezTo>
                  <a:pt x="691" y="68"/>
                  <a:pt x="691" y="68"/>
                  <a:pt x="691" y="68"/>
                </a:cubicBezTo>
                <a:cubicBezTo>
                  <a:pt x="691" y="68"/>
                  <a:pt x="691" y="68"/>
                  <a:pt x="691" y="68"/>
                </a:cubicBezTo>
                <a:cubicBezTo>
                  <a:pt x="691" y="68"/>
                  <a:pt x="691" y="68"/>
                  <a:pt x="690" y="68"/>
                </a:cubicBezTo>
                <a:cubicBezTo>
                  <a:pt x="691" y="68"/>
                  <a:pt x="691" y="68"/>
                  <a:pt x="691" y="68"/>
                </a:cubicBezTo>
                <a:cubicBezTo>
                  <a:pt x="690" y="68"/>
                  <a:pt x="690" y="68"/>
                  <a:pt x="690" y="67"/>
                </a:cubicBezTo>
                <a:cubicBezTo>
                  <a:pt x="690" y="67"/>
                  <a:pt x="690" y="67"/>
                  <a:pt x="690" y="67"/>
                </a:cubicBezTo>
                <a:cubicBezTo>
                  <a:pt x="690" y="67"/>
                  <a:pt x="689" y="67"/>
                  <a:pt x="689" y="67"/>
                </a:cubicBezTo>
                <a:cubicBezTo>
                  <a:pt x="689" y="67"/>
                  <a:pt x="689" y="67"/>
                  <a:pt x="689" y="67"/>
                </a:cubicBezTo>
                <a:cubicBezTo>
                  <a:pt x="689" y="67"/>
                  <a:pt x="689" y="67"/>
                  <a:pt x="689" y="67"/>
                </a:cubicBezTo>
                <a:cubicBezTo>
                  <a:pt x="689" y="67"/>
                  <a:pt x="689" y="67"/>
                  <a:pt x="689" y="67"/>
                </a:cubicBezTo>
                <a:cubicBezTo>
                  <a:pt x="689" y="66"/>
                  <a:pt x="688" y="67"/>
                  <a:pt x="688" y="66"/>
                </a:cubicBezTo>
                <a:cubicBezTo>
                  <a:pt x="688" y="66"/>
                  <a:pt x="688" y="66"/>
                  <a:pt x="688" y="66"/>
                </a:cubicBezTo>
                <a:cubicBezTo>
                  <a:pt x="688" y="66"/>
                  <a:pt x="688" y="66"/>
                  <a:pt x="687" y="66"/>
                </a:cubicBezTo>
                <a:cubicBezTo>
                  <a:pt x="687" y="66"/>
                  <a:pt x="687" y="66"/>
                  <a:pt x="687" y="66"/>
                </a:cubicBezTo>
                <a:cubicBezTo>
                  <a:pt x="687" y="66"/>
                  <a:pt x="687" y="66"/>
                  <a:pt x="687" y="66"/>
                </a:cubicBezTo>
                <a:cubicBezTo>
                  <a:pt x="687" y="66"/>
                  <a:pt x="687" y="66"/>
                  <a:pt x="687" y="66"/>
                </a:cubicBezTo>
                <a:cubicBezTo>
                  <a:pt x="687" y="65"/>
                  <a:pt x="686" y="66"/>
                  <a:pt x="686" y="65"/>
                </a:cubicBezTo>
                <a:cubicBezTo>
                  <a:pt x="686" y="65"/>
                  <a:pt x="686" y="65"/>
                  <a:pt x="686" y="65"/>
                </a:cubicBezTo>
                <a:cubicBezTo>
                  <a:pt x="686" y="65"/>
                  <a:pt x="686" y="65"/>
                  <a:pt x="685" y="65"/>
                </a:cubicBezTo>
                <a:cubicBezTo>
                  <a:pt x="685" y="65"/>
                  <a:pt x="685" y="65"/>
                  <a:pt x="685" y="65"/>
                </a:cubicBezTo>
                <a:cubicBezTo>
                  <a:pt x="685" y="65"/>
                  <a:pt x="685" y="65"/>
                  <a:pt x="685" y="65"/>
                </a:cubicBezTo>
                <a:cubicBezTo>
                  <a:pt x="685" y="65"/>
                  <a:pt x="685" y="65"/>
                  <a:pt x="685" y="65"/>
                </a:cubicBezTo>
                <a:cubicBezTo>
                  <a:pt x="684" y="64"/>
                  <a:pt x="684" y="64"/>
                  <a:pt x="684" y="64"/>
                </a:cubicBezTo>
                <a:cubicBezTo>
                  <a:pt x="684" y="64"/>
                  <a:pt x="684" y="64"/>
                  <a:pt x="684" y="64"/>
                </a:cubicBezTo>
                <a:cubicBezTo>
                  <a:pt x="684" y="64"/>
                  <a:pt x="683" y="64"/>
                  <a:pt x="683" y="64"/>
                </a:cubicBezTo>
                <a:cubicBezTo>
                  <a:pt x="683" y="64"/>
                  <a:pt x="683" y="64"/>
                  <a:pt x="683" y="64"/>
                </a:cubicBezTo>
                <a:cubicBezTo>
                  <a:pt x="683" y="64"/>
                  <a:pt x="683" y="64"/>
                  <a:pt x="683" y="64"/>
                </a:cubicBezTo>
                <a:cubicBezTo>
                  <a:pt x="683" y="64"/>
                  <a:pt x="682" y="64"/>
                  <a:pt x="682" y="64"/>
                </a:cubicBezTo>
                <a:cubicBezTo>
                  <a:pt x="682" y="64"/>
                  <a:pt x="682" y="64"/>
                  <a:pt x="682" y="64"/>
                </a:cubicBezTo>
                <a:cubicBezTo>
                  <a:pt x="682" y="63"/>
                  <a:pt x="682" y="63"/>
                  <a:pt x="681" y="63"/>
                </a:cubicBezTo>
                <a:cubicBezTo>
                  <a:pt x="682" y="63"/>
                  <a:pt x="682" y="63"/>
                  <a:pt x="682" y="63"/>
                </a:cubicBezTo>
                <a:cubicBezTo>
                  <a:pt x="681" y="63"/>
                  <a:pt x="681" y="63"/>
                  <a:pt x="681" y="63"/>
                </a:cubicBezTo>
                <a:cubicBezTo>
                  <a:pt x="681" y="63"/>
                  <a:pt x="681" y="63"/>
                  <a:pt x="681" y="63"/>
                </a:cubicBezTo>
                <a:cubicBezTo>
                  <a:pt x="680" y="63"/>
                  <a:pt x="680" y="63"/>
                  <a:pt x="680" y="63"/>
                </a:cubicBezTo>
                <a:cubicBezTo>
                  <a:pt x="680" y="63"/>
                  <a:pt x="680" y="63"/>
                  <a:pt x="680" y="63"/>
                </a:cubicBezTo>
                <a:close/>
                <a:moveTo>
                  <a:pt x="310" y="98"/>
                </a:moveTo>
                <a:cubicBezTo>
                  <a:pt x="310" y="99"/>
                  <a:pt x="311" y="99"/>
                  <a:pt x="312" y="100"/>
                </a:cubicBezTo>
                <a:cubicBezTo>
                  <a:pt x="316" y="102"/>
                  <a:pt x="321" y="103"/>
                  <a:pt x="326" y="103"/>
                </a:cubicBezTo>
                <a:cubicBezTo>
                  <a:pt x="330" y="103"/>
                  <a:pt x="335" y="103"/>
                  <a:pt x="339" y="101"/>
                </a:cubicBezTo>
                <a:cubicBezTo>
                  <a:pt x="346" y="98"/>
                  <a:pt x="351" y="93"/>
                  <a:pt x="351" y="84"/>
                </a:cubicBezTo>
                <a:cubicBezTo>
                  <a:pt x="352" y="78"/>
                  <a:pt x="350" y="73"/>
                  <a:pt x="345" y="69"/>
                </a:cubicBezTo>
                <a:cubicBezTo>
                  <a:pt x="342" y="68"/>
                  <a:pt x="339" y="66"/>
                  <a:pt x="337" y="65"/>
                </a:cubicBezTo>
                <a:cubicBezTo>
                  <a:pt x="335" y="64"/>
                  <a:pt x="333" y="63"/>
                  <a:pt x="331" y="62"/>
                </a:cubicBezTo>
                <a:cubicBezTo>
                  <a:pt x="328" y="61"/>
                  <a:pt x="326" y="60"/>
                  <a:pt x="325" y="59"/>
                </a:cubicBezTo>
                <a:cubicBezTo>
                  <a:pt x="321" y="56"/>
                  <a:pt x="320" y="49"/>
                  <a:pt x="324" y="45"/>
                </a:cubicBezTo>
                <a:cubicBezTo>
                  <a:pt x="326" y="43"/>
                  <a:pt x="328" y="42"/>
                  <a:pt x="331" y="42"/>
                </a:cubicBezTo>
                <a:cubicBezTo>
                  <a:pt x="337" y="42"/>
                  <a:pt x="342" y="43"/>
                  <a:pt x="347" y="46"/>
                </a:cubicBezTo>
                <a:cubicBezTo>
                  <a:pt x="347" y="46"/>
                  <a:pt x="348" y="46"/>
                  <a:pt x="348" y="46"/>
                </a:cubicBezTo>
                <a:cubicBezTo>
                  <a:pt x="348" y="43"/>
                  <a:pt x="348" y="41"/>
                  <a:pt x="348" y="38"/>
                </a:cubicBezTo>
                <a:cubicBezTo>
                  <a:pt x="348" y="36"/>
                  <a:pt x="348" y="36"/>
                  <a:pt x="347" y="35"/>
                </a:cubicBezTo>
                <a:cubicBezTo>
                  <a:pt x="341" y="33"/>
                  <a:pt x="335" y="32"/>
                  <a:pt x="329" y="33"/>
                </a:cubicBezTo>
                <a:cubicBezTo>
                  <a:pt x="324" y="34"/>
                  <a:pt x="319" y="36"/>
                  <a:pt x="316" y="39"/>
                </a:cubicBezTo>
                <a:cubicBezTo>
                  <a:pt x="312" y="43"/>
                  <a:pt x="310" y="48"/>
                  <a:pt x="310" y="53"/>
                </a:cubicBezTo>
                <a:cubicBezTo>
                  <a:pt x="310" y="60"/>
                  <a:pt x="313" y="64"/>
                  <a:pt x="319" y="68"/>
                </a:cubicBezTo>
                <a:cubicBezTo>
                  <a:pt x="320" y="69"/>
                  <a:pt x="322" y="70"/>
                  <a:pt x="324" y="71"/>
                </a:cubicBezTo>
                <a:cubicBezTo>
                  <a:pt x="326" y="72"/>
                  <a:pt x="329" y="73"/>
                  <a:pt x="332" y="74"/>
                </a:cubicBezTo>
                <a:cubicBezTo>
                  <a:pt x="333" y="75"/>
                  <a:pt x="335" y="76"/>
                  <a:pt x="337" y="78"/>
                </a:cubicBezTo>
                <a:cubicBezTo>
                  <a:pt x="338" y="79"/>
                  <a:pt x="340" y="80"/>
                  <a:pt x="340" y="82"/>
                </a:cubicBezTo>
                <a:cubicBezTo>
                  <a:pt x="341" y="87"/>
                  <a:pt x="340" y="92"/>
                  <a:pt x="334" y="93"/>
                </a:cubicBezTo>
                <a:cubicBezTo>
                  <a:pt x="329" y="94"/>
                  <a:pt x="324" y="94"/>
                  <a:pt x="319" y="93"/>
                </a:cubicBezTo>
                <a:cubicBezTo>
                  <a:pt x="316" y="92"/>
                  <a:pt x="313" y="90"/>
                  <a:pt x="310" y="87"/>
                </a:cubicBezTo>
                <a:cubicBezTo>
                  <a:pt x="310" y="91"/>
                  <a:pt x="310" y="94"/>
                  <a:pt x="310" y="98"/>
                </a:cubicBezTo>
                <a:close/>
                <a:moveTo>
                  <a:pt x="1177" y="95"/>
                </a:moveTo>
                <a:cubicBezTo>
                  <a:pt x="1177" y="95"/>
                  <a:pt x="1177" y="95"/>
                  <a:pt x="1177" y="95"/>
                </a:cubicBezTo>
                <a:cubicBezTo>
                  <a:pt x="1177" y="95"/>
                  <a:pt x="1177" y="95"/>
                  <a:pt x="1177" y="96"/>
                </a:cubicBezTo>
                <a:cubicBezTo>
                  <a:pt x="1177" y="96"/>
                  <a:pt x="1177" y="96"/>
                  <a:pt x="1177" y="96"/>
                </a:cubicBezTo>
                <a:cubicBezTo>
                  <a:pt x="1177" y="96"/>
                  <a:pt x="1177" y="96"/>
                  <a:pt x="1177" y="96"/>
                </a:cubicBezTo>
                <a:cubicBezTo>
                  <a:pt x="1177" y="96"/>
                  <a:pt x="1177" y="96"/>
                  <a:pt x="1177" y="96"/>
                </a:cubicBezTo>
                <a:cubicBezTo>
                  <a:pt x="1177" y="96"/>
                  <a:pt x="1177" y="96"/>
                  <a:pt x="1178" y="97"/>
                </a:cubicBezTo>
                <a:cubicBezTo>
                  <a:pt x="1178" y="97"/>
                  <a:pt x="1178" y="97"/>
                  <a:pt x="1178" y="97"/>
                </a:cubicBezTo>
                <a:cubicBezTo>
                  <a:pt x="1178" y="97"/>
                  <a:pt x="1178" y="97"/>
                  <a:pt x="1178" y="97"/>
                </a:cubicBezTo>
                <a:cubicBezTo>
                  <a:pt x="1178" y="97"/>
                  <a:pt x="1178" y="97"/>
                  <a:pt x="1178" y="97"/>
                </a:cubicBezTo>
                <a:cubicBezTo>
                  <a:pt x="1178" y="97"/>
                  <a:pt x="1178" y="98"/>
                  <a:pt x="1178" y="98"/>
                </a:cubicBezTo>
                <a:cubicBezTo>
                  <a:pt x="1178" y="98"/>
                  <a:pt x="1178" y="98"/>
                  <a:pt x="1178" y="98"/>
                </a:cubicBezTo>
                <a:cubicBezTo>
                  <a:pt x="1178" y="98"/>
                  <a:pt x="1178" y="98"/>
                  <a:pt x="1179" y="98"/>
                </a:cubicBezTo>
                <a:cubicBezTo>
                  <a:pt x="1179" y="98"/>
                  <a:pt x="1179" y="98"/>
                  <a:pt x="1179" y="98"/>
                </a:cubicBezTo>
                <a:cubicBezTo>
                  <a:pt x="1179" y="98"/>
                  <a:pt x="1179" y="98"/>
                  <a:pt x="1179" y="98"/>
                </a:cubicBezTo>
                <a:cubicBezTo>
                  <a:pt x="1179" y="98"/>
                  <a:pt x="1179" y="98"/>
                  <a:pt x="1179" y="98"/>
                </a:cubicBezTo>
                <a:cubicBezTo>
                  <a:pt x="1179" y="98"/>
                  <a:pt x="1179" y="99"/>
                  <a:pt x="1179" y="99"/>
                </a:cubicBezTo>
                <a:cubicBezTo>
                  <a:pt x="1179" y="99"/>
                  <a:pt x="1179" y="99"/>
                  <a:pt x="1179" y="99"/>
                </a:cubicBezTo>
                <a:cubicBezTo>
                  <a:pt x="1179" y="99"/>
                  <a:pt x="1180" y="99"/>
                  <a:pt x="1180" y="99"/>
                </a:cubicBezTo>
                <a:cubicBezTo>
                  <a:pt x="1180" y="99"/>
                  <a:pt x="1180" y="99"/>
                  <a:pt x="1180" y="99"/>
                </a:cubicBezTo>
                <a:cubicBezTo>
                  <a:pt x="1180" y="99"/>
                  <a:pt x="1180" y="99"/>
                  <a:pt x="1180" y="99"/>
                </a:cubicBezTo>
                <a:cubicBezTo>
                  <a:pt x="1180" y="99"/>
                  <a:pt x="1180" y="99"/>
                  <a:pt x="1180" y="99"/>
                </a:cubicBezTo>
                <a:cubicBezTo>
                  <a:pt x="1180" y="100"/>
                  <a:pt x="1180" y="100"/>
                  <a:pt x="1180" y="100"/>
                </a:cubicBezTo>
                <a:cubicBezTo>
                  <a:pt x="1180" y="100"/>
                  <a:pt x="1180" y="100"/>
                  <a:pt x="1180" y="100"/>
                </a:cubicBezTo>
                <a:cubicBezTo>
                  <a:pt x="1180" y="100"/>
                  <a:pt x="1181" y="100"/>
                  <a:pt x="1181" y="100"/>
                </a:cubicBezTo>
                <a:cubicBezTo>
                  <a:pt x="1181" y="100"/>
                  <a:pt x="1181" y="100"/>
                  <a:pt x="1181" y="100"/>
                </a:cubicBezTo>
                <a:cubicBezTo>
                  <a:pt x="1181" y="100"/>
                  <a:pt x="1181" y="100"/>
                  <a:pt x="1181" y="100"/>
                </a:cubicBezTo>
                <a:cubicBezTo>
                  <a:pt x="1181" y="100"/>
                  <a:pt x="1181" y="100"/>
                  <a:pt x="1181" y="100"/>
                </a:cubicBezTo>
                <a:cubicBezTo>
                  <a:pt x="1182" y="101"/>
                  <a:pt x="1182" y="101"/>
                  <a:pt x="1182" y="101"/>
                </a:cubicBezTo>
                <a:cubicBezTo>
                  <a:pt x="1182" y="101"/>
                  <a:pt x="1182" y="101"/>
                  <a:pt x="1182" y="101"/>
                </a:cubicBezTo>
                <a:cubicBezTo>
                  <a:pt x="1182" y="101"/>
                  <a:pt x="1183" y="101"/>
                  <a:pt x="1183" y="101"/>
                </a:cubicBezTo>
                <a:cubicBezTo>
                  <a:pt x="1183" y="101"/>
                  <a:pt x="1183" y="101"/>
                  <a:pt x="1183" y="101"/>
                </a:cubicBezTo>
                <a:cubicBezTo>
                  <a:pt x="1183" y="101"/>
                  <a:pt x="1183" y="101"/>
                  <a:pt x="1183" y="102"/>
                </a:cubicBezTo>
                <a:cubicBezTo>
                  <a:pt x="1183" y="102"/>
                  <a:pt x="1183" y="102"/>
                  <a:pt x="1183" y="102"/>
                </a:cubicBezTo>
                <a:cubicBezTo>
                  <a:pt x="1184" y="102"/>
                  <a:pt x="1184" y="102"/>
                  <a:pt x="1184" y="102"/>
                </a:cubicBezTo>
                <a:cubicBezTo>
                  <a:pt x="1184" y="102"/>
                  <a:pt x="1184" y="102"/>
                  <a:pt x="1184" y="102"/>
                </a:cubicBezTo>
                <a:cubicBezTo>
                  <a:pt x="1184" y="102"/>
                  <a:pt x="1185" y="102"/>
                  <a:pt x="1185" y="102"/>
                </a:cubicBezTo>
                <a:cubicBezTo>
                  <a:pt x="1185" y="102"/>
                  <a:pt x="1185" y="102"/>
                  <a:pt x="1185" y="102"/>
                </a:cubicBezTo>
                <a:cubicBezTo>
                  <a:pt x="1186" y="103"/>
                  <a:pt x="1186" y="102"/>
                  <a:pt x="1186" y="103"/>
                </a:cubicBezTo>
                <a:cubicBezTo>
                  <a:pt x="1187" y="102"/>
                  <a:pt x="1187" y="102"/>
                  <a:pt x="1187" y="102"/>
                </a:cubicBezTo>
                <a:cubicBezTo>
                  <a:pt x="1187" y="103"/>
                  <a:pt x="1187" y="103"/>
                  <a:pt x="1187" y="103"/>
                </a:cubicBezTo>
                <a:cubicBezTo>
                  <a:pt x="1187" y="103"/>
                  <a:pt x="1188" y="103"/>
                  <a:pt x="1188" y="103"/>
                </a:cubicBezTo>
                <a:cubicBezTo>
                  <a:pt x="1189" y="103"/>
                  <a:pt x="1189" y="103"/>
                  <a:pt x="1189" y="103"/>
                </a:cubicBezTo>
                <a:cubicBezTo>
                  <a:pt x="1191" y="103"/>
                  <a:pt x="1193" y="103"/>
                  <a:pt x="1195" y="103"/>
                </a:cubicBezTo>
                <a:cubicBezTo>
                  <a:pt x="1196" y="103"/>
                  <a:pt x="1196" y="103"/>
                  <a:pt x="1196" y="103"/>
                </a:cubicBezTo>
                <a:cubicBezTo>
                  <a:pt x="1196" y="103"/>
                  <a:pt x="1197" y="103"/>
                  <a:pt x="1198" y="103"/>
                </a:cubicBezTo>
                <a:cubicBezTo>
                  <a:pt x="1198" y="102"/>
                  <a:pt x="1198" y="102"/>
                  <a:pt x="1198" y="102"/>
                </a:cubicBezTo>
                <a:cubicBezTo>
                  <a:pt x="1198" y="103"/>
                  <a:pt x="1198" y="103"/>
                  <a:pt x="1198" y="103"/>
                </a:cubicBezTo>
                <a:cubicBezTo>
                  <a:pt x="1198" y="102"/>
                  <a:pt x="1199" y="102"/>
                  <a:pt x="1199" y="102"/>
                </a:cubicBezTo>
                <a:cubicBezTo>
                  <a:pt x="1199" y="102"/>
                  <a:pt x="1199" y="102"/>
                  <a:pt x="1199" y="102"/>
                </a:cubicBezTo>
                <a:cubicBezTo>
                  <a:pt x="1199" y="102"/>
                  <a:pt x="1200" y="102"/>
                  <a:pt x="1200" y="102"/>
                </a:cubicBezTo>
                <a:cubicBezTo>
                  <a:pt x="1200" y="102"/>
                  <a:pt x="1200" y="102"/>
                  <a:pt x="1200" y="102"/>
                </a:cubicBezTo>
                <a:cubicBezTo>
                  <a:pt x="1200" y="102"/>
                  <a:pt x="1201" y="102"/>
                  <a:pt x="1201" y="102"/>
                </a:cubicBezTo>
                <a:cubicBezTo>
                  <a:pt x="1201" y="101"/>
                  <a:pt x="1201" y="101"/>
                  <a:pt x="1201" y="101"/>
                </a:cubicBezTo>
                <a:cubicBezTo>
                  <a:pt x="1201" y="101"/>
                  <a:pt x="1201" y="101"/>
                  <a:pt x="1201" y="101"/>
                </a:cubicBezTo>
                <a:cubicBezTo>
                  <a:pt x="1201" y="101"/>
                  <a:pt x="1202" y="101"/>
                  <a:pt x="1202" y="101"/>
                </a:cubicBezTo>
                <a:cubicBezTo>
                  <a:pt x="1202" y="101"/>
                  <a:pt x="1202" y="101"/>
                  <a:pt x="1202" y="101"/>
                </a:cubicBezTo>
                <a:cubicBezTo>
                  <a:pt x="1202" y="101"/>
                  <a:pt x="1202" y="101"/>
                  <a:pt x="1202" y="101"/>
                </a:cubicBezTo>
                <a:cubicBezTo>
                  <a:pt x="1202" y="98"/>
                  <a:pt x="1202" y="95"/>
                  <a:pt x="1202" y="92"/>
                </a:cubicBezTo>
                <a:cubicBezTo>
                  <a:pt x="1202" y="92"/>
                  <a:pt x="1202" y="92"/>
                  <a:pt x="1202" y="92"/>
                </a:cubicBezTo>
                <a:cubicBezTo>
                  <a:pt x="1202" y="92"/>
                  <a:pt x="1202" y="92"/>
                  <a:pt x="1202" y="92"/>
                </a:cubicBezTo>
                <a:cubicBezTo>
                  <a:pt x="1201" y="92"/>
                  <a:pt x="1201" y="92"/>
                  <a:pt x="1201" y="92"/>
                </a:cubicBezTo>
                <a:cubicBezTo>
                  <a:pt x="1201" y="92"/>
                  <a:pt x="1201" y="92"/>
                  <a:pt x="1201" y="92"/>
                </a:cubicBezTo>
                <a:cubicBezTo>
                  <a:pt x="1201" y="92"/>
                  <a:pt x="1201" y="92"/>
                  <a:pt x="1201" y="92"/>
                </a:cubicBezTo>
                <a:cubicBezTo>
                  <a:pt x="1201" y="92"/>
                  <a:pt x="1201" y="92"/>
                  <a:pt x="1201" y="92"/>
                </a:cubicBezTo>
                <a:cubicBezTo>
                  <a:pt x="1200" y="93"/>
                  <a:pt x="1200" y="93"/>
                  <a:pt x="1200" y="93"/>
                </a:cubicBezTo>
                <a:cubicBezTo>
                  <a:pt x="1200" y="93"/>
                  <a:pt x="1200" y="93"/>
                  <a:pt x="1200" y="93"/>
                </a:cubicBezTo>
                <a:cubicBezTo>
                  <a:pt x="1200" y="93"/>
                  <a:pt x="1200" y="93"/>
                  <a:pt x="1200" y="93"/>
                </a:cubicBezTo>
                <a:cubicBezTo>
                  <a:pt x="1199" y="93"/>
                  <a:pt x="1199" y="93"/>
                  <a:pt x="1199" y="93"/>
                </a:cubicBezTo>
                <a:cubicBezTo>
                  <a:pt x="1199" y="93"/>
                  <a:pt x="1199" y="93"/>
                  <a:pt x="1199" y="93"/>
                </a:cubicBezTo>
                <a:cubicBezTo>
                  <a:pt x="1199" y="93"/>
                  <a:pt x="1199" y="93"/>
                  <a:pt x="1199" y="93"/>
                </a:cubicBezTo>
                <a:cubicBezTo>
                  <a:pt x="1198" y="93"/>
                  <a:pt x="1198" y="93"/>
                  <a:pt x="1197" y="93"/>
                </a:cubicBezTo>
                <a:cubicBezTo>
                  <a:pt x="1197" y="94"/>
                  <a:pt x="1197" y="94"/>
                  <a:pt x="1197" y="94"/>
                </a:cubicBezTo>
                <a:cubicBezTo>
                  <a:pt x="1196" y="94"/>
                  <a:pt x="1195" y="94"/>
                  <a:pt x="1193" y="94"/>
                </a:cubicBezTo>
                <a:cubicBezTo>
                  <a:pt x="1193" y="94"/>
                  <a:pt x="1193" y="94"/>
                  <a:pt x="1193" y="94"/>
                </a:cubicBezTo>
                <a:cubicBezTo>
                  <a:pt x="1192" y="93"/>
                  <a:pt x="1192" y="93"/>
                  <a:pt x="1191" y="93"/>
                </a:cubicBezTo>
                <a:cubicBezTo>
                  <a:pt x="1191" y="93"/>
                  <a:pt x="1191" y="93"/>
                  <a:pt x="1191" y="93"/>
                </a:cubicBezTo>
                <a:cubicBezTo>
                  <a:pt x="1191" y="93"/>
                  <a:pt x="1191" y="93"/>
                  <a:pt x="1190" y="93"/>
                </a:cubicBezTo>
                <a:cubicBezTo>
                  <a:pt x="1190" y="93"/>
                  <a:pt x="1190" y="93"/>
                  <a:pt x="1190" y="93"/>
                </a:cubicBezTo>
                <a:cubicBezTo>
                  <a:pt x="1190" y="93"/>
                  <a:pt x="1190" y="93"/>
                  <a:pt x="1190" y="93"/>
                </a:cubicBezTo>
                <a:cubicBezTo>
                  <a:pt x="1190" y="93"/>
                  <a:pt x="1190" y="93"/>
                  <a:pt x="1190" y="93"/>
                </a:cubicBezTo>
                <a:cubicBezTo>
                  <a:pt x="1190" y="92"/>
                  <a:pt x="1189" y="92"/>
                  <a:pt x="1189" y="92"/>
                </a:cubicBezTo>
                <a:cubicBezTo>
                  <a:pt x="1189" y="92"/>
                  <a:pt x="1189" y="92"/>
                  <a:pt x="1189" y="92"/>
                </a:cubicBezTo>
                <a:cubicBezTo>
                  <a:pt x="1189" y="92"/>
                  <a:pt x="1189" y="92"/>
                  <a:pt x="1189" y="92"/>
                </a:cubicBezTo>
                <a:cubicBezTo>
                  <a:pt x="1189" y="92"/>
                  <a:pt x="1189" y="92"/>
                  <a:pt x="1189" y="92"/>
                </a:cubicBezTo>
                <a:cubicBezTo>
                  <a:pt x="1188" y="91"/>
                  <a:pt x="1188" y="91"/>
                  <a:pt x="1188" y="91"/>
                </a:cubicBezTo>
                <a:cubicBezTo>
                  <a:pt x="1188" y="91"/>
                  <a:pt x="1188" y="91"/>
                  <a:pt x="1188" y="91"/>
                </a:cubicBezTo>
                <a:cubicBezTo>
                  <a:pt x="1188" y="91"/>
                  <a:pt x="1187" y="90"/>
                  <a:pt x="1187" y="90"/>
                </a:cubicBezTo>
                <a:cubicBezTo>
                  <a:pt x="1187" y="90"/>
                  <a:pt x="1187" y="90"/>
                  <a:pt x="1187" y="90"/>
                </a:cubicBezTo>
                <a:cubicBezTo>
                  <a:pt x="1187" y="90"/>
                  <a:pt x="1187" y="90"/>
                  <a:pt x="1187" y="90"/>
                </a:cubicBezTo>
                <a:cubicBezTo>
                  <a:pt x="1187" y="90"/>
                  <a:pt x="1187" y="90"/>
                  <a:pt x="1187" y="90"/>
                </a:cubicBezTo>
                <a:cubicBezTo>
                  <a:pt x="1187" y="90"/>
                  <a:pt x="1187" y="89"/>
                  <a:pt x="1187" y="89"/>
                </a:cubicBezTo>
                <a:cubicBezTo>
                  <a:pt x="1187" y="89"/>
                  <a:pt x="1187" y="89"/>
                  <a:pt x="1187" y="89"/>
                </a:cubicBezTo>
                <a:cubicBezTo>
                  <a:pt x="1186" y="89"/>
                  <a:pt x="1186" y="89"/>
                  <a:pt x="1186" y="88"/>
                </a:cubicBezTo>
                <a:cubicBezTo>
                  <a:pt x="1186" y="88"/>
                  <a:pt x="1186" y="88"/>
                  <a:pt x="1186" y="88"/>
                </a:cubicBezTo>
                <a:cubicBezTo>
                  <a:pt x="1186" y="88"/>
                  <a:pt x="1186" y="88"/>
                  <a:pt x="1186" y="88"/>
                </a:cubicBezTo>
                <a:cubicBezTo>
                  <a:pt x="1186" y="88"/>
                  <a:pt x="1186" y="88"/>
                  <a:pt x="1186" y="87"/>
                </a:cubicBezTo>
                <a:cubicBezTo>
                  <a:pt x="1186" y="87"/>
                  <a:pt x="1186" y="87"/>
                  <a:pt x="1186" y="87"/>
                </a:cubicBezTo>
                <a:cubicBezTo>
                  <a:pt x="1186" y="86"/>
                  <a:pt x="1186" y="86"/>
                  <a:pt x="1186" y="85"/>
                </a:cubicBezTo>
                <a:cubicBezTo>
                  <a:pt x="1185" y="85"/>
                  <a:pt x="1185" y="85"/>
                  <a:pt x="1186" y="85"/>
                </a:cubicBezTo>
                <a:cubicBezTo>
                  <a:pt x="1185" y="84"/>
                  <a:pt x="1185" y="84"/>
                  <a:pt x="1185" y="84"/>
                </a:cubicBezTo>
                <a:cubicBezTo>
                  <a:pt x="1185" y="71"/>
                  <a:pt x="1185" y="58"/>
                  <a:pt x="1185" y="45"/>
                </a:cubicBezTo>
                <a:cubicBezTo>
                  <a:pt x="1185" y="44"/>
                  <a:pt x="1186" y="44"/>
                  <a:pt x="1187" y="44"/>
                </a:cubicBezTo>
                <a:cubicBezTo>
                  <a:pt x="1191" y="44"/>
                  <a:pt x="1196" y="44"/>
                  <a:pt x="1201" y="44"/>
                </a:cubicBezTo>
                <a:cubicBezTo>
                  <a:pt x="1201" y="44"/>
                  <a:pt x="1202" y="44"/>
                  <a:pt x="1202" y="43"/>
                </a:cubicBezTo>
                <a:cubicBezTo>
                  <a:pt x="1202" y="40"/>
                  <a:pt x="1202" y="37"/>
                  <a:pt x="1202" y="34"/>
                </a:cubicBezTo>
                <a:cubicBezTo>
                  <a:pt x="1202" y="34"/>
                  <a:pt x="1201" y="34"/>
                  <a:pt x="1201" y="34"/>
                </a:cubicBezTo>
                <a:cubicBezTo>
                  <a:pt x="1196" y="34"/>
                  <a:pt x="1191" y="34"/>
                  <a:pt x="1187" y="34"/>
                </a:cubicBezTo>
                <a:cubicBezTo>
                  <a:pt x="1186" y="34"/>
                  <a:pt x="1185" y="34"/>
                  <a:pt x="1185" y="33"/>
                </a:cubicBezTo>
                <a:cubicBezTo>
                  <a:pt x="1185" y="29"/>
                  <a:pt x="1185" y="24"/>
                  <a:pt x="1185" y="20"/>
                </a:cubicBezTo>
                <a:cubicBezTo>
                  <a:pt x="1185" y="19"/>
                  <a:pt x="1185" y="17"/>
                  <a:pt x="1185" y="15"/>
                </a:cubicBezTo>
                <a:cubicBezTo>
                  <a:pt x="1185" y="15"/>
                  <a:pt x="1186" y="14"/>
                  <a:pt x="1185" y="15"/>
                </a:cubicBezTo>
                <a:cubicBezTo>
                  <a:pt x="1185" y="15"/>
                  <a:pt x="1185" y="15"/>
                  <a:pt x="1185" y="15"/>
                </a:cubicBezTo>
                <a:cubicBezTo>
                  <a:pt x="1184" y="15"/>
                  <a:pt x="1184" y="15"/>
                  <a:pt x="1183" y="15"/>
                </a:cubicBezTo>
                <a:cubicBezTo>
                  <a:pt x="1184" y="15"/>
                  <a:pt x="1184" y="15"/>
                  <a:pt x="1184" y="15"/>
                </a:cubicBezTo>
                <a:cubicBezTo>
                  <a:pt x="1183" y="15"/>
                  <a:pt x="1183" y="15"/>
                  <a:pt x="1182" y="15"/>
                </a:cubicBezTo>
                <a:cubicBezTo>
                  <a:pt x="1182" y="15"/>
                  <a:pt x="1182" y="15"/>
                  <a:pt x="1182" y="15"/>
                </a:cubicBezTo>
                <a:cubicBezTo>
                  <a:pt x="1182" y="15"/>
                  <a:pt x="1182" y="15"/>
                  <a:pt x="1181" y="16"/>
                </a:cubicBezTo>
                <a:cubicBezTo>
                  <a:pt x="1181" y="16"/>
                  <a:pt x="1181" y="16"/>
                  <a:pt x="1181" y="16"/>
                </a:cubicBezTo>
                <a:cubicBezTo>
                  <a:pt x="1181" y="16"/>
                  <a:pt x="1181" y="16"/>
                  <a:pt x="1180" y="16"/>
                </a:cubicBezTo>
                <a:cubicBezTo>
                  <a:pt x="1180" y="16"/>
                  <a:pt x="1180" y="16"/>
                  <a:pt x="1180" y="16"/>
                </a:cubicBezTo>
                <a:cubicBezTo>
                  <a:pt x="1180" y="16"/>
                  <a:pt x="1180" y="16"/>
                  <a:pt x="1180" y="16"/>
                </a:cubicBezTo>
                <a:cubicBezTo>
                  <a:pt x="1180" y="16"/>
                  <a:pt x="1180" y="16"/>
                  <a:pt x="1179" y="16"/>
                </a:cubicBezTo>
                <a:cubicBezTo>
                  <a:pt x="1179" y="16"/>
                  <a:pt x="1179" y="16"/>
                  <a:pt x="1179" y="16"/>
                </a:cubicBezTo>
                <a:cubicBezTo>
                  <a:pt x="1179" y="16"/>
                  <a:pt x="1179" y="16"/>
                  <a:pt x="1179" y="16"/>
                </a:cubicBezTo>
                <a:cubicBezTo>
                  <a:pt x="1179" y="16"/>
                  <a:pt x="1179" y="16"/>
                  <a:pt x="1178" y="17"/>
                </a:cubicBezTo>
                <a:cubicBezTo>
                  <a:pt x="1178" y="17"/>
                  <a:pt x="1178" y="17"/>
                  <a:pt x="1178" y="17"/>
                </a:cubicBezTo>
                <a:cubicBezTo>
                  <a:pt x="1178" y="17"/>
                  <a:pt x="1178" y="17"/>
                  <a:pt x="1178" y="17"/>
                </a:cubicBezTo>
                <a:cubicBezTo>
                  <a:pt x="1178" y="17"/>
                  <a:pt x="1177" y="17"/>
                  <a:pt x="1177" y="17"/>
                </a:cubicBezTo>
                <a:cubicBezTo>
                  <a:pt x="1177" y="17"/>
                  <a:pt x="1177" y="17"/>
                  <a:pt x="1177" y="17"/>
                </a:cubicBezTo>
                <a:cubicBezTo>
                  <a:pt x="1177" y="17"/>
                  <a:pt x="1176" y="17"/>
                  <a:pt x="1176" y="17"/>
                </a:cubicBezTo>
                <a:cubicBezTo>
                  <a:pt x="1176" y="17"/>
                  <a:pt x="1176" y="17"/>
                  <a:pt x="1176" y="17"/>
                </a:cubicBezTo>
                <a:cubicBezTo>
                  <a:pt x="1176" y="17"/>
                  <a:pt x="1175" y="17"/>
                  <a:pt x="1175" y="18"/>
                </a:cubicBezTo>
                <a:cubicBezTo>
                  <a:pt x="1175" y="18"/>
                  <a:pt x="1175" y="18"/>
                  <a:pt x="1175" y="18"/>
                </a:cubicBezTo>
                <a:cubicBezTo>
                  <a:pt x="1174" y="18"/>
                  <a:pt x="1174" y="19"/>
                  <a:pt x="1174" y="19"/>
                </a:cubicBezTo>
                <a:cubicBezTo>
                  <a:pt x="1174" y="24"/>
                  <a:pt x="1174" y="28"/>
                  <a:pt x="1174" y="32"/>
                </a:cubicBezTo>
                <a:cubicBezTo>
                  <a:pt x="1174" y="34"/>
                  <a:pt x="1174" y="34"/>
                  <a:pt x="1173" y="34"/>
                </a:cubicBezTo>
                <a:cubicBezTo>
                  <a:pt x="1170" y="34"/>
                  <a:pt x="1167" y="34"/>
                  <a:pt x="1164" y="34"/>
                </a:cubicBezTo>
                <a:cubicBezTo>
                  <a:pt x="1163" y="34"/>
                  <a:pt x="1163" y="35"/>
                  <a:pt x="1163" y="36"/>
                </a:cubicBezTo>
                <a:cubicBezTo>
                  <a:pt x="1163" y="38"/>
                  <a:pt x="1163" y="40"/>
                  <a:pt x="1163" y="42"/>
                </a:cubicBezTo>
                <a:cubicBezTo>
                  <a:pt x="1163" y="43"/>
                  <a:pt x="1163" y="44"/>
                  <a:pt x="1164" y="44"/>
                </a:cubicBezTo>
                <a:cubicBezTo>
                  <a:pt x="1167" y="43"/>
                  <a:pt x="1170" y="44"/>
                  <a:pt x="1173" y="44"/>
                </a:cubicBezTo>
                <a:cubicBezTo>
                  <a:pt x="1174" y="43"/>
                  <a:pt x="1174" y="44"/>
                  <a:pt x="1174" y="45"/>
                </a:cubicBezTo>
                <a:cubicBezTo>
                  <a:pt x="1174" y="58"/>
                  <a:pt x="1174" y="71"/>
                  <a:pt x="1174" y="84"/>
                </a:cubicBezTo>
                <a:cubicBezTo>
                  <a:pt x="1174" y="84"/>
                  <a:pt x="1174" y="85"/>
                  <a:pt x="1174" y="85"/>
                </a:cubicBezTo>
                <a:cubicBezTo>
                  <a:pt x="1175" y="86"/>
                  <a:pt x="1175" y="86"/>
                  <a:pt x="1174" y="87"/>
                </a:cubicBezTo>
                <a:cubicBezTo>
                  <a:pt x="1175" y="87"/>
                  <a:pt x="1174" y="88"/>
                  <a:pt x="1175" y="89"/>
                </a:cubicBezTo>
                <a:cubicBezTo>
                  <a:pt x="1175" y="89"/>
                  <a:pt x="1175" y="89"/>
                  <a:pt x="1175" y="89"/>
                </a:cubicBezTo>
                <a:cubicBezTo>
                  <a:pt x="1175" y="90"/>
                  <a:pt x="1175" y="90"/>
                  <a:pt x="1175" y="91"/>
                </a:cubicBezTo>
                <a:cubicBezTo>
                  <a:pt x="1175" y="91"/>
                  <a:pt x="1175" y="91"/>
                  <a:pt x="1175" y="91"/>
                </a:cubicBezTo>
                <a:cubicBezTo>
                  <a:pt x="1175" y="91"/>
                  <a:pt x="1175" y="91"/>
                  <a:pt x="1175" y="91"/>
                </a:cubicBezTo>
                <a:cubicBezTo>
                  <a:pt x="1175" y="91"/>
                  <a:pt x="1175" y="92"/>
                  <a:pt x="1176" y="92"/>
                </a:cubicBezTo>
                <a:cubicBezTo>
                  <a:pt x="1175" y="92"/>
                  <a:pt x="1175" y="92"/>
                  <a:pt x="1175" y="92"/>
                </a:cubicBezTo>
                <a:cubicBezTo>
                  <a:pt x="1176" y="92"/>
                  <a:pt x="1176" y="93"/>
                  <a:pt x="1176" y="93"/>
                </a:cubicBezTo>
                <a:cubicBezTo>
                  <a:pt x="1176" y="93"/>
                  <a:pt x="1176" y="93"/>
                  <a:pt x="1176" y="93"/>
                </a:cubicBezTo>
                <a:cubicBezTo>
                  <a:pt x="1176" y="93"/>
                  <a:pt x="1176" y="94"/>
                  <a:pt x="1176" y="94"/>
                </a:cubicBezTo>
                <a:cubicBezTo>
                  <a:pt x="1176" y="94"/>
                  <a:pt x="1176" y="94"/>
                  <a:pt x="1176" y="94"/>
                </a:cubicBezTo>
                <a:cubicBezTo>
                  <a:pt x="1176" y="94"/>
                  <a:pt x="1176" y="94"/>
                  <a:pt x="1176" y="94"/>
                </a:cubicBezTo>
                <a:cubicBezTo>
                  <a:pt x="1176" y="94"/>
                  <a:pt x="1176" y="95"/>
                  <a:pt x="1177" y="95"/>
                </a:cubicBezTo>
                <a:close/>
                <a:moveTo>
                  <a:pt x="715" y="91"/>
                </a:moveTo>
                <a:cubicBezTo>
                  <a:pt x="715" y="91"/>
                  <a:pt x="715" y="91"/>
                  <a:pt x="715" y="91"/>
                </a:cubicBezTo>
                <a:cubicBezTo>
                  <a:pt x="716" y="92"/>
                  <a:pt x="715" y="92"/>
                  <a:pt x="716" y="92"/>
                </a:cubicBezTo>
                <a:cubicBezTo>
                  <a:pt x="716" y="92"/>
                  <a:pt x="716" y="92"/>
                  <a:pt x="716" y="92"/>
                </a:cubicBezTo>
                <a:cubicBezTo>
                  <a:pt x="716" y="93"/>
                  <a:pt x="716" y="93"/>
                  <a:pt x="716" y="93"/>
                </a:cubicBezTo>
                <a:cubicBezTo>
                  <a:pt x="716" y="93"/>
                  <a:pt x="716" y="93"/>
                  <a:pt x="716" y="93"/>
                </a:cubicBezTo>
                <a:cubicBezTo>
                  <a:pt x="716" y="94"/>
                  <a:pt x="716" y="94"/>
                  <a:pt x="716" y="94"/>
                </a:cubicBezTo>
                <a:cubicBezTo>
                  <a:pt x="716" y="94"/>
                  <a:pt x="716" y="94"/>
                  <a:pt x="716" y="94"/>
                </a:cubicBezTo>
                <a:cubicBezTo>
                  <a:pt x="717" y="94"/>
                  <a:pt x="717" y="95"/>
                  <a:pt x="717" y="95"/>
                </a:cubicBezTo>
                <a:cubicBezTo>
                  <a:pt x="717" y="95"/>
                  <a:pt x="717" y="95"/>
                  <a:pt x="717" y="95"/>
                </a:cubicBezTo>
                <a:cubicBezTo>
                  <a:pt x="717" y="95"/>
                  <a:pt x="717" y="95"/>
                  <a:pt x="717" y="96"/>
                </a:cubicBezTo>
                <a:cubicBezTo>
                  <a:pt x="717" y="96"/>
                  <a:pt x="717" y="96"/>
                  <a:pt x="717" y="96"/>
                </a:cubicBezTo>
                <a:cubicBezTo>
                  <a:pt x="717" y="96"/>
                  <a:pt x="717" y="96"/>
                  <a:pt x="717" y="96"/>
                </a:cubicBezTo>
                <a:cubicBezTo>
                  <a:pt x="717" y="96"/>
                  <a:pt x="717" y="96"/>
                  <a:pt x="717" y="96"/>
                </a:cubicBezTo>
                <a:cubicBezTo>
                  <a:pt x="718" y="97"/>
                  <a:pt x="718" y="97"/>
                  <a:pt x="718" y="97"/>
                </a:cubicBezTo>
                <a:cubicBezTo>
                  <a:pt x="718" y="97"/>
                  <a:pt x="718" y="97"/>
                  <a:pt x="718" y="97"/>
                </a:cubicBezTo>
                <a:cubicBezTo>
                  <a:pt x="718" y="97"/>
                  <a:pt x="718" y="98"/>
                  <a:pt x="718" y="98"/>
                </a:cubicBezTo>
                <a:cubicBezTo>
                  <a:pt x="718" y="98"/>
                  <a:pt x="718" y="98"/>
                  <a:pt x="718" y="98"/>
                </a:cubicBezTo>
                <a:cubicBezTo>
                  <a:pt x="719" y="98"/>
                  <a:pt x="719" y="98"/>
                  <a:pt x="719" y="98"/>
                </a:cubicBezTo>
                <a:cubicBezTo>
                  <a:pt x="719" y="98"/>
                  <a:pt x="719" y="98"/>
                  <a:pt x="719" y="98"/>
                </a:cubicBezTo>
                <a:cubicBezTo>
                  <a:pt x="719" y="99"/>
                  <a:pt x="720" y="99"/>
                  <a:pt x="720" y="99"/>
                </a:cubicBezTo>
                <a:cubicBezTo>
                  <a:pt x="720" y="99"/>
                  <a:pt x="720" y="99"/>
                  <a:pt x="720" y="99"/>
                </a:cubicBezTo>
                <a:cubicBezTo>
                  <a:pt x="720" y="100"/>
                  <a:pt x="720" y="100"/>
                  <a:pt x="721" y="100"/>
                </a:cubicBezTo>
                <a:cubicBezTo>
                  <a:pt x="721" y="100"/>
                  <a:pt x="721" y="100"/>
                  <a:pt x="721" y="100"/>
                </a:cubicBezTo>
                <a:cubicBezTo>
                  <a:pt x="721" y="100"/>
                  <a:pt x="721" y="100"/>
                  <a:pt x="721" y="100"/>
                </a:cubicBezTo>
                <a:cubicBezTo>
                  <a:pt x="721" y="100"/>
                  <a:pt x="721" y="100"/>
                  <a:pt x="721" y="100"/>
                </a:cubicBezTo>
                <a:cubicBezTo>
                  <a:pt x="721" y="100"/>
                  <a:pt x="721" y="100"/>
                  <a:pt x="722" y="100"/>
                </a:cubicBezTo>
                <a:cubicBezTo>
                  <a:pt x="722" y="100"/>
                  <a:pt x="722" y="100"/>
                  <a:pt x="722" y="100"/>
                </a:cubicBezTo>
                <a:cubicBezTo>
                  <a:pt x="722" y="101"/>
                  <a:pt x="722" y="101"/>
                  <a:pt x="722" y="101"/>
                </a:cubicBezTo>
                <a:cubicBezTo>
                  <a:pt x="722" y="101"/>
                  <a:pt x="722" y="101"/>
                  <a:pt x="722" y="101"/>
                </a:cubicBezTo>
                <a:cubicBezTo>
                  <a:pt x="722" y="101"/>
                  <a:pt x="722" y="101"/>
                  <a:pt x="723" y="101"/>
                </a:cubicBezTo>
                <a:cubicBezTo>
                  <a:pt x="723" y="101"/>
                  <a:pt x="723" y="101"/>
                  <a:pt x="723" y="101"/>
                </a:cubicBezTo>
                <a:cubicBezTo>
                  <a:pt x="723" y="101"/>
                  <a:pt x="723" y="101"/>
                  <a:pt x="723" y="101"/>
                </a:cubicBezTo>
                <a:cubicBezTo>
                  <a:pt x="723" y="101"/>
                  <a:pt x="723" y="101"/>
                  <a:pt x="723" y="101"/>
                </a:cubicBezTo>
                <a:cubicBezTo>
                  <a:pt x="724" y="102"/>
                  <a:pt x="724" y="102"/>
                  <a:pt x="724" y="102"/>
                </a:cubicBezTo>
                <a:cubicBezTo>
                  <a:pt x="724" y="102"/>
                  <a:pt x="724" y="102"/>
                  <a:pt x="724" y="102"/>
                </a:cubicBezTo>
                <a:cubicBezTo>
                  <a:pt x="725" y="102"/>
                  <a:pt x="725" y="102"/>
                  <a:pt x="725" y="102"/>
                </a:cubicBezTo>
                <a:cubicBezTo>
                  <a:pt x="725" y="102"/>
                  <a:pt x="725" y="102"/>
                  <a:pt x="725" y="102"/>
                </a:cubicBezTo>
                <a:cubicBezTo>
                  <a:pt x="725" y="102"/>
                  <a:pt x="725" y="102"/>
                  <a:pt x="725" y="102"/>
                </a:cubicBezTo>
                <a:cubicBezTo>
                  <a:pt x="726" y="103"/>
                  <a:pt x="726" y="102"/>
                  <a:pt x="727" y="103"/>
                </a:cubicBezTo>
                <a:cubicBezTo>
                  <a:pt x="727" y="102"/>
                  <a:pt x="727" y="102"/>
                  <a:pt x="727" y="102"/>
                </a:cubicBezTo>
                <a:cubicBezTo>
                  <a:pt x="727" y="103"/>
                  <a:pt x="727" y="103"/>
                  <a:pt x="727" y="103"/>
                </a:cubicBezTo>
                <a:cubicBezTo>
                  <a:pt x="727" y="103"/>
                  <a:pt x="728" y="103"/>
                  <a:pt x="728" y="103"/>
                </a:cubicBezTo>
                <a:cubicBezTo>
                  <a:pt x="729" y="103"/>
                  <a:pt x="729" y="103"/>
                  <a:pt x="729" y="103"/>
                </a:cubicBezTo>
                <a:cubicBezTo>
                  <a:pt x="731" y="103"/>
                  <a:pt x="733" y="103"/>
                  <a:pt x="735" y="103"/>
                </a:cubicBezTo>
                <a:cubicBezTo>
                  <a:pt x="736" y="103"/>
                  <a:pt x="736" y="103"/>
                  <a:pt x="736" y="103"/>
                </a:cubicBezTo>
                <a:cubicBezTo>
                  <a:pt x="737" y="103"/>
                  <a:pt x="737" y="103"/>
                  <a:pt x="738" y="103"/>
                </a:cubicBezTo>
                <a:cubicBezTo>
                  <a:pt x="738" y="102"/>
                  <a:pt x="738" y="102"/>
                  <a:pt x="738" y="102"/>
                </a:cubicBezTo>
                <a:cubicBezTo>
                  <a:pt x="738" y="103"/>
                  <a:pt x="738" y="103"/>
                  <a:pt x="738" y="103"/>
                </a:cubicBezTo>
                <a:cubicBezTo>
                  <a:pt x="738" y="102"/>
                  <a:pt x="739" y="102"/>
                  <a:pt x="739" y="102"/>
                </a:cubicBezTo>
                <a:cubicBezTo>
                  <a:pt x="739" y="102"/>
                  <a:pt x="739" y="102"/>
                  <a:pt x="739" y="102"/>
                </a:cubicBezTo>
                <a:cubicBezTo>
                  <a:pt x="739" y="102"/>
                  <a:pt x="739" y="102"/>
                  <a:pt x="739" y="102"/>
                </a:cubicBezTo>
                <a:cubicBezTo>
                  <a:pt x="740" y="102"/>
                  <a:pt x="740" y="102"/>
                  <a:pt x="740" y="102"/>
                </a:cubicBezTo>
                <a:cubicBezTo>
                  <a:pt x="740" y="102"/>
                  <a:pt x="740" y="102"/>
                  <a:pt x="740" y="102"/>
                </a:cubicBezTo>
                <a:cubicBezTo>
                  <a:pt x="741" y="102"/>
                  <a:pt x="741" y="102"/>
                  <a:pt x="741" y="102"/>
                </a:cubicBezTo>
                <a:cubicBezTo>
                  <a:pt x="741" y="102"/>
                  <a:pt x="741" y="102"/>
                  <a:pt x="741" y="102"/>
                </a:cubicBezTo>
                <a:cubicBezTo>
                  <a:pt x="741" y="101"/>
                  <a:pt x="742" y="101"/>
                  <a:pt x="742" y="101"/>
                </a:cubicBezTo>
                <a:cubicBezTo>
                  <a:pt x="742" y="101"/>
                  <a:pt x="742" y="101"/>
                  <a:pt x="742" y="101"/>
                </a:cubicBezTo>
                <a:cubicBezTo>
                  <a:pt x="742" y="101"/>
                  <a:pt x="742" y="101"/>
                  <a:pt x="742" y="100"/>
                </a:cubicBezTo>
                <a:cubicBezTo>
                  <a:pt x="742" y="98"/>
                  <a:pt x="742" y="95"/>
                  <a:pt x="742" y="92"/>
                </a:cubicBezTo>
                <a:cubicBezTo>
                  <a:pt x="742" y="92"/>
                  <a:pt x="742" y="92"/>
                  <a:pt x="742" y="92"/>
                </a:cubicBezTo>
                <a:cubicBezTo>
                  <a:pt x="742" y="92"/>
                  <a:pt x="742" y="92"/>
                  <a:pt x="742" y="92"/>
                </a:cubicBezTo>
                <a:cubicBezTo>
                  <a:pt x="742" y="92"/>
                  <a:pt x="741" y="92"/>
                  <a:pt x="741" y="92"/>
                </a:cubicBezTo>
                <a:cubicBezTo>
                  <a:pt x="741" y="92"/>
                  <a:pt x="741" y="92"/>
                  <a:pt x="741" y="92"/>
                </a:cubicBezTo>
                <a:cubicBezTo>
                  <a:pt x="741" y="92"/>
                  <a:pt x="741" y="92"/>
                  <a:pt x="740" y="93"/>
                </a:cubicBezTo>
                <a:cubicBezTo>
                  <a:pt x="740" y="93"/>
                  <a:pt x="740" y="93"/>
                  <a:pt x="740" y="93"/>
                </a:cubicBezTo>
                <a:cubicBezTo>
                  <a:pt x="740" y="93"/>
                  <a:pt x="740" y="93"/>
                  <a:pt x="740" y="93"/>
                </a:cubicBezTo>
                <a:cubicBezTo>
                  <a:pt x="740" y="93"/>
                  <a:pt x="740" y="93"/>
                  <a:pt x="740" y="93"/>
                </a:cubicBezTo>
                <a:cubicBezTo>
                  <a:pt x="739" y="93"/>
                  <a:pt x="739" y="93"/>
                  <a:pt x="739" y="93"/>
                </a:cubicBezTo>
                <a:cubicBezTo>
                  <a:pt x="739" y="93"/>
                  <a:pt x="739" y="93"/>
                  <a:pt x="739" y="93"/>
                </a:cubicBezTo>
                <a:cubicBezTo>
                  <a:pt x="738" y="94"/>
                  <a:pt x="738" y="93"/>
                  <a:pt x="737" y="94"/>
                </a:cubicBezTo>
                <a:cubicBezTo>
                  <a:pt x="737" y="94"/>
                  <a:pt x="737" y="94"/>
                  <a:pt x="737" y="94"/>
                </a:cubicBezTo>
                <a:cubicBezTo>
                  <a:pt x="736" y="94"/>
                  <a:pt x="735" y="94"/>
                  <a:pt x="733" y="94"/>
                </a:cubicBezTo>
                <a:cubicBezTo>
                  <a:pt x="733" y="94"/>
                  <a:pt x="733" y="94"/>
                  <a:pt x="733" y="93"/>
                </a:cubicBezTo>
                <a:cubicBezTo>
                  <a:pt x="732" y="93"/>
                  <a:pt x="732" y="93"/>
                  <a:pt x="731" y="93"/>
                </a:cubicBezTo>
                <a:cubicBezTo>
                  <a:pt x="731" y="93"/>
                  <a:pt x="731" y="93"/>
                  <a:pt x="731" y="93"/>
                </a:cubicBezTo>
                <a:cubicBezTo>
                  <a:pt x="731" y="93"/>
                  <a:pt x="731" y="93"/>
                  <a:pt x="731" y="93"/>
                </a:cubicBezTo>
                <a:cubicBezTo>
                  <a:pt x="731" y="93"/>
                  <a:pt x="731" y="93"/>
                  <a:pt x="730" y="93"/>
                </a:cubicBezTo>
                <a:cubicBezTo>
                  <a:pt x="730" y="93"/>
                  <a:pt x="730" y="93"/>
                  <a:pt x="730" y="93"/>
                </a:cubicBezTo>
                <a:cubicBezTo>
                  <a:pt x="730" y="93"/>
                  <a:pt x="730" y="93"/>
                  <a:pt x="730" y="93"/>
                </a:cubicBezTo>
                <a:cubicBezTo>
                  <a:pt x="730" y="93"/>
                  <a:pt x="730" y="93"/>
                  <a:pt x="730" y="92"/>
                </a:cubicBezTo>
                <a:cubicBezTo>
                  <a:pt x="730" y="92"/>
                  <a:pt x="730" y="92"/>
                  <a:pt x="730" y="92"/>
                </a:cubicBezTo>
                <a:cubicBezTo>
                  <a:pt x="729" y="92"/>
                  <a:pt x="729" y="92"/>
                  <a:pt x="729" y="92"/>
                </a:cubicBezTo>
                <a:cubicBezTo>
                  <a:pt x="729" y="92"/>
                  <a:pt x="729" y="92"/>
                  <a:pt x="729" y="92"/>
                </a:cubicBezTo>
                <a:cubicBezTo>
                  <a:pt x="729" y="92"/>
                  <a:pt x="729" y="92"/>
                  <a:pt x="729" y="92"/>
                </a:cubicBezTo>
                <a:cubicBezTo>
                  <a:pt x="729" y="92"/>
                  <a:pt x="729" y="92"/>
                  <a:pt x="729" y="92"/>
                </a:cubicBezTo>
                <a:cubicBezTo>
                  <a:pt x="728" y="92"/>
                  <a:pt x="728" y="92"/>
                  <a:pt x="728" y="91"/>
                </a:cubicBezTo>
                <a:cubicBezTo>
                  <a:pt x="728" y="91"/>
                  <a:pt x="728" y="91"/>
                  <a:pt x="728" y="91"/>
                </a:cubicBezTo>
                <a:cubicBezTo>
                  <a:pt x="728" y="91"/>
                  <a:pt x="728" y="91"/>
                  <a:pt x="728" y="91"/>
                </a:cubicBezTo>
                <a:cubicBezTo>
                  <a:pt x="728" y="91"/>
                  <a:pt x="728" y="91"/>
                  <a:pt x="728" y="91"/>
                </a:cubicBezTo>
                <a:cubicBezTo>
                  <a:pt x="728" y="91"/>
                  <a:pt x="727" y="90"/>
                  <a:pt x="727" y="90"/>
                </a:cubicBezTo>
                <a:cubicBezTo>
                  <a:pt x="727" y="90"/>
                  <a:pt x="727" y="90"/>
                  <a:pt x="727" y="90"/>
                </a:cubicBezTo>
                <a:cubicBezTo>
                  <a:pt x="727" y="90"/>
                  <a:pt x="727" y="90"/>
                  <a:pt x="727" y="89"/>
                </a:cubicBezTo>
                <a:cubicBezTo>
                  <a:pt x="727" y="89"/>
                  <a:pt x="727" y="89"/>
                  <a:pt x="727" y="89"/>
                </a:cubicBezTo>
                <a:cubicBezTo>
                  <a:pt x="727" y="89"/>
                  <a:pt x="727" y="89"/>
                  <a:pt x="726" y="89"/>
                </a:cubicBezTo>
                <a:cubicBezTo>
                  <a:pt x="726" y="89"/>
                  <a:pt x="726" y="89"/>
                  <a:pt x="726" y="89"/>
                </a:cubicBezTo>
                <a:cubicBezTo>
                  <a:pt x="726" y="88"/>
                  <a:pt x="726" y="88"/>
                  <a:pt x="726" y="88"/>
                </a:cubicBezTo>
                <a:cubicBezTo>
                  <a:pt x="726" y="88"/>
                  <a:pt x="726" y="88"/>
                  <a:pt x="726" y="88"/>
                </a:cubicBezTo>
                <a:cubicBezTo>
                  <a:pt x="726" y="87"/>
                  <a:pt x="726" y="87"/>
                  <a:pt x="726" y="87"/>
                </a:cubicBezTo>
                <a:cubicBezTo>
                  <a:pt x="726" y="87"/>
                  <a:pt x="726" y="87"/>
                  <a:pt x="726" y="86"/>
                </a:cubicBezTo>
                <a:cubicBezTo>
                  <a:pt x="726" y="86"/>
                  <a:pt x="726" y="86"/>
                  <a:pt x="726" y="86"/>
                </a:cubicBezTo>
                <a:cubicBezTo>
                  <a:pt x="725" y="85"/>
                  <a:pt x="726" y="84"/>
                  <a:pt x="725" y="83"/>
                </a:cubicBezTo>
                <a:cubicBezTo>
                  <a:pt x="725" y="82"/>
                  <a:pt x="725" y="81"/>
                  <a:pt x="725" y="80"/>
                </a:cubicBezTo>
                <a:cubicBezTo>
                  <a:pt x="725" y="68"/>
                  <a:pt x="725" y="57"/>
                  <a:pt x="725" y="45"/>
                </a:cubicBezTo>
                <a:cubicBezTo>
                  <a:pt x="725" y="45"/>
                  <a:pt x="725" y="44"/>
                  <a:pt x="725" y="44"/>
                </a:cubicBezTo>
                <a:cubicBezTo>
                  <a:pt x="726" y="43"/>
                  <a:pt x="727" y="44"/>
                  <a:pt x="727" y="44"/>
                </a:cubicBezTo>
                <a:cubicBezTo>
                  <a:pt x="732" y="44"/>
                  <a:pt x="736" y="44"/>
                  <a:pt x="741" y="44"/>
                </a:cubicBezTo>
                <a:cubicBezTo>
                  <a:pt x="742" y="44"/>
                  <a:pt x="742" y="43"/>
                  <a:pt x="742" y="42"/>
                </a:cubicBezTo>
                <a:cubicBezTo>
                  <a:pt x="742" y="40"/>
                  <a:pt x="742" y="38"/>
                  <a:pt x="742" y="36"/>
                </a:cubicBezTo>
                <a:cubicBezTo>
                  <a:pt x="742" y="35"/>
                  <a:pt x="742" y="34"/>
                  <a:pt x="741" y="34"/>
                </a:cubicBezTo>
                <a:cubicBezTo>
                  <a:pt x="736" y="34"/>
                  <a:pt x="732" y="34"/>
                  <a:pt x="728" y="34"/>
                </a:cubicBezTo>
                <a:cubicBezTo>
                  <a:pt x="727" y="34"/>
                  <a:pt x="726" y="34"/>
                  <a:pt x="725" y="34"/>
                </a:cubicBezTo>
                <a:cubicBezTo>
                  <a:pt x="725" y="34"/>
                  <a:pt x="725" y="34"/>
                  <a:pt x="725" y="34"/>
                </a:cubicBezTo>
                <a:cubicBezTo>
                  <a:pt x="725" y="27"/>
                  <a:pt x="725" y="21"/>
                  <a:pt x="725" y="15"/>
                </a:cubicBezTo>
                <a:cubicBezTo>
                  <a:pt x="725" y="14"/>
                  <a:pt x="725" y="14"/>
                  <a:pt x="725" y="14"/>
                </a:cubicBezTo>
                <a:cubicBezTo>
                  <a:pt x="725" y="15"/>
                  <a:pt x="725" y="15"/>
                  <a:pt x="725" y="15"/>
                </a:cubicBezTo>
                <a:cubicBezTo>
                  <a:pt x="725" y="15"/>
                  <a:pt x="725" y="15"/>
                  <a:pt x="725" y="15"/>
                </a:cubicBezTo>
                <a:cubicBezTo>
                  <a:pt x="724" y="15"/>
                  <a:pt x="724" y="15"/>
                  <a:pt x="724" y="15"/>
                </a:cubicBezTo>
                <a:cubicBezTo>
                  <a:pt x="724" y="15"/>
                  <a:pt x="724" y="15"/>
                  <a:pt x="724" y="15"/>
                </a:cubicBezTo>
                <a:cubicBezTo>
                  <a:pt x="723" y="15"/>
                  <a:pt x="723" y="15"/>
                  <a:pt x="723" y="15"/>
                </a:cubicBezTo>
                <a:cubicBezTo>
                  <a:pt x="723" y="15"/>
                  <a:pt x="723" y="15"/>
                  <a:pt x="723" y="15"/>
                </a:cubicBezTo>
                <a:cubicBezTo>
                  <a:pt x="723" y="15"/>
                  <a:pt x="723" y="15"/>
                  <a:pt x="723" y="15"/>
                </a:cubicBezTo>
                <a:cubicBezTo>
                  <a:pt x="722" y="15"/>
                  <a:pt x="722" y="15"/>
                  <a:pt x="722" y="15"/>
                </a:cubicBezTo>
                <a:cubicBezTo>
                  <a:pt x="722" y="15"/>
                  <a:pt x="722" y="15"/>
                  <a:pt x="722" y="16"/>
                </a:cubicBezTo>
                <a:cubicBezTo>
                  <a:pt x="722" y="16"/>
                  <a:pt x="721" y="16"/>
                  <a:pt x="721" y="16"/>
                </a:cubicBezTo>
                <a:cubicBezTo>
                  <a:pt x="721" y="16"/>
                  <a:pt x="721" y="16"/>
                  <a:pt x="721" y="16"/>
                </a:cubicBezTo>
                <a:cubicBezTo>
                  <a:pt x="720" y="16"/>
                  <a:pt x="720" y="16"/>
                  <a:pt x="720" y="16"/>
                </a:cubicBezTo>
                <a:cubicBezTo>
                  <a:pt x="720" y="16"/>
                  <a:pt x="720" y="16"/>
                  <a:pt x="719" y="16"/>
                </a:cubicBezTo>
                <a:cubicBezTo>
                  <a:pt x="719" y="16"/>
                  <a:pt x="719" y="16"/>
                  <a:pt x="719" y="16"/>
                </a:cubicBezTo>
                <a:cubicBezTo>
                  <a:pt x="719" y="17"/>
                  <a:pt x="718" y="16"/>
                  <a:pt x="718" y="17"/>
                </a:cubicBezTo>
                <a:cubicBezTo>
                  <a:pt x="718" y="17"/>
                  <a:pt x="718" y="17"/>
                  <a:pt x="718" y="17"/>
                </a:cubicBezTo>
                <a:cubicBezTo>
                  <a:pt x="718" y="17"/>
                  <a:pt x="717" y="17"/>
                  <a:pt x="717" y="17"/>
                </a:cubicBezTo>
                <a:cubicBezTo>
                  <a:pt x="717" y="17"/>
                  <a:pt x="717" y="17"/>
                  <a:pt x="717" y="17"/>
                </a:cubicBezTo>
                <a:cubicBezTo>
                  <a:pt x="717" y="17"/>
                  <a:pt x="716" y="17"/>
                  <a:pt x="716" y="17"/>
                </a:cubicBezTo>
                <a:cubicBezTo>
                  <a:pt x="716" y="17"/>
                  <a:pt x="716" y="17"/>
                  <a:pt x="716" y="17"/>
                </a:cubicBezTo>
                <a:cubicBezTo>
                  <a:pt x="716" y="18"/>
                  <a:pt x="715" y="17"/>
                  <a:pt x="715" y="18"/>
                </a:cubicBezTo>
                <a:cubicBezTo>
                  <a:pt x="715" y="18"/>
                  <a:pt x="715" y="18"/>
                  <a:pt x="715" y="18"/>
                </a:cubicBezTo>
                <a:cubicBezTo>
                  <a:pt x="714" y="18"/>
                  <a:pt x="714" y="19"/>
                  <a:pt x="714" y="20"/>
                </a:cubicBezTo>
                <a:cubicBezTo>
                  <a:pt x="714" y="24"/>
                  <a:pt x="714" y="28"/>
                  <a:pt x="714" y="33"/>
                </a:cubicBezTo>
                <a:cubicBezTo>
                  <a:pt x="714" y="34"/>
                  <a:pt x="714" y="34"/>
                  <a:pt x="713" y="34"/>
                </a:cubicBezTo>
                <a:cubicBezTo>
                  <a:pt x="710" y="34"/>
                  <a:pt x="707" y="34"/>
                  <a:pt x="704" y="34"/>
                </a:cubicBezTo>
                <a:cubicBezTo>
                  <a:pt x="703" y="34"/>
                  <a:pt x="703" y="34"/>
                  <a:pt x="703" y="36"/>
                </a:cubicBezTo>
                <a:cubicBezTo>
                  <a:pt x="703" y="38"/>
                  <a:pt x="703" y="40"/>
                  <a:pt x="703" y="42"/>
                </a:cubicBezTo>
                <a:cubicBezTo>
                  <a:pt x="703" y="43"/>
                  <a:pt x="703" y="44"/>
                  <a:pt x="705" y="44"/>
                </a:cubicBezTo>
                <a:cubicBezTo>
                  <a:pt x="708" y="44"/>
                  <a:pt x="711" y="43"/>
                  <a:pt x="714" y="44"/>
                </a:cubicBezTo>
                <a:cubicBezTo>
                  <a:pt x="714" y="44"/>
                  <a:pt x="714" y="44"/>
                  <a:pt x="714" y="44"/>
                </a:cubicBezTo>
                <a:cubicBezTo>
                  <a:pt x="715" y="44"/>
                  <a:pt x="714" y="45"/>
                  <a:pt x="714" y="46"/>
                </a:cubicBezTo>
                <a:cubicBezTo>
                  <a:pt x="714" y="59"/>
                  <a:pt x="714" y="72"/>
                  <a:pt x="714" y="85"/>
                </a:cubicBezTo>
                <a:cubicBezTo>
                  <a:pt x="714" y="86"/>
                  <a:pt x="714" y="87"/>
                  <a:pt x="715" y="87"/>
                </a:cubicBezTo>
                <a:cubicBezTo>
                  <a:pt x="715" y="87"/>
                  <a:pt x="715" y="88"/>
                  <a:pt x="715" y="88"/>
                </a:cubicBezTo>
                <a:cubicBezTo>
                  <a:pt x="715" y="88"/>
                  <a:pt x="715" y="89"/>
                  <a:pt x="715" y="90"/>
                </a:cubicBezTo>
                <a:cubicBezTo>
                  <a:pt x="715" y="90"/>
                  <a:pt x="715" y="90"/>
                  <a:pt x="715" y="90"/>
                </a:cubicBezTo>
                <a:cubicBezTo>
                  <a:pt x="715" y="90"/>
                  <a:pt x="715" y="91"/>
                  <a:pt x="715" y="91"/>
                </a:cubicBezTo>
                <a:close/>
                <a:moveTo>
                  <a:pt x="189" y="46"/>
                </a:moveTo>
                <a:cubicBezTo>
                  <a:pt x="189" y="44"/>
                  <a:pt x="189" y="42"/>
                  <a:pt x="189" y="39"/>
                </a:cubicBezTo>
                <a:cubicBezTo>
                  <a:pt x="189" y="36"/>
                  <a:pt x="189" y="36"/>
                  <a:pt x="186" y="35"/>
                </a:cubicBezTo>
                <a:cubicBezTo>
                  <a:pt x="179" y="32"/>
                  <a:pt x="173" y="32"/>
                  <a:pt x="166" y="33"/>
                </a:cubicBezTo>
                <a:cubicBezTo>
                  <a:pt x="155" y="35"/>
                  <a:pt x="146" y="42"/>
                  <a:pt x="142" y="52"/>
                </a:cubicBezTo>
                <a:cubicBezTo>
                  <a:pt x="137" y="62"/>
                  <a:pt x="137" y="72"/>
                  <a:pt x="140" y="82"/>
                </a:cubicBezTo>
                <a:cubicBezTo>
                  <a:pt x="143" y="91"/>
                  <a:pt x="150" y="98"/>
                  <a:pt x="159" y="101"/>
                </a:cubicBezTo>
                <a:cubicBezTo>
                  <a:pt x="165" y="103"/>
                  <a:pt x="170" y="104"/>
                  <a:pt x="176" y="103"/>
                </a:cubicBezTo>
                <a:cubicBezTo>
                  <a:pt x="180" y="102"/>
                  <a:pt x="184" y="101"/>
                  <a:pt x="187" y="99"/>
                </a:cubicBezTo>
                <a:cubicBezTo>
                  <a:pt x="188" y="99"/>
                  <a:pt x="189" y="98"/>
                  <a:pt x="189" y="97"/>
                </a:cubicBezTo>
                <a:cubicBezTo>
                  <a:pt x="189" y="94"/>
                  <a:pt x="189" y="92"/>
                  <a:pt x="189" y="90"/>
                </a:cubicBezTo>
                <a:cubicBezTo>
                  <a:pt x="189" y="89"/>
                  <a:pt x="189" y="89"/>
                  <a:pt x="188" y="88"/>
                </a:cubicBezTo>
                <a:cubicBezTo>
                  <a:pt x="188" y="89"/>
                  <a:pt x="188" y="89"/>
                  <a:pt x="187" y="89"/>
                </a:cubicBezTo>
                <a:cubicBezTo>
                  <a:pt x="182" y="93"/>
                  <a:pt x="176" y="94"/>
                  <a:pt x="170" y="94"/>
                </a:cubicBezTo>
                <a:cubicBezTo>
                  <a:pt x="162" y="93"/>
                  <a:pt x="156" y="89"/>
                  <a:pt x="152" y="82"/>
                </a:cubicBezTo>
                <a:cubicBezTo>
                  <a:pt x="148" y="72"/>
                  <a:pt x="148" y="63"/>
                  <a:pt x="153" y="54"/>
                </a:cubicBezTo>
                <a:cubicBezTo>
                  <a:pt x="156" y="47"/>
                  <a:pt x="162" y="43"/>
                  <a:pt x="169" y="42"/>
                </a:cubicBezTo>
                <a:cubicBezTo>
                  <a:pt x="176" y="41"/>
                  <a:pt x="182" y="43"/>
                  <a:pt x="187" y="46"/>
                </a:cubicBezTo>
                <a:cubicBezTo>
                  <a:pt x="187" y="46"/>
                  <a:pt x="188" y="47"/>
                  <a:pt x="189" y="47"/>
                </a:cubicBezTo>
                <a:cubicBezTo>
                  <a:pt x="189" y="47"/>
                  <a:pt x="189" y="47"/>
                  <a:pt x="189" y="46"/>
                </a:cubicBezTo>
                <a:close/>
                <a:moveTo>
                  <a:pt x="1487" y="28"/>
                </a:moveTo>
                <a:cubicBezTo>
                  <a:pt x="1487" y="28"/>
                  <a:pt x="1487" y="28"/>
                  <a:pt x="1487" y="28"/>
                </a:cubicBezTo>
                <a:cubicBezTo>
                  <a:pt x="1487" y="28"/>
                  <a:pt x="1487" y="28"/>
                  <a:pt x="1487" y="28"/>
                </a:cubicBezTo>
                <a:cubicBezTo>
                  <a:pt x="1487" y="28"/>
                  <a:pt x="1488" y="28"/>
                  <a:pt x="1488" y="28"/>
                </a:cubicBezTo>
                <a:cubicBezTo>
                  <a:pt x="1488" y="28"/>
                  <a:pt x="1488" y="28"/>
                  <a:pt x="1488" y="28"/>
                </a:cubicBezTo>
                <a:cubicBezTo>
                  <a:pt x="1488" y="28"/>
                  <a:pt x="1488" y="28"/>
                  <a:pt x="1488" y="27"/>
                </a:cubicBezTo>
                <a:cubicBezTo>
                  <a:pt x="1488" y="27"/>
                  <a:pt x="1488" y="27"/>
                  <a:pt x="1488" y="27"/>
                </a:cubicBezTo>
                <a:cubicBezTo>
                  <a:pt x="1489" y="27"/>
                  <a:pt x="1489" y="27"/>
                  <a:pt x="1489" y="27"/>
                </a:cubicBezTo>
                <a:cubicBezTo>
                  <a:pt x="1489" y="27"/>
                  <a:pt x="1489" y="27"/>
                  <a:pt x="1489" y="27"/>
                </a:cubicBezTo>
                <a:cubicBezTo>
                  <a:pt x="1489" y="27"/>
                  <a:pt x="1490" y="27"/>
                  <a:pt x="1490" y="27"/>
                </a:cubicBezTo>
                <a:cubicBezTo>
                  <a:pt x="1490" y="27"/>
                  <a:pt x="1490" y="27"/>
                  <a:pt x="1490" y="27"/>
                </a:cubicBezTo>
                <a:cubicBezTo>
                  <a:pt x="1490" y="26"/>
                  <a:pt x="1490" y="27"/>
                  <a:pt x="1490" y="26"/>
                </a:cubicBezTo>
                <a:cubicBezTo>
                  <a:pt x="1490" y="26"/>
                  <a:pt x="1490" y="26"/>
                  <a:pt x="1490" y="26"/>
                </a:cubicBezTo>
                <a:cubicBezTo>
                  <a:pt x="1491" y="26"/>
                  <a:pt x="1491" y="26"/>
                  <a:pt x="1491" y="26"/>
                </a:cubicBezTo>
                <a:cubicBezTo>
                  <a:pt x="1491" y="26"/>
                  <a:pt x="1491" y="26"/>
                  <a:pt x="1491" y="26"/>
                </a:cubicBezTo>
                <a:cubicBezTo>
                  <a:pt x="1491" y="26"/>
                  <a:pt x="1491" y="26"/>
                  <a:pt x="1491" y="26"/>
                </a:cubicBezTo>
                <a:cubicBezTo>
                  <a:pt x="1491" y="26"/>
                  <a:pt x="1491" y="26"/>
                  <a:pt x="1492" y="26"/>
                </a:cubicBezTo>
                <a:cubicBezTo>
                  <a:pt x="1492" y="26"/>
                  <a:pt x="1492" y="26"/>
                  <a:pt x="1492" y="26"/>
                </a:cubicBezTo>
                <a:cubicBezTo>
                  <a:pt x="1492" y="25"/>
                  <a:pt x="1492" y="25"/>
                  <a:pt x="1492" y="25"/>
                </a:cubicBezTo>
                <a:cubicBezTo>
                  <a:pt x="1492" y="25"/>
                  <a:pt x="1492" y="25"/>
                  <a:pt x="1492" y="25"/>
                </a:cubicBezTo>
                <a:cubicBezTo>
                  <a:pt x="1492" y="25"/>
                  <a:pt x="1493" y="25"/>
                  <a:pt x="1493" y="25"/>
                </a:cubicBezTo>
                <a:cubicBezTo>
                  <a:pt x="1493" y="25"/>
                  <a:pt x="1493" y="25"/>
                  <a:pt x="1493" y="25"/>
                </a:cubicBezTo>
                <a:cubicBezTo>
                  <a:pt x="1493" y="25"/>
                  <a:pt x="1493" y="25"/>
                  <a:pt x="1494" y="24"/>
                </a:cubicBezTo>
                <a:cubicBezTo>
                  <a:pt x="1494" y="25"/>
                  <a:pt x="1494" y="25"/>
                  <a:pt x="1494" y="25"/>
                </a:cubicBezTo>
                <a:cubicBezTo>
                  <a:pt x="1494" y="25"/>
                  <a:pt x="1494" y="24"/>
                  <a:pt x="1494" y="24"/>
                </a:cubicBezTo>
                <a:cubicBezTo>
                  <a:pt x="1494" y="24"/>
                  <a:pt x="1494" y="24"/>
                  <a:pt x="1494" y="24"/>
                </a:cubicBezTo>
                <a:cubicBezTo>
                  <a:pt x="1494" y="24"/>
                  <a:pt x="1495" y="24"/>
                  <a:pt x="1495" y="24"/>
                </a:cubicBezTo>
                <a:cubicBezTo>
                  <a:pt x="1495" y="24"/>
                  <a:pt x="1495" y="24"/>
                  <a:pt x="1495" y="24"/>
                </a:cubicBezTo>
                <a:cubicBezTo>
                  <a:pt x="1495" y="24"/>
                  <a:pt x="1495" y="24"/>
                  <a:pt x="1495" y="24"/>
                </a:cubicBezTo>
                <a:cubicBezTo>
                  <a:pt x="1495" y="24"/>
                  <a:pt x="1495" y="24"/>
                  <a:pt x="1495" y="24"/>
                </a:cubicBezTo>
                <a:cubicBezTo>
                  <a:pt x="1495" y="23"/>
                  <a:pt x="1496" y="23"/>
                  <a:pt x="1496" y="23"/>
                </a:cubicBezTo>
                <a:cubicBezTo>
                  <a:pt x="1496" y="23"/>
                  <a:pt x="1496" y="23"/>
                  <a:pt x="1496" y="23"/>
                </a:cubicBezTo>
                <a:cubicBezTo>
                  <a:pt x="1496" y="23"/>
                  <a:pt x="1496" y="23"/>
                  <a:pt x="1496" y="23"/>
                </a:cubicBezTo>
                <a:cubicBezTo>
                  <a:pt x="1496" y="23"/>
                  <a:pt x="1496" y="23"/>
                  <a:pt x="1496" y="23"/>
                </a:cubicBezTo>
                <a:cubicBezTo>
                  <a:pt x="1496" y="23"/>
                  <a:pt x="1497" y="23"/>
                  <a:pt x="1497" y="22"/>
                </a:cubicBezTo>
                <a:cubicBezTo>
                  <a:pt x="1497" y="22"/>
                  <a:pt x="1497" y="22"/>
                  <a:pt x="1497" y="22"/>
                </a:cubicBezTo>
                <a:cubicBezTo>
                  <a:pt x="1497" y="22"/>
                  <a:pt x="1497" y="22"/>
                  <a:pt x="1497" y="22"/>
                </a:cubicBezTo>
                <a:cubicBezTo>
                  <a:pt x="1497" y="22"/>
                  <a:pt x="1497" y="22"/>
                  <a:pt x="1497" y="22"/>
                </a:cubicBezTo>
                <a:cubicBezTo>
                  <a:pt x="1497" y="22"/>
                  <a:pt x="1498" y="22"/>
                  <a:pt x="1498" y="21"/>
                </a:cubicBezTo>
                <a:cubicBezTo>
                  <a:pt x="1498" y="21"/>
                  <a:pt x="1498" y="21"/>
                  <a:pt x="1498" y="21"/>
                </a:cubicBezTo>
                <a:cubicBezTo>
                  <a:pt x="1498" y="21"/>
                  <a:pt x="1498" y="21"/>
                  <a:pt x="1498" y="21"/>
                </a:cubicBezTo>
                <a:cubicBezTo>
                  <a:pt x="1498" y="21"/>
                  <a:pt x="1498" y="21"/>
                  <a:pt x="1498" y="21"/>
                </a:cubicBezTo>
                <a:cubicBezTo>
                  <a:pt x="1500" y="21"/>
                  <a:pt x="1499" y="22"/>
                  <a:pt x="1499" y="23"/>
                </a:cubicBezTo>
                <a:cubicBezTo>
                  <a:pt x="1499" y="48"/>
                  <a:pt x="1499" y="74"/>
                  <a:pt x="1499" y="99"/>
                </a:cubicBezTo>
                <a:cubicBezTo>
                  <a:pt x="1499" y="100"/>
                  <a:pt x="1499" y="100"/>
                  <a:pt x="1499" y="100"/>
                </a:cubicBezTo>
                <a:cubicBezTo>
                  <a:pt x="1499" y="101"/>
                  <a:pt x="1499" y="102"/>
                  <a:pt x="1500" y="102"/>
                </a:cubicBezTo>
                <a:cubicBezTo>
                  <a:pt x="1503" y="102"/>
                  <a:pt x="1505" y="102"/>
                  <a:pt x="1508" y="102"/>
                </a:cubicBezTo>
                <a:cubicBezTo>
                  <a:pt x="1508" y="102"/>
                  <a:pt x="1509" y="102"/>
                  <a:pt x="1510" y="101"/>
                </a:cubicBezTo>
                <a:cubicBezTo>
                  <a:pt x="1510" y="101"/>
                  <a:pt x="1510" y="101"/>
                  <a:pt x="1510" y="101"/>
                </a:cubicBezTo>
                <a:cubicBezTo>
                  <a:pt x="1510" y="101"/>
                  <a:pt x="1510" y="100"/>
                  <a:pt x="1510" y="100"/>
                </a:cubicBezTo>
                <a:cubicBezTo>
                  <a:pt x="1510" y="69"/>
                  <a:pt x="1510" y="38"/>
                  <a:pt x="1510" y="7"/>
                </a:cubicBezTo>
                <a:cubicBezTo>
                  <a:pt x="1510" y="7"/>
                  <a:pt x="1510" y="6"/>
                  <a:pt x="1510" y="6"/>
                </a:cubicBezTo>
                <a:cubicBezTo>
                  <a:pt x="1510" y="6"/>
                  <a:pt x="1510" y="5"/>
                  <a:pt x="1509" y="5"/>
                </a:cubicBezTo>
                <a:cubicBezTo>
                  <a:pt x="1508" y="5"/>
                  <a:pt x="1507" y="5"/>
                  <a:pt x="1505" y="5"/>
                </a:cubicBezTo>
                <a:cubicBezTo>
                  <a:pt x="1506" y="5"/>
                  <a:pt x="1506" y="5"/>
                  <a:pt x="1506" y="5"/>
                </a:cubicBezTo>
                <a:cubicBezTo>
                  <a:pt x="1505" y="6"/>
                  <a:pt x="1505" y="6"/>
                  <a:pt x="1505" y="6"/>
                </a:cubicBezTo>
                <a:cubicBezTo>
                  <a:pt x="1505" y="6"/>
                  <a:pt x="1505" y="6"/>
                  <a:pt x="1505" y="6"/>
                </a:cubicBezTo>
                <a:cubicBezTo>
                  <a:pt x="1505" y="6"/>
                  <a:pt x="1505" y="6"/>
                  <a:pt x="1505" y="6"/>
                </a:cubicBezTo>
                <a:cubicBezTo>
                  <a:pt x="1505" y="6"/>
                  <a:pt x="1505" y="6"/>
                  <a:pt x="1505" y="6"/>
                </a:cubicBezTo>
                <a:cubicBezTo>
                  <a:pt x="1505" y="6"/>
                  <a:pt x="1504" y="6"/>
                  <a:pt x="1504" y="7"/>
                </a:cubicBezTo>
                <a:cubicBezTo>
                  <a:pt x="1504" y="7"/>
                  <a:pt x="1504" y="7"/>
                  <a:pt x="1504" y="7"/>
                </a:cubicBezTo>
                <a:cubicBezTo>
                  <a:pt x="1504" y="7"/>
                  <a:pt x="1504" y="7"/>
                  <a:pt x="1504" y="7"/>
                </a:cubicBezTo>
                <a:cubicBezTo>
                  <a:pt x="1504" y="7"/>
                  <a:pt x="1504" y="7"/>
                  <a:pt x="1504" y="7"/>
                </a:cubicBezTo>
                <a:cubicBezTo>
                  <a:pt x="1504" y="7"/>
                  <a:pt x="1504" y="7"/>
                  <a:pt x="1503" y="7"/>
                </a:cubicBezTo>
                <a:cubicBezTo>
                  <a:pt x="1503" y="7"/>
                  <a:pt x="1503" y="7"/>
                  <a:pt x="1503" y="7"/>
                </a:cubicBezTo>
                <a:cubicBezTo>
                  <a:pt x="1503" y="7"/>
                  <a:pt x="1503" y="7"/>
                  <a:pt x="1503" y="7"/>
                </a:cubicBezTo>
                <a:cubicBezTo>
                  <a:pt x="1503" y="8"/>
                  <a:pt x="1503" y="8"/>
                  <a:pt x="1503" y="8"/>
                </a:cubicBezTo>
                <a:cubicBezTo>
                  <a:pt x="1503" y="8"/>
                  <a:pt x="1502" y="8"/>
                  <a:pt x="1502" y="8"/>
                </a:cubicBezTo>
                <a:cubicBezTo>
                  <a:pt x="1502" y="8"/>
                  <a:pt x="1502" y="8"/>
                  <a:pt x="1502" y="8"/>
                </a:cubicBezTo>
                <a:cubicBezTo>
                  <a:pt x="1502" y="8"/>
                  <a:pt x="1502" y="8"/>
                  <a:pt x="1502" y="8"/>
                </a:cubicBezTo>
                <a:cubicBezTo>
                  <a:pt x="1502" y="8"/>
                  <a:pt x="1502" y="8"/>
                  <a:pt x="1502" y="8"/>
                </a:cubicBezTo>
                <a:cubicBezTo>
                  <a:pt x="1502" y="8"/>
                  <a:pt x="1501" y="8"/>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0" y="10"/>
                  <a:pt x="1500" y="9"/>
                  <a:pt x="1500" y="10"/>
                </a:cubicBezTo>
                <a:cubicBezTo>
                  <a:pt x="1500" y="10"/>
                  <a:pt x="1500" y="10"/>
                  <a:pt x="1500" y="10"/>
                </a:cubicBezTo>
                <a:cubicBezTo>
                  <a:pt x="1500" y="10"/>
                  <a:pt x="1500" y="10"/>
                  <a:pt x="1500" y="10"/>
                </a:cubicBezTo>
                <a:cubicBezTo>
                  <a:pt x="1500" y="10"/>
                  <a:pt x="1500" y="10"/>
                  <a:pt x="1500" y="10"/>
                </a:cubicBezTo>
                <a:cubicBezTo>
                  <a:pt x="1499" y="10"/>
                  <a:pt x="1499" y="10"/>
                  <a:pt x="1499" y="10"/>
                </a:cubicBezTo>
                <a:cubicBezTo>
                  <a:pt x="1499" y="10"/>
                  <a:pt x="1499" y="10"/>
                  <a:pt x="1499" y="10"/>
                </a:cubicBezTo>
                <a:cubicBezTo>
                  <a:pt x="1499" y="11"/>
                  <a:pt x="1498" y="10"/>
                  <a:pt x="1498" y="11"/>
                </a:cubicBezTo>
                <a:cubicBezTo>
                  <a:pt x="1498" y="11"/>
                  <a:pt x="1498" y="11"/>
                  <a:pt x="1498" y="11"/>
                </a:cubicBezTo>
                <a:cubicBezTo>
                  <a:pt x="1498" y="11"/>
                  <a:pt x="1498" y="11"/>
                  <a:pt x="1498" y="11"/>
                </a:cubicBezTo>
                <a:cubicBezTo>
                  <a:pt x="1498" y="11"/>
                  <a:pt x="1498" y="11"/>
                  <a:pt x="1498" y="11"/>
                </a:cubicBezTo>
                <a:cubicBezTo>
                  <a:pt x="1498" y="11"/>
                  <a:pt x="1497" y="11"/>
                  <a:pt x="1497" y="11"/>
                </a:cubicBezTo>
                <a:cubicBezTo>
                  <a:pt x="1497" y="11"/>
                  <a:pt x="1497" y="11"/>
                  <a:pt x="1497" y="11"/>
                </a:cubicBezTo>
                <a:cubicBezTo>
                  <a:pt x="1497" y="11"/>
                  <a:pt x="1497" y="12"/>
                  <a:pt x="1497" y="12"/>
                </a:cubicBezTo>
                <a:cubicBezTo>
                  <a:pt x="1497" y="12"/>
                  <a:pt x="1497" y="12"/>
                  <a:pt x="1497" y="12"/>
                </a:cubicBezTo>
                <a:cubicBezTo>
                  <a:pt x="1497" y="12"/>
                  <a:pt x="1496" y="12"/>
                  <a:pt x="1496" y="12"/>
                </a:cubicBezTo>
                <a:cubicBezTo>
                  <a:pt x="1496" y="12"/>
                  <a:pt x="1496" y="12"/>
                  <a:pt x="1496" y="12"/>
                </a:cubicBezTo>
                <a:cubicBezTo>
                  <a:pt x="1496" y="12"/>
                  <a:pt x="1496" y="12"/>
                  <a:pt x="1495" y="12"/>
                </a:cubicBezTo>
                <a:cubicBezTo>
                  <a:pt x="1495" y="12"/>
                  <a:pt x="1495" y="12"/>
                  <a:pt x="1495" y="12"/>
                </a:cubicBezTo>
                <a:cubicBezTo>
                  <a:pt x="1495" y="13"/>
                  <a:pt x="1495" y="13"/>
                  <a:pt x="1495" y="13"/>
                </a:cubicBezTo>
                <a:cubicBezTo>
                  <a:pt x="1495" y="13"/>
                  <a:pt x="1495" y="13"/>
                  <a:pt x="1495" y="13"/>
                </a:cubicBezTo>
                <a:cubicBezTo>
                  <a:pt x="1495" y="13"/>
                  <a:pt x="1494" y="13"/>
                  <a:pt x="1494" y="13"/>
                </a:cubicBezTo>
                <a:cubicBezTo>
                  <a:pt x="1494" y="13"/>
                  <a:pt x="1494" y="13"/>
                  <a:pt x="1494" y="13"/>
                </a:cubicBezTo>
                <a:cubicBezTo>
                  <a:pt x="1494" y="13"/>
                  <a:pt x="1494" y="13"/>
                  <a:pt x="1494" y="13"/>
                </a:cubicBezTo>
                <a:cubicBezTo>
                  <a:pt x="1494" y="13"/>
                  <a:pt x="1494" y="13"/>
                  <a:pt x="1494" y="13"/>
                </a:cubicBezTo>
                <a:cubicBezTo>
                  <a:pt x="1493" y="14"/>
                  <a:pt x="1493" y="14"/>
                  <a:pt x="1493" y="14"/>
                </a:cubicBezTo>
                <a:cubicBezTo>
                  <a:pt x="1493" y="14"/>
                  <a:pt x="1493" y="14"/>
                  <a:pt x="1493" y="14"/>
                </a:cubicBezTo>
                <a:cubicBezTo>
                  <a:pt x="1493" y="14"/>
                  <a:pt x="1492" y="14"/>
                  <a:pt x="1492" y="14"/>
                </a:cubicBezTo>
                <a:cubicBezTo>
                  <a:pt x="1492" y="14"/>
                  <a:pt x="1492" y="14"/>
                  <a:pt x="1492" y="14"/>
                </a:cubicBezTo>
                <a:cubicBezTo>
                  <a:pt x="1492" y="14"/>
                  <a:pt x="1492" y="14"/>
                  <a:pt x="1492" y="15"/>
                </a:cubicBezTo>
                <a:cubicBezTo>
                  <a:pt x="1492" y="15"/>
                  <a:pt x="1492" y="15"/>
                  <a:pt x="1492" y="15"/>
                </a:cubicBezTo>
                <a:cubicBezTo>
                  <a:pt x="1491" y="15"/>
                  <a:pt x="1491" y="15"/>
                  <a:pt x="1491" y="15"/>
                </a:cubicBezTo>
                <a:cubicBezTo>
                  <a:pt x="1491" y="15"/>
                  <a:pt x="1491" y="15"/>
                  <a:pt x="1491" y="15"/>
                </a:cubicBezTo>
                <a:cubicBezTo>
                  <a:pt x="1491" y="15"/>
                  <a:pt x="1490" y="15"/>
                  <a:pt x="1490" y="15"/>
                </a:cubicBezTo>
                <a:cubicBezTo>
                  <a:pt x="1490" y="15"/>
                  <a:pt x="1490" y="15"/>
                  <a:pt x="1490" y="15"/>
                </a:cubicBezTo>
                <a:cubicBezTo>
                  <a:pt x="1490" y="15"/>
                  <a:pt x="1490" y="15"/>
                  <a:pt x="1489" y="16"/>
                </a:cubicBezTo>
                <a:cubicBezTo>
                  <a:pt x="1490" y="16"/>
                  <a:pt x="1490" y="16"/>
                  <a:pt x="1490" y="16"/>
                </a:cubicBezTo>
                <a:cubicBezTo>
                  <a:pt x="1489" y="16"/>
                  <a:pt x="1489" y="16"/>
                  <a:pt x="1489" y="16"/>
                </a:cubicBezTo>
                <a:cubicBezTo>
                  <a:pt x="1489" y="16"/>
                  <a:pt x="1489" y="16"/>
                  <a:pt x="1489" y="16"/>
                </a:cubicBezTo>
                <a:cubicBezTo>
                  <a:pt x="1489" y="16"/>
                  <a:pt x="1488" y="16"/>
                  <a:pt x="1488" y="16"/>
                </a:cubicBezTo>
                <a:cubicBezTo>
                  <a:pt x="1488" y="16"/>
                  <a:pt x="1488" y="16"/>
                  <a:pt x="1488" y="16"/>
                </a:cubicBezTo>
                <a:cubicBezTo>
                  <a:pt x="1488" y="16"/>
                  <a:pt x="1488" y="16"/>
                  <a:pt x="1487" y="17"/>
                </a:cubicBezTo>
                <a:cubicBezTo>
                  <a:pt x="1487" y="17"/>
                  <a:pt x="1487" y="17"/>
                  <a:pt x="1487" y="17"/>
                </a:cubicBezTo>
                <a:cubicBezTo>
                  <a:pt x="1487" y="17"/>
                  <a:pt x="1487" y="17"/>
                  <a:pt x="1487" y="17"/>
                </a:cubicBezTo>
                <a:cubicBezTo>
                  <a:pt x="1487" y="17"/>
                  <a:pt x="1487" y="17"/>
                  <a:pt x="1487" y="17"/>
                </a:cubicBezTo>
                <a:cubicBezTo>
                  <a:pt x="1486" y="17"/>
                  <a:pt x="1486" y="17"/>
                  <a:pt x="1486" y="17"/>
                </a:cubicBezTo>
                <a:cubicBezTo>
                  <a:pt x="1486" y="17"/>
                  <a:pt x="1486" y="17"/>
                  <a:pt x="1486" y="17"/>
                </a:cubicBezTo>
                <a:cubicBezTo>
                  <a:pt x="1486" y="17"/>
                  <a:pt x="1486" y="17"/>
                  <a:pt x="1486" y="17"/>
                </a:cubicBezTo>
                <a:cubicBezTo>
                  <a:pt x="1486" y="17"/>
                  <a:pt x="1485" y="17"/>
                  <a:pt x="1485" y="18"/>
                </a:cubicBezTo>
                <a:cubicBezTo>
                  <a:pt x="1485" y="18"/>
                  <a:pt x="1485" y="18"/>
                  <a:pt x="1485" y="18"/>
                </a:cubicBezTo>
                <a:cubicBezTo>
                  <a:pt x="1485" y="18"/>
                  <a:pt x="1484" y="18"/>
                  <a:pt x="1484" y="18"/>
                </a:cubicBezTo>
                <a:cubicBezTo>
                  <a:pt x="1484" y="18"/>
                  <a:pt x="1484" y="18"/>
                  <a:pt x="1484" y="18"/>
                </a:cubicBezTo>
                <a:cubicBezTo>
                  <a:pt x="1484" y="18"/>
                  <a:pt x="1484" y="18"/>
                  <a:pt x="1484" y="18"/>
                </a:cubicBezTo>
                <a:cubicBezTo>
                  <a:pt x="1483" y="18"/>
                  <a:pt x="1483" y="18"/>
                  <a:pt x="1483" y="18"/>
                </a:cubicBezTo>
                <a:cubicBezTo>
                  <a:pt x="1483" y="18"/>
                  <a:pt x="1483" y="18"/>
                  <a:pt x="1482" y="19"/>
                </a:cubicBezTo>
                <a:cubicBezTo>
                  <a:pt x="1482" y="19"/>
                  <a:pt x="1482" y="19"/>
                  <a:pt x="1482" y="19"/>
                </a:cubicBezTo>
                <a:cubicBezTo>
                  <a:pt x="1482" y="19"/>
                  <a:pt x="1482" y="19"/>
                  <a:pt x="1481" y="19"/>
                </a:cubicBezTo>
                <a:cubicBezTo>
                  <a:pt x="1481" y="19"/>
                  <a:pt x="1481" y="19"/>
                  <a:pt x="1481" y="19"/>
                </a:cubicBezTo>
                <a:cubicBezTo>
                  <a:pt x="1481" y="19"/>
                  <a:pt x="1481" y="19"/>
                  <a:pt x="1480" y="19"/>
                </a:cubicBezTo>
                <a:cubicBezTo>
                  <a:pt x="1480" y="19"/>
                  <a:pt x="1480" y="19"/>
                  <a:pt x="1480" y="19"/>
                </a:cubicBezTo>
                <a:cubicBezTo>
                  <a:pt x="1480" y="20"/>
                  <a:pt x="1480" y="19"/>
                  <a:pt x="1479" y="20"/>
                </a:cubicBezTo>
                <a:cubicBezTo>
                  <a:pt x="1479" y="20"/>
                  <a:pt x="1479" y="20"/>
                  <a:pt x="1479" y="20"/>
                </a:cubicBezTo>
                <a:cubicBezTo>
                  <a:pt x="1479" y="20"/>
                  <a:pt x="1479" y="20"/>
                  <a:pt x="1478" y="20"/>
                </a:cubicBezTo>
                <a:cubicBezTo>
                  <a:pt x="1478" y="20"/>
                  <a:pt x="1478" y="20"/>
                  <a:pt x="1478" y="20"/>
                </a:cubicBezTo>
                <a:cubicBezTo>
                  <a:pt x="1478" y="20"/>
                  <a:pt x="1477" y="20"/>
                  <a:pt x="1477" y="21"/>
                </a:cubicBezTo>
                <a:cubicBezTo>
                  <a:pt x="1477" y="24"/>
                  <a:pt x="1477" y="28"/>
                  <a:pt x="1477" y="31"/>
                </a:cubicBezTo>
                <a:cubicBezTo>
                  <a:pt x="1478" y="32"/>
                  <a:pt x="1478" y="31"/>
                  <a:pt x="1479" y="31"/>
                </a:cubicBezTo>
                <a:cubicBezTo>
                  <a:pt x="1479" y="31"/>
                  <a:pt x="1479" y="31"/>
                  <a:pt x="1479" y="31"/>
                </a:cubicBezTo>
                <a:cubicBezTo>
                  <a:pt x="1479" y="31"/>
                  <a:pt x="1479" y="31"/>
                  <a:pt x="1480" y="31"/>
                </a:cubicBezTo>
                <a:cubicBezTo>
                  <a:pt x="1480" y="31"/>
                  <a:pt x="1480" y="31"/>
                  <a:pt x="1480" y="31"/>
                </a:cubicBezTo>
                <a:cubicBezTo>
                  <a:pt x="1480" y="31"/>
                  <a:pt x="1480" y="31"/>
                  <a:pt x="1480" y="31"/>
                </a:cubicBezTo>
                <a:cubicBezTo>
                  <a:pt x="1480" y="31"/>
                  <a:pt x="1481" y="31"/>
                  <a:pt x="1481" y="31"/>
                </a:cubicBezTo>
                <a:cubicBezTo>
                  <a:pt x="1481" y="30"/>
                  <a:pt x="1481" y="30"/>
                  <a:pt x="1481" y="30"/>
                </a:cubicBezTo>
                <a:cubicBezTo>
                  <a:pt x="1481" y="30"/>
                  <a:pt x="1481" y="30"/>
                  <a:pt x="1481" y="30"/>
                </a:cubicBezTo>
                <a:cubicBezTo>
                  <a:pt x="1481" y="30"/>
                  <a:pt x="1482" y="30"/>
                  <a:pt x="1482" y="30"/>
                </a:cubicBezTo>
                <a:cubicBezTo>
                  <a:pt x="1482" y="30"/>
                  <a:pt x="1482" y="30"/>
                  <a:pt x="1482" y="30"/>
                </a:cubicBezTo>
                <a:cubicBezTo>
                  <a:pt x="1482" y="30"/>
                  <a:pt x="1483" y="30"/>
                  <a:pt x="1483" y="30"/>
                </a:cubicBezTo>
                <a:cubicBezTo>
                  <a:pt x="1483" y="30"/>
                  <a:pt x="1483" y="30"/>
                  <a:pt x="1483" y="30"/>
                </a:cubicBezTo>
                <a:cubicBezTo>
                  <a:pt x="1483" y="30"/>
                  <a:pt x="1483" y="30"/>
                  <a:pt x="1484" y="29"/>
                </a:cubicBezTo>
                <a:cubicBezTo>
                  <a:pt x="1484" y="29"/>
                  <a:pt x="1484" y="29"/>
                  <a:pt x="1484" y="29"/>
                </a:cubicBezTo>
                <a:cubicBezTo>
                  <a:pt x="1484" y="29"/>
                  <a:pt x="1484" y="29"/>
                  <a:pt x="1484" y="29"/>
                </a:cubicBezTo>
                <a:cubicBezTo>
                  <a:pt x="1484" y="29"/>
                  <a:pt x="1484" y="29"/>
                  <a:pt x="1485" y="29"/>
                </a:cubicBezTo>
                <a:cubicBezTo>
                  <a:pt x="1485" y="29"/>
                  <a:pt x="1485" y="29"/>
                  <a:pt x="1485" y="29"/>
                </a:cubicBezTo>
                <a:cubicBezTo>
                  <a:pt x="1485" y="29"/>
                  <a:pt x="1485" y="29"/>
                  <a:pt x="1485" y="29"/>
                </a:cubicBezTo>
                <a:cubicBezTo>
                  <a:pt x="1485" y="29"/>
                  <a:pt x="1485" y="29"/>
                  <a:pt x="1485" y="29"/>
                </a:cubicBezTo>
                <a:cubicBezTo>
                  <a:pt x="1485" y="29"/>
                  <a:pt x="1486" y="29"/>
                  <a:pt x="1486" y="28"/>
                </a:cubicBezTo>
                <a:cubicBezTo>
                  <a:pt x="1486" y="28"/>
                  <a:pt x="1486" y="28"/>
                  <a:pt x="1486" y="28"/>
                </a:cubicBezTo>
                <a:cubicBezTo>
                  <a:pt x="1486" y="28"/>
                  <a:pt x="1486" y="28"/>
                  <a:pt x="1486" y="28"/>
                </a:cubicBezTo>
                <a:cubicBezTo>
                  <a:pt x="1486" y="28"/>
                  <a:pt x="1487" y="28"/>
                  <a:pt x="1487" y="28"/>
                </a:cubicBezTo>
                <a:close/>
                <a:moveTo>
                  <a:pt x="211" y="46"/>
                </a:moveTo>
                <a:cubicBezTo>
                  <a:pt x="211" y="42"/>
                  <a:pt x="211" y="39"/>
                  <a:pt x="211" y="36"/>
                </a:cubicBezTo>
                <a:cubicBezTo>
                  <a:pt x="211" y="34"/>
                  <a:pt x="211" y="34"/>
                  <a:pt x="210" y="34"/>
                </a:cubicBezTo>
                <a:cubicBezTo>
                  <a:pt x="208" y="34"/>
                  <a:pt x="205" y="34"/>
                  <a:pt x="203" y="34"/>
                </a:cubicBezTo>
                <a:cubicBezTo>
                  <a:pt x="200" y="34"/>
                  <a:pt x="201" y="34"/>
                  <a:pt x="201" y="36"/>
                </a:cubicBezTo>
                <a:cubicBezTo>
                  <a:pt x="201" y="57"/>
                  <a:pt x="201" y="78"/>
                  <a:pt x="201" y="99"/>
                </a:cubicBezTo>
                <a:cubicBezTo>
                  <a:pt x="201" y="100"/>
                  <a:pt x="201" y="100"/>
                  <a:pt x="201" y="100"/>
                </a:cubicBezTo>
                <a:cubicBezTo>
                  <a:pt x="201" y="101"/>
                  <a:pt x="201" y="101"/>
                  <a:pt x="202" y="101"/>
                </a:cubicBezTo>
                <a:cubicBezTo>
                  <a:pt x="205" y="101"/>
                  <a:pt x="207" y="101"/>
                  <a:pt x="210" y="101"/>
                </a:cubicBezTo>
                <a:cubicBezTo>
                  <a:pt x="212" y="101"/>
                  <a:pt x="211" y="102"/>
                  <a:pt x="211" y="100"/>
                </a:cubicBezTo>
                <a:cubicBezTo>
                  <a:pt x="211" y="89"/>
                  <a:pt x="211" y="78"/>
                  <a:pt x="211" y="68"/>
                </a:cubicBezTo>
                <a:cubicBezTo>
                  <a:pt x="211" y="65"/>
                  <a:pt x="212" y="63"/>
                  <a:pt x="212" y="60"/>
                </a:cubicBezTo>
                <a:cubicBezTo>
                  <a:pt x="213" y="55"/>
                  <a:pt x="214" y="51"/>
                  <a:pt x="218" y="47"/>
                </a:cubicBezTo>
                <a:cubicBezTo>
                  <a:pt x="220" y="44"/>
                  <a:pt x="224" y="43"/>
                  <a:pt x="228" y="43"/>
                </a:cubicBezTo>
                <a:cubicBezTo>
                  <a:pt x="230" y="43"/>
                  <a:pt x="233" y="44"/>
                  <a:pt x="236" y="45"/>
                </a:cubicBezTo>
                <a:cubicBezTo>
                  <a:pt x="236" y="42"/>
                  <a:pt x="236" y="39"/>
                  <a:pt x="236" y="35"/>
                </a:cubicBezTo>
                <a:cubicBezTo>
                  <a:pt x="236" y="34"/>
                  <a:pt x="236" y="34"/>
                  <a:pt x="234" y="34"/>
                </a:cubicBezTo>
                <a:cubicBezTo>
                  <a:pt x="227" y="32"/>
                  <a:pt x="221" y="34"/>
                  <a:pt x="216" y="40"/>
                </a:cubicBezTo>
                <a:cubicBezTo>
                  <a:pt x="214" y="42"/>
                  <a:pt x="213" y="44"/>
                  <a:pt x="212" y="46"/>
                </a:cubicBezTo>
                <a:cubicBezTo>
                  <a:pt x="212" y="47"/>
                  <a:pt x="212" y="47"/>
                  <a:pt x="212" y="48"/>
                </a:cubicBezTo>
                <a:cubicBezTo>
                  <a:pt x="211" y="47"/>
                  <a:pt x="211" y="46"/>
                  <a:pt x="211" y="46"/>
                </a:cubicBezTo>
                <a:close/>
                <a:moveTo>
                  <a:pt x="1289" y="58"/>
                </a:moveTo>
                <a:cubicBezTo>
                  <a:pt x="1289" y="58"/>
                  <a:pt x="1289" y="58"/>
                  <a:pt x="1289" y="58"/>
                </a:cubicBezTo>
                <a:cubicBezTo>
                  <a:pt x="1289" y="58"/>
                  <a:pt x="1289" y="57"/>
                  <a:pt x="1289" y="57"/>
                </a:cubicBezTo>
                <a:cubicBezTo>
                  <a:pt x="1289" y="57"/>
                  <a:pt x="1289" y="57"/>
                  <a:pt x="1289" y="57"/>
                </a:cubicBezTo>
                <a:cubicBezTo>
                  <a:pt x="1290" y="56"/>
                  <a:pt x="1289" y="56"/>
                  <a:pt x="1290" y="56"/>
                </a:cubicBezTo>
                <a:cubicBezTo>
                  <a:pt x="1290" y="56"/>
                  <a:pt x="1290" y="56"/>
                  <a:pt x="1290" y="56"/>
                </a:cubicBezTo>
                <a:cubicBezTo>
                  <a:pt x="1290" y="55"/>
                  <a:pt x="1290" y="55"/>
                  <a:pt x="1290" y="55"/>
                </a:cubicBezTo>
                <a:cubicBezTo>
                  <a:pt x="1290" y="55"/>
                  <a:pt x="1290" y="55"/>
                  <a:pt x="1290" y="55"/>
                </a:cubicBezTo>
                <a:cubicBezTo>
                  <a:pt x="1290" y="54"/>
                  <a:pt x="1290" y="54"/>
                  <a:pt x="1290" y="54"/>
                </a:cubicBezTo>
                <a:cubicBezTo>
                  <a:pt x="1290" y="54"/>
                  <a:pt x="1290" y="54"/>
                  <a:pt x="1290" y="54"/>
                </a:cubicBezTo>
                <a:cubicBezTo>
                  <a:pt x="1291" y="54"/>
                  <a:pt x="1291" y="53"/>
                  <a:pt x="1291" y="53"/>
                </a:cubicBezTo>
                <a:cubicBezTo>
                  <a:pt x="1291" y="53"/>
                  <a:pt x="1291" y="53"/>
                  <a:pt x="1291" y="53"/>
                </a:cubicBezTo>
                <a:cubicBezTo>
                  <a:pt x="1291" y="53"/>
                  <a:pt x="1291" y="53"/>
                  <a:pt x="1291" y="52"/>
                </a:cubicBezTo>
                <a:cubicBezTo>
                  <a:pt x="1291" y="52"/>
                  <a:pt x="1291" y="52"/>
                  <a:pt x="1291" y="52"/>
                </a:cubicBezTo>
                <a:cubicBezTo>
                  <a:pt x="1291" y="52"/>
                  <a:pt x="1291" y="52"/>
                  <a:pt x="1291" y="52"/>
                </a:cubicBezTo>
                <a:cubicBezTo>
                  <a:pt x="1291" y="52"/>
                  <a:pt x="1291" y="52"/>
                  <a:pt x="1291" y="52"/>
                </a:cubicBezTo>
                <a:cubicBezTo>
                  <a:pt x="1292" y="52"/>
                  <a:pt x="1292" y="51"/>
                  <a:pt x="1292" y="51"/>
                </a:cubicBezTo>
                <a:cubicBezTo>
                  <a:pt x="1292" y="51"/>
                  <a:pt x="1292" y="51"/>
                  <a:pt x="1292" y="51"/>
                </a:cubicBezTo>
                <a:cubicBezTo>
                  <a:pt x="1292" y="51"/>
                  <a:pt x="1292" y="51"/>
                  <a:pt x="1292" y="50"/>
                </a:cubicBezTo>
                <a:cubicBezTo>
                  <a:pt x="1292" y="50"/>
                  <a:pt x="1292" y="50"/>
                  <a:pt x="1292" y="50"/>
                </a:cubicBezTo>
                <a:cubicBezTo>
                  <a:pt x="1292" y="50"/>
                  <a:pt x="1292" y="50"/>
                  <a:pt x="1292" y="50"/>
                </a:cubicBezTo>
                <a:cubicBezTo>
                  <a:pt x="1292" y="50"/>
                  <a:pt x="1292" y="50"/>
                  <a:pt x="1292" y="50"/>
                </a:cubicBezTo>
                <a:cubicBezTo>
                  <a:pt x="1293" y="50"/>
                  <a:pt x="1293" y="49"/>
                  <a:pt x="1293" y="49"/>
                </a:cubicBezTo>
                <a:cubicBezTo>
                  <a:pt x="1293" y="49"/>
                  <a:pt x="1293" y="49"/>
                  <a:pt x="1293" y="49"/>
                </a:cubicBezTo>
                <a:cubicBezTo>
                  <a:pt x="1293" y="49"/>
                  <a:pt x="1293" y="49"/>
                  <a:pt x="1293" y="49"/>
                </a:cubicBezTo>
                <a:cubicBezTo>
                  <a:pt x="1293" y="49"/>
                  <a:pt x="1293" y="49"/>
                  <a:pt x="1293" y="49"/>
                </a:cubicBezTo>
                <a:cubicBezTo>
                  <a:pt x="1293" y="49"/>
                  <a:pt x="1293" y="49"/>
                  <a:pt x="1293" y="48"/>
                </a:cubicBezTo>
                <a:cubicBezTo>
                  <a:pt x="1293" y="49"/>
                  <a:pt x="1293" y="49"/>
                  <a:pt x="1293" y="49"/>
                </a:cubicBezTo>
                <a:cubicBezTo>
                  <a:pt x="1294" y="48"/>
                  <a:pt x="1294" y="48"/>
                  <a:pt x="1294" y="48"/>
                </a:cubicBezTo>
                <a:cubicBezTo>
                  <a:pt x="1294" y="48"/>
                  <a:pt x="1294" y="48"/>
                  <a:pt x="1294" y="48"/>
                </a:cubicBezTo>
                <a:cubicBezTo>
                  <a:pt x="1294" y="48"/>
                  <a:pt x="1294" y="48"/>
                  <a:pt x="1294" y="48"/>
                </a:cubicBezTo>
                <a:cubicBezTo>
                  <a:pt x="1294" y="48"/>
                  <a:pt x="1294" y="48"/>
                  <a:pt x="1294" y="48"/>
                </a:cubicBezTo>
                <a:cubicBezTo>
                  <a:pt x="1294" y="47"/>
                  <a:pt x="1294"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6"/>
                  <a:pt x="1295" y="46"/>
                  <a:pt x="1296" y="46"/>
                </a:cubicBezTo>
                <a:cubicBezTo>
                  <a:pt x="1296" y="46"/>
                  <a:pt x="1296" y="46"/>
                  <a:pt x="1296" y="46"/>
                </a:cubicBezTo>
                <a:cubicBezTo>
                  <a:pt x="1296" y="46"/>
                  <a:pt x="1296" y="46"/>
                  <a:pt x="1296" y="46"/>
                </a:cubicBezTo>
                <a:cubicBezTo>
                  <a:pt x="1296" y="46"/>
                  <a:pt x="1296" y="46"/>
                  <a:pt x="1296" y="46"/>
                </a:cubicBezTo>
                <a:cubicBezTo>
                  <a:pt x="1296" y="46"/>
                  <a:pt x="1296" y="46"/>
                  <a:pt x="1297" y="45"/>
                </a:cubicBezTo>
                <a:cubicBezTo>
                  <a:pt x="1297" y="45"/>
                  <a:pt x="1297" y="45"/>
                  <a:pt x="1297" y="45"/>
                </a:cubicBezTo>
                <a:cubicBezTo>
                  <a:pt x="1297" y="45"/>
                  <a:pt x="1297" y="45"/>
                  <a:pt x="1297" y="45"/>
                </a:cubicBezTo>
                <a:cubicBezTo>
                  <a:pt x="1297" y="45"/>
                  <a:pt x="1297" y="45"/>
                  <a:pt x="1297" y="45"/>
                </a:cubicBezTo>
                <a:cubicBezTo>
                  <a:pt x="1297" y="45"/>
                  <a:pt x="1297" y="45"/>
                  <a:pt x="1298" y="45"/>
                </a:cubicBezTo>
                <a:cubicBezTo>
                  <a:pt x="1298" y="45"/>
                  <a:pt x="1298" y="45"/>
                  <a:pt x="1298" y="45"/>
                </a:cubicBezTo>
                <a:cubicBezTo>
                  <a:pt x="1298" y="45"/>
                  <a:pt x="1298" y="45"/>
                  <a:pt x="1298" y="44"/>
                </a:cubicBezTo>
                <a:cubicBezTo>
                  <a:pt x="1298" y="44"/>
                  <a:pt x="1298" y="44"/>
                  <a:pt x="1298" y="44"/>
                </a:cubicBezTo>
                <a:cubicBezTo>
                  <a:pt x="1299" y="44"/>
                  <a:pt x="1299" y="44"/>
                  <a:pt x="1299" y="44"/>
                </a:cubicBezTo>
                <a:cubicBezTo>
                  <a:pt x="1299" y="44"/>
                  <a:pt x="1299" y="44"/>
                  <a:pt x="1299" y="44"/>
                </a:cubicBezTo>
                <a:cubicBezTo>
                  <a:pt x="1299" y="44"/>
                  <a:pt x="1300" y="44"/>
                  <a:pt x="1300" y="44"/>
                </a:cubicBezTo>
                <a:cubicBezTo>
                  <a:pt x="1300" y="44"/>
                  <a:pt x="1300" y="44"/>
                  <a:pt x="1300" y="44"/>
                </a:cubicBezTo>
                <a:cubicBezTo>
                  <a:pt x="1300" y="44"/>
                  <a:pt x="1300" y="44"/>
                  <a:pt x="1300" y="44"/>
                </a:cubicBezTo>
                <a:cubicBezTo>
                  <a:pt x="1301" y="44"/>
                  <a:pt x="1301" y="44"/>
                  <a:pt x="1301" y="43"/>
                </a:cubicBezTo>
                <a:cubicBezTo>
                  <a:pt x="1302" y="43"/>
                  <a:pt x="1302" y="43"/>
                  <a:pt x="1302" y="43"/>
                </a:cubicBezTo>
                <a:cubicBezTo>
                  <a:pt x="1302" y="43"/>
                  <a:pt x="1302" y="43"/>
                  <a:pt x="1302" y="43"/>
                </a:cubicBezTo>
                <a:cubicBezTo>
                  <a:pt x="1303" y="43"/>
                  <a:pt x="1305" y="43"/>
                  <a:pt x="1307" y="43"/>
                </a:cubicBezTo>
                <a:cubicBezTo>
                  <a:pt x="1307" y="43"/>
                  <a:pt x="1307" y="43"/>
                  <a:pt x="1307" y="43"/>
                </a:cubicBezTo>
                <a:cubicBezTo>
                  <a:pt x="1308" y="44"/>
                  <a:pt x="1308" y="43"/>
                  <a:pt x="1309" y="44"/>
                </a:cubicBezTo>
                <a:cubicBezTo>
                  <a:pt x="1309" y="44"/>
                  <a:pt x="1309" y="44"/>
                  <a:pt x="1309" y="44"/>
                </a:cubicBezTo>
                <a:cubicBezTo>
                  <a:pt x="1309" y="44"/>
                  <a:pt x="1309" y="44"/>
                  <a:pt x="1309" y="44"/>
                </a:cubicBezTo>
                <a:cubicBezTo>
                  <a:pt x="1309" y="44"/>
                  <a:pt x="1309" y="44"/>
                  <a:pt x="1310" y="44"/>
                </a:cubicBezTo>
                <a:cubicBezTo>
                  <a:pt x="1310" y="44"/>
                  <a:pt x="1310" y="44"/>
                  <a:pt x="1310" y="44"/>
                </a:cubicBezTo>
                <a:cubicBezTo>
                  <a:pt x="1310" y="44"/>
                  <a:pt x="1310" y="44"/>
                  <a:pt x="1310" y="44"/>
                </a:cubicBezTo>
                <a:cubicBezTo>
                  <a:pt x="1310" y="44"/>
                  <a:pt x="1310" y="44"/>
                  <a:pt x="1311" y="44"/>
                </a:cubicBezTo>
                <a:cubicBezTo>
                  <a:pt x="1311" y="44"/>
                  <a:pt x="1311" y="44"/>
                  <a:pt x="1311" y="44"/>
                </a:cubicBezTo>
                <a:cubicBezTo>
                  <a:pt x="1311" y="45"/>
                  <a:pt x="1311" y="45"/>
                  <a:pt x="1311" y="45"/>
                </a:cubicBezTo>
                <a:cubicBezTo>
                  <a:pt x="1311" y="45"/>
                  <a:pt x="1311" y="45"/>
                  <a:pt x="1311" y="45"/>
                </a:cubicBezTo>
                <a:cubicBezTo>
                  <a:pt x="1311" y="45"/>
                  <a:pt x="1311" y="45"/>
                  <a:pt x="1312" y="45"/>
                </a:cubicBezTo>
                <a:cubicBezTo>
                  <a:pt x="1312" y="45"/>
                  <a:pt x="1312" y="45"/>
                  <a:pt x="1312" y="45"/>
                </a:cubicBezTo>
                <a:cubicBezTo>
                  <a:pt x="1312" y="45"/>
                  <a:pt x="1312" y="45"/>
                  <a:pt x="1312" y="45"/>
                </a:cubicBezTo>
                <a:cubicBezTo>
                  <a:pt x="1312" y="41"/>
                  <a:pt x="1312" y="38"/>
                  <a:pt x="1312" y="34"/>
                </a:cubicBezTo>
                <a:cubicBezTo>
                  <a:pt x="1312" y="34"/>
                  <a:pt x="1312" y="34"/>
                  <a:pt x="1311" y="34"/>
                </a:cubicBezTo>
                <a:cubicBezTo>
                  <a:pt x="1311" y="34"/>
                  <a:pt x="1311" y="34"/>
                  <a:pt x="1311" y="34"/>
                </a:cubicBezTo>
                <a:cubicBezTo>
                  <a:pt x="1311" y="33"/>
                  <a:pt x="1310" y="34"/>
                  <a:pt x="1310" y="33"/>
                </a:cubicBezTo>
                <a:cubicBezTo>
                  <a:pt x="1310" y="33"/>
                  <a:pt x="1310" y="33"/>
                  <a:pt x="1309" y="33"/>
                </a:cubicBezTo>
                <a:cubicBezTo>
                  <a:pt x="1307" y="33"/>
                  <a:pt x="1305" y="33"/>
                  <a:pt x="1303" y="33"/>
                </a:cubicBezTo>
                <a:cubicBezTo>
                  <a:pt x="1302" y="33"/>
                  <a:pt x="1302" y="33"/>
                  <a:pt x="1302" y="33"/>
                </a:cubicBezTo>
                <a:cubicBezTo>
                  <a:pt x="1302" y="33"/>
                  <a:pt x="1302" y="33"/>
                  <a:pt x="1302" y="33"/>
                </a:cubicBezTo>
                <a:cubicBezTo>
                  <a:pt x="1302" y="34"/>
                  <a:pt x="1301" y="33"/>
                  <a:pt x="1301" y="34"/>
                </a:cubicBezTo>
                <a:cubicBezTo>
                  <a:pt x="1301" y="34"/>
                  <a:pt x="1301" y="34"/>
                  <a:pt x="1301" y="34"/>
                </a:cubicBezTo>
                <a:cubicBezTo>
                  <a:pt x="1301" y="34"/>
                  <a:pt x="1301" y="34"/>
                  <a:pt x="1301" y="34"/>
                </a:cubicBezTo>
                <a:cubicBezTo>
                  <a:pt x="1301" y="34"/>
                  <a:pt x="1300" y="34"/>
                  <a:pt x="1300" y="34"/>
                </a:cubicBezTo>
                <a:cubicBezTo>
                  <a:pt x="1300" y="34"/>
                  <a:pt x="1300" y="34"/>
                  <a:pt x="1300" y="34"/>
                </a:cubicBezTo>
                <a:cubicBezTo>
                  <a:pt x="1300" y="34"/>
                  <a:pt x="1300" y="34"/>
                  <a:pt x="1300" y="34"/>
                </a:cubicBezTo>
                <a:cubicBezTo>
                  <a:pt x="1300" y="34"/>
                  <a:pt x="1299" y="34"/>
                  <a:pt x="1299" y="34"/>
                </a:cubicBezTo>
                <a:cubicBezTo>
                  <a:pt x="1299" y="34"/>
                  <a:pt x="1299" y="34"/>
                  <a:pt x="1299" y="34"/>
                </a:cubicBezTo>
                <a:cubicBezTo>
                  <a:pt x="1299" y="35"/>
                  <a:pt x="1299" y="34"/>
                  <a:pt x="1298" y="35"/>
                </a:cubicBezTo>
                <a:cubicBezTo>
                  <a:pt x="1298" y="35"/>
                  <a:pt x="1298" y="35"/>
                  <a:pt x="1298" y="35"/>
                </a:cubicBezTo>
                <a:cubicBezTo>
                  <a:pt x="1298" y="35"/>
                  <a:pt x="1298" y="35"/>
                  <a:pt x="1298" y="35"/>
                </a:cubicBezTo>
                <a:cubicBezTo>
                  <a:pt x="1298" y="35"/>
                  <a:pt x="1298" y="35"/>
                  <a:pt x="1298" y="35"/>
                </a:cubicBezTo>
                <a:cubicBezTo>
                  <a:pt x="1298" y="35"/>
                  <a:pt x="1297" y="35"/>
                  <a:pt x="1297" y="35"/>
                </a:cubicBezTo>
                <a:cubicBezTo>
                  <a:pt x="1297" y="35"/>
                  <a:pt x="1297" y="35"/>
                  <a:pt x="1297" y="35"/>
                </a:cubicBezTo>
                <a:cubicBezTo>
                  <a:pt x="1297" y="36"/>
                  <a:pt x="1297" y="36"/>
                  <a:pt x="1297" y="36"/>
                </a:cubicBezTo>
                <a:cubicBezTo>
                  <a:pt x="1297" y="36"/>
                  <a:pt x="1297" y="36"/>
                  <a:pt x="1297" y="36"/>
                </a:cubicBezTo>
                <a:cubicBezTo>
                  <a:pt x="1296" y="36"/>
                  <a:pt x="1296" y="36"/>
                  <a:pt x="1296" y="36"/>
                </a:cubicBezTo>
                <a:cubicBezTo>
                  <a:pt x="1296" y="36"/>
                  <a:pt x="1296" y="36"/>
                  <a:pt x="1296" y="36"/>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4" y="38"/>
                  <a:pt x="1293" y="38"/>
                  <a:pt x="1293" y="39"/>
                </a:cubicBezTo>
                <a:cubicBezTo>
                  <a:pt x="1293" y="39"/>
                  <a:pt x="1293" y="39"/>
                  <a:pt x="1293" y="39"/>
                </a:cubicBezTo>
                <a:cubicBezTo>
                  <a:pt x="1293" y="39"/>
                  <a:pt x="1293" y="39"/>
                  <a:pt x="1293" y="39"/>
                </a:cubicBezTo>
                <a:cubicBezTo>
                  <a:pt x="1293" y="39"/>
                  <a:pt x="1293" y="39"/>
                  <a:pt x="1293" y="39"/>
                </a:cubicBezTo>
                <a:cubicBezTo>
                  <a:pt x="1293" y="39"/>
                  <a:pt x="1293" y="39"/>
                  <a:pt x="1292" y="40"/>
                </a:cubicBezTo>
                <a:cubicBezTo>
                  <a:pt x="1292" y="40"/>
                  <a:pt x="1292" y="40"/>
                  <a:pt x="1292" y="40"/>
                </a:cubicBezTo>
                <a:cubicBezTo>
                  <a:pt x="1292" y="40"/>
                  <a:pt x="1292" y="40"/>
                  <a:pt x="1292" y="40"/>
                </a:cubicBezTo>
                <a:cubicBezTo>
                  <a:pt x="1292" y="40"/>
                  <a:pt x="1292" y="40"/>
                  <a:pt x="1292" y="40"/>
                </a:cubicBezTo>
                <a:cubicBezTo>
                  <a:pt x="1292" y="40"/>
                  <a:pt x="1292" y="40"/>
                  <a:pt x="1292" y="41"/>
                </a:cubicBezTo>
                <a:cubicBezTo>
                  <a:pt x="1292" y="41"/>
                  <a:pt x="1292" y="41"/>
                  <a:pt x="1292" y="41"/>
                </a:cubicBezTo>
                <a:cubicBezTo>
                  <a:pt x="1292" y="41"/>
                  <a:pt x="1291" y="41"/>
                  <a:pt x="1291" y="41"/>
                </a:cubicBezTo>
                <a:cubicBezTo>
                  <a:pt x="1291" y="41"/>
                  <a:pt x="1291" y="41"/>
                  <a:pt x="1291" y="41"/>
                </a:cubicBezTo>
                <a:cubicBezTo>
                  <a:pt x="1291" y="41"/>
                  <a:pt x="1291" y="41"/>
                  <a:pt x="1291" y="42"/>
                </a:cubicBezTo>
                <a:cubicBezTo>
                  <a:pt x="1291" y="42"/>
                  <a:pt x="1291" y="42"/>
                  <a:pt x="1291" y="42"/>
                </a:cubicBezTo>
                <a:cubicBezTo>
                  <a:pt x="1291" y="42"/>
                  <a:pt x="1291" y="42"/>
                  <a:pt x="1291" y="42"/>
                </a:cubicBezTo>
                <a:cubicBezTo>
                  <a:pt x="1291" y="42"/>
                  <a:pt x="1291" y="42"/>
                  <a:pt x="1291" y="42"/>
                </a:cubicBezTo>
                <a:cubicBezTo>
                  <a:pt x="1290" y="42"/>
                  <a:pt x="1291" y="43"/>
                  <a:pt x="1290" y="43"/>
                </a:cubicBezTo>
                <a:cubicBezTo>
                  <a:pt x="1290" y="43"/>
                  <a:pt x="1290" y="43"/>
                  <a:pt x="1290" y="43"/>
                </a:cubicBezTo>
                <a:cubicBezTo>
                  <a:pt x="1290" y="43"/>
                  <a:pt x="1290" y="43"/>
                  <a:pt x="1290" y="43"/>
                </a:cubicBezTo>
                <a:cubicBezTo>
                  <a:pt x="1290" y="43"/>
                  <a:pt x="1290" y="43"/>
                  <a:pt x="1290" y="43"/>
                </a:cubicBezTo>
                <a:cubicBezTo>
                  <a:pt x="1290" y="44"/>
                  <a:pt x="1290" y="44"/>
                  <a:pt x="1290" y="44"/>
                </a:cubicBezTo>
                <a:cubicBezTo>
                  <a:pt x="1290" y="44"/>
                  <a:pt x="1290" y="44"/>
                  <a:pt x="1290" y="44"/>
                </a:cubicBezTo>
                <a:cubicBezTo>
                  <a:pt x="1289" y="44"/>
                  <a:pt x="1290" y="45"/>
                  <a:pt x="1289" y="45"/>
                </a:cubicBezTo>
                <a:cubicBezTo>
                  <a:pt x="1289" y="45"/>
                  <a:pt x="1289" y="45"/>
                  <a:pt x="1289" y="45"/>
                </a:cubicBezTo>
                <a:cubicBezTo>
                  <a:pt x="1289" y="45"/>
                  <a:pt x="1289" y="45"/>
                  <a:pt x="1289" y="45"/>
                </a:cubicBezTo>
                <a:cubicBezTo>
                  <a:pt x="1289" y="45"/>
                  <a:pt x="1289" y="45"/>
                  <a:pt x="1289" y="45"/>
                </a:cubicBezTo>
                <a:cubicBezTo>
                  <a:pt x="1289" y="46"/>
                  <a:pt x="1289" y="46"/>
                  <a:pt x="1289" y="46"/>
                </a:cubicBezTo>
                <a:cubicBezTo>
                  <a:pt x="1289" y="46"/>
                  <a:pt x="1289" y="46"/>
                  <a:pt x="1289" y="46"/>
                </a:cubicBezTo>
                <a:cubicBezTo>
                  <a:pt x="1288" y="46"/>
                  <a:pt x="1288" y="45"/>
                  <a:pt x="1288" y="45"/>
                </a:cubicBez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9"/>
                  <a:pt x="1277" y="100"/>
                </a:cubicBezTo>
                <a:cubicBezTo>
                  <a:pt x="1277" y="100"/>
                  <a:pt x="1277" y="100"/>
                  <a:pt x="1277" y="100"/>
                </a:cubicBezTo>
                <a:cubicBezTo>
                  <a:pt x="1277" y="101"/>
                  <a:pt x="1277" y="102"/>
                  <a:pt x="1278" y="102"/>
                </a:cubicBezTo>
                <a:cubicBezTo>
                  <a:pt x="1281" y="102"/>
                  <a:pt x="1283" y="102"/>
                  <a:pt x="1285" y="102"/>
                </a:cubicBezTo>
                <a:cubicBezTo>
                  <a:pt x="1286" y="102"/>
                  <a:pt x="1287" y="102"/>
                  <a:pt x="1288" y="101"/>
                </a:cubicBezTo>
                <a:cubicBezTo>
                  <a:pt x="1288" y="101"/>
                  <a:pt x="1288" y="101"/>
                  <a:pt x="1288" y="101"/>
                </a:cubicBezTo>
                <a:cubicBezTo>
                  <a:pt x="1288" y="101"/>
                  <a:pt x="1288" y="100"/>
                  <a:pt x="1288" y="100"/>
                </a:cubicBezTo>
                <a:cubicBezTo>
                  <a:pt x="1288" y="88"/>
                  <a:pt x="1288" y="76"/>
                  <a:pt x="1288" y="65"/>
                </a:cubicBezTo>
                <a:cubicBezTo>
                  <a:pt x="1288" y="64"/>
                  <a:pt x="1288" y="63"/>
                  <a:pt x="1288" y="63"/>
                </a:cubicBezTo>
                <a:cubicBezTo>
                  <a:pt x="1288" y="62"/>
                  <a:pt x="1288" y="62"/>
                  <a:pt x="1288" y="62"/>
                </a:cubicBezTo>
                <a:cubicBezTo>
                  <a:pt x="1289" y="61"/>
                  <a:pt x="1288" y="61"/>
                  <a:pt x="1289" y="60"/>
                </a:cubicBezTo>
                <a:cubicBezTo>
                  <a:pt x="1289" y="60"/>
                  <a:pt x="1289" y="60"/>
                  <a:pt x="1289" y="60"/>
                </a:cubicBezTo>
                <a:cubicBezTo>
                  <a:pt x="1289" y="59"/>
                  <a:pt x="1289" y="59"/>
                  <a:pt x="1289" y="58"/>
                </a:cubicBezTo>
                <a:close/>
                <a:moveTo>
                  <a:pt x="126" y="60"/>
                </a:moveTo>
                <a:cubicBezTo>
                  <a:pt x="126" y="52"/>
                  <a:pt x="126" y="44"/>
                  <a:pt x="126" y="36"/>
                </a:cubicBezTo>
                <a:cubicBezTo>
                  <a:pt x="126" y="34"/>
                  <a:pt x="126" y="34"/>
                  <a:pt x="124" y="34"/>
                </a:cubicBezTo>
                <a:cubicBezTo>
                  <a:pt x="122" y="34"/>
                  <a:pt x="120" y="34"/>
                  <a:pt x="117" y="34"/>
                </a:cubicBezTo>
                <a:cubicBezTo>
                  <a:pt x="115" y="34"/>
                  <a:pt x="115" y="34"/>
                  <a:pt x="115" y="36"/>
                </a:cubicBezTo>
                <a:cubicBezTo>
                  <a:pt x="115" y="57"/>
                  <a:pt x="115" y="78"/>
                  <a:pt x="115" y="100"/>
                </a:cubicBezTo>
                <a:cubicBezTo>
                  <a:pt x="115" y="100"/>
                  <a:pt x="115" y="100"/>
                  <a:pt x="115" y="101"/>
                </a:cubicBezTo>
                <a:cubicBezTo>
                  <a:pt x="115" y="101"/>
                  <a:pt x="115" y="101"/>
                  <a:pt x="116" y="101"/>
                </a:cubicBezTo>
                <a:cubicBezTo>
                  <a:pt x="119" y="101"/>
                  <a:pt x="122" y="101"/>
                  <a:pt x="125" y="101"/>
                </a:cubicBezTo>
                <a:cubicBezTo>
                  <a:pt x="126" y="101"/>
                  <a:pt x="126" y="101"/>
                  <a:pt x="126" y="101"/>
                </a:cubicBezTo>
                <a:cubicBezTo>
                  <a:pt x="126" y="100"/>
                  <a:pt x="126" y="100"/>
                  <a:pt x="126" y="99"/>
                </a:cubicBezTo>
                <a:cubicBezTo>
                  <a:pt x="126" y="89"/>
                  <a:pt x="126" y="78"/>
                  <a:pt x="126" y="68"/>
                </a:cubicBezTo>
                <a:cubicBezTo>
                  <a:pt x="126" y="65"/>
                  <a:pt x="126" y="63"/>
                  <a:pt x="126" y="60"/>
                </a:cubicBezTo>
                <a:close/>
                <a:moveTo>
                  <a:pt x="114" y="10"/>
                </a:moveTo>
                <a:cubicBezTo>
                  <a:pt x="114" y="14"/>
                  <a:pt x="117" y="17"/>
                  <a:pt x="121" y="17"/>
                </a:cubicBezTo>
                <a:cubicBezTo>
                  <a:pt x="125" y="17"/>
                  <a:pt x="128" y="14"/>
                  <a:pt x="128" y="10"/>
                </a:cubicBezTo>
                <a:cubicBezTo>
                  <a:pt x="128" y="6"/>
                  <a:pt x="125" y="3"/>
                  <a:pt x="121" y="3"/>
                </a:cubicBezTo>
                <a:cubicBezTo>
                  <a:pt x="117" y="3"/>
                  <a:pt x="114" y="6"/>
                  <a:pt x="114" y="10"/>
                </a:cubicBezTo>
                <a:close/>
                <a:moveTo>
                  <a:pt x="1658" y="7"/>
                </a:moveTo>
                <a:cubicBezTo>
                  <a:pt x="1649" y="7"/>
                  <a:pt x="1639" y="7"/>
                  <a:pt x="1630" y="7"/>
                </a:cubicBezTo>
                <a:cubicBezTo>
                  <a:pt x="1627" y="7"/>
                  <a:pt x="1627" y="7"/>
                  <a:pt x="1627" y="10"/>
                </a:cubicBezTo>
                <a:cubicBezTo>
                  <a:pt x="1627" y="39"/>
                  <a:pt x="1627" y="69"/>
                  <a:pt x="1627" y="99"/>
                </a:cubicBezTo>
                <a:cubicBezTo>
                  <a:pt x="1627" y="100"/>
                  <a:pt x="1627" y="100"/>
                  <a:pt x="1627" y="100"/>
                </a:cubicBezTo>
                <a:cubicBezTo>
                  <a:pt x="1627" y="102"/>
                  <a:pt x="1627" y="102"/>
                  <a:pt x="1629" y="102"/>
                </a:cubicBezTo>
                <a:cubicBezTo>
                  <a:pt x="1632" y="102"/>
                  <a:pt x="1634" y="102"/>
                  <a:pt x="1637" y="102"/>
                </a:cubicBezTo>
                <a:cubicBezTo>
                  <a:pt x="1639" y="102"/>
                  <a:pt x="1639" y="102"/>
                  <a:pt x="1639" y="101"/>
                </a:cubicBezTo>
                <a:cubicBezTo>
                  <a:pt x="1639" y="100"/>
                  <a:pt x="1639" y="100"/>
                  <a:pt x="1639" y="99"/>
                </a:cubicBezTo>
                <a:cubicBezTo>
                  <a:pt x="1639" y="87"/>
                  <a:pt x="1639" y="76"/>
                  <a:pt x="1639" y="64"/>
                </a:cubicBezTo>
                <a:cubicBezTo>
                  <a:pt x="1639" y="62"/>
                  <a:pt x="1639" y="62"/>
                  <a:pt x="1641" y="62"/>
                </a:cubicBezTo>
                <a:cubicBezTo>
                  <a:pt x="1644" y="62"/>
                  <a:pt x="1647" y="62"/>
                  <a:pt x="1650" y="62"/>
                </a:cubicBezTo>
                <a:cubicBezTo>
                  <a:pt x="1650" y="62"/>
                  <a:pt x="1650" y="62"/>
                  <a:pt x="1650" y="62"/>
                </a:cubicBezTo>
                <a:cubicBezTo>
                  <a:pt x="1647" y="61"/>
                  <a:pt x="1643" y="62"/>
                  <a:pt x="1639" y="61"/>
                </a:cubicBezTo>
                <a:cubicBezTo>
                  <a:pt x="1639" y="61"/>
                  <a:pt x="1638" y="62"/>
                  <a:pt x="1639" y="62"/>
                </a:cubicBezTo>
                <a:cubicBezTo>
                  <a:pt x="1639" y="63"/>
                  <a:pt x="1638" y="63"/>
                  <a:pt x="1638" y="63"/>
                </a:cubicBezTo>
                <a:cubicBezTo>
                  <a:pt x="1638" y="72"/>
                  <a:pt x="1638" y="81"/>
                  <a:pt x="1638" y="90"/>
                </a:cubicBezTo>
                <a:cubicBezTo>
                  <a:pt x="1638" y="94"/>
                  <a:pt x="1638" y="97"/>
                  <a:pt x="1639" y="100"/>
                </a:cubicBezTo>
                <a:cubicBezTo>
                  <a:pt x="1639" y="101"/>
                  <a:pt x="1638" y="102"/>
                  <a:pt x="1637" y="102"/>
                </a:cubicBezTo>
                <a:cubicBezTo>
                  <a:pt x="1635" y="101"/>
                  <a:pt x="1632" y="101"/>
                  <a:pt x="1629" y="101"/>
                </a:cubicBezTo>
                <a:cubicBezTo>
                  <a:pt x="1627" y="101"/>
                  <a:pt x="1627" y="102"/>
                  <a:pt x="1627" y="100"/>
                </a:cubicBezTo>
                <a:cubicBezTo>
                  <a:pt x="1627" y="69"/>
                  <a:pt x="1627" y="39"/>
                  <a:pt x="1627" y="9"/>
                </a:cubicBezTo>
                <a:cubicBezTo>
                  <a:pt x="1627" y="7"/>
                  <a:pt x="1627" y="7"/>
                  <a:pt x="1629" y="7"/>
                </a:cubicBezTo>
                <a:cubicBezTo>
                  <a:pt x="1640" y="7"/>
                  <a:pt x="1650" y="7"/>
                  <a:pt x="1660" y="8"/>
                </a:cubicBezTo>
                <a:cubicBezTo>
                  <a:pt x="1659" y="7"/>
                  <a:pt x="1659" y="7"/>
                  <a:pt x="1658" y="7"/>
                </a:cubicBezTo>
                <a:close/>
                <a:moveTo>
                  <a:pt x="828" y="43"/>
                </a:moveTo>
                <a:cubicBezTo>
                  <a:pt x="828" y="40"/>
                  <a:pt x="828" y="38"/>
                  <a:pt x="828" y="36"/>
                </a:cubicBezTo>
                <a:cubicBezTo>
                  <a:pt x="828" y="34"/>
                  <a:pt x="828" y="34"/>
                  <a:pt x="826" y="34"/>
                </a:cubicBezTo>
                <a:cubicBezTo>
                  <a:pt x="824" y="34"/>
                  <a:pt x="822" y="34"/>
                  <a:pt x="819" y="34"/>
                </a:cubicBezTo>
                <a:cubicBezTo>
                  <a:pt x="817" y="34"/>
                  <a:pt x="817" y="34"/>
                  <a:pt x="817" y="36"/>
                </a:cubicBezTo>
                <a:cubicBezTo>
                  <a:pt x="817" y="57"/>
                  <a:pt x="817" y="78"/>
                  <a:pt x="817" y="100"/>
                </a:cubicBezTo>
                <a:cubicBezTo>
                  <a:pt x="817" y="100"/>
                  <a:pt x="817" y="100"/>
                  <a:pt x="817" y="101"/>
                </a:cubicBezTo>
                <a:cubicBezTo>
                  <a:pt x="817" y="102"/>
                  <a:pt x="817" y="102"/>
                  <a:pt x="818" y="102"/>
                </a:cubicBezTo>
                <a:cubicBezTo>
                  <a:pt x="821" y="102"/>
                  <a:pt x="824" y="102"/>
                  <a:pt x="827" y="102"/>
                </a:cubicBezTo>
                <a:cubicBezTo>
                  <a:pt x="828" y="102"/>
                  <a:pt x="828" y="102"/>
                  <a:pt x="828" y="100"/>
                </a:cubicBezTo>
                <a:cubicBezTo>
                  <a:pt x="828" y="97"/>
                  <a:pt x="828" y="94"/>
                  <a:pt x="828" y="91"/>
                </a:cubicBezTo>
                <a:cubicBezTo>
                  <a:pt x="828" y="82"/>
                  <a:pt x="828" y="72"/>
                  <a:pt x="828" y="63"/>
                </a:cubicBezTo>
                <a:cubicBezTo>
                  <a:pt x="828" y="63"/>
                  <a:pt x="828" y="64"/>
                  <a:pt x="828" y="64"/>
                </a:cubicBezTo>
                <a:cubicBezTo>
                  <a:pt x="828" y="67"/>
                  <a:pt x="828" y="70"/>
                  <a:pt x="828" y="73"/>
                </a:cubicBezTo>
                <a:cubicBezTo>
                  <a:pt x="828" y="82"/>
                  <a:pt x="828" y="91"/>
                  <a:pt x="828" y="100"/>
                </a:cubicBezTo>
                <a:cubicBezTo>
                  <a:pt x="828" y="102"/>
                  <a:pt x="828" y="101"/>
                  <a:pt x="826" y="101"/>
                </a:cubicBezTo>
                <a:cubicBezTo>
                  <a:pt x="824" y="101"/>
                  <a:pt x="821" y="101"/>
                  <a:pt x="819" y="101"/>
                </a:cubicBezTo>
                <a:cubicBezTo>
                  <a:pt x="817" y="101"/>
                  <a:pt x="817" y="102"/>
                  <a:pt x="817" y="99"/>
                </a:cubicBezTo>
                <a:cubicBezTo>
                  <a:pt x="817" y="78"/>
                  <a:pt x="817" y="57"/>
                  <a:pt x="817" y="36"/>
                </a:cubicBezTo>
                <a:cubicBezTo>
                  <a:pt x="817" y="36"/>
                  <a:pt x="817" y="36"/>
                  <a:pt x="817" y="35"/>
                </a:cubicBezTo>
                <a:cubicBezTo>
                  <a:pt x="817" y="34"/>
                  <a:pt x="817" y="34"/>
                  <a:pt x="818" y="34"/>
                </a:cubicBezTo>
                <a:cubicBezTo>
                  <a:pt x="821" y="34"/>
                  <a:pt x="824" y="34"/>
                  <a:pt x="827" y="34"/>
                </a:cubicBezTo>
                <a:cubicBezTo>
                  <a:pt x="828" y="34"/>
                  <a:pt x="828" y="35"/>
                  <a:pt x="828" y="36"/>
                </a:cubicBezTo>
                <a:cubicBezTo>
                  <a:pt x="828" y="38"/>
                  <a:pt x="828" y="41"/>
                  <a:pt x="828" y="43"/>
                </a:cubicBezTo>
                <a:cubicBezTo>
                  <a:pt x="828" y="44"/>
                  <a:pt x="828" y="44"/>
                  <a:pt x="828" y="44"/>
                </a:cubicBezTo>
                <a:cubicBezTo>
                  <a:pt x="828" y="45"/>
                  <a:pt x="828" y="45"/>
                  <a:pt x="828" y="45"/>
                </a:cubicBezTo>
                <a:cubicBezTo>
                  <a:pt x="828" y="45"/>
                  <a:pt x="828" y="44"/>
                  <a:pt x="828" y="44"/>
                </a:cubicBezTo>
                <a:cubicBezTo>
                  <a:pt x="828" y="44"/>
                  <a:pt x="828" y="43"/>
                  <a:pt x="828" y="43"/>
                </a:cubicBezTo>
                <a:close/>
                <a:moveTo>
                  <a:pt x="1288" y="44"/>
                </a:move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8"/>
                  <a:pt x="1277" y="100"/>
                </a:cubicBezTo>
                <a:cubicBezTo>
                  <a:pt x="1277" y="100"/>
                  <a:pt x="1277" y="100"/>
                  <a:pt x="1277" y="101"/>
                </a:cubicBezTo>
                <a:cubicBezTo>
                  <a:pt x="1277" y="102"/>
                  <a:pt x="1277" y="102"/>
                  <a:pt x="1278" y="102"/>
                </a:cubicBezTo>
                <a:cubicBezTo>
                  <a:pt x="1281" y="102"/>
                  <a:pt x="1284" y="102"/>
                  <a:pt x="1287" y="102"/>
                </a:cubicBezTo>
                <a:cubicBezTo>
                  <a:pt x="1287" y="102"/>
                  <a:pt x="1288" y="102"/>
                  <a:pt x="1288" y="101"/>
                </a:cubicBezTo>
                <a:cubicBezTo>
                  <a:pt x="1285" y="101"/>
                  <a:pt x="1282" y="101"/>
                  <a:pt x="1279" y="101"/>
                </a:cubicBezTo>
                <a:cubicBezTo>
                  <a:pt x="1277" y="101"/>
                  <a:pt x="1277" y="102"/>
                  <a:pt x="1277" y="100"/>
                </a:cubicBezTo>
                <a:cubicBezTo>
                  <a:pt x="1277" y="78"/>
                  <a:pt x="1277" y="57"/>
                  <a:pt x="1277" y="36"/>
                </a:cubicBezTo>
                <a:cubicBezTo>
                  <a:pt x="1277" y="36"/>
                  <a:pt x="1277" y="36"/>
                  <a:pt x="1277" y="35"/>
                </a:cubicBezTo>
                <a:cubicBezTo>
                  <a:pt x="1277" y="35"/>
                  <a:pt x="1277" y="34"/>
                  <a:pt x="1278" y="34"/>
                </a:cubicBezTo>
                <a:cubicBezTo>
                  <a:pt x="1281" y="34"/>
                  <a:pt x="1284" y="34"/>
                  <a:pt x="1287" y="34"/>
                </a:cubicBezTo>
                <a:cubicBezTo>
                  <a:pt x="1288" y="34"/>
                  <a:pt x="1288" y="34"/>
                  <a:pt x="1288" y="36"/>
                </a:cubicBezTo>
                <a:cubicBezTo>
                  <a:pt x="1288" y="39"/>
                  <a:pt x="1288" y="43"/>
                  <a:pt x="1288" y="46"/>
                </a:cubicBezTo>
                <a:cubicBezTo>
                  <a:pt x="1288" y="47"/>
                  <a:pt x="1288" y="47"/>
                  <a:pt x="1288" y="48"/>
                </a:cubicBezTo>
                <a:cubicBezTo>
                  <a:pt x="1288" y="47"/>
                  <a:pt x="1289" y="47"/>
                  <a:pt x="1289" y="46"/>
                </a:cubicBezTo>
                <a:cubicBezTo>
                  <a:pt x="1288" y="46"/>
                  <a:pt x="1288" y="45"/>
                  <a:pt x="1288" y="44"/>
                </a:cubicBezTo>
                <a:close/>
                <a:moveTo>
                  <a:pt x="1510" y="100"/>
                </a:moveTo>
                <a:cubicBezTo>
                  <a:pt x="1510" y="69"/>
                  <a:pt x="1510" y="38"/>
                  <a:pt x="1510" y="7"/>
                </a:cubicBezTo>
                <a:cubicBezTo>
                  <a:pt x="1510" y="7"/>
                  <a:pt x="1510" y="6"/>
                  <a:pt x="1510" y="6"/>
                </a:cubicBezTo>
                <a:cubicBezTo>
                  <a:pt x="1510" y="6"/>
                  <a:pt x="1510" y="5"/>
                  <a:pt x="1510" y="5"/>
                </a:cubicBezTo>
                <a:cubicBezTo>
                  <a:pt x="1508" y="5"/>
                  <a:pt x="1507" y="5"/>
                  <a:pt x="1505" y="5"/>
                </a:cubicBezTo>
                <a:cubicBezTo>
                  <a:pt x="1507" y="5"/>
                  <a:pt x="1508" y="5"/>
                  <a:pt x="1509" y="5"/>
                </a:cubicBezTo>
                <a:cubicBezTo>
                  <a:pt x="1510" y="5"/>
                  <a:pt x="1510" y="5"/>
                  <a:pt x="1510" y="6"/>
                </a:cubicBezTo>
                <a:cubicBezTo>
                  <a:pt x="1510" y="7"/>
                  <a:pt x="1510" y="7"/>
                  <a:pt x="1510" y="7"/>
                </a:cubicBezTo>
                <a:cubicBezTo>
                  <a:pt x="1510" y="38"/>
                  <a:pt x="1510" y="69"/>
                  <a:pt x="1510" y="100"/>
                </a:cubicBezTo>
                <a:cubicBezTo>
                  <a:pt x="1510" y="100"/>
                  <a:pt x="1510" y="101"/>
                  <a:pt x="1510" y="101"/>
                </a:cubicBezTo>
                <a:cubicBezTo>
                  <a:pt x="1511" y="101"/>
                  <a:pt x="1510" y="100"/>
                  <a:pt x="1510" y="100"/>
                </a:cubicBezTo>
                <a:close/>
                <a:moveTo>
                  <a:pt x="902" y="100"/>
                </a:moveTo>
                <a:cubicBezTo>
                  <a:pt x="902" y="100"/>
                  <a:pt x="902" y="101"/>
                  <a:pt x="902" y="101"/>
                </a:cubicBezTo>
                <a:cubicBezTo>
                  <a:pt x="902" y="102"/>
                  <a:pt x="902" y="102"/>
                  <a:pt x="902" y="102"/>
                </a:cubicBezTo>
                <a:cubicBezTo>
                  <a:pt x="906" y="102"/>
                  <a:pt x="909" y="102"/>
                  <a:pt x="912" y="102"/>
                </a:cubicBezTo>
                <a:cubicBezTo>
                  <a:pt x="912" y="102"/>
                  <a:pt x="913" y="102"/>
                  <a:pt x="913" y="101"/>
                </a:cubicBezTo>
                <a:cubicBezTo>
                  <a:pt x="913" y="101"/>
                  <a:pt x="913" y="100"/>
                  <a:pt x="913" y="100"/>
                </a:cubicBezTo>
                <a:cubicBezTo>
                  <a:pt x="913" y="85"/>
                  <a:pt x="913" y="71"/>
                  <a:pt x="913" y="56"/>
                </a:cubicBezTo>
                <a:cubicBezTo>
                  <a:pt x="913" y="56"/>
                  <a:pt x="913" y="55"/>
                  <a:pt x="912" y="55"/>
                </a:cubicBezTo>
                <a:cubicBezTo>
                  <a:pt x="912" y="56"/>
                  <a:pt x="912" y="58"/>
                  <a:pt x="912" y="60"/>
                </a:cubicBezTo>
                <a:cubicBezTo>
                  <a:pt x="912" y="73"/>
                  <a:pt x="912" y="86"/>
                  <a:pt x="912" y="99"/>
                </a:cubicBezTo>
                <a:cubicBezTo>
                  <a:pt x="912" y="100"/>
                  <a:pt x="912" y="100"/>
                  <a:pt x="912" y="100"/>
                </a:cubicBezTo>
                <a:cubicBezTo>
                  <a:pt x="913" y="101"/>
                  <a:pt x="912" y="102"/>
                  <a:pt x="911" y="102"/>
                </a:cubicBezTo>
                <a:cubicBezTo>
                  <a:pt x="909" y="101"/>
                  <a:pt x="906" y="101"/>
                  <a:pt x="903" y="101"/>
                </a:cubicBezTo>
                <a:cubicBezTo>
                  <a:pt x="902" y="102"/>
                  <a:pt x="902" y="101"/>
                  <a:pt x="902" y="101"/>
                </a:cubicBezTo>
                <a:cubicBezTo>
                  <a:pt x="902" y="100"/>
                  <a:pt x="902" y="100"/>
                  <a:pt x="902" y="99"/>
                </a:cubicBezTo>
                <a:cubicBezTo>
                  <a:pt x="902" y="87"/>
                  <a:pt x="902" y="75"/>
                  <a:pt x="902" y="63"/>
                </a:cubicBezTo>
                <a:cubicBezTo>
                  <a:pt x="902" y="62"/>
                  <a:pt x="902" y="62"/>
                  <a:pt x="902" y="61"/>
                </a:cubicBezTo>
                <a:cubicBezTo>
                  <a:pt x="902" y="74"/>
                  <a:pt x="902" y="87"/>
                  <a:pt x="902" y="100"/>
                </a:cubicBezTo>
                <a:close/>
                <a:moveTo>
                  <a:pt x="1499" y="23"/>
                </a:moveTo>
                <a:cubicBezTo>
                  <a:pt x="1499" y="49"/>
                  <a:pt x="1499" y="74"/>
                  <a:pt x="1499" y="99"/>
                </a:cubicBezTo>
                <a:cubicBezTo>
                  <a:pt x="1499" y="100"/>
                  <a:pt x="1499" y="100"/>
                  <a:pt x="1499" y="100"/>
                </a:cubicBezTo>
                <a:cubicBezTo>
                  <a:pt x="1499" y="102"/>
                  <a:pt x="1499" y="102"/>
                  <a:pt x="1500" y="102"/>
                </a:cubicBezTo>
                <a:cubicBezTo>
                  <a:pt x="1503" y="102"/>
                  <a:pt x="1506" y="102"/>
                  <a:pt x="1509" y="102"/>
                </a:cubicBezTo>
                <a:cubicBezTo>
                  <a:pt x="1509" y="102"/>
                  <a:pt x="1510" y="102"/>
                  <a:pt x="1510" y="101"/>
                </a:cubicBezTo>
                <a:cubicBezTo>
                  <a:pt x="1507" y="101"/>
                  <a:pt x="1504" y="101"/>
                  <a:pt x="1501" y="101"/>
                </a:cubicBezTo>
                <a:cubicBezTo>
                  <a:pt x="1499" y="101"/>
                  <a:pt x="1499" y="101"/>
                  <a:pt x="1499" y="99"/>
                </a:cubicBezTo>
                <a:cubicBezTo>
                  <a:pt x="1499" y="74"/>
                  <a:pt x="1499" y="48"/>
                  <a:pt x="1499" y="22"/>
                </a:cubicBezTo>
                <a:cubicBezTo>
                  <a:pt x="1499" y="22"/>
                  <a:pt x="1499" y="21"/>
                  <a:pt x="1499" y="21"/>
                </a:cubicBezTo>
                <a:cubicBezTo>
                  <a:pt x="1499" y="20"/>
                  <a:pt x="1499" y="21"/>
                  <a:pt x="1498" y="21"/>
                </a:cubicBezTo>
                <a:cubicBezTo>
                  <a:pt x="1499" y="22"/>
                  <a:pt x="1499" y="22"/>
                  <a:pt x="1499" y="23"/>
                </a:cubicBezTo>
                <a:close/>
                <a:moveTo>
                  <a:pt x="1174" y="19"/>
                </a:moveTo>
                <a:cubicBezTo>
                  <a:pt x="1174" y="23"/>
                  <a:pt x="1174" y="28"/>
                  <a:pt x="1174" y="32"/>
                </a:cubicBezTo>
                <a:cubicBezTo>
                  <a:pt x="1174" y="34"/>
                  <a:pt x="1174" y="34"/>
                  <a:pt x="1172" y="34"/>
                </a:cubicBezTo>
                <a:cubicBezTo>
                  <a:pt x="1169" y="34"/>
                  <a:pt x="1167" y="34"/>
                  <a:pt x="1164" y="34"/>
                </a:cubicBezTo>
                <a:cubicBezTo>
                  <a:pt x="1163" y="34"/>
                  <a:pt x="1163" y="34"/>
                  <a:pt x="1163" y="35"/>
                </a:cubicBezTo>
                <a:cubicBezTo>
                  <a:pt x="1163" y="38"/>
                  <a:pt x="1163" y="40"/>
                  <a:pt x="1163" y="42"/>
                </a:cubicBezTo>
                <a:cubicBezTo>
                  <a:pt x="1163" y="44"/>
                  <a:pt x="1163" y="44"/>
                  <a:pt x="1164" y="44"/>
                </a:cubicBezTo>
                <a:cubicBezTo>
                  <a:pt x="1167" y="44"/>
                  <a:pt x="1170" y="44"/>
                  <a:pt x="1173" y="44"/>
                </a:cubicBezTo>
                <a:cubicBezTo>
                  <a:pt x="1174" y="44"/>
                  <a:pt x="1174" y="44"/>
                  <a:pt x="1174" y="45"/>
                </a:cubicBezTo>
                <a:cubicBezTo>
                  <a:pt x="1174" y="45"/>
                  <a:pt x="1174" y="46"/>
                  <a:pt x="1174" y="46"/>
                </a:cubicBezTo>
                <a:cubicBezTo>
                  <a:pt x="1174" y="59"/>
                  <a:pt x="1174" y="71"/>
                  <a:pt x="1174" y="84"/>
                </a:cubicBezTo>
                <a:cubicBezTo>
                  <a:pt x="1174" y="84"/>
                  <a:pt x="1174" y="85"/>
                  <a:pt x="1174" y="85"/>
                </a:cubicBezTo>
                <a:cubicBezTo>
                  <a:pt x="1174" y="84"/>
                  <a:pt x="1174" y="83"/>
                  <a:pt x="1174" y="82"/>
                </a:cubicBezTo>
                <a:cubicBezTo>
                  <a:pt x="1174" y="70"/>
                  <a:pt x="1174" y="57"/>
                  <a:pt x="1174" y="45"/>
                </a:cubicBezTo>
                <a:cubicBezTo>
                  <a:pt x="1174" y="43"/>
                  <a:pt x="1174" y="43"/>
                  <a:pt x="1173" y="43"/>
                </a:cubicBezTo>
                <a:cubicBezTo>
                  <a:pt x="1170" y="43"/>
                  <a:pt x="1167" y="43"/>
                  <a:pt x="1164" y="43"/>
                </a:cubicBezTo>
                <a:cubicBezTo>
                  <a:pt x="1163" y="43"/>
                  <a:pt x="1163" y="43"/>
                  <a:pt x="1163" y="42"/>
                </a:cubicBezTo>
                <a:cubicBezTo>
                  <a:pt x="1163" y="40"/>
                  <a:pt x="1163" y="38"/>
                  <a:pt x="1163" y="35"/>
                </a:cubicBezTo>
                <a:cubicBezTo>
                  <a:pt x="1163" y="34"/>
                  <a:pt x="1163" y="34"/>
                  <a:pt x="1164" y="34"/>
                </a:cubicBezTo>
                <a:cubicBezTo>
                  <a:pt x="1167" y="34"/>
                  <a:pt x="1170" y="34"/>
                  <a:pt x="1173" y="34"/>
                </a:cubicBezTo>
                <a:cubicBezTo>
                  <a:pt x="1174" y="34"/>
                  <a:pt x="1174" y="34"/>
                  <a:pt x="1174" y="33"/>
                </a:cubicBezTo>
                <a:cubicBezTo>
                  <a:pt x="1174" y="28"/>
                  <a:pt x="1174" y="24"/>
                  <a:pt x="1174" y="19"/>
                </a:cubicBezTo>
                <a:cubicBezTo>
                  <a:pt x="1174" y="19"/>
                  <a:pt x="1174" y="18"/>
                  <a:pt x="1175" y="18"/>
                </a:cubicBezTo>
                <a:cubicBezTo>
                  <a:pt x="1174" y="18"/>
                  <a:pt x="1174" y="18"/>
                  <a:pt x="1174" y="19"/>
                </a:cubicBezTo>
                <a:close/>
                <a:moveTo>
                  <a:pt x="1110" y="43"/>
                </a:moveTo>
                <a:cubicBezTo>
                  <a:pt x="1110" y="40"/>
                  <a:pt x="1110" y="38"/>
                  <a:pt x="1110" y="36"/>
                </a:cubicBezTo>
                <a:cubicBezTo>
                  <a:pt x="1110" y="34"/>
                  <a:pt x="1110" y="34"/>
                  <a:pt x="1109" y="34"/>
                </a:cubicBezTo>
                <a:cubicBezTo>
                  <a:pt x="1106" y="34"/>
                  <a:pt x="1103" y="34"/>
                  <a:pt x="1101" y="34"/>
                </a:cubicBezTo>
                <a:cubicBezTo>
                  <a:pt x="1099" y="34"/>
                  <a:pt x="1099" y="34"/>
                  <a:pt x="1099" y="36"/>
                </a:cubicBezTo>
                <a:cubicBezTo>
                  <a:pt x="1099" y="36"/>
                  <a:pt x="1099" y="36"/>
                  <a:pt x="1099" y="37"/>
                </a:cubicBezTo>
                <a:cubicBezTo>
                  <a:pt x="1099" y="57"/>
                  <a:pt x="1099" y="78"/>
                  <a:pt x="1099" y="99"/>
                </a:cubicBezTo>
                <a:cubicBezTo>
                  <a:pt x="1099" y="100"/>
                  <a:pt x="1099" y="100"/>
                  <a:pt x="1099" y="101"/>
                </a:cubicBezTo>
                <a:cubicBezTo>
                  <a:pt x="1099" y="101"/>
                  <a:pt x="1099" y="101"/>
                  <a:pt x="1099" y="101"/>
                </a:cubicBezTo>
                <a:cubicBezTo>
                  <a:pt x="1099" y="101"/>
                  <a:pt x="1099" y="100"/>
                  <a:pt x="1099" y="100"/>
                </a:cubicBezTo>
                <a:cubicBezTo>
                  <a:pt x="1099" y="78"/>
                  <a:pt x="1099" y="57"/>
                  <a:pt x="1099" y="36"/>
                </a:cubicBezTo>
                <a:cubicBezTo>
                  <a:pt x="1099" y="36"/>
                  <a:pt x="1099" y="36"/>
                  <a:pt x="1099" y="35"/>
                </a:cubicBezTo>
                <a:cubicBezTo>
                  <a:pt x="1099" y="35"/>
                  <a:pt x="1099" y="34"/>
                  <a:pt x="1100" y="34"/>
                </a:cubicBezTo>
                <a:cubicBezTo>
                  <a:pt x="1103" y="34"/>
                  <a:pt x="1106" y="34"/>
                  <a:pt x="1109" y="34"/>
                </a:cubicBezTo>
                <a:cubicBezTo>
                  <a:pt x="1110" y="34"/>
                  <a:pt x="1110" y="35"/>
                  <a:pt x="1110" y="35"/>
                </a:cubicBezTo>
                <a:cubicBezTo>
                  <a:pt x="1110" y="38"/>
                  <a:pt x="1110" y="41"/>
                  <a:pt x="1110" y="44"/>
                </a:cubicBezTo>
                <a:cubicBezTo>
                  <a:pt x="1110" y="45"/>
                  <a:pt x="1110" y="45"/>
                  <a:pt x="1110" y="45"/>
                </a:cubicBezTo>
                <a:cubicBezTo>
                  <a:pt x="1111" y="45"/>
                  <a:pt x="1111" y="45"/>
                  <a:pt x="1111" y="44"/>
                </a:cubicBezTo>
                <a:cubicBezTo>
                  <a:pt x="1110" y="44"/>
                  <a:pt x="1110" y="43"/>
                  <a:pt x="1110" y="43"/>
                </a:cubicBezTo>
                <a:close/>
                <a:moveTo>
                  <a:pt x="1343" y="95"/>
                </a:moveTo>
                <a:cubicBezTo>
                  <a:pt x="1343" y="97"/>
                  <a:pt x="1343" y="98"/>
                  <a:pt x="1343" y="100"/>
                </a:cubicBezTo>
                <a:cubicBezTo>
                  <a:pt x="1343" y="102"/>
                  <a:pt x="1342" y="102"/>
                  <a:pt x="1345" y="102"/>
                </a:cubicBezTo>
                <a:cubicBezTo>
                  <a:pt x="1363" y="102"/>
                  <a:pt x="1381" y="102"/>
                  <a:pt x="1399" y="102"/>
                </a:cubicBezTo>
                <a:cubicBezTo>
                  <a:pt x="1399" y="102"/>
                  <a:pt x="1400" y="102"/>
                  <a:pt x="1400" y="102"/>
                </a:cubicBezTo>
                <a:cubicBezTo>
                  <a:pt x="1401" y="102"/>
                  <a:pt x="1401" y="102"/>
                  <a:pt x="1401" y="101"/>
                </a:cubicBezTo>
                <a:cubicBezTo>
                  <a:pt x="1400" y="101"/>
                  <a:pt x="1400" y="101"/>
                  <a:pt x="1399" y="101"/>
                </a:cubicBezTo>
                <a:cubicBezTo>
                  <a:pt x="1381" y="101"/>
                  <a:pt x="1363" y="101"/>
                  <a:pt x="1345" y="101"/>
                </a:cubicBezTo>
                <a:cubicBezTo>
                  <a:pt x="1343" y="101"/>
                  <a:pt x="1343" y="101"/>
                  <a:pt x="1343" y="99"/>
                </a:cubicBezTo>
                <a:cubicBezTo>
                  <a:pt x="1343" y="97"/>
                  <a:pt x="1343" y="95"/>
                  <a:pt x="1343" y="94"/>
                </a:cubicBezTo>
                <a:cubicBezTo>
                  <a:pt x="1342" y="94"/>
                  <a:pt x="1343" y="94"/>
                  <a:pt x="1343" y="95"/>
                </a:cubicBezTo>
                <a:close/>
                <a:moveTo>
                  <a:pt x="1041" y="72"/>
                </a:moveTo>
                <a:cubicBezTo>
                  <a:pt x="1041" y="71"/>
                  <a:pt x="1041" y="71"/>
                  <a:pt x="1042" y="71"/>
                </a:cubicBezTo>
                <a:cubicBezTo>
                  <a:pt x="1043" y="71"/>
                  <a:pt x="1043" y="71"/>
                  <a:pt x="1044" y="71"/>
                </a:cubicBezTo>
                <a:cubicBezTo>
                  <a:pt x="1058" y="71"/>
                  <a:pt x="1072" y="71"/>
                  <a:pt x="1086" y="71"/>
                </a:cubicBezTo>
                <a:cubicBezTo>
                  <a:pt x="1086" y="71"/>
                  <a:pt x="1086" y="71"/>
                  <a:pt x="1087" y="71"/>
                </a:cubicBezTo>
                <a:cubicBezTo>
                  <a:pt x="1088" y="71"/>
                  <a:pt x="1088" y="71"/>
                  <a:pt x="1088" y="70"/>
                </a:cubicBezTo>
                <a:cubicBezTo>
                  <a:pt x="1088" y="67"/>
                  <a:pt x="1088" y="64"/>
                  <a:pt x="1088" y="62"/>
                </a:cubicBezTo>
                <a:cubicBezTo>
                  <a:pt x="1088" y="61"/>
                  <a:pt x="1088" y="61"/>
                  <a:pt x="1088" y="60"/>
                </a:cubicBezTo>
                <a:cubicBezTo>
                  <a:pt x="1088" y="63"/>
                  <a:pt x="1088" y="66"/>
                  <a:pt x="1088" y="69"/>
                </a:cubicBezTo>
                <a:cubicBezTo>
                  <a:pt x="1088" y="71"/>
                  <a:pt x="1088" y="71"/>
                  <a:pt x="1086" y="71"/>
                </a:cubicBezTo>
                <a:cubicBezTo>
                  <a:pt x="1086" y="71"/>
                  <a:pt x="1086" y="71"/>
                  <a:pt x="1085" y="71"/>
                </a:cubicBezTo>
                <a:cubicBezTo>
                  <a:pt x="1071" y="71"/>
                  <a:pt x="1057" y="71"/>
                  <a:pt x="1043" y="71"/>
                </a:cubicBezTo>
                <a:cubicBezTo>
                  <a:pt x="1040" y="71"/>
                  <a:pt x="1040" y="71"/>
                  <a:pt x="1041" y="73"/>
                </a:cubicBezTo>
                <a:cubicBezTo>
                  <a:pt x="1041" y="73"/>
                  <a:pt x="1041" y="73"/>
                  <a:pt x="1041" y="72"/>
                </a:cubicBezTo>
                <a:close/>
                <a:moveTo>
                  <a:pt x="1219" y="72"/>
                </a:moveTo>
                <a:cubicBezTo>
                  <a:pt x="1219" y="71"/>
                  <a:pt x="1219" y="71"/>
                  <a:pt x="1220" y="71"/>
                </a:cubicBezTo>
                <a:cubicBezTo>
                  <a:pt x="1220" y="71"/>
                  <a:pt x="1221" y="71"/>
                  <a:pt x="1221" y="71"/>
                </a:cubicBezTo>
                <a:cubicBezTo>
                  <a:pt x="1235" y="71"/>
                  <a:pt x="1249" y="71"/>
                  <a:pt x="1263" y="71"/>
                </a:cubicBezTo>
                <a:cubicBezTo>
                  <a:pt x="1264" y="71"/>
                  <a:pt x="1264" y="71"/>
                  <a:pt x="1265" y="71"/>
                </a:cubicBezTo>
                <a:cubicBezTo>
                  <a:pt x="1266" y="71"/>
                  <a:pt x="1266" y="71"/>
                  <a:pt x="1266" y="70"/>
                </a:cubicBezTo>
                <a:cubicBezTo>
                  <a:pt x="1266" y="67"/>
                  <a:pt x="1266" y="65"/>
                  <a:pt x="1266" y="62"/>
                </a:cubicBezTo>
                <a:cubicBezTo>
                  <a:pt x="1266" y="62"/>
                  <a:pt x="1266" y="61"/>
                  <a:pt x="1266" y="61"/>
                </a:cubicBezTo>
                <a:cubicBezTo>
                  <a:pt x="1266" y="64"/>
                  <a:pt x="1266" y="66"/>
                  <a:pt x="1266" y="69"/>
                </a:cubicBezTo>
                <a:cubicBezTo>
                  <a:pt x="1266" y="71"/>
                  <a:pt x="1266" y="71"/>
                  <a:pt x="1264" y="71"/>
                </a:cubicBezTo>
                <a:cubicBezTo>
                  <a:pt x="1250" y="71"/>
                  <a:pt x="1235" y="71"/>
                  <a:pt x="1221" y="71"/>
                </a:cubicBezTo>
                <a:cubicBezTo>
                  <a:pt x="1218" y="71"/>
                  <a:pt x="1218" y="71"/>
                  <a:pt x="1218" y="74"/>
                </a:cubicBezTo>
                <a:cubicBezTo>
                  <a:pt x="1218" y="74"/>
                  <a:pt x="1219" y="74"/>
                  <a:pt x="1219" y="74"/>
                </a:cubicBezTo>
                <a:cubicBezTo>
                  <a:pt x="1219" y="73"/>
                  <a:pt x="1219" y="73"/>
                  <a:pt x="1219" y="72"/>
                </a:cubicBezTo>
                <a:close/>
                <a:moveTo>
                  <a:pt x="1529" y="102"/>
                </a:moveTo>
                <a:cubicBezTo>
                  <a:pt x="1547" y="102"/>
                  <a:pt x="1565" y="102"/>
                  <a:pt x="1583" y="102"/>
                </a:cubicBezTo>
                <a:cubicBezTo>
                  <a:pt x="1584" y="102"/>
                  <a:pt x="1584" y="102"/>
                  <a:pt x="1584" y="102"/>
                </a:cubicBezTo>
                <a:cubicBezTo>
                  <a:pt x="1585" y="102"/>
                  <a:pt x="1585" y="102"/>
                  <a:pt x="1585" y="101"/>
                </a:cubicBezTo>
                <a:cubicBezTo>
                  <a:pt x="1585" y="101"/>
                  <a:pt x="1584" y="101"/>
                  <a:pt x="1584" y="101"/>
                </a:cubicBezTo>
                <a:cubicBezTo>
                  <a:pt x="1566" y="101"/>
                  <a:pt x="1547" y="101"/>
                  <a:pt x="1529" y="101"/>
                </a:cubicBezTo>
                <a:cubicBezTo>
                  <a:pt x="1528" y="101"/>
                  <a:pt x="1528" y="101"/>
                  <a:pt x="1527" y="101"/>
                </a:cubicBezTo>
                <a:cubicBezTo>
                  <a:pt x="1528" y="102"/>
                  <a:pt x="1528" y="102"/>
                  <a:pt x="1529" y="102"/>
                </a:cubicBezTo>
                <a:close/>
                <a:moveTo>
                  <a:pt x="1697" y="102"/>
                </a:moveTo>
                <a:cubicBezTo>
                  <a:pt x="1715" y="102"/>
                  <a:pt x="1733" y="102"/>
                  <a:pt x="1751" y="102"/>
                </a:cubicBezTo>
                <a:cubicBezTo>
                  <a:pt x="1752" y="102"/>
                  <a:pt x="1752" y="102"/>
                  <a:pt x="1753" y="102"/>
                </a:cubicBezTo>
                <a:cubicBezTo>
                  <a:pt x="1753" y="102"/>
                  <a:pt x="1753" y="102"/>
                  <a:pt x="1753" y="101"/>
                </a:cubicBezTo>
                <a:cubicBezTo>
                  <a:pt x="1753" y="101"/>
                  <a:pt x="1752" y="101"/>
                  <a:pt x="1752" y="101"/>
                </a:cubicBezTo>
                <a:cubicBezTo>
                  <a:pt x="1734" y="101"/>
                  <a:pt x="1715" y="101"/>
                  <a:pt x="1697" y="101"/>
                </a:cubicBezTo>
                <a:cubicBezTo>
                  <a:pt x="1696" y="101"/>
                  <a:pt x="1696" y="101"/>
                  <a:pt x="1695" y="101"/>
                </a:cubicBezTo>
                <a:cubicBezTo>
                  <a:pt x="1696" y="102"/>
                  <a:pt x="1697" y="102"/>
                  <a:pt x="1697" y="102"/>
                </a:cubicBezTo>
                <a:close/>
                <a:moveTo>
                  <a:pt x="1186" y="82"/>
                </a:moveTo>
                <a:cubicBezTo>
                  <a:pt x="1186" y="70"/>
                  <a:pt x="1186" y="58"/>
                  <a:pt x="1186" y="46"/>
                </a:cubicBezTo>
                <a:cubicBezTo>
                  <a:pt x="1186" y="46"/>
                  <a:pt x="1186" y="46"/>
                  <a:pt x="1186" y="45"/>
                </a:cubicBezTo>
                <a:cubicBezTo>
                  <a:pt x="1186" y="44"/>
                  <a:pt x="1186" y="44"/>
                  <a:pt x="1187" y="44"/>
                </a:cubicBezTo>
                <a:cubicBezTo>
                  <a:pt x="1188" y="44"/>
                  <a:pt x="1188" y="44"/>
                  <a:pt x="1188" y="44"/>
                </a:cubicBezTo>
                <a:cubicBezTo>
                  <a:pt x="1192" y="44"/>
                  <a:pt x="1196" y="44"/>
                  <a:pt x="1201" y="44"/>
                </a:cubicBezTo>
                <a:cubicBezTo>
                  <a:pt x="1201" y="44"/>
                  <a:pt x="1202" y="44"/>
                  <a:pt x="1202" y="43"/>
                </a:cubicBezTo>
                <a:cubicBezTo>
                  <a:pt x="1202" y="44"/>
                  <a:pt x="1201" y="43"/>
                  <a:pt x="1200" y="43"/>
                </a:cubicBezTo>
                <a:cubicBezTo>
                  <a:pt x="1196" y="43"/>
                  <a:pt x="1191" y="43"/>
                  <a:pt x="1187" y="43"/>
                </a:cubicBezTo>
                <a:cubicBezTo>
                  <a:pt x="1185" y="43"/>
                  <a:pt x="1185" y="43"/>
                  <a:pt x="1185" y="45"/>
                </a:cubicBezTo>
                <a:cubicBezTo>
                  <a:pt x="1185" y="57"/>
                  <a:pt x="1185" y="70"/>
                  <a:pt x="1185" y="83"/>
                </a:cubicBezTo>
                <a:cubicBezTo>
                  <a:pt x="1185" y="83"/>
                  <a:pt x="1185" y="84"/>
                  <a:pt x="1186" y="85"/>
                </a:cubicBezTo>
                <a:cubicBezTo>
                  <a:pt x="1186" y="84"/>
                  <a:pt x="1186" y="83"/>
                  <a:pt x="1186" y="82"/>
                </a:cubicBezTo>
                <a:close/>
                <a:moveTo>
                  <a:pt x="1145" y="102"/>
                </a:moveTo>
                <a:cubicBezTo>
                  <a:pt x="1145" y="102"/>
                  <a:pt x="1146" y="102"/>
                  <a:pt x="1146" y="102"/>
                </a:cubicBezTo>
                <a:cubicBezTo>
                  <a:pt x="1149" y="102"/>
                  <a:pt x="1152" y="102"/>
                  <a:pt x="1154" y="102"/>
                </a:cubicBezTo>
                <a:cubicBezTo>
                  <a:pt x="1155" y="102"/>
                  <a:pt x="1155" y="102"/>
                  <a:pt x="1155" y="101"/>
                </a:cubicBezTo>
                <a:cubicBezTo>
                  <a:pt x="1155" y="100"/>
                  <a:pt x="1155" y="100"/>
                  <a:pt x="1155" y="100"/>
                </a:cubicBezTo>
                <a:cubicBezTo>
                  <a:pt x="1155" y="86"/>
                  <a:pt x="1155" y="72"/>
                  <a:pt x="1155" y="58"/>
                </a:cubicBezTo>
                <a:cubicBezTo>
                  <a:pt x="1155" y="57"/>
                  <a:pt x="1155" y="56"/>
                  <a:pt x="1155" y="56"/>
                </a:cubicBezTo>
                <a:cubicBezTo>
                  <a:pt x="1155" y="57"/>
                  <a:pt x="1155" y="59"/>
                  <a:pt x="1155" y="60"/>
                </a:cubicBezTo>
                <a:cubicBezTo>
                  <a:pt x="1155" y="73"/>
                  <a:pt x="1155" y="86"/>
                  <a:pt x="1155" y="100"/>
                </a:cubicBezTo>
                <a:cubicBezTo>
                  <a:pt x="1155" y="100"/>
                  <a:pt x="1155" y="100"/>
                  <a:pt x="1155" y="101"/>
                </a:cubicBezTo>
                <a:cubicBezTo>
                  <a:pt x="1155" y="101"/>
                  <a:pt x="1155" y="101"/>
                  <a:pt x="1154" y="101"/>
                </a:cubicBezTo>
                <a:cubicBezTo>
                  <a:pt x="1151" y="101"/>
                  <a:pt x="1148" y="102"/>
                  <a:pt x="1144" y="101"/>
                </a:cubicBezTo>
                <a:cubicBezTo>
                  <a:pt x="1144" y="102"/>
                  <a:pt x="1145" y="102"/>
                  <a:pt x="1145" y="102"/>
                </a:cubicBezTo>
                <a:close/>
                <a:moveTo>
                  <a:pt x="714" y="19"/>
                </a:moveTo>
                <a:cubicBezTo>
                  <a:pt x="714" y="24"/>
                  <a:pt x="714" y="28"/>
                  <a:pt x="714" y="33"/>
                </a:cubicBezTo>
                <a:cubicBezTo>
                  <a:pt x="714" y="34"/>
                  <a:pt x="714" y="34"/>
                  <a:pt x="713" y="34"/>
                </a:cubicBezTo>
                <a:cubicBezTo>
                  <a:pt x="710" y="34"/>
                  <a:pt x="707" y="34"/>
                  <a:pt x="704" y="34"/>
                </a:cubicBezTo>
                <a:cubicBezTo>
                  <a:pt x="703" y="34"/>
                  <a:pt x="703" y="34"/>
                  <a:pt x="703" y="35"/>
                </a:cubicBezTo>
                <a:cubicBezTo>
                  <a:pt x="703" y="38"/>
                  <a:pt x="703" y="40"/>
                  <a:pt x="703" y="42"/>
                </a:cubicBezTo>
                <a:cubicBezTo>
                  <a:pt x="703" y="44"/>
                  <a:pt x="703" y="44"/>
                  <a:pt x="704" y="44"/>
                </a:cubicBezTo>
                <a:cubicBezTo>
                  <a:pt x="708" y="44"/>
                  <a:pt x="711" y="44"/>
                  <a:pt x="714" y="44"/>
                </a:cubicBezTo>
                <a:cubicBezTo>
                  <a:pt x="714" y="43"/>
                  <a:pt x="713" y="43"/>
                  <a:pt x="713" y="43"/>
                </a:cubicBezTo>
                <a:cubicBezTo>
                  <a:pt x="710" y="43"/>
                  <a:pt x="707" y="43"/>
                  <a:pt x="704" y="43"/>
                </a:cubicBezTo>
                <a:cubicBezTo>
                  <a:pt x="703" y="43"/>
                  <a:pt x="703" y="43"/>
                  <a:pt x="703" y="42"/>
                </a:cubicBezTo>
                <a:cubicBezTo>
                  <a:pt x="703" y="40"/>
                  <a:pt x="703" y="38"/>
                  <a:pt x="703" y="36"/>
                </a:cubicBezTo>
                <a:cubicBezTo>
                  <a:pt x="703" y="34"/>
                  <a:pt x="703" y="34"/>
                  <a:pt x="704" y="34"/>
                </a:cubicBezTo>
                <a:cubicBezTo>
                  <a:pt x="707" y="34"/>
                  <a:pt x="710" y="34"/>
                  <a:pt x="713" y="34"/>
                </a:cubicBezTo>
                <a:cubicBezTo>
                  <a:pt x="714" y="34"/>
                  <a:pt x="714" y="34"/>
                  <a:pt x="715" y="33"/>
                </a:cubicBezTo>
                <a:cubicBezTo>
                  <a:pt x="715" y="28"/>
                  <a:pt x="714" y="24"/>
                  <a:pt x="715" y="19"/>
                </a:cubicBezTo>
                <a:cubicBezTo>
                  <a:pt x="715" y="19"/>
                  <a:pt x="714" y="18"/>
                  <a:pt x="715" y="18"/>
                </a:cubicBezTo>
                <a:cubicBezTo>
                  <a:pt x="714" y="18"/>
                  <a:pt x="714" y="19"/>
                  <a:pt x="714" y="19"/>
                </a:cubicBezTo>
                <a:close/>
                <a:moveTo>
                  <a:pt x="1399" y="91"/>
                </a:moveTo>
                <a:cubicBezTo>
                  <a:pt x="1385" y="91"/>
                  <a:pt x="1371" y="91"/>
                  <a:pt x="1357" y="91"/>
                </a:cubicBezTo>
                <a:cubicBezTo>
                  <a:pt x="1356" y="91"/>
                  <a:pt x="1356" y="91"/>
                  <a:pt x="1355" y="91"/>
                </a:cubicBezTo>
                <a:cubicBezTo>
                  <a:pt x="1355" y="91"/>
                  <a:pt x="1354" y="91"/>
                  <a:pt x="1354" y="91"/>
                </a:cubicBezTo>
                <a:cubicBezTo>
                  <a:pt x="1354" y="90"/>
                  <a:pt x="1354" y="90"/>
                  <a:pt x="1354" y="89"/>
                </a:cubicBezTo>
                <a:cubicBezTo>
                  <a:pt x="1354" y="92"/>
                  <a:pt x="1354" y="92"/>
                  <a:pt x="1356" y="92"/>
                </a:cubicBezTo>
                <a:cubicBezTo>
                  <a:pt x="1370" y="92"/>
                  <a:pt x="1385" y="92"/>
                  <a:pt x="1399" y="92"/>
                </a:cubicBezTo>
                <a:cubicBezTo>
                  <a:pt x="1400" y="92"/>
                  <a:pt x="1400" y="92"/>
                  <a:pt x="1401" y="92"/>
                </a:cubicBezTo>
                <a:cubicBezTo>
                  <a:pt x="1401" y="91"/>
                  <a:pt x="1400" y="91"/>
                  <a:pt x="1399" y="91"/>
                </a:cubicBezTo>
                <a:close/>
                <a:moveTo>
                  <a:pt x="792" y="71"/>
                </a:moveTo>
                <a:cubicBezTo>
                  <a:pt x="796" y="71"/>
                  <a:pt x="800" y="71"/>
                  <a:pt x="804" y="71"/>
                </a:cubicBezTo>
                <a:cubicBezTo>
                  <a:pt x="805" y="71"/>
                  <a:pt x="805" y="71"/>
                  <a:pt x="806" y="70"/>
                </a:cubicBezTo>
                <a:cubicBezTo>
                  <a:pt x="805" y="71"/>
                  <a:pt x="804" y="71"/>
                  <a:pt x="804" y="71"/>
                </a:cubicBezTo>
                <a:cubicBezTo>
                  <a:pt x="789" y="71"/>
                  <a:pt x="775" y="71"/>
                  <a:pt x="760" y="71"/>
                </a:cubicBezTo>
                <a:cubicBezTo>
                  <a:pt x="760" y="71"/>
                  <a:pt x="759" y="70"/>
                  <a:pt x="759" y="71"/>
                </a:cubicBezTo>
                <a:cubicBezTo>
                  <a:pt x="770" y="71"/>
                  <a:pt x="781" y="71"/>
                  <a:pt x="792" y="71"/>
                </a:cubicBezTo>
                <a:close/>
                <a:moveTo>
                  <a:pt x="1751" y="91"/>
                </a:moveTo>
                <a:cubicBezTo>
                  <a:pt x="1736" y="91"/>
                  <a:pt x="1722" y="91"/>
                  <a:pt x="1707" y="91"/>
                </a:cubicBezTo>
                <a:cubicBezTo>
                  <a:pt x="1707" y="92"/>
                  <a:pt x="1708" y="92"/>
                  <a:pt x="1708" y="92"/>
                </a:cubicBezTo>
                <a:cubicBezTo>
                  <a:pt x="1722" y="92"/>
                  <a:pt x="1735" y="92"/>
                  <a:pt x="1748" y="92"/>
                </a:cubicBezTo>
                <a:cubicBezTo>
                  <a:pt x="1750" y="92"/>
                  <a:pt x="1752" y="92"/>
                  <a:pt x="1753" y="92"/>
                </a:cubicBezTo>
                <a:cubicBezTo>
                  <a:pt x="1753" y="91"/>
                  <a:pt x="1752" y="91"/>
                  <a:pt x="1751" y="91"/>
                </a:cubicBezTo>
                <a:close/>
                <a:moveTo>
                  <a:pt x="1583" y="91"/>
                </a:moveTo>
                <a:cubicBezTo>
                  <a:pt x="1568" y="91"/>
                  <a:pt x="1553" y="91"/>
                  <a:pt x="1539" y="91"/>
                </a:cubicBezTo>
                <a:cubicBezTo>
                  <a:pt x="1539" y="92"/>
                  <a:pt x="1540" y="92"/>
                  <a:pt x="1540" y="92"/>
                </a:cubicBezTo>
                <a:cubicBezTo>
                  <a:pt x="1554" y="92"/>
                  <a:pt x="1567" y="92"/>
                  <a:pt x="1580" y="92"/>
                </a:cubicBezTo>
                <a:cubicBezTo>
                  <a:pt x="1582" y="92"/>
                  <a:pt x="1583" y="92"/>
                  <a:pt x="1585" y="92"/>
                </a:cubicBezTo>
                <a:cubicBezTo>
                  <a:pt x="1585" y="91"/>
                  <a:pt x="1584" y="91"/>
                  <a:pt x="1583" y="91"/>
                </a:cubicBezTo>
                <a:close/>
                <a:moveTo>
                  <a:pt x="859" y="81"/>
                </a:moveTo>
                <a:cubicBezTo>
                  <a:pt x="859" y="87"/>
                  <a:pt x="859" y="94"/>
                  <a:pt x="859" y="100"/>
                </a:cubicBezTo>
                <a:cubicBezTo>
                  <a:pt x="859" y="100"/>
                  <a:pt x="859" y="101"/>
                  <a:pt x="859" y="101"/>
                </a:cubicBezTo>
                <a:cubicBezTo>
                  <a:pt x="859" y="101"/>
                  <a:pt x="859" y="100"/>
                  <a:pt x="859" y="99"/>
                </a:cubicBezTo>
                <a:cubicBezTo>
                  <a:pt x="859" y="87"/>
                  <a:pt x="859" y="74"/>
                  <a:pt x="859" y="61"/>
                </a:cubicBezTo>
                <a:cubicBezTo>
                  <a:pt x="859" y="60"/>
                  <a:pt x="860" y="59"/>
                  <a:pt x="859" y="57"/>
                </a:cubicBezTo>
                <a:cubicBezTo>
                  <a:pt x="859" y="65"/>
                  <a:pt x="859" y="73"/>
                  <a:pt x="859" y="81"/>
                </a:cubicBezTo>
                <a:close/>
                <a:moveTo>
                  <a:pt x="714" y="86"/>
                </a:moveTo>
                <a:cubicBezTo>
                  <a:pt x="714" y="86"/>
                  <a:pt x="714" y="87"/>
                  <a:pt x="715" y="87"/>
                </a:cubicBezTo>
                <a:cubicBezTo>
                  <a:pt x="715" y="85"/>
                  <a:pt x="715" y="83"/>
                  <a:pt x="715" y="81"/>
                </a:cubicBezTo>
                <a:cubicBezTo>
                  <a:pt x="714" y="69"/>
                  <a:pt x="715" y="57"/>
                  <a:pt x="714" y="46"/>
                </a:cubicBezTo>
                <a:cubicBezTo>
                  <a:pt x="714" y="45"/>
                  <a:pt x="715" y="44"/>
                  <a:pt x="714" y="44"/>
                </a:cubicBezTo>
                <a:cubicBezTo>
                  <a:pt x="714" y="58"/>
                  <a:pt x="714" y="72"/>
                  <a:pt x="714" y="86"/>
                </a:cubicBezTo>
                <a:close/>
                <a:moveTo>
                  <a:pt x="741" y="44"/>
                </a:moveTo>
                <a:cubicBezTo>
                  <a:pt x="742" y="44"/>
                  <a:pt x="742" y="44"/>
                  <a:pt x="742" y="42"/>
                </a:cubicBezTo>
                <a:cubicBezTo>
                  <a:pt x="742" y="40"/>
                  <a:pt x="742" y="38"/>
                  <a:pt x="742" y="36"/>
                </a:cubicBezTo>
                <a:cubicBezTo>
                  <a:pt x="742" y="34"/>
                  <a:pt x="742" y="34"/>
                  <a:pt x="741" y="34"/>
                </a:cubicBezTo>
                <a:cubicBezTo>
                  <a:pt x="736" y="34"/>
                  <a:pt x="731" y="34"/>
                  <a:pt x="725" y="34"/>
                </a:cubicBezTo>
                <a:cubicBezTo>
                  <a:pt x="726" y="35"/>
                  <a:pt x="726" y="34"/>
                  <a:pt x="727" y="34"/>
                </a:cubicBezTo>
                <a:cubicBezTo>
                  <a:pt x="732" y="34"/>
                  <a:pt x="736" y="34"/>
                  <a:pt x="741" y="34"/>
                </a:cubicBezTo>
                <a:cubicBezTo>
                  <a:pt x="742" y="34"/>
                  <a:pt x="742" y="34"/>
                  <a:pt x="742" y="36"/>
                </a:cubicBezTo>
                <a:cubicBezTo>
                  <a:pt x="742" y="38"/>
                  <a:pt x="742" y="40"/>
                  <a:pt x="742" y="42"/>
                </a:cubicBezTo>
                <a:cubicBezTo>
                  <a:pt x="742" y="44"/>
                  <a:pt x="742" y="43"/>
                  <a:pt x="741" y="43"/>
                </a:cubicBezTo>
                <a:cubicBezTo>
                  <a:pt x="736" y="43"/>
                  <a:pt x="732" y="43"/>
                  <a:pt x="727" y="43"/>
                </a:cubicBezTo>
                <a:cubicBezTo>
                  <a:pt x="726" y="43"/>
                  <a:pt x="726" y="43"/>
                  <a:pt x="725" y="44"/>
                </a:cubicBezTo>
                <a:cubicBezTo>
                  <a:pt x="731" y="44"/>
                  <a:pt x="736" y="44"/>
                  <a:pt x="741" y="44"/>
                </a:cubicBezTo>
                <a:close/>
                <a:moveTo>
                  <a:pt x="871" y="100"/>
                </a:moveTo>
                <a:cubicBezTo>
                  <a:pt x="871" y="93"/>
                  <a:pt x="871" y="87"/>
                  <a:pt x="871" y="80"/>
                </a:cubicBezTo>
                <a:cubicBezTo>
                  <a:pt x="871" y="73"/>
                  <a:pt x="871" y="67"/>
                  <a:pt x="871" y="60"/>
                </a:cubicBezTo>
                <a:cubicBezTo>
                  <a:pt x="870" y="61"/>
                  <a:pt x="870" y="63"/>
                  <a:pt x="870" y="64"/>
                </a:cubicBezTo>
                <a:cubicBezTo>
                  <a:pt x="870" y="76"/>
                  <a:pt x="870" y="88"/>
                  <a:pt x="870" y="99"/>
                </a:cubicBezTo>
                <a:cubicBezTo>
                  <a:pt x="870" y="100"/>
                  <a:pt x="870" y="101"/>
                  <a:pt x="870" y="101"/>
                </a:cubicBezTo>
                <a:cubicBezTo>
                  <a:pt x="871" y="101"/>
                  <a:pt x="871" y="100"/>
                  <a:pt x="871" y="100"/>
                </a:cubicBezTo>
                <a:close/>
                <a:moveTo>
                  <a:pt x="1110" y="100"/>
                </a:moveTo>
                <a:cubicBezTo>
                  <a:pt x="1110" y="93"/>
                  <a:pt x="1110" y="86"/>
                  <a:pt x="1110" y="79"/>
                </a:cubicBezTo>
                <a:cubicBezTo>
                  <a:pt x="1110" y="73"/>
                  <a:pt x="1110" y="66"/>
                  <a:pt x="1110" y="60"/>
                </a:cubicBezTo>
                <a:cubicBezTo>
                  <a:pt x="1110" y="61"/>
                  <a:pt x="1110" y="63"/>
                  <a:pt x="1110" y="64"/>
                </a:cubicBezTo>
                <a:cubicBezTo>
                  <a:pt x="1110" y="76"/>
                  <a:pt x="1110" y="88"/>
                  <a:pt x="1110" y="99"/>
                </a:cubicBezTo>
                <a:cubicBezTo>
                  <a:pt x="1110" y="100"/>
                  <a:pt x="1110" y="101"/>
                  <a:pt x="1110" y="101"/>
                </a:cubicBezTo>
                <a:cubicBezTo>
                  <a:pt x="1111" y="101"/>
                  <a:pt x="1110" y="100"/>
                  <a:pt x="1110" y="100"/>
                </a:cubicBezTo>
                <a:close/>
                <a:moveTo>
                  <a:pt x="1288" y="100"/>
                </a:moveTo>
                <a:cubicBezTo>
                  <a:pt x="1288" y="88"/>
                  <a:pt x="1288" y="75"/>
                  <a:pt x="1288" y="63"/>
                </a:cubicBezTo>
                <a:cubicBezTo>
                  <a:pt x="1288" y="64"/>
                  <a:pt x="1288" y="65"/>
                  <a:pt x="1288" y="66"/>
                </a:cubicBezTo>
                <a:cubicBezTo>
                  <a:pt x="1288" y="77"/>
                  <a:pt x="1288" y="88"/>
                  <a:pt x="1288" y="99"/>
                </a:cubicBezTo>
                <a:cubicBezTo>
                  <a:pt x="1288" y="100"/>
                  <a:pt x="1288" y="101"/>
                  <a:pt x="1288" y="101"/>
                </a:cubicBezTo>
                <a:cubicBezTo>
                  <a:pt x="1288" y="101"/>
                  <a:pt x="1288" y="101"/>
                  <a:pt x="1288" y="100"/>
                </a:cubicBezTo>
                <a:close/>
                <a:moveTo>
                  <a:pt x="1201" y="34"/>
                </a:moveTo>
                <a:cubicBezTo>
                  <a:pt x="1196" y="34"/>
                  <a:pt x="1192" y="34"/>
                  <a:pt x="1187" y="34"/>
                </a:cubicBezTo>
                <a:cubicBezTo>
                  <a:pt x="1186" y="34"/>
                  <a:pt x="1186" y="34"/>
                  <a:pt x="1186" y="32"/>
                </a:cubicBezTo>
                <a:cubicBezTo>
                  <a:pt x="1186" y="27"/>
                  <a:pt x="1186" y="21"/>
                  <a:pt x="1186" y="16"/>
                </a:cubicBezTo>
                <a:cubicBezTo>
                  <a:pt x="1186" y="16"/>
                  <a:pt x="1186" y="15"/>
                  <a:pt x="1186" y="15"/>
                </a:cubicBezTo>
                <a:cubicBezTo>
                  <a:pt x="1185" y="14"/>
                  <a:pt x="1185" y="14"/>
                  <a:pt x="1185" y="15"/>
                </a:cubicBezTo>
                <a:cubicBezTo>
                  <a:pt x="1185" y="15"/>
                  <a:pt x="1185" y="14"/>
                  <a:pt x="1185" y="15"/>
                </a:cubicBezTo>
                <a:cubicBezTo>
                  <a:pt x="1185" y="15"/>
                  <a:pt x="1185" y="16"/>
                  <a:pt x="1185" y="16"/>
                </a:cubicBezTo>
                <a:cubicBezTo>
                  <a:pt x="1185" y="22"/>
                  <a:pt x="1185" y="27"/>
                  <a:pt x="1185" y="33"/>
                </a:cubicBezTo>
                <a:cubicBezTo>
                  <a:pt x="1185" y="34"/>
                  <a:pt x="1185" y="34"/>
                  <a:pt x="1187" y="34"/>
                </a:cubicBezTo>
                <a:cubicBezTo>
                  <a:pt x="1191" y="34"/>
                  <a:pt x="1196" y="34"/>
                  <a:pt x="1200" y="34"/>
                </a:cubicBezTo>
                <a:cubicBezTo>
                  <a:pt x="1201" y="34"/>
                  <a:pt x="1202" y="34"/>
                  <a:pt x="1202" y="34"/>
                </a:cubicBezTo>
                <a:cubicBezTo>
                  <a:pt x="1202" y="34"/>
                  <a:pt x="1201" y="34"/>
                  <a:pt x="1201" y="34"/>
                </a:cubicBezTo>
                <a:close/>
                <a:moveTo>
                  <a:pt x="1346" y="16"/>
                </a:moveTo>
                <a:cubicBezTo>
                  <a:pt x="1346" y="19"/>
                  <a:pt x="1346" y="22"/>
                  <a:pt x="1346" y="26"/>
                </a:cubicBezTo>
                <a:cubicBezTo>
                  <a:pt x="1346" y="26"/>
                  <a:pt x="1346" y="26"/>
                  <a:pt x="1347" y="27"/>
                </a:cubicBezTo>
                <a:cubicBezTo>
                  <a:pt x="1348" y="26"/>
                  <a:pt x="1349" y="25"/>
                  <a:pt x="1350" y="23"/>
                </a:cubicBezTo>
                <a:cubicBezTo>
                  <a:pt x="1349" y="24"/>
                  <a:pt x="1348" y="25"/>
                  <a:pt x="1347" y="26"/>
                </a:cubicBezTo>
                <a:cubicBezTo>
                  <a:pt x="1347" y="22"/>
                  <a:pt x="1347" y="19"/>
                  <a:pt x="1347" y="15"/>
                </a:cubicBezTo>
                <a:cubicBezTo>
                  <a:pt x="1347" y="15"/>
                  <a:pt x="1347" y="15"/>
                  <a:pt x="1347" y="15"/>
                </a:cubicBezTo>
                <a:cubicBezTo>
                  <a:pt x="1346" y="15"/>
                  <a:pt x="1346" y="15"/>
                  <a:pt x="1346" y="16"/>
                </a:cubicBezTo>
                <a:close/>
                <a:moveTo>
                  <a:pt x="1676" y="102"/>
                </a:moveTo>
                <a:cubicBezTo>
                  <a:pt x="1680" y="102"/>
                  <a:pt x="1683" y="102"/>
                  <a:pt x="1687" y="102"/>
                </a:cubicBezTo>
                <a:cubicBezTo>
                  <a:pt x="1687" y="102"/>
                  <a:pt x="1687" y="102"/>
                  <a:pt x="1688" y="102"/>
                </a:cubicBezTo>
                <a:cubicBezTo>
                  <a:pt x="1688" y="102"/>
                  <a:pt x="1688" y="101"/>
                  <a:pt x="1688" y="101"/>
                </a:cubicBezTo>
                <a:cubicBezTo>
                  <a:pt x="1688" y="101"/>
                  <a:pt x="1688" y="101"/>
                  <a:pt x="1687" y="101"/>
                </a:cubicBezTo>
                <a:cubicBezTo>
                  <a:pt x="1683" y="101"/>
                  <a:pt x="1679" y="101"/>
                  <a:pt x="1675" y="101"/>
                </a:cubicBezTo>
                <a:cubicBezTo>
                  <a:pt x="1675" y="102"/>
                  <a:pt x="1676" y="102"/>
                  <a:pt x="1676" y="102"/>
                </a:cubicBezTo>
                <a:close/>
                <a:moveTo>
                  <a:pt x="603" y="34"/>
                </a:moveTo>
                <a:cubicBezTo>
                  <a:pt x="600" y="34"/>
                  <a:pt x="597" y="34"/>
                  <a:pt x="593" y="34"/>
                </a:cubicBezTo>
                <a:cubicBezTo>
                  <a:pt x="593" y="34"/>
                  <a:pt x="593" y="34"/>
                  <a:pt x="592" y="34"/>
                </a:cubicBezTo>
                <a:cubicBezTo>
                  <a:pt x="592" y="34"/>
                  <a:pt x="592" y="35"/>
                  <a:pt x="592" y="35"/>
                </a:cubicBezTo>
                <a:cubicBezTo>
                  <a:pt x="592" y="34"/>
                  <a:pt x="593" y="34"/>
                  <a:pt x="593" y="34"/>
                </a:cubicBezTo>
                <a:cubicBezTo>
                  <a:pt x="597" y="34"/>
                  <a:pt x="600" y="34"/>
                  <a:pt x="603" y="34"/>
                </a:cubicBezTo>
                <a:cubicBezTo>
                  <a:pt x="604" y="34"/>
                  <a:pt x="604" y="34"/>
                  <a:pt x="605" y="35"/>
                </a:cubicBezTo>
                <a:cubicBezTo>
                  <a:pt x="605" y="34"/>
                  <a:pt x="604" y="34"/>
                  <a:pt x="603" y="34"/>
                </a:cubicBezTo>
                <a:close/>
                <a:moveTo>
                  <a:pt x="1471" y="59"/>
                </a:moveTo>
                <a:cubicBezTo>
                  <a:pt x="1471" y="56"/>
                  <a:pt x="1471" y="52"/>
                  <a:pt x="1471" y="48"/>
                </a:cubicBezTo>
                <a:cubicBezTo>
                  <a:pt x="1471" y="48"/>
                  <a:pt x="1471" y="47"/>
                  <a:pt x="1471" y="47"/>
                </a:cubicBezTo>
                <a:cubicBezTo>
                  <a:pt x="1471" y="51"/>
                  <a:pt x="1471" y="56"/>
                  <a:pt x="1471" y="60"/>
                </a:cubicBezTo>
                <a:cubicBezTo>
                  <a:pt x="1471" y="60"/>
                  <a:pt x="1471" y="60"/>
                  <a:pt x="1471" y="59"/>
                </a:cubicBezTo>
                <a:close/>
                <a:moveTo>
                  <a:pt x="585" y="22"/>
                </a:moveTo>
                <a:cubicBezTo>
                  <a:pt x="585" y="21"/>
                  <a:pt x="585" y="21"/>
                  <a:pt x="585" y="21"/>
                </a:cubicBezTo>
                <a:cubicBezTo>
                  <a:pt x="585" y="17"/>
                  <a:pt x="585" y="14"/>
                  <a:pt x="585" y="10"/>
                </a:cubicBezTo>
                <a:cubicBezTo>
                  <a:pt x="585" y="10"/>
                  <a:pt x="585" y="9"/>
                  <a:pt x="585" y="9"/>
                </a:cubicBezTo>
                <a:cubicBezTo>
                  <a:pt x="585" y="9"/>
                  <a:pt x="585" y="9"/>
                  <a:pt x="585" y="10"/>
                </a:cubicBezTo>
                <a:cubicBezTo>
                  <a:pt x="585" y="13"/>
                  <a:pt x="585" y="17"/>
                  <a:pt x="585" y="21"/>
                </a:cubicBezTo>
                <a:cubicBezTo>
                  <a:pt x="585" y="21"/>
                  <a:pt x="585" y="21"/>
                  <a:pt x="585" y="21"/>
                </a:cubicBezTo>
                <a:cubicBezTo>
                  <a:pt x="585" y="22"/>
                  <a:pt x="585" y="22"/>
                  <a:pt x="585" y="22"/>
                </a:cubicBezTo>
                <a:close/>
                <a:moveTo>
                  <a:pt x="1699" y="15"/>
                </a:moveTo>
                <a:cubicBezTo>
                  <a:pt x="1699" y="19"/>
                  <a:pt x="1699" y="22"/>
                  <a:pt x="1699" y="26"/>
                </a:cubicBezTo>
                <a:cubicBezTo>
                  <a:pt x="1699" y="26"/>
                  <a:pt x="1699" y="26"/>
                  <a:pt x="1699" y="26"/>
                </a:cubicBezTo>
                <a:cubicBezTo>
                  <a:pt x="1699" y="27"/>
                  <a:pt x="1699" y="26"/>
                  <a:pt x="1699" y="26"/>
                </a:cubicBezTo>
                <a:cubicBezTo>
                  <a:pt x="1699" y="26"/>
                  <a:pt x="1699" y="25"/>
                  <a:pt x="1699" y="25"/>
                </a:cubicBezTo>
                <a:cubicBezTo>
                  <a:pt x="1699" y="22"/>
                  <a:pt x="1699" y="19"/>
                  <a:pt x="1699" y="17"/>
                </a:cubicBezTo>
                <a:cubicBezTo>
                  <a:pt x="1699" y="16"/>
                  <a:pt x="1699" y="15"/>
                  <a:pt x="1699" y="15"/>
                </a:cubicBezTo>
                <a:cubicBezTo>
                  <a:pt x="1699" y="15"/>
                  <a:pt x="1699" y="15"/>
                  <a:pt x="1699" y="15"/>
                </a:cubicBezTo>
                <a:close/>
                <a:moveTo>
                  <a:pt x="1531" y="15"/>
                </a:moveTo>
                <a:cubicBezTo>
                  <a:pt x="1531" y="19"/>
                  <a:pt x="1531" y="22"/>
                  <a:pt x="1531" y="26"/>
                </a:cubicBezTo>
                <a:cubicBezTo>
                  <a:pt x="1531" y="26"/>
                  <a:pt x="1531" y="26"/>
                  <a:pt x="1531" y="26"/>
                </a:cubicBezTo>
                <a:cubicBezTo>
                  <a:pt x="1531" y="27"/>
                  <a:pt x="1531" y="26"/>
                  <a:pt x="1531" y="26"/>
                </a:cubicBezTo>
                <a:cubicBezTo>
                  <a:pt x="1531" y="26"/>
                  <a:pt x="1531" y="25"/>
                  <a:pt x="1531" y="25"/>
                </a:cubicBezTo>
                <a:cubicBezTo>
                  <a:pt x="1531" y="22"/>
                  <a:pt x="1531" y="19"/>
                  <a:pt x="1531" y="17"/>
                </a:cubicBezTo>
                <a:cubicBezTo>
                  <a:pt x="1531" y="16"/>
                  <a:pt x="1531" y="15"/>
                  <a:pt x="1531" y="15"/>
                </a:cubicBezTo>
                <a:cubicBezTo>
                  <a:pt x="1531" y="15"/>
                  <a:pt x="1531" y="15"/>
                  <a:pt x="1531" y="15"/>
                </a:cubicBezTo>
                <a:close/>
                <a:moveTo>
                  <a:pt x="1261" y="95"/>
                </a:moveTo>
                <a:cubicBezTo>
                  <a:pt x="1261" y="93"/>
                  <a:pt x="1261" y="91"/>
                  <a:pt x="1261" y="89"/>
                </a:cubicBezTo>
                <a:cubicBezTo>
                  <a:pt x="1261" y="88"/>
                  <a:pt x="1261" y="87"/>
                  <a:pt x="1261" y="86"/>
                </a:cubicBezTo>
                <a:cubicBezTo>
                  <a:pt x="1260" y="86"/>
                  <a:pt x="1260" y="87"/>
                  <a:pt x="1260" y="87"/>
                </a:cubicBezTo>
                <a:cubicBezTo>
                  <a:pt x="1260" y="87"/>
                  <a:pt x="1260" y="87"/>
                  <a:pt x="1261" y="87"/>
                </a:cubicBezTo>
                <a:cubicBezTo>
                  <a:pt x="1261" y="90"/>
                  <a:pt x="1261" y="93"/>
                  <a:pt x="1261" y="96"/>
                </a:cubicBezTo>
                <a:cubicBezTo>
                  <a:pt x="1261" y="96"/>
                  <a:pt x="1261" y="97"/>
                  <a:pt x="1261" y="97"/>
                </a:cubicBezTo>
                <a:cubicBezTo>
                  <a:pt x="1261" y="97"/>
                  <a:pt x="1261" y="96"/>
                  <a:pt x="1261" y="95"/>
                </a:cubicBezTo>
                <a:close/>
                <a:moveTo>
                  <a:pt x="801" y="96"/>
                </a:moveTo>
                <a:cubicBezTo>
                  <a:pt x="801" y="93"/>
                  <a:pt x="801" y="90"/>
                  <a:pt x="801" y="87"/>
                </a:cubicBezTo>
                <a:cubicBezTo>
                  <a:pt x="801" y="87"/>
                  <a:pt x="801" y="87"/>
                  <a:pt x="801" y="86"/>
                </a:cubicBezTo>
                <a:cubicBezTo>
                  <a:pt x="801" y="86"/>
                  <a:pt x="801" y="86"/>
                  <a:pt x="801" y="87"/>
                </a:cubicBezTo>
                <a:cubicBezTo>
                  <a:pt x="801" y="87"/>
                  <a:pt x="801" y="87"/>
                  <a:pt x="801" y="87"/>
                </a:cubicBezTo>
                <a:cubicBezTo>
                  <a:pt x="801" y="90"/>
                  <a:pt x="801" y="93"/>
                  <a:pt x="801" y="96"/>
                </a:cubicBezTo>
                <a:cubicBezTo>
                  <a:pt x="801" y="97"/>
                  <a:pt x="801" y="97"/>
                  <a:pt x="800" y="97"/>
                </a:cubicBezTo>
                <a:cubicBezTo>
                  <a:pt x="801" y="97"/>
                  <a:pt x="801" y="97"/>
                  <a:pt x="801" y="96"/>
                </a:cubicBezTo>
                <a:close/>
                <a:moveTo>
                  <a:pt x="1021" y="20"/>
                </a:moveTo>
                <a:cubicBezTo>
                  <a:pt x="1021" y="17"/>
                  <a:pt x="1021" y="14"/>
                  <a:pt x="1021" y="11"/>
                </a:cubicBezTo>
                <a:cubicBezTo>
                  <a:pt x="1021" y="10"/>
                  <a:pt x="1021" y="10"/>
                  <a:pt x="1021" y="10"/>
                </a:cubicBezTo>
                <a:cubicBezTo>
                  <a:pt x="1021" y="14"/>
                  <a:pt x="1021" y="17"/>
                  <a:pt x="1021" y="21"/>
                </a:cubicBezTo>
                <a:cubicBezTo>
                  <a:pt x="1021" y="21"/>
                  <a:pt x="1021" y="21"/>
                  <a:pt x="1021" y="20"/>
                </a:cubicBezTo>
                <a:close/>
                <a:moveTo>
                  <a:pt x="951" y="51"/>
                </a:moveTo>
                <a:cubicBezTo>
                  <a:pt x="951" y="55"/>
                  <a:pt x="951" y="58"/>
                  <a:pt x="951" y="61"/>
                </a:cubicBezTo>
                <a:cubicBezTo>
                  <a:pt x="951" y="61"/>
                  <a:pt x="951" y="62"/>
                  <a:pt x="951" y="62"/>
                </a:cubicBezTo>
                <a:cubicBezTo>
                  <a:pt x="951" y="58"/>
                  <a:pt x="951" y="54"/>
                  <a:pt x="951" y="50"/>
                </a:cubicBezTo>
                <a:cubicBezTo>
                  <a:pt x="951" y="51"/>
                  <a:pt x="951" y="51"/>
                  <a:pt x="951" y="51"/>
                </a:cubicBezTo>
                <a:close/>
                <a:moveTo>
                  <a:pt x="1021" y="97"/>
                </a:moveTo>
                <a:cubicBezTo>
                  <a:pt x="1021" y="94"/>
                  <a:pt x="1021" y="91"/>
                  <a:pt x="1021" y="88"/>
                </a:cubicBezTo>
                <a:cubicBezTo>
                  <a:pt x="1021" y="87"/>
                  <a:pt x="1021" y="87"/>
                  <a:pt x="1021" y="87"/>
                </a:cubicBezTo>
                <a:cubicBezTo>
                  <a:pt x="1021" y="87"/>
                  <a:pt x="1021" y="87"/>
                  <a:pt x="1021" y="87"/>
                </a:cubicBezTo>
                <a:cubicBezTo>
                  <a:pt x="1021" y="87"/>
                  <a:pt x="1021" y="87"/>
                  <a:pt x="1021" y="88"/>
                </a:cubicBezTo>
                <a:cubicBezTo>
                  <a:pt x="1021" y="91"/>
                  <a:pt x="1021" y="94"/>
                  <a:pt x="1021" y="98"/>
                </a:cubicBezTo>
                <a:cubicBezTo>
                  <a:pt x="1021" y="97"/>
                  <a:pt x="1021" y="97"/>
                  <a:pt x="1021" y="97"/>
                </a:cubicBezTo>
                <a:close/>
                <a:moveTo>
                  <a:pt x="594" y="123"/>
                </a:moveTo>
                <a:cubicBezTo>
                  <a:pt x="594" y="126"/>
                  <a:pt x="594" y="129"/>
                  <a:pt x="594" y="132"/>
                </a:cubicBezTo>
                <a:cubicBezTo>
                  <a:pt x="594" y="132"/>
                  <a:pt x="594" y="132"/>
                  <a:pt x="595" y="132"/>
                </a:cubicBezTo>
                <a:cubicBezTo>
                  <a:pt x="595" y="132"/>
                  <a:pt x="595" y="132"/>
                  <a:pt x="595" y="132"/>
                </a:cubicBezTo>
                <a:cubicBezTo>
                  <a:pt x="595" y="129"/>
                  <a:pt x="595" y="126"/>
                  <a:pt x="595" y="123"/>
                </a:cubicBezTo>
                <a:cubicBezTo>
                  <a:pt x="595" y="123"/>
                  <a:pt x="595" y="123"/>
                  <a:pt x="596" y="123"/>
                </a:cubicBezTo>
                <a:cubicBezTo>
                  <a:pt x="594" y="122"/>
                  <a:pt x="594" y="122"/>
                  <a:pt x="594" y="123"/>
                </a:cubicBezTo>
                <a:close/>
                <a:moveTo>
                  <a:pt x="697" y="46"/>
                </a:moveTo>
                <a:cubicBezTo>
                  <a:pt x="697" y="43"/>
                  <a:pt x="697" y="40"/>
                  <a:pt x="697" y="37"/>
                </a:cubicBezTo>
                <a:cubicBezTo>
                  <a:pt x="697" y="36"/>
                  <a:pt x="697" y="36"/>
                  <a:pt x="696" y="36"/>
                </a:cubicBezTo>
                <a:cubicBezTo>
                  <a:pt x="696" y="39"/>
                  <a:pt x="696" y="42"/>
                  <a:pt x="696" y="46"/>
                </a:cubicBezTo>
                <a:cubicBezTo>
                  <a:pt x="696" y="46"/>
                  <a:pt x="697" y="46"/>
                  <a:pt x="696" y="47"/>
                </a:cubicBezTo>
                <a:cubicBezTo>
                  <a:pt x="697" y="47"/>
                  <a:pt x="697" y="46"/>
                  <a:pt x="697" y="46"/>
                </a:cubicBezTo>
                <a:close/>
                <a:moveTo>
                  <a:pt x="655" y="34"/>
                </a:moveTo>
                <a:cubicBezTo>
                  <a:pt x="652" y="34"/>
                  <a:pt x="648" y="34"/>
                  <a:pt x="645" y="34"/>
                </a:cubicBezTo>
                <a:cubicBezTo>
                  <a:pt x="645" y="34"/>
                  <a:pt x="645" y="34"/>
                  <a:pt x="644" y="34"/>
                </a:cubicBezTo>
                <a:cubicBezTo>
                  <a:pt x="645" y="34"/>
                  <a:pt x="645" y="34"/>
                  <a:pt x="645" y="34"/>
                </a:cubicBezTo>
                <a:cubicBezTo>
                  <a:pt x="648" y="34"/>
                  <a:pt x="652" y="34"/>
                  <a:pt x="655" y="34"/>
                </a:cubicBezTo>
                <a:cubicBezTo>
                  <a:pt x="655" y="34"/>
                  <a:pt x="655" y="34"/>
                  <a:pt x="656" y="35"/>
                </a:cubicBezTo>
                <a:cubicBezTo>
                  <a:pt x="656" y="34"/>
                  <a:pt x="655" y="34"/>
                  <a:pt x="655" y="34"/>
                </a:cubicBezTo>
                <a:close/>
                <a:moveTo>
                  <a:pt x="1100" y="102"/>
                </a:moveTo>
                <a:cubicBezTo>
                  <a:pt x="1103" y="102"/>
                  <a:pt x="1106" y="102"/>
                  <a:pt x="1109" y="102"/>
                </a:cubicBezTo>
                <a:cubicBezTo>
                  <a:pt x="1109" y="102"/>
                  <a:pt x="1110" y="102"/>
                  <a:pt x="1110" y="101"/>
                </a:cubicBezTo>
                <a:cubicBezTo>
                  <a:pt x="1106" y="101"/>
                  <a:pt x="1103" y="101"/>
                  <a:pt x="1099" y="101"/>
                </a:cubicBezTo>
                <a:cubicBezTo>
                  <a:pt x="1099" y="102"/>
                  <a:pt x="1100" y="102"/>
                  <a:pt x="1100" y="102"/>
                </a:cubicBezTo>
                <a:close/>
                <a:moveTo>
                  <a:pt x="860" y="102"/>
                </a:moveTo>
                <a:cubicBezTo>
                  <a:pt x="863" y="102"/>
                  <a:pt x="866" y="102"/>
                  <a:pt x="869" y="102"/>
                </a:cubicBezTo>
                <a:cubicBezTo>
                  <a:pt x="870" y="102"/>
                  <a:pt x="870" y="102"/>
                  <a:pt x="870" y="101"/>
                </a:cubicBezTo>
                <a:cubicBezTo>
                  <a:pt x="867" y="101"/>
                  <a:pt x="863" y="101"/>
                  <a:pt x="859" y="101"/>
                </a:cubicBezTo>
                <a:cubicBezTo>
                  <a:pt x="860" y="102"/>
                  <a:pt x="860" y="102"/>
                  <a:pt x="860" y="102"/>
                </a:cubicBezTo>
                <a:close/>
                <a:moveTo>
                  <a:pt x="742" y="100"/>
                </a:moveTo>
                <a:cubicBezTo>
                  <a:pt x="742" y="97"/>
                  <a:pt x="742" y="95"/>
                  <a:pt x="742" y="93"/>
                </a:cubicBezTo>
                <a:cubicBezTo>
                  <a:pt x="742" y="92"/>
                  <a:pt x="742" y="92"/>
                  <a:pt x="742" y="92"/>
                </a:cubicBezTo>
                <a:cubicBezTo>
                  <a:pt x="742" y="91"/>
                  <a:pt x="742" y="92"/>
                  <a:pt x="742" y="92"/>
                </a:cubicBezTo>
                <a:cubicBezTo>
                  <a:pt x="742" y="92"/>
                  <a:pt x="742" y="92"/>
                  <a:pt x="742" y="93"/>
                </a:cubicBezTo>
                <a:cubicBezTo>
                  <a:pt x="742" y="95"/>
                  <a:pt x="742" y="98"/>
                  <a:pt x="742" y="100"/>
                </a:cubicBezTo>
                <a:cubicBezTo>
                  <a:pt x="742" y="101"/>
                  <a:pt x="742" y="101"/>
                  <a:pt x="742" y="101"/>
                </a:cubicBezTo>
                <a:cubicBezTo>
                  <a:pt x="743" y="101"/>
                  <a:pt x="742" y="100"/>
                  <a:pt x="742" y="100"/>
                </a:cubicBezTo>
                <a:close/>
                <a:moveTo>
                  <a:pt x="1586" y="101"/>
                </a:moveTo>
                <a:cubicBezTo>
                  <a:pt x="1586" y="98"/>
                  <a:pt x="1586" y="95"/>
                  <a:pt x="1586" y="93"/>
                </a:cubicBezTo>
                <a:cubicBezTo>
                  <a:pt x="1586" y="92"/>
                  <a:pt x="1585" y="92"/>
                  <a:pt x="1585" y="92"/>
                </a:cubicBezTo>
                <a:cubicBezTo>
                  <a:pt x="1585" y="95"/>
                  <a:pt x="1585" y="98"/>
                  <a:pt x="1585" y="101"/>
                </a:cubicBezTo>
                <a:cubicBezTo>
                  <a:pt x="1585" y="101"/>
                  <a:pt x="1586" y="101"/>
                  <a:pt x="1586" y="101"/>
                </a:cubicBezTo>
                <a:close/>
                <a:moveTo>
                  <a:pt x="1754" y="101"/>
                </a:moveTo>
                <a:cubicBezTo>
                  <a:pt x="1754" y="98"/>
                  <a:pt x="1754" y="95"/>
                  <a:pt x="1754" y="93"/>
                </a:cubicBezTo>
                <a:cubicBezTo>
                  <a:pt x="1754" y="92"/>
                  <a:pt x="1754" y="92"/>
                  <a:pt x="1753" y="92"/>
                </a:cubicBezTo>
                <a:cubicBezTo>
                  <a:pt x="1753" y="95"/>
                  <a:pt x="1753" y="98"/>
                  <a:pt x="1753" y="101"/>
                </a:cubicBezTo>
                <a:cubicBezTo>
                  <a:pt x="1754" y="101"/>
                  <a:pt x="1754" y="101"/>
                  <a:pt x="1754" y="101"/>
                </a:cubicBezTo>
                <a:close/>
                <a:moveTo>
                  <a:pt x="1684" y="36"/>
                </a:moveTo>
                <a:cubicBezTo>
                  <a:pt x="1684" y="34"/>
                  <a:pt x="1684" y="31"/>
                  <a:pt x="1684" y="29"/>
                </a:cubicBezTo>
                <a:cubicBezTo>
                  <a:pt x="1684" y="29"/>
                  <a:pt x="1684" y="28"/>
                  <a:pt x="1684" y="28"/>
                </a:cubicBezTo>
                <a:cubicBezTo>
                  <a:pt x="1684" y="31"/>
                  <a:pt x="1684" y="34"/>
                  <a:pt x="1684" y="37"/>
                </a:cubicBezTo>
                <a:cubicBezTo>
                  <a:pt x="1684" y="37"/>
                  <a:pt x="1684" y="36"/>
                  <a:pt x="1684" y="36"/>
                </a:cubicBezTo>
                <a:close/>
                <a:moveTo>
                  <a:pt x="1207" y="73"/>
                </a:moveTo>
                <a:cubicBezTo>
                  <a:pt x="1207" y="70"/>
                  <a:pt x="1207" y="67"/>
                  <a:pt x="1207" y="64"/>
                </a:cubicBezTo>
                <a:cubicBezTo>
                  <a:pt x="1207" y="66"/>
                  <a:pt x="1207" y="71"/>
                  <a:pt x="1207" y="73"/>
                </a:cubicBezTo>
                <a:close/>
                <a:moveTo>
                  <a:pt x="1398" y="35"/>
                </a:moveTo>
                <a:cubicBezTo>
                  <a:pt x="1398" y="33"/>
                  <a:pt x="1398" y="30"/>
                  <a:pt x="1398" y="28"/>
                </a:cubicBezTo>
                <a:cubicBezTo>
                  <a:pt x="1398" y="28"/>
                  <a:pt x="1397" y="28"/>
                  <a:pt x="1397" y="27"/>
                </a:cubicBezTo>
                <a:cubicBezTo>
                  <a:pt x="1397" y="30"/>
                  <a:pt x="1397" y="33"/>
                  <a:pt x="1397" y="35"/>
                </a:cubicBezTo>
                <a:cubicBezTo>
                  <a:pt x="1397" y="35"/>
                  <a:pt x="1398" y="35"/>
                  <a:pt x="1398" y="35"/>
                </a:cubicBezTo>
                <a:close/>
                <a:moveTo>
                  <a:pt x="1058" y="94"/>
                </a:moveTo>
                <a:cubicBezTo>
                  <a:pt x="1061" y="94"/>
                  <a:pt x="1064" y="94"/>
                  <a:pt x="1066" y="94"/>
                </a:cubicBezTo>
                <a:cubicBezTo>
                  <a:pt x="1064" y="94"/>
                  <a:pt x="1061" y="94"/>
                  <a:pt x="1058" y="94"/>
                </a:cubicBezTo>
                <a:close/>
                <a:moveTo>
                  <a:pt x="1236" y="94"/>
                </a:moveTo>
                <a:cubicBezTo>
                  <a:pt x="1239" y="94"/>
                  <a:pt x="1242" y="94"/>
                  <a:pt x="1244" y="94"/>
                </a:cubicBezTo>
                <a:cubicBezTo>
                  <a:pt x="1242" y="94"/>
                  <a:pt x="1239" y="94"/>
                  <a:pt x="1236" y="94"/>
                </a:cubicBezTo>
                <a:close/>
                <a:moveTo>
                  <a:pt x="598" y="133"/>
                </a:moveTo>
                <a:cubicBezTo>
                  <a:pt x="600" y="133"/>
                  <a:pt x="602" y="133"/>
                  <a:pt x="604" y="133"/>
                </a:cubicBezTo>
                <a:cubicBezTo>
                  <a:pt x="605" y="133"/>
                  <a:pt x="605" y="133"/>
                  <a:pt x="605" y="133"/>
                </a:cubicBezTo>
                <a:cubicBezTo>
                  <a:pt x="602" y="133"/>
                  <a:pt x="600" y="133"/>
                  <a:pt x="597" y="133"/>
                </a:cubicBezTo>
                <a:cubicBezTo>
                  <a:pt x="597" y="133"/>
                  <a:pt x="598" y="133"/>
                  <a:pt x="598" y="133"/>
                </a:cubicBezTo>
                <a:close/>
                <a:moveTo>
                  <a:pt x="993" y="93"/>
                </a:moveTo>
                <a:cubicBezTo>
                  <a:pt x="996" y="93"/>
                  <a:pt x="998" y="93"/>
                  <a:pt x="1001" y="93"/>
                </a:cubicBezTo>
                <a:cubicBezTo>
                  <a:pt x="998" y="93"/>
                  <a:pt x="996" y="93"/>
                  <a:pt x="993" y="93"/>
                </a:cubicBezTo>
                <a:close/>
                <a:moveTo>
                  <a:pt x="1559" y="54"/>
                </a:moveTo>
                <a:cubicBezTo>
                  <a:pt x="1561" y="53"/>
                  <a:pt x="1562" y="52"/>
                  <a:pt x="1563" y="50"/>
                </a:cubicBezTo>
                <a:cubicBezTo>
                  <a:pt x="1562" y="51"/>
                  <a:pt x="1561" y="53"/>
                  <a:pt x="1559" y="54"/>
                </a:cubicBezTo>
                <a:close/>
                <a:moveTo>
                  <a:pt x="1728" y="54"/>
                </a:moveTo>
                <a:cubicBezTo>
                  <a:pt x="1729" y="53"/>
                  <a:pt x="1730" y="52"/>
                  <a:pt x="1731" y="50"/>
                </a:cubicBezTo>
                <a:cubicBezTo>
                  <a:pt x="1730" y="51"/>
                  <a:pt x="1729" y="53"/>
                  <a:pt x="1728" y="54"/>
                </a:cubicBezTo>
                <a:close/>
                <a:moveTo>
                  <a:pt x="776" y="94"/>
                </a:moveTo>
                <a:cubicBezTo>
                  <a:pt x="779" y="94"/>
                  <a:pt x="782" y="94"/>
                  <a:pt x="784" y="94"/>
                </a:cubicBezTo>
                <a:cubicBezTo>
                  <a:pt x="782" y="94"/>
                  <a:pt x="779" y="94"/>
                  <a:pt x="776" y="94"/>
                </a:cubicBezTo>
                <a:close/>
                <a:moveTo>
                  <a:pt x="672" y="94"/>
                </a:moveTo>
                <a:cubicBezTo>
                  <a:pt x="675" y="94"/>
                  <a:pt x="677" y="94"/>
                  <a:pt x="680" y="94"/>
                </a:cubicBezTo>
                <a:cubicBezTo>
                  <a:pt x="677" y="94"/>
                  <a:pt x="675" y="94"/>
                  <a:pt x="672" y="94"/>
                </a:cubicBezTo>
                <a:close/>
                <a:moveTo>
                  <a:pt x="1570" y="36"/>
                </a:moveTo>
                <a:cubicBezTo>
                  <a:pt x="1571" y="33"/>
                  <a:pt x="1571" y="31"/>
                  <a:pt x="1570" y="29"/>
                </a:cubicBezTo>
                <a:cubicBezTo>
                  <a:pt x="1570" y="31"/>
                  <a:pt x="1570" y="33"/>
                  <a:pt x="1570" y="36"/>
                </a:cubicBezTo>
                <a:close/>
                <a:moveTo>
                  <a:pt x="1738" y="36"/>
                </a:moveTo>
                <a:cubicBezTo>
                  <a:pt x="1739" y="33"/>
                  <a:pt x="1739" y="31"/>
                  <a:pt x="1738" y="29"/>
                </a:cubicBezTo>
                <a:cubicBezTo>
                  <a:pt x="1738" y="31"/>
                  <a:pt x="1738" y="33"/>
                  <a:pt x="1738" y="36"/>
                </a:cubicBezTo>
                <a:close/>
                <a:moveTo>
                  <a:pt x="1309" y="33"/>
                </a:moveTo>
                <a:cubicBezTo>
                  <a:pt x="1307" y="33"/>
                  <a:pt x="1305" y="33"/>
                  <a:pt x="1303" y="33"/>
                </a:cubicBezTo>
                <a:cubicBezTo>
                  <a:pt x="1303" y="33"/>
                  <a:pt x="1303" y="33"/>
                  <a:pt x="1303" y="33"/>
                </a:cubicBezTo>
                <a:cubicBezTo>
                  <a:pt x="1305" y="33"/>
                  <a:pt x="1307" y="33"/>
                  <a:pt x="1309" y="33"/>
                </a:cubicBezTo>
                <a:cubicBezTo>
                  <a:pt x="1309" y="33"/>
                  <a:pt x="1309" y="33"/>
                  <a:pt x="1309" y="33"/>
                </a:cubicBezTo>
                <a:close/>
                <a:moveTo>
                  <a:pt x="1029" y="66"/>
                </a:moveTo>
                <a:cubicBezTo>
                  <a:pt x="1029" y="68"/>
                  <a:pt x="1029" y="69"/>
                  <a:pt x="1029" y="71"/>
                </a:cubicBezTo>
                <a:cubicBezTo>
                  <a:pt x="1029" y="71"/>
                  <a:pt x="1029" y="72"/>
                  <a:pt x="1029" y="72"/>
                </a:cubicBezTo>
                <a:cubicBezTo>
                  <a:pt x="1029" y="70"/>
                  <a:pt x="1029" y="67"/>
                  <a:pt x="1029" y="65"/>
                </a:cubicBezTo>
                <a:cubicBezTo>
                  <a:pt x="1029" y="65"/>
                  <a:pt x="1029" y="66"/>
                  <a:pt x="1029" y="66"/>
                </a:cubicBezTo>
                <a:close/>
                <a:moveTo>
                  <a:pt x="1351" y="74"/>
                </a:moveTo>
                <a:cubicBezTo>
                  <a:pt x="1352" y="73"/>
                  <a:pt x="1353" y="72"/>
                  <a:pt x="1354" y="71"/>
                </a:cubicBezTo>
                <a:cubicBezTo>
                  <a:pt x="1353" y="72"/>
                  <a:pt x="1352" y="73"/>
                  <a:pt x="1351" y="74"/>
                </a:cubicBezTo>
                <a:close/>
                <a:moveTo>
                  <a:pt x="730" y="103"/>
                </a:moveTo>
                <a:cubicBezTo>
                  <a:pt x="731" y="103"/>
                  <a:pt x="733" y="103"/>
                  <a:pt x="735" y="103"/>
                </a:cubicBezTo>
                <a:cubicBezTo>
                  <a:pt x="735" y="103"/>
                  <a:pt x="735" y="103"/>
                  <a:pt x="735" y="103"/>
                </a:cubicBezTo>
                <a:cubicBezTo>
                  <a:pt x="733" y="103"/>
                  <a:pt x="731" y="103"/>
                  <a:pt x="729" y="103"/>
                </a:cubicBezTo>
                <a:cubicBezTo>
                  <a:pt x="729" y="103"/>
                  <a:pt x="729" y="103"/>
                  <a:pt x="730" y="103"/>
                </a:cubicBezTo>
                <a:close/>
                <a:moveTo>
                  <a:pt x="1195" y="103"/>
                </a:moveTo>
                <a:cubicBezTo>
                  <a:pt x="1195" y="103"/>
                  <a:pt x="1195" y="103"/>
                  <a:pt x="1195" y="103"/>
                </a:cubicBezTo>
                <a:cubicBezTo>
                  <a:pt x="1193" y="103"/>
                  <a:pt x="1191" y="103"/>
                  <a:pt x="1189" y="103"/>
                </a:cubicBezTo>
                <a:cubicBezTo>
                  <a:pt x="1191" y="104"/>
                  <a:pt x="1193" y="103"/>
                  <a:pt x="1195" y="103"/>
                </a:cubicBezTo>
                <a:close/>
                <a:moveTo>
                  <a:pt x="549" y="27"/>
                </a:moveTo>
                <a:cubicBezTo>
                  <a:pt x="548" y="29"/>
                  <a:pt x="548" y="31"/>
                  <a:pt x="549" y="33"/>
                </a:cubicBezTo>
                <a:cubicBezTo>
                  <a:pt x="549" y="31"/>
                  <a:pt x="549" y="29"/>
                  <a:pt x="549" y="27"/>
                </a:cubicBezTo>
                <a:close/>
                <a:moveTo>
                  <a:pt x="658" y="51"/>
                </a:moveTo>
                <a:cubicBezTo>
                  <a:pt x="658" y="52"/>
                  <a:pt x="658" y="54"/>
                  <a:pt x="659" y="55"/>
                </a:cubicBezTo>
                <a:cubicBezTo>
                  <a:pt x="659" y="53"/>
                  <a:pt x="659" y="51"/>
                  <a:pt x="659" y="49"/>
                </a:cubicBezTo>
                <a:cubicBezTo>
                  <a:pt x="658" y="50"/>
                  <a:pt x="658" y="50"/>
                  <a:pt x="658" y="51"/>
                </a:cubicBezTo>
                <a:close/>
                <a:moveTo>
                  <a:pt x="1409" y="48"/>
                </a:moveTo>
                <a:cubicBezTo>
                  <a:pt x="1409" y="49"/>
                  <a:pt x="1409" y="50"/>
                  <a:pt x="1409" y="52"/>
                </a:cubicBezTo>
                <a:cubicBezTo>
                  <a:pt x="1410" y="50"/>
                  <a:pt x="1410" y="48"/>
                  <a:pt x="1410" y="47"/>
                </a:cubicBezTo>
                <a:cubicBezTo>
                  <a:pt x="1409" y="47"/>
                  <a:pt x="1409" y="47"/>
                  <a:pt x="1409" y="48"/>
                </a:cubicBezTo>
                <a:close/>
                <a:moveTo>
                  <a:pt x="1386" y="35"/>
                </a:moveTo>
                <a:cubicBezTo>
                  <a:pt x="1387" y="33"/>
                  <a:pt x="1387" y="31"/>
                  <a:pt x="1386" y="30"/>
                </a:cubicBezTo>
                <a:cubicBezTo>
                  <a:pt x="1386" y="31"/>
                  <a:pt x="1386" y="33"/>
                  <a:pt x="1386" y="35"/>
                </a:cubicBezTo>
                <a:close/>
                <a:moveTo>
                  <a:pt x="694" y="70"/>
                </a:moveTo>
                <a:cubicBezTo>
                  <a:pt x="695" y="71"/>
                  <a:pt x="695" y="72"/>
                  <a:pt x="696" y="73"/>
                </a:cubicBezTo>
                <a:cubicBezTo>
                  <a:pt x="696" y="71"/>
                  <a:pt x="695" y="71"/>
                  <a:pt x="694" y="70"/>
                </a:cubicBezTo>
                <a:close/>
                <a:moveTo>
                  <a:pt x="1676" y="14"/>
                </a:moveTo>
                <a:cubicBezTo>
                  <a:pt x="1677" y="15"/>
                  <a:pt x="1678" y="15"/>
                  <a:pt x="1679" y="16"/>
                </a:cubicBezTo>
                <a:cubicBezTo>
                  <a:pt x="1678" y="15"/>
                  <a:pt x="1678" y="14"/>
                  <a:pt x="1676" y="14"/>
                </a:cubicBezTo>
                <a:close/>
                <a:moveTo>
                  <a:pt x="999" y="103"/>
                </a:moveTo>
                <a:cubicBezTo>
                  <a:pt x="1000" y="103"/>
                  <a:pt x="1001" y="104"/>
                  <a:pt x="1002" y="103"/>
                </a:cubicBezTo>
                <a:cubicBezTo>
                  <a:pt x="1000" y="103"/>
                  <a:pt x="999" y="103"/>
                  <a:pt x="997" y="103"/>
                </a:cubicBezTo>
                <a:cubicBezTo>
                  <a:pt x="998" y="103"/>
                  <a:pt x="998" y="103"/>
                  <a:pt x="999" y="103"/>
                </a:cubicBezTo>
                <a:close/>
                <a:moveTo>
                  <a:pt x="1678" y="50"/>
                </a:moveTo>
                <a:cubicBezTo>
                  <a:pt x="1677" y="51"/>
                  <a:pt x="1677" y="52"/>
                  <a:pt x="1676" y="52"/>
                </a:cubicBezTo>
                <a:cubicBezTo>
                  <a:pt x="1677" y="52"/>
                  <a:pt x="1678" y="51"/>
                  <a:pt x="1678" y="50"/>
                </a:cubicBezTo>
                <a:close/>
                <a:moveTo>
                  <a:pt x="747" y="72"/>
                </a:moveTo>
                <a:cubicBezTo>
                  <a:pt x="747" y="72"/>
                  <a:pt x="747" y="73"/>
                  <a:pt x="747" y="74"/>
                </a:cubicBezTo>
                <a:cubicBezTo>
                  <a:pt x="747" y="72"/>
                  <a:pt x="747" y="71"/>
                  <a:pt x="747" y="69"/>
                </a:cubicBezTo>
                <a:cubicBezTo>
                  <a:pt x="747" y="70"/>
                  <a:pt x="747" y="71"/>
                  <a:pt x="747" y="72"/>
                </a:cubicBezTo>
                <a:close/>
                <a:moveTo>
                  <a:pt x="1078" y="39"/>
                </a:moveTo>
                <a:cubicBezTo>
                  <a:pt x="1079" y="39"/>
                  <a:pt x="1080" y="40"/>
                  <a:pt x="1080" y="41"/>
                </a:cubicBezTo>
                <a:cubicBezTo>
                  <a:pt x="1080" y="40"/>
                  <a:pt x="1079" y="39"/>
                  <a:pt x="1078" y="39"/>
                </a:cubicBezTo>
                <a:close/>
                <a:moveTo>
                  <a:pt x="1307" y="43"/>
                </a:moveTo>
                <a:cubicBezTo>
                  <a:pt x="1305" y="43"/>
                  <a:pt x="1303" y="43"/>
                  <a:pt x="1302" y="43"/>
                </a:cubicBezTo>
                <a:cubicBezTo>
                  <a:pt x="1303" y="43"/>
                  <a:pt x="1305" y="43"/>
                  <a:pt x="1307" y="43"/>
                </a:cubicBezTo>
                <a:close/>
                <a:moveTo>
                  <a:pt x="688" y="87"/>
                </a:moveTo>
                <a:cubicBezTo>
                  <a:pt x="689" y="85"/>
                  <a:pt x="689" y="84"/>
                  <a:pt x="688" y="82"/>
                </a:cubicBezTo>
                <a:cubicBezTo>
                  <a:pt x="688" y="84"/>
                  <a:pt x="688" y="85"/>
                  <a:pt x="688" y="87"/>
                </a:cubicBezTo>
                <a:close/>
                <a:moveTo>
                  <a:pt x="1409" y="63"/>
                </a:moveTo>
                <a:cubicBezTo>
                  <a:pt x="1409" y="64"/>
                  <a:pt x="1409" y="65"/>
                  <a:pt x="1410" y="65"/>
                </a:cubicBezTo>
                <a:cubicBezTo>
                  <a:pt x="1410" y="64"/>
                  <a:pt x="1410" y="62"/>
                  <a:pt x="1409" y="61"/>
                </a:cubicBezTo>
                <a:cubicBezTo>
                  <a:pt x="1409" y="61"/>
                  <a:pt x="1409" y="62"/>
                  <a:pt x="1409" y="63"/>
                </a:cubicBezTo>
                <a:close/>
                <a:moveTo>
                  <a:pt x="1241" y="103"/>
                </a:moveTo>
                <a:cubicBezTo>
                  <a:pt x="1242" y="103"/>
                  <a:pt x="1243" y="104"/>
                  <a:pt x="1244" y="103"/>
                </a:cubicBezTo>
                <a:cubicBezTo>
                  <a:pt x="1242" y="103"/>
                  <a:pt x="1241" y="103"/>
                  <a:pt x="1239" y="103"/>
                </a:cubicBezTo>
                <a:cubicBezTo>
                  <a:pt x="1240" y="103"/>
                  <a:pt x="1241" y="103"/>
                  <a:pt x="1241" y="103"/>
                </a:cubicBezTo>
                <a:close/>
                <a:moveTo>
                  <a:pt x="1063" y="103"/>
                </a:moveTo>
                <a:cubicBezTo>
                  <a:pt x="1064" y="103"/>
                  <a:pt x="1065" y="104"/>
                  <a:pt x="1066" y="103"/>
                </a:cubicBezTo>
                <a:cubicBezTo>
                  <a:pt x="1064" y="103"/>
                  <a:pt x="1063" y="103"/>
                  <a:pt x="1062" y="103"/>
                </a:cubicBezTo>
                <a:cubicBezTo>
                  <a:pt x="1062" y="103"/>
                  <a:pt x="1063" y="103"/>
                  <a:pt x="1063" y="103"/>
                </a:cubicBezTo>
                <a:close/>
                <a:moveTo>
                  <a:pt x="561" y="103"/>
                </a:moveTo>
                <a:cubicBezTo>
                  <a:pt x="562" y="103"/>
                  <a:pt x="563" y="104"/>
                  <a:pt x="564" y="103"/>
                </a:cubicBezTo>
                <a:cubicBezTo>
                  <a:pt x="562" y="103"/>
                  <a:pt x="561" y="103"/>
                  <a:pt x="560" y="103"/>
                </a:cubicBezTo>
                <a:cubicBezTo>
                  <a:pt x="560" y="103"/>
                  <a:pt x="561" y="103"/>
                  <a:pt x="561" y="103"/>
                </a:cubicBezTo>
                <a:close/>
                <a:moveTo>
                  <a:pt x="747" y="64"/>
                </a:moveTo>
                <a:cubicBezTo>
                  <a:pt x="747" y="65"/>
                  <a:pt x="747" y="66"/>
                  <a:pt x="747" y="67"/>
                </a:cubicBezTo>
                <a:cubicBezTo>
                  <a:pt x="747" y="66"/>
                  <a:pt x="747" y="64"/>
                  <a:pt x="747" y="63"/>
                </a:cubicBezTo>
                <a:cubicBezTo>
                  <a:pt x="747" y="63"/>
                  <a:pt x="747" y="64"/>
                  <a:pt x="747" y="64"/>
                </a:cubicBezTo>
                <a:close/>
                <a:moveTo>
                  <a:pt x="963" y="50"/>
                </a:moveTo>
                <a:cubicBezTo>
                  <a:pt x="962" y="52"/>
                  <a:pt x="962" y="53"/>
                  <a:pt x="962" y="55"/>
                </a:cubicBezTo>
                <a:cubicBezTo>
                  <a:pt x="963" y="53"/>
                  <a:pt x="963" y="52"/>
                  <a:pt x="963" y="50"/>
                </a:cubicBezTo>
                <a:close/>
                <a:moveTo>
                  <a:pt x="962" y="57"/>
                </a:moveTo>
                <a:cubicBezTo>
                  <a:pt x="962" y="58"/>
                  <a:pt x="962" y="60"/>
                  <a:pt x="963" y="61"/>
                </a:cubicBezTo>
                <a:cubicBezTo>
                  <a:pt x="963" y="59"/>
                  <a:pt x="963" y="58"/>
                  <a:pt x="962" y="57"/>
                </a:cubicBezTo>
                <a:close/>
                <a:moveTo>
                  <a:pt x="993" y="103"/>
                </a:moveTo>
                <a:cubicBezTo>
                  <a:pt x="992" y="103"/>
                  <a:pt x="991" y="103"/>
                  <a:pt x="989" y="103"/>
                </a:cubicBezTo>
                <a:cubicBezTo>
                  <a:pt x="991" y="104"/>
                  <a:pt x="992" y="103"/>
                  <a:pt x="993" y="103"/>
                </a:cubicBezTo>
                <a:close/>
                <a:moveTo>
                  <a:pt x="784" y="103"/>
                </a:moveTo>
                <a:cubicBezTo>
                  <a:pt x="782" y="103"/>
                  <a:pt x="781" y="103"/>
                  <a:pt x="779" y="103"/>
                </a:cubicBezTo>
                <a:cubicBezTo>
                  <a:pt x="781" y="103"/>
                  <a:pt x="782" y="104"/>
                  <a:pt x="784" y="103"/>
                </a:cubicBezTo>
                <a:close/>
                <a:moveTo>
                  <a:pt x="1658" y="67"/>
                </a:moveTo>
                <a:cubicBezTo>
                  <a:pt x="1658" y="66"/>
                  <a:pt x="1657" y="65"/>
                  <a:pt x="1656" y="65"/>
                </a:cubicBezTo>
                <a:cubicBezTo>
                  <a:pt x="1657" y="65"/>
                  <a:pt x="1657" y="66"/>
                  <a:pt x="1658" y="67"/>
                </a:cubicBezTo>
                <a:close/>
                <a:moveTo>
                  <a:pt x="1144" y="62"/>
                </a:moveTo>
                <a:cubicBezTo>
                  <a:pt x="1144" y="60"/>
                  <a:pt x="1144" y="59"/>
                  <a:pt x="1144" y="58"/>
                </a:cubicBezTo>
                <a:cubicBezTo>
                  <a:pt x="1144" y="59"/>
                  <a:pt x="1143" y="61"/>
                  <a:pt x="1144" y="62"/>
                </a:cubicBezTo>
                <a:close/>
                <a:moveTo>
                  <a:pt x="599" y="123"/>
                </a:moveTo>
                <a:cubicBezTo>
                  <a:pt x="600" y="124"/>
                  <a:pt x="601" y="124"/>
                  <a:pt x="603" y="123"/>
                </a:cubicBezTo>
                <a:cubicBezTo>
                  <a:pt x="601" y="123"/>
                  <a:pt x="600" y="123"/>
                  <a:pt x="599" y="123"/>
                </a:cubicBezTo>
                <a:close/>
                <a:moveTo>
                  <a:pt x="571" y="16"/>
                </a:moveTo>
                <a:cubicBezTo>
                  <a:pt x="570" y="16"/>
                  <a:pt x="569" y="16"/>
                  <a:pt x="568" y="16"/>
                </a:cubicBezTo>
                <a:cubicBezTo>
                  <a:pt x="569" y="17"/>
                  <a:pt x="570" y="16"/>
                  <a:pt x="571" y="16"/>
                </a:cubicBezTo>
                <a:close/>
                <a:moveTo>
                  <a:pt x="1004" y="16"/>
                </a:moveTo>
                <a:cubicBezTo>
                  <a:pt x="1003" y="16"/>
                  <a:pt x="1002" y="16"/>
                  <a:pt x="1000" y="16"/>
                </a:cubicBezTo>
                <a:cubicBezTo>
                  <a:pt x="1002" y="17"/>
                  <a:pt x="1003" y="16"/>
                  <a:pt x="1004" y="16"/>
                </a:cubicBezTo>
                <a:close/>
                <a:moveTo>
                  <a:pt x="997" y="16"/>
                </a:moveTo>
                <a:cubicBezTo>
                  <a:pt x="996" y="16"/>
                  <a:pt x="995" y="16"/>
                  <a:pt x="994" y="16"/>
                </a:cubicBezTo>
                <a:cubicBezTo>
                  <a:pt x="995" y="16"/>
                  <a:pt x="996" y="17"/>
                  <a:pt x="997" y="16"/>
                </a:cubicBezTo>
                <a:close/>
                <a:moveTo>
                  <a:pt x="1003" y="6"/>
                </a:moveTo>
                <a:cubicBezTo>
                  <a:pt x="1004" y="6"/>
                  <a:pt x="1005" y="6"/>
                  <a:pt x="1007" y="6"/>
                </a:cubicBezTo>
                <a:cubicBezTo>
                  <a:pt x="1005" y="5"/>
                  <a:pt x="1004" y="6"/>
                  <a:pt x="1003" y="6"/>
                </a:cubicBezTo>
                <a:close/>
                <a:moveTo>
                  <a:pt x="571" y="6"/>
                </a:moveTo>
                <a:cubicBezTo>
                  <a:pt x="572" y="6"/>
                  <a:pt x="573" y="6"/>
                  <a:pt x="575" y="6"/>
                </a:cubicBezTo>
                <a:cubicBezTo>
                  <a:pt x="574" y="5"/>
                  <a:pt x="572" y="6"/>
                  <a:pt x="571" y="6"/>
                </a:cubicBezTo>
                <a:close/>
                <a:moveTo>
                  <a:pt x="680" y="103"/>
                </a:moveTo>
                <a:cubicBezTo>
                  <a:pt x="679" y="103"/>
                  <a:pt x="678" y="103"/>
                  <a:pt x="676" y="103"/>
                </a:cubicBezTo>
                <a:cubicBezTo>
                  <a:pt x="678" y="103"/>
                  <a:pt x="679" y="104"/>
                  <a:pt x="680" y="103"/>
                </a:cubicBezTo>
                <a:close/>
                <a:moveTo>
                  <a:pt x="1236" y="103"/>
                </a:moveTo>
                <a:cubicBezTo>
                  <a:pt x="1235" y="103"/>
                  <a:pt x="1234" y="103"/>
                  <a:pt x="1233" y="103"/>
                </a:cubicBezTo>
                <a:cubicBezTo>
                  <a:pt x="1234" y="104"/>
                  <a:pt x="1235" y="103"/>
                  <a:pt x="1236" y="103"/>
                </a:cubicBezTo>
                <a:close/>
                <a:moveTo>
                  <a:pt x="1058" y="103"/>
                </a:moveTo>
                <a:cubicBezTo>
                  <a:pt x="1057" y="103"/>
                  <a:pt x="1056" y="103"/>
                  <a:pt x="1055" y="103"/>
                </a:cubicBezTo>
                <a:cubicBezTo>
                  <a:pt x="1056" y="104"/>
                  <a:pt x="1057" y="103"/>
                  <a:pt x="1058" y="103"/>
                </a:cubicBezTo>
                <a:close/>
                <a:moveTo>
                  <a:pt x="1470" y="42"/>
                </a:moveTo>
                <a:cubicBezTo>
                  <a:pt x="1470" y="43"/>
                  <a:pt x="1470" y="44"/>
                  <a:pt x="1471" y="46"/>
                </a:cubicBezTo>
                <a:cubicBezTo>
                  <a:pt x="1471" y="44"/>
                  <a:pt x="1471" y="43"/>
                  <a:pt x="1470" y="42"/>
                </a:cubicBezTo>
                <a:close/>
                <a:moveTo>
                  <a:pt x="733" y="94"/>
                </a:moveTo>
                <a:cubicBezTo>
                  <a:pt x="735" y="94"/>
                  <a:pt x="736" y="94"/>
                  <a:pt x="737" y="94"/>
                </a:cubicBezTo>
                <a:cubicBezTo>
                  <a:pt x="736" y="94"/>
                  <a:pt x="735" y="94"/>
                  <a:pt x="733" y="94"/>
                </a:cubicBezTo>
                <a:close/>
                <a:moveTo>
                  <a:pt x="1444" y="103"/>
                </a:moveTo>
                <a:cubicBezTo>
                  <a:pt x="1443" y="103"/>
                  <a:pt x="1442" y="103"/>
                  <a:pt x="1441" y="103"/>
                </a:cubicBezTo>
                <a:cubicBezTo>
                  <a:pt x="1442" y="103"/>
                  <a:pt x="1443" y="104"/>
                  <a:pt x="1444" y="103"/>
                </a:cubicBezTo>
                <a:close/>
                <a:moveTo>
                  <a:pt x="878" y="45"/>
                </a:moveTo>
                <a:cubicBezTo>
                  <a:pt x="877" y="46"/>
                  <a:pt x="876" y="46"/>
                  <a:pt x="876" y="47"/>
                </a:cubicBezTo>
                <a:cubicBezTo>
                  <a:pt x="877" y="47"/>
                  <a:pt x="877" y="46"/>
                  <a:pt x="878" y="45"/>
                </a:cubicBezTo>
                <a:close/>
                <a:moveTo>
                  <a:pt x="1567" y="21"/>
                </a:moveTo>
                <a:cubicBezTo>
                  <a:pt x="1566" y="20"/>
                  <a:pt x="1566" y="19"/>
                  <a:pt x="1565" y="19"/>
                </a:cubicBezTo>
                <a:cubicBezTo>
                  <a:pt x="1565" y="20"/>
                  <a:pt x="1566" y="20"/>
                  <a:pt x="1567" y="21"/>
                </a:cubicBezTo>
                <a:close/>
                <a:moveTo>
                  <a:pt x="1750" y="33"/>
                </a:moveTo>
                <a:cubicBezTo>
                  <a:pt x="1749" y="34"/>
                  <a:pt x="1749" y="35"/>
                  <a:pt x="1749" y="36"/>
                </a:cubicBezTo>
                <a:cubicBezTo>
                  <a:pt x="1750" y="35"/>
                  <a:pt x="1750" y="34"/>
                  <a:pt x="1750" y="33"/>
                </a:cubicBezTo>
                <a:close/>
                <a:moveTo>
                  <a:pt x="673" y="44"/>
                </a:moveTo>
                <a:cubicBezTo>
                  <a:pt x="672" y="45"/>
                  <a:pt x="672" y="45"/>
                  <a:pt x="671" y="46"/>
                </a:cubicBezTo>
                <a:cubicBezTo>
                  <a:pt x="672" y="46"/>
                  <a:pt x="673" y="45"/>
                  <a:pt x="673" y="44"/>
                </a:cubicBezTo>
                <a:close/>
                <a:moveTo>
                  <a:pt x="1193" y="94"/>
                </a:moveTo>
                <a:cubicBezTo>
                  <a:pt x="1195" y="94"/>
                  <a:pt x="1196" y="94"/>
                  <a:pt x="1197" y="94"/>
                </a:cubicBezTo>
                <a:cubicBezTo>
                  <a:pt x="1196" y="94"/>
                  <a:pt x="1195" y="94"/>
                  <a:pt x="1193" y="94"/>
                </a:cubicBezTo>
                <a:close/>
                <a:moveTo>
                  <a:pt x="776" y="103"/>
                </a:moveTo>
                <a:cubicBezTo>
                  <a:pt x="775" y="103"/>
                  <a:pt x="774" y="103"/>
                  <a:pt x="773" y="103"/>
                </a:cubicBezTo>
                <a:cubicBezTo>
                  <a:pt x="774" y="104"/>
                  <a:pt x="775" y="103"/>
                  <a:pt x="776" y="103"/>
                </a:cubicBezTo>
                <a:close/>
                <a:moveTo>
                  <a:pt x="1582" y="33"/>
                </a:moveTo>
                <a:cubicBezTo>
                  <a:pt x="1581" y="34"/>
                  <a:pt x="1581" y="35"/>
                  <a:pt x="1581" y="36"/>
                </a:cubicBezTo>
                <a:cubicBezTo>
                  <a:pt x="1582" y="35"/>
                  <a:pt x="1582" y="34"/>
                  <a:pt x="1582" y="33"/>
                </a:cubicBezTo>
                <a:close/>
                <a:moveTo>
                  <a:pt x="1695" y="94"/>
                </a:moveTo>
                <a:cubicBezTo>
                  <a:pt x="1696" y="93"/>
                  <a:pt x="1696" y="92"/>
                  <a:pt x="1696" y="91"/>
                </a:cubicBezTo>
                <a:cubicBezTo>
                  <a:pt x="1695" y="92"/>
                  <a:pt x="1695" y="93"/>
                  <a:pt x="1695" y="94"/>
                </a:cubicBezTo>
                <a:close/>
                <a:moveTo>
                  <a:pt x="1471" y="62"/>
                </a:moveTo>
                <a:cubicBezTo>
                  <a:pt x="1470" y="63"/>
                  <a:pt x="1470" y="64"/>
                  <a:pt x="1470" y="65"/>
                </a:cubicBezTo>
                <a:cubicBezTo>
                  <a:pt x="1471" y="64"/>
                  <a:pt x="1471" y="63"/>
                  <a:pt x="1471" y="62"/>
                </a:cubicBezTo>
                <a:close/>
                <a:moveTo>
                  <a:pt x="764" y="87"/>
                </a:moveTo>
                <a:cubicBezTo>
                  <a:pt x="764" y="88"/>
                  <a:pt x="765" y="89"/>
                  <a:pt x="766" y="89"/>
                </a:cubicBezTo>
                <a:cubicBezTo>
                  <a:pt x="765" y="88"/>
                  <a:pt x="765" y="88"/>
                  <a:pt x="764" y="87"/>
                </a:cubicBezTo>
                <a:close/>
                <a:moveTo>
                  <a:pt x="805" y="59"/>
                </a:moveTo>
                <a:cubicBezTo>
                  <a:pt x="805" y="60"/>
                  <a:pt x="805" y="61"/>
                  <a:pt x="806" y="62"/>
                </a:cubicBezTo>
                <a:cubicBezTo>
                  <a:pt x="806" y="61"/>
                  <a:pt x="806" y="60"/>
                  <a:pt x="805" y="59"/>
                </a:cubicBezTo>
                <a:close/>
                <a:moveTo>
                  <a:pt x="673" y="103"/>
                </a:moveTo>
                <a:cubicBezTo>
                  <a:pt x="672" y="103"/>
                  <a:pt x="671" y="103"/>
                  <a:pt x="670" y="103"/>
                </a:cubicBezTo>
                <a:cubicBezTo>
                  <a:pt x="671" y="104"/>
                  <a:pt x="672" y="103"/>
                  <a:pt x="673" y="103"/>
                </a:cubicBezTo>
                <a:close/>
                <a:moveTo>
                  <a:pt x="557" y="103"/>
                </a:moveTo>
                <a:cubicBezTo>
                  <a:pt x="556" y="103"/>
                  <a:pt x="555" y="103"/>
                  <a:pt x="553" y="103"/>
                </a:cubicBezTo>
                <a:cubicBezTo>
                  <a:pt x="554" y="104"/>
                  <a:pt x="556" y="103"/>
                  <a:pt x="557" y="103"/>
                </a:cubicBezTo>
                <a:close/>
                <a:moveTo>
                  <a:pt x="1256" y="39"/>
                </a:moveTo>
                <a:cubicBezTo>
                  <a:pt x="1257" y="40"/>
                  <a:pt x="1257" y="40"/>
                  <a:pt x="1258" y="41"/>
                </a:cubicBezTo>
                <a:cubicBezTo>
                  <a:pt x="1258" y="40"/>
                  <a:pt x="1257" y="39"/>
                  <a:pt x="1256" y="39"/>
                </a:cubicBezTo>
                <a:close/>
                <a:moveTo>
                  <a:pt x="1735" y="21"/>
                </a:moveTo>
                <a:cubicBezTo>
                  <a:pt x="1735" y="20"/>
                  <a:pt x="1734" y="19"/>
                  <a:pt x="1733" y="19"/>
                </a:cubicBezTo>
                <a:cubicBezTo>
                  <a:pt x="1734" y="20"/>
                  <a:pt x="1734" y="20"/>
                  <a:pt x="1735" y="21"/>
                </a:cubicBezTo>
                <a:close/>
                <a:moveTo>
                  <a:pt x="835" y="45"/>
                </a:moveTo>
                <a:cubicBezTo>
                  <a:pt x="834" y="46"/>
                  <a:pt x="834" y="46"/>
                  <a:pt x="833" y="47"/>
                </a:cubicBezTo>
                <a:cubicBezTo>
                  <a:pt x="834" y="47"/>
                  <a:pt x="835" y="46"/>
                  <a:pt x="835" y="45"/>
                </a:cubicBezTo>
                <a:close/>
                <a:moveTo>
                  <a:pt x="685" y="42"/>
                </a:moveTo>
                <a:cubicBezTo>
                  <a:pt x="685" y="42"/>
                  <a:pt x="684" y="42"/>
                  <a:pt x="683" y="42"/>
                </a:cubicBezTo>
                <a:cubicBezTo>
                  <a:pt x="683" y="43"/>
                  <a:pt x="685" y="42"/>
                  <a:pt x="685" y="42"/>
                </a:cubicBezTo>
                <a:close/>
                <a:moveTo>
                  <a:pt x="1438" y="103"/>
                </a:moveTo>
                <a:cubicBezTo>
                  <a:pt x="1437" y="103"/>
                  <a:pt x="1436" y="103"/>
                  <a:pt x="1435" y="103"/>
                </a:cubicBezTo>
                <a:cubicBezTo>
                  <a:pt x="1436" y="104"/>
                  <a:pt x="1437" y="103"/>
                  <a:pt x="1438" y="103"/>
                </a:cubicBezTo>
                <a:close/>
                <a:moveTo>
                  <a:pt x="902" y="59"/>
                </a:moveTo>
                <a:cubicBezTo>
                  <a:pt x="902" y="58"/>
                  <a:pt x="902" y="57"/>
                  <a:pt x="901" y="56"/>
                </a:cubicBezTo>
                <a:cubicBezTo>
                  <a:pt x="901" y="57"/>
                  <a:pt x="901" y="58"/>
                  <a:pt x="902" y="59"/>
                </a:cubicBezTo>
                <a:close/>
                <a:moveTo>
                  <a:pt x="566" y="6"/>
                </a:moveTo>
                <a:cubicBezTo>
                  <a:pt x="567" y="6"/>
                  <a:pt x="567" y="6"/>
                  <a:pt x="568" y="6"/>
                </a:cubicBezTo>
                <a:cubicBezTo>
                  <a:pt x="567" y="5"/>
                  <a:pt x="567" y="5"/>
                  <a:pt x="566" y="6"/>
                </a:cubicBezTo>
                <a:close/>
                <a:moveTo>
                  <a:pt x="700" y="82"/>
                </a:moveTo>
                <a:cubicBezTo>
                  <a:pt x="700" y="83"/>
                  <a:pt x="700" y="84"/>
                  <a:pt x="700" y="85"/>
                </a:cubicBezTo>
                <a:cubicBezTo>
                  <a:pt x="700" y="84"/>
                  <a:pt x="700" y="83"/>
                  <a:pt x="700" y="82"/>
                </a:cubicBezTo>
                <a:close/>
                <a:moveTo>
                  <a:pt x="758" y="72"/>
                </a:moveTo>
                <a:cubicBezTo>
                  <a:pt x="758" y="73"/>
                  <a:pt x="758" y="74"/>
                  <a:pt x="759" y="75"/>
                </a:cubicBezTo>
                <a:cubicBezTo>
                  <a:pt x="759" y="74"/>
                  <a:pt x="759" y="73"/>
                  <a:pt x="758" y="72"/>
                </a:cubicBezTo>
                <a:close/>
                <a:moveTo>
                  <a:pt x="1527" y="94"/>
                </a:moveTo>
                <a:cubicBezTo>
                  <a:pt x="1527" y="93"/>
                  <a:pt x="1527" y="92"/>
                  <a:pt x="1527" y="91"/>
                </a:cubicBezTo>
                <a:cubicBezTo>
                  <a:pt x="1527" y="92"/>
                  <a:pt x="1527" y="93"/>
                  <a:pt x="1527" y="94"/>
                </a:cubicBezTo>
                <a:close/>
                <a:moveTo>
                  <a:pt x="1364" y="6"/>
                </a:moveTo>
                <a:cubicBezTo>
                  <a:pt x="1365" y="6"/>
                  <a:pt x="1366" y="6"/>
                  <a:pt x="1367" y="6"/>
                </a:cubicBezTo>
                <a:cubicBezTo>
                  <a:pt x="1366" y="6"/>
                  <a:pt x="1365" y="5"/>
                  <a:pt x="1364" y="6"/>
                </a:cubicBezTo>
                <a:close/>
                <a:moveTo>
                  <a:pt x="992" y="6"/>
                </a:moveTo>
                <a:cubicBezTo>
                  <a:pt x="993" y="6"/>
                  <a:pt x="994" y="6"/>
                  <a:pt x="995" y="6"/>
                </a:cubicBezTo>
                <a:cubicBezTo>
                  <a:pt x="994" y="6"/>
                  <a:pt x="993" y="5"/>
                  <a:pt x="992" y="6"/>
                </a:cubicBezTo>
                <a:close/>
                <a:moveTo>
                  <a:pt x="561" y="6"/>
                </a:moveTo>
                <a:cubicBezTo>
                  <a:pt x="562" y="6"/>
                  <a:pt x="563" y="6"/>
                  <a:pt x="564" y="6"/>
                </a:cubicBezTo>
                <a:cubicBezTo>
                  <a:pt x="563" y="6"/>
                  <a:pt x="562" y="5"/>
                  <a:pt x="561" y="6"/>
                </a:cubicBezTo>
                <a:close/>
                <a:moveTo>
                  <a:pt x="565" y="16"/>
                </a:moveTo>
                <a:cubicBezTo>
                  <a:pt x="564" y="16"/>
                  <a:pt x="563" y="16"/>
                  <a:pt x="562" y="16"/>
                </a:cubicBezTo>
                <a:cubicBezTo>
                  <a:pt x="563" y="16"/>
                  <a:pt x="564" y="17"/>
                  <a:pt x="565" y="16"/>
                </a:cubicBezTo>
                <a:close/>
                <a:moveTo>
                  <a:pt x="1581" y="26"/>
                </a:moveTo>
                <a:cubicBezTo>
                  <a:pt x="1581" y="27"/>
                  <a:pt x="1581" y="28"/>
                  <a:pt x="1582" y="29"/>
                </a:cubicBezTo>
                <a:cubicBezTo>
                  <a:pt x="1582" y="28"/>
                  <a:pt x="1582" y="27"/>
                  <a:pt x="1581" y="26"/>
                </a:cubicBezTo>
                <a:close/>
                <a:moveTo>
                  <a:pt x="998" y="6"/>
                </a:moveTo>
                <a:cubicBezTo>
                  <a:pt x="999" y="6"/>
                  <a:pt x="999" y="6"/>
                  <a:pt x="1000" y="6"/>
                </a:cubicBezTo>
                <a:cubicBezTo>
                  <a:pt x="999" y="5"/>
                  <a:pt x="999" y="5"/>
                  <a:pt x="998" y="6"/>
                </a:cubicBezTo>
                <a:close/>
                <a:moveTo>
                  <a:pt x="1410" y="69"/>
                </a:moveTo>
                <a:cubicBezTo>
                  <a:pt x="1410" y="68"/>
                  <a:pt x="1410" y="67"/>
                  <a:pt x="1410" y="66"/>
                </a:cubicBezTo>
                <a:cubicBezTo>
                  <a:pt x="1410" y="67"/>
                  <a:pt x="1409" y="68"/>
                  <a:pt x="1410" y="69"/>
                </a:cubicBezTo>
                <a:close/>
                <a:moveTo>
                  <a:pt x="886" y="33"/>
                </a:moveTo>
                <a:cubicBezTo>
                  <a:pt x="886" y="33"/>
                  <a:pt x="887" y="33"/>
                  <a:pt x="888" y="33"/>
                </a:cubicBezTo>
                <a:cubicBezTo>
                  <a:pt x="887" y="33"/>
                  <a:pt x="886" y="32"/>
                  <a:pt x="886" y="33"/>
                </a:cubicBezTo>
                <a:close/>
                <a:moveTo>
                  <a:pt x="1726" y="6"/>
                </a:moveTo>
                <a:cubicBezTo>
                  <a:pt x="1726" y="6"/>
                  <a:pt x="1727" y="6"/>
                  <a:pt x="1728" y="6"/>
                </a:cubicBezTo>
                <a:cubicBezTo>
                  <a:pt x="1727" y="5"/>
                  <a:pt x="1727" y="6"/>
                  <a:pt x="1726" y="6"/>
                </a:cubicBezTo>
                <a:close/>
                <a:moveTo>
                  <a:pt x="725" y="83"/>
                </a:moveTo>
                <a:cubicBezTo>
                  <a:pt x="725" y="84"/>
                  <a:pt x="725" y="85"/>
                  <a:pt x="726" y="86"/>
                </a:cubicBezTo>
                <a:cubicBezTo>
                  <a:pt x="726" y="85"/>
                  <a:pt x="726" y="84"/>
                  <a:pt x="725" y="83"/>
                </a:cubicBezTo>
                <a:close/>
                <a:moveTo>
                  <a:pt x="1717" y="6"/>
                </a:moveTo>
                <a:cubicBezTo>
                  <a:pt x="1718" y="6"/>
                  <a:pt x="1719" y="6"/>
                  <a:pt x="1719" y="6"/>
                </a:cubicBezTo>
                <a:cubicBezTo>
                  <a:pt x="1719" y="6"/>
                  <a:pt x="1718" y="5"/>
                  <a:pt x="1717" y="6"/>
                </a:cubicBezTo>
                <a:close/>
                <a:moveTo>
                  <a:pt x="1410" y="46"/>
                </a:moveTo>
                <a:cubicBezTo>
                  <a:pt x="1410" y="45"/>
                  <a:pt x="1410" y="44"/>
                  <a:pt x="1410" y="43"/>
                </a:cubicBezTo>
                <a:cubicBezTo>
                  <a:pt x="1409" y="44"/>
                  <a:pt x="1410" y="45"/>
                  <a:pt x="1410" y="46"/>
                </a:cubicBezTo>
                <a:close/>
                <a:moveTo>
                  <a:pt x="1063" y="33"/>
                </a:moveTo>
                <a:cubicBezTo>
                  <a:pt x="1064" y="33"/>
                  <a:pt x="1065" y="33"/>
                  <a:pt x="1065" y="33"/>
                </a:cubicBezTo>
                <a:cubicBezTo>
                  <a:pt x="1065" y="32"/>
                  <a:pt x="1064" y="33"/>
                  <a:pt x="1063" y="33"/>
                </a:cubicBezTo>
                <a:close/>
                <a:moveTo>
                  <a:pt x="1029" y="64"/>
                </a:moveTo>
                <a:cubicBezTo>
                  <a:pt x="1030" y="63"/>
                  <a:pt x="1030" y="62"/>
                  <a:pt x="1030" y="61"/>
                </a:cubicBezTo>
                <a:cubicBezTo>
                  <a:pt x="1029" y="62"/>
                  <a:pt x="1029" y="63"/>
                  <a:pt x="1029" y="64"/>
                </a:cubicBezTo>
                <a:close/>
                <a:moveTo>
                  <a:pt x="1558" y="6"/>
                </a:moveTo>
                <a:cubicBezTo>
                  <a:pt x="1558" y="6"/>
                  <a:pt x="1559" y="6"/>
                  <a:pt x="1560" y="6"/>
                </a:cubicBezTo>
                <a:cubicBezTo>
                  <a:pt x="1559" y="5"/>
                  <a:pt x="1558" y="6"/>
                  <a:pt x="1558" y="6"/>
                </a:cubicBezTo>
                <a:close/>
                <a:moveTo>
                  <a:pt x="1549" y="6"/>
                </a:moveTo>
                <a:cubicBezTo>
                  <a:pt x="1550" y="6"/>
                  <a:pt x="1550" y="6"/>
                  <a:pt x="1551" y="6"/>
                </a:cubicBezTo>
                <a:cubicBezTo>
                  <a:pt x="1550" y="6"/>
                  <a:pt x="1549" y="5"/>
                  <a:pt x="1549" y="6"/>
                </a:cubicBezTo>
                <a:close/>
                <a:moveTo>
                  <a:pt x="1444" y="6"/>
                </a:moveTo>
                <a:cubicBezTo>
                  <a:pt x="1445" y="6"/>
                  <a:pt x="1445" y="6"/>
                  <a:pt x="1446" y="6"/>
                </a:cubicBezTo>
                <a:cubicBezTo>
                  <a:pt x="1446" y="5"/>
                  <a:pt x="1445" y="6"/>
                  <a:pt x="1444" y="6"/>
                </a:cubicBezTo>
                <a:close/>
                <a:moveTo>
                  <a:pt x="1750" y="27"/>
                </a:moveTo>
                <a:cubicBezTo>
                  <a:pt x="1749" y="28"/>
                  <a:pt x="1749" y="28"/>
                  <a:pt x="1750" y="29"/>
                </a:cubicBezTo>
                <a:cubicBezTo>
                  <a:pt x="1750" y="28"/>
                  <a:pt x="1750" y="27"/>
                  <a:pt x="1750" y="27"/>
                </a:cubicBezTo>
                <a:close/>
                <a:moveTo>
                  <a:pt x="1373" y="6"/>
                </a:moveTo>
                <a:cubicBezTo>
                  <a:pt x="1374" y="6"/>
                  <a:pt x="1375" y="6"/>
                  <a:pt x="1376" y="6"/>
                </a:cubicBezTo>
                <a:cubicBezTo>
                  <a:pt x="1375" y="5"/>
                  <a:pt x="1374" y="6"/>
                  <a:pt x="1373" y="6"/>
                </a:cubicBezTo>
                <a:close/>
                <a:moveTo>
                  <a:pt x="1135" y="33"/>
                </a:moveTo>
                <a:cubicBezTo>
                  <a:pt x="1135" y="33"/>
                  <a:pt x="1136" y="33"/>
                  <a:pt x="1137" y="33"/>
                </a:cubicBezTo>
                <a:cubicBezTo>
                  <a:pt x="1136" y="32"/>
                  <a:pt x="1136" y="33"/>
                  <a:pt x="1135" y="33"/>
                </a:cubicBezTo>
                <a:close/>
                <a:moveTo>
                  <a:pt x="720" y="99"/>
                </a:moveTo>
                <a:cubicBezTo>
                  <a:pt x="720" y="99"/>
                  <a:pt x="719" y="98"/>
                  <a:pt x="719" y="98"/>
                </a:cubicBezTo>
                <a:cubicBezTo>
                  <a:pt x="719" y="99"/>
                  <a:pt x="719" y="99"/>
                  <a:pt x="720" y="99"/>
                </a:cubicBezTo>
                <a:close/>
                <a:moveTo>
                  <a:pt x="1030" y="76"/>
                </a:moveTo>
                <a:cubicBezTo>
                  <a:pt x="1030" y="75"/>
                  <a:pt x="1030" y="74"/>
                  <a:pt x="1029" y="73"/>
                </a:cubicBezTo>
                <a:cubicBezTo>
                  <a:pt x="1029" y="74"/>
                  <a:pt x="1029" y="75"/>
                  <a:pt x="1030" y="76"/>
                </a:cubicBezTo>
                <a:close/>
                <a:moveTo>
                  <a:pt x="685" y="33"/>
                </a:moveTo>
                <a:cubicBezTo>
                  <a:pt x="686" y="33"/>
                  <a:pt x="687" y="33"/>
                  <a:pt x="687" y="33"/>
                </a:cubicBezTo>
                <a:cubicBezTo>
                  <a:pt x="687" y="32"/>
                  <a:pt x="686" y="33"/>
                  <a:pt x="685" y="33"/>
                </a:cubicBezTo>
                <a:close/>
                <a:moveTo>
                  <a:pt x="890" y="42"/>
                </a:moveTo>
                <a:cubicBezTo>
                  <a:pt x="890" y="42"/>
                  <a:pt x="889" y="42"/>
                  <a:pt x="888" y="42"/>
                </a:cubicBezTo>
                <a:cubicBezTo>
                  <a:pt x="889" y="43"/>
                  <a:pt x="890" y="42"/>
                  <a:pt x="890" y="42"/>
                </a:cubicBezTo>
                <a:close/>
                <a:moveTo>
                  <a:pt x="893" y="33"/>
                </a:moveTo>
                <a:cubicBezTo>
                  <a:pt x="894" y="33"/>
                  <a:pt x="894" y="33"/>
                  <a:pt x="895" y="33"/>
                </a:cubicBezTo>
                <a:cubicBezTo>
                  <a:pt x="894" y="32"/>
                  <a:pt x="894" y="33"/>
                  <a:pt x="893" y="33"/>
                </a:cubicBezTo>
                <a:close/>
                <a:moveTo>
                  <a:pt x="1293" y="39"/>
                </a:moveTo>
                <a:cubicBezTo>
                  <a:pt x="1294" y="38"/>
                  <a:pt x="1294" y="38"/>
                  <a:pt x="1295" y="37"/>
                </a:cubicBezTo>
                <a:cubicBezTo>
                  <a:pt x="1294" y="38"/>
                  <a:pt x="1293" y="38"/>
                  <a:pt x="1293" y="39"/>
                </a:cubicBezTo>
                <a:close/>
                <a:moveTo>
                  <a:pt x="773" y="33"/>
                </a:moveTo>
                <a:cubicBezTo>
                  <a:pt x="774" y="33"/>
                  <a:pt x="775" y="33"/>
                  <a:pt x="776" y="33"/>
                </a:cubicBezTo>
                <a:cubicBezTo>
                  <a:pt x="775" y="33"/>
                  <a:pt x="774" y="32"/>
                  <a:pt x="773" y="33"/>
                </a:cubicBezTo>
                <a:close/>
                <a:moveTo>
                  <a:pt x="828" y="58"/>
                </a:moveTo>
                <a:cubicBezTo>
                  <a:pt x="828" y="59"/>
                  <a:pt x="828" y="60"/>
                  <a:pt x="828" y="61"/>
                </a:cubicBezTo>
                <a:cubicBezTo>
                  <a:pt x="829" y="60"/>
                  <a:pt x="828" y="59"/>
                  <a:pt x="828" y="58"/>
                </a:cubicBezTo>
                <a:close/>
                <a:moveTo>
                  <a:pt x="677" y="33"/>
                </a:moveTo>
                <a:cubicBezTo>
                  <a:pt x="678" y="33"/>
                  <a:pt x="679" y="33"/>
                  <a:pt x="680" y="33"/>
                </a:cubicBezTo>
                <a:cubicBezTo>
                  <a:pt x="679" y="33"/>
                  <a:pt x="678" y="32"/>
                  <a:pt x="677" y="33"/>
                </a:cubicBezTo>
                <a:close/>
                <a:moveTo>
                  <a:pt x="1369" y="6"/>
                </a:moveTo>
                <a:cubicBezTo>
                  <a:pt x="1370" y="6"/>
                  <a:pt x="1371" y="6"/>
                  <a:pt x="1371" y="6"/>
                </a:cubicBezTo>
                <a:cubicBezTo>
                  <a:pt x="1371" y="5"/>
                  <a:pt x="1370" y="5"/>
                  <a:pt x="1369" y="6"/>
                </a:cubicBezTo>
                <a:close/>
                <a:moveTo>
                  <a:pt x="781" y="33"/>
                </a:moveTo>
                <a:cubicBezTo>
                  <a:pt x="781" y="33"/>
                  <a:pt x="782" y="33"/>
                  <a:pt x="783" y="33"/>
                </a:cubicBezTo>
                <a:cubicBezTo>
                  <a:pt x="782" y="32"/>
                  <a:pt x="781" y="33"/>
                  <a:pt x="781" y="33"/>
                </a:cubicBezTo>
                <a:close/>
                <a:moveTo>
                  <a:pt x="1005" y="103"/>
                </a:moveTo>
                <a:cubicBezTo>
                  <a:pt x="1004" y="103"/>
                  <a:pt x="1004" y="103"/>
                  <a:pt x="1003" y="103"/>
                </a:cubicBezTo>
                <a:cubicBezTo>
                  <a:pt x="1004" y="103"/>
                  <a:pt x="1004" y="103"/>
                  <a:pt x="1005" y="103"/>
                </a:cubicBezTo>
                <a:close/>
                <a:moveTo>
                  <a:pt x="1207" y="76"/>
                </a:moveTo>
                <a:cubicBezTo>
                  <a:pt x="1208" y="75"/>
                  <a:pt x="1208" y="74"/>
                  <a:pt x="1207" y="74"/>
                </a:cubicBezTo>
                <a:cubicBezTo>
                  <a:pt x="1207" y="74"/>
                  <a:pt x="1207" y="75"/>
                  <a:pt x="1207" y="76"/>
                </a:cubicBezTo>
                <a:close/>
                <a:moveTo>
                  <a:pt x="1127" y="33"/>
                </a:moveTo>
                <a:cubicBezTo>
                  <a:pt x="1128" y="33"/>
                  <a:pt x="1129" y="33"/>
                  <a:pt x="1130" y="33"/>
                </a:cubicBezTo>
                <a:cubicBezTo>
                  <a:pt x="1129" y="33"/>
                  <a:pt x="1128" y="32"/>
                  <a:pt x="1127" y="33"/>
                </a:cubicBezTo>
                <a:close/>
                <a:moveTo>
                  <a:pt x="1531" y="15"/>
                </a:moveTo>
                <a:cubicBezTo>
                  <a:pt x="1531" y="14"/>
                  <a:pt x="1532" y="14"/>
                  <a:pt x="1532" y="13"/>
                </a:cubicBezTo>
                <a:cubicBezTo>
                  <a:pt x="1532" y="14"/>
                  <a:pt x="1531" y="14"/>
                  <a:pt x="1531" y="15"/>
                </a:cubicBezTo>
                <a:close/>
                <a:moveTo>
                  <a:pt x="1548" y="75"/>
                </a:moveTo>
                <a:cubicBezTo>
                  <a:pt x="1547" y="75"/>
                  <a:pt x="1547" y="76"/>
                  <a:pt x="1546" y="76"/>
                </a:cubicBezTo>
                <a:cubicBezTo>
                  <a:pt x="1547" y="76"/>
                  <a:pt x="1547" y="76"/>
                  <a:pt x="1548" y="75"/>
                </a:cubicBezTo>
                <a:close/>
                <a:moveTo>
                  <a:pt x="1699" y="15"/>
                </a:moveTo>
                <a:cubicBezTo>
                  <a:pt x="1700" y="14"/>
                  <a:pt x="1700" y="14"/>
                  <a:pt x="1700" y="13"/>
                </a:cubicBezTo>
                <a:cubicBezTo>
                  <a:pt x="1700" y="14"/>
                  <a:pt x="1699" y="14"/>
                  <a:pt x="1699" y="15"/>
                </a:cubicBezTo>
                <a:close/>
                <a:moveTo>
                  <a:pt x="844" y="33"/>
                </a:moveTo>
                <a:cubicBezTo>
                  <a:pt x="845" y="33"/>
                  <a:pt x="846" y="33"/>
                  <a:pt x="847" y="33"/>
                </a:cubicBezTo>
                <a:cubicBezTo>
                  <a:pt x="846" y="33"/>
                  <a:pt x="845" y="32"/>
                  <a:pt x="844" y="33"/>
                </a:cubicBezTo>
                <a:close/>
                <a:moveTo>
                  <a:pt x="851" y="33"/>
                </a:moveTo>
                <a:cubicBezTo>
                  <a:pt x="852" y="33"/>
                  <a:pt x="852" y="33"/>
                  <a:pt x="853" y="33"/>
                </a:cubicBezTo>
                <a:cubicBezTo>
                  <a:pt x="852" y="32"/>
                  <a:pt x="852" y="33"/>
                  <a:pt x="851" y="33"/>
                </a:cubicBezTo>
                <a:close/>
                <a:moveTo>
                  <a:pt x="1055" y="33"/>
                </a:moveTo>
                <a:cubicBezTo>
                  <a:pt x="1056" y="33"/>
                  <a:pt x="1057" y="33"/>
                  <a:pt x="1058" y="33"/>
                </a:cubicBezTo>
                <a:cubicBezTo>
                  <a:pt x="1057" y="33"/>
                  <a:pt x="1056" y="32"/>
                  <a:pt x="1055" y="33"/>
                </a:cubicBezTo>
                <a:close/>
                <a:moveTo>
                  <a:pt x="1661" y="8"/>
                </a:moveTo>
                <a:cubicBezTo>
                  <a:pt x="1661" y="8"/>
                  <a:pt x="1662" y="8"/>
                  <a:pt x="1663" y="8"/>
                </a:cubicBezTo>
                <a:cubicBezTo>
                  <a:pt x="1662" y="7"/>
                  <a:pt x="1661" y="8"/>
                  <a:pt x="1661" y="8"/>
                </a:cubicBezTo>
                <a:close/>
                <a:moveTo>
                  <a:pt x="1233" y="33"/>
                </a:moveTo>
                <a:cubicBezTo>
                  <a:pt x="1234" y="33"/>
                  <a:pt x="1235" y="33"/>
                  <a:pt x="1236" y="33"/>
                </a:cubicBezTo>
                <a:cubicBezTo>
                  <a:pt x="1235" y="33"/>
                  <a:pt x="1234" y="32"/>
                  <a:pt x="1233" y="33"/>
                </a:cubicBezTo>
                <a:close/>
                <a:moveTo>
                  <a:pt x="1241" y="33"/>
                </a:moveTo>
                <a:cubicBezTo>
                  <a:pt x="1241" y="33"/>
                  <a:pt x="1242" y="33"/>
                  <a:pt x="1243" y="33"/>
                </a:cubicBezTo>
                <a:cubicBezTo>
                  <a:pt x="1242" y="32"/>
                  <a:pt x="1241" y="33"/>
                  <a:pt x="1241" y="33"/>
                </a:cubicBezTo>
                <a:close/>
                <a:moveTo>
                  <a:pt x="589" y="73"/>
                </a:moveTo>
                <a:cubicBezTo>
                  <a:pt x="589" y="74"/>
                  <a:pt x="589" y="75"/>
                  <a:pt x="589" y="76"/>
                </a:cubicBezTo>
                <a:cubicBezTo>
                  <a:pt x="589" y="75"/>
                  <a:pt x="590" y="74"/>
                  <a:pt x="589" y="73"/>
                </a:cubicBezTo>
                <a:close/>
                <a:moveTo>
                  <a:pt x="1410" y="72"/>
                </a:moveTo>
                <a:cubicBezTo>
                  <a:pt x="1410" y="71"/>
                  <a:pt x="1410" y="70"/>
                  <a:pt x="1410" y="69"/>
                </a:cubicBezTo>
                <a:cubicBezTo>
                  <a:pt x="1410" y="70"/>
                  <a:pt x="1410" y="71"/>
                  <a:pt x="1410" y="72"/>
                </a:cubicBezTo>
                <a:close/>
                <a:moveTo>
                  <a:pt x="1370" y="15"/>
                </a:moveTo>
                <a:cubicBezTo>
                  <a:pt x="1369" y="15"/>
                  <a:pt x="1369" y="15"/>
                  <a:pt x="1368" y="15"/>
                </a:cubicBezTo>
                <a:cubicBezTo>
                  <a:pt x="1369" y="15"/>
                  <a:pt x="1369" y="15"/>
                  <a:pt x="1370" y="15"/>
                </a:cubicBezTo>
                <a:close/>
                <a:moveTo>
                  <a:pt x="1555" y="15"/>
                </a:moveTo>
                <a:cubicBezTo>
                  <a:pt x="1554" y="15"/>
                  <a:pt x="1553" y="15"/>
                  <a:pt x="1552" y="15"/>
                </a:cubicBezTo>
                <a:cubicBezTo>
                  <a:pt x="1553" y="15"/>
                  <a:pt x="1554" y="15"/>
                  <a:pt x="1555" y="15"/>
                </a:cubicBezTo>
                <a:close/>
                <a:moveTo>
                  <a:pt x="1470" y="66"/>
                </a:moveTo>
                <a:cubicBezTo>
                  <a:pt x="1470" y="67"/>
                  <a:pt x="1470" y="67"/>
                  <a:pt x="1470" y="68"/>
                </a:cubicBezTo>
                <a:cubicBezTo>
                  <a:pt x="1471" y="67"/>
                  <a:pt x="1470" y="67"/>
                  <a:pt x="1470" y="66"/>
                </a:cubicBezTo>
                <a:close/>
                <a:moveTo>
                  <a:pt x="1723" y="15"/>
                </a:moveTo>
                <a:cubicBezTo>
                  <a:pt x="1722" y="15"/>
                  <a:pt x="1721" y="15"/>
                  <a:pt x="1720" y="15"/>
                </a:cubicBezTo>
                <a:cubicBezTo>
                  <a:pt x="1721" y="15"/>
                  <a:pt x="1722" y="15"/>
                  <a:pt x="1723" y="15"/>
                </a:cubicBezTo>
                <a:close/>
                <a:moveTo>
                  <a:pt x="951" y="65"/>
                </a:moveTo>
                <a:cubicBezTo>
                  <a:pt x="951" y="64"/>
                  <a:pt x="951" y="63"/>
                  <a:pt x="951" y="63"/>
                </a:cubicBezTo>
                <a:cubicBezTo>
                  <a:pt x="951" y="64"/>
                  <a:pt x="951" y="64"/>
                  <a:pt x="951" y="65"/>
                </a:cubicBezTo>
                <a:close/>
                <a:moveTo>
                  <a:pt x="1558" y="16"/>
                </a:moveTo>
                <a:cubicBezTo>
                  <a:pt x="1557" y="15"/>
                  <a:pt x="1556" y="15"/>
                  <a:pt x="1556" y="15"/>
                </a:cubicBezTo>
                <a:cubicBezTo>
                  <a:pt x="1556" y="16"/>
                  <a:pt x="1557" y="15"/>
                  <a:pt x="1558" y="16"/>
                </a:cubicBezTo>
                <a:close/>
                <a:moveTo>
                  <a:pt x="1726" y="16"/>
                </a:moveTo>
                <a:cubicBezTo>
                  <a:pt x="1725" y="15"/>
                  <a:pt x="1724" y="15"/>
                  <a:pt x="1724" y="15"/>
                </a:cubicBezTo>
                <a:cubicBezTo>
                  <a:pt x="1724" y="16"/>
                  <a:pt x="1725" y="15"/>
                  <a:pt x="1726" y="16"/>
                </a:cubicBezTo>
                <a:close/>
                <a:moveTo>
                  <a:pt x="1207" y="63"/>
                </a:moveTo>
                <a:cubicBezTo>
                  <a:pt x="1208" y="63"/>
                  <a:pt x="1208" y="62"/>
                  <a:pt x="1207" y="61"/>
                </a:cubicBezTo>
                <a:cubicBezTo>
                  <a:pt x="1207" y="62"/>
                  <a:pt x="1207" y="63"/>
                  <a:pt x="1207" y="63"/>
                </a:cubicBezTo>
                <a:close/>
                <a:moveTo>
                  <a:pt x="1155" y="53"/>
                </a:moveTo>
                <a:cubicBezTo>
                  <a:pt x="1155" y="54"/>
                  <a:pt x="1155" y="54"/>
                  <a:pt x="1155" y="55"/>
                </a:cubicBezTo>
                <a:cubicBezTo>
                  <a:pt x="1155" y="54"/>
                  <a:pt x="1155" y="53"/>
                  <a:pt x="1155" y="53"/>
                </a:cubicBezTo>
                <a:close/>
                <a:moveTo>
                  <a:pt x="680" y="42"/>
                </a:moveTo>
                <a:cubicBezTo>
                  <a:pt x="679" y="42"/>
                  <a:pt x="679" y="42"/>
                  <a:pt x="678" y="42"/>
                </a:cubicBezTo>
                <a:cubicBezTo>
                  <a:pt x="679" y="42"/>
                  <a:pt x="679" y="43"/>
                  <a:pt x="680" y="42"/>
                </a:cubicBezTo>
                <a:close/>
                <a:moveTo>
                  <a:pt x="1568" y="59"/>
                </a:moveTo>
                <a:cubicBezTo>
                  <a:pt x="1568" y="59"/>
                  <a:pt x="1567" y="60"/>
                  <a:pt x="1567" y="60"/>
                </a:cubicBezTo>
                <a:cubicBezTo>
                  <a:pt x="1568" y="60"/>
                  <a:pt x="1568" y="60"/>
                  <a:pt x="1568" y="59"/>
                </a:cubicBezTo>
                <a:close/>
                <a:moveTo>
                  <a:pt x="848" y="42"/>
                </a:moveTo>
                <a:cubicBezTo>
                  <a:pt x="847" y="42"/>
                  <a:pt x="846" y="42"/>
                  <a:pt x="845" y="42"/>
                </a:cubicBezTo>
                <a:cubicBezTo>
                  <a:pt x="846" y="43"/>
                  <a:pt x="847" y="42"/>
                  <a:pt x="848" y="42"/>
                </a:cubicBezTo>
                <a:close/>
                <a:moveTo>
                  <a:pt x="1440" y="6"/>
                </a:moveTo>
                <a:cubicBezTo>
                  <a:pt x="1441" y="6"/>
                  <a:pt x="1441" y="6"/>
                  <a:pt x="1442" y="6"/>
                </a:cubicBezTo>
                <a:cubicBezTo>
                  <a:pt x="1441" y="5"/>
                  <a:pt x="1441" y="5"/>
                  <a:pt x="1440" y="6"/>
                </a:cubicBezTo>
                <a:close/>
                <a:moveTo>
                  <a:pt x="1554" y="6"/>
                </a:moveTo>
                <a:cubicBezTo>
                  <a:pt x="1554" y="6"/>
                  <a:pt x="1555" y="6"/>
                  <a:pt x="1556" y="6"/>
                </a:cubicBezTo>
                <a:cubicBezTo>
                  <a:pt x="1555" y="5"/>
                  <a:pt x="1554" y="5"/>
                  <a:pt x="1554" y="6"/>
                </a:cubicBezTo>
                <a:close/>
                <a:moveTo>
                  <a:pt x="1722" y="6"/>
                </a:moveTo>
                <a:cubicBezTo>
                  <a:pt x="1722" y="6"/>
                  <a:pt x="1723" y="6"/>
                  <a:pt x="1724" y="6"/>
                </a:cubicBezTo>
                <a:cubicBezTo>
                  <a:pt x="1723" y="5"/>
                  <a:pt x="1722" y="5"/>
                  <a:pt x="1722" y="6"/>
                </a:cubicBezTo>
                <a:close/>
                <a:moveTo>
                  <a:pt x="1436" y="6"/>
                </a:moveTo>
                <a:cubicBezTo>
                  <a:pt x="1437" y="6"/>
                  <a:pt x="1438" y="6"/>
                  <a:pt x="1438" y="6"/>
                </a:cubicBezTo>
                <a:cubicBezTo>
                  <a:pt x="1438" y="6"/>
                  <a:pt x="1437" y="6"/>
                  <a:pt x="1436" y="6"/>
                </a:cubicBezTo>
                <a:close/>
                <a:moveTo>
                  <a:pt x="990" y="6"/>
                </a:moveTo>
                <a:cubicBezTo>
                  <a:pt x="990" y="7"/>
                  <a:pt x="991" y="7"/>
                  <a:pt x="992" y="6"/>
                </a:cubicBezTo>
                <a:cubicBezTo>
                  <a:pt x="991" y="6"/>
                  <a:pt x="990" y="6"/>
                  <a:pt x="990" y="6"/>
                </a:cubicBezTo>
                <a:close/>
                <a:moveTo>
                  <a:pt x="1007" y="6"/>
                </a:moveTo>
                <a:cubicBezTo>
                  <a:pt x="1008" y="7"/>
                  <a:pt x="1009" y="6"/>
                  <a:pt x="1009" y="6"/>
                </a:cubicBezTo>
                <a:cubicBezTo>
                  <a:pt x="1009" y="6"/>
                  <a:pt x="1008" y="6"/>
                  <a:pt x="1007" y="6"/>
                </a:cubicBezTo>
                <a:close/>
                <a:moveTo>
                  <a:pt x="886" y="42"/>
                </a:moveTo>
                <a:cubicBezTo>
                  <a:pt x="885" y="42"/>
                  <a:pt x="884" y="42"/>
                  <a:pt x="884" y="42"/>
                </a:cubicBezTo>
                <a:cubicBezTo>
                  <a:pt x="884" y="42"/>
                  <a:pt x="885" y="43"/>
                  <a:pt x="886" y="42"/>
                </a:cubicBezTo>
                <a:close/>
                <a:moveTo>
                  <a:pt x="990" y="92"/>
                </a:moveTo>
                <a:cubicBezTo>
                  <a:pt x="991" y="93"/>
                  <a:pt x="992" y="93"/>
                  <a:pt x="992" y="93"/>
                </a:cubicBezTo>
                <a:cubicBezTo>
                  <a:pt x="992" y="92"/>
                  <a:pt x="991" y="93"/>
                  <a:pt x="990" y="92"/>
                </a:cubicBezTo>
                <a:close/>
                <a:moveTo>
                  <a:pt x="1040" y="40"/>
                </a:moveTo>
                <a:cubicBezTo>
                  <a:pt x="1041" y="40"/>
                  <a:pt x="1041" y="40"/>
                  <a:pt x="1041" y="39"/>
                </a:cubicBezTo>
                <a:cubicBezTo>
                  <a:pt x="1041" y="39"/>
                  <a:pt x="1040" y="40"/>
                  <a:pt x="1040" y="40"/>
                </a:cubicBezTo>
                <a:close/>
                <a:moveTo>
                  <a:pt x="951" y="50"/>
                </a:moveTo>
                <a:cubicBezTo>
                  <a:pt x="951" y="49"/>
                  <a:pt x="951" y="48"/>
                  <a:pt x="951" y="48"/>
                </a:cubicBezTo>
                <a:cubicBezTo>
                  <a:pt x="951" y="48"/>
                  <a:pt x="951" y="49"/>
                  <a:pt x="951" y="50"/>
                </a:cubicBezTo>
                <a:close/>
                <a:moveTo>
                  <a:pt x="1265" y="58"/>
                </a:moveTo>
                <a:cubicBezTo>
                  <a:pt x="1265" y="58"/>
                  <a:pt x="1265" y="59"/>
                  <a:pt x="1266" y="60"/>
                </a:cubicBezTo>
                <a:cubicBezTo>
                  <a:pt x="1266" y="59"/>
                  <a:pt x="1266" y="58"/>
                  <a:pt x="1265" y="58"/>
                </a:cubicBezTo>
                <a:close/>
                <a:moveTo>
                  <a:pt x="694" y="97"/>
                </a:moveTo>
                <a:cubicBezTo>
                  <a:pt x="694" y="97"/>
                  <a:pt x="693" y="97"/>
                  <a:pt x="693" y="98"/>
                </a:cubicBezTo>
                <a:cubicBezTo>
                  <a:pt x="694" y="98"/>
                  <a:pt x="694" y="97"/>
                  <a:pt x="694" y="97"/>
                </a:cubicBezTo>
                <a:close/>
                <a:moveTo>
                  <a:pt x="1002" y="93"/>
                </a:moveTo>
                <a:cubicBezTo>
                  <a:pt x="1003" y="93"/>
                  <a:pt x="1003" y="93"/>
                  <a:pt x="1004" y="92"/>
                </a:cubicBezTo>
                <a:cubicBezTo>
                  <a:pt x="1003" y="93"/>
                  <a:pt x="1002" y="92"/>
                  <a:pt x="1002" y="93"/>
                </a:cubicBezTo>
                <a:close/>
                <a:moveTo>
                  <a:pt x="1373" y="56"/>
                </a:moveTo>
                <a:cubicBezTo>
                  <a:pt x="1374" y="56"/>
                  <a:pt x="1374" y="55"/>
                  <a:pt x="1375" y="55"/>
                </a:cubicBezTo>
                <a:cubicBezTo>
                  <a:pt x="1374" y="55"/>
                  <a:pt x="1373" y="55"/>
                  <a:pt x="1373" y="56"/>
                </a:cubicBezTo>
                <a:close/>
                <a:moveTo>
                  <a:pt x="1127" y="42"/>
                </a:moveTo>
                <a:cubicBezTo>
                  <a:pt x="1127" y="42"/>
                  <a:pt x="1126" y="42"/>
                  <a:pt x="1125" y="42"/>
                </a:cubicBezTo>
                <a:cubicBezTo>
                  <a:pt x="1126" y="42"/>
                  <a:pt x="1127" y="43"/>
                  <a:pt x="1127" y="42"/>
                </a:cubicBezTo>
                <a:close/>
                <a:moveTo>
                  <a:pt x="1132" y="42"/>
                </a:moveTo>
                <a:cubicBezTo>
                  <a:pt x="1131" y="42"/>
                  <a:pt x="1131" y="42"/>
                  <a:pt x="1130" y="42"/>
                </a:cubicBezTo>
                <a:cubicBezTo>
                  <a:pt x="1131" y="43"/>
                  <a:pt x="1131" y="42"/>
                  <a:pt x="1132" y="42"/>
                </a:cubicBezTo>
                <a:close/>
                <a:moveTo>
                  <a:pt x="1343" y="92"/>
                </a:moveTo>
                <a:cubicBezTo>
                  <a:pt x="1343" y="92"/>
                  <a:pt x="1343" y="91"/>
                  <a:pt x="1343" y="90"/>
                </a:cubicBezTo>
                <a:cubicBezTo>
                  <a:pt x="1343" y="91"/>
                  <a:pt x="1343" y="92"/>
                  <a:pt x="1343" y="92"/>
                </a:cubicBezTo>
                <a:close/>
                <a:moveTo>
                  <a:pt x="1707" y="88"/>
                </a:moveTo>
                <a:cubicBezTo>
                  <a:pt x="1707" y="88"/>
                  <a:pt x="1707" y="89"/>
                  <a:pt x="1707" y="90"/>
                </a:cubicBezTo>
                <a:cubicBezTo>
                  <a:pt x="1707" y="89"/>
                  <a:pt x="1707" y="88"/>
                  <a:pt x="1707" y="88"/>
                </a:cubicBezTo>
                <a:close/>
                <a:moveTo>
                  <a:pt x="1069" y="103"/>
                </a:moveTo>
                <a:cubicBezTo>
                  <a:pt x="1068" y="103"/>
                  <a:pt x="1067" y="103"/>
                  <a:pt x="1066" y="103"/>
                </a:cubicBezTo>
                <a:cubicBezTo>
                  <a:pt x="1067" y="103"/>
                  <a:pt x="1068" y="103"/>
                  <a:pt x="1069" y="103"/>
                </a:cubicBezTo>
                <a:close/>
                <a:moveTo>
                  <a:pt x="1470" y="39"/>
                </a:moveTo>
                <a:cubicBezTo>
                  <a:pt x="1470" y="40"/>
                  <a:pt x="1470" y="40"/>
                  <a:pt x="1470" y="41"/>
                </a:cubicBezTo>
                <a:cubicBezTo>
                  <a:pt x="1470" y="40"/>
                  <a:pt x="1471" y="40"/>
                  <a:pt x="1470" y="39"/>
                </a:cubicBezTo>
                <a:close/>
                <a:moveTo>
                  <a:pt x="1385" y="58"/>
                </a:moveTo>
                <a:cubicBezTo>
                  <a:pt x="1385" y="58"/>
                  <a:pt x="1384" y="59"/>
                  <a:pt x="1384" y="59"/>
                </a:cubicBezTo>
                <a:cubicBezTo>
                  <a:pt x="1385" y="59"/>
                  <a:pt x="1385" y="59"/>
                  <a:pt x="1385" y="58"/>
                </a:cubicBezTo>
                <a:close/>
                <a:moveTo>
                  <a:pt x="1175" y="89"/>
                </a:moveTo>
                <a:cubicBezTo>
                  <a:pt x="1175" y="88"/>
                  <a:pt x="1175" y="87"/>
                  <a:pt x="1174" y="87"/>
                </a:cubicBezTo>
                <a:cubicBezTo>
                  <a:pt x="1175" y="87"/>
                  <a:pt x="1174" y="88"/>
                  <a:pt x="1175" y="89"/>
                </a:cubicBezTo>
                <a:close/>
                <a:moveTo>
                  <a:pt x="551" y="39"/>
                </a:moveTo>
                <a:cubicBezTo>
                  <a:pt x="552" y="40"/>
                  <a:pt x="552" y="40"/>
                  <a:pt x="552" y="41"/>
                </a:cubicBezTo>
                <a:cubicBezTo>
                  <a:pt x="552" y="40"/>
                  <a:pt x="552" y="39"/>
                  <a:pt x="551" y="39"/>
                </a:cubicBezTo>
                <a:close/>
                <a:moveTo>
                  <a:pt x="1389" y="54"/>
                </a:moveTo>
                <a:cubicBezTo>
                  <a:pt x="1389" y="54"/>
                  <a:pt x="1388" y="55"/>
                  <a:pt x="1388" y="55"/>
                </a:cubicBezTo>
                <a:cubicBezTo>
                  <a:pt x="1389" y="55"/>
                  <a:pt x="1389" y="55"/>
                  <a:pt x="1389" y="54"/>
                </a:cubicBezTo>
                <a:close/>
                <a:moveTo>
                  <a:pt x="1087" y="57"/>
                </a:moveTo>
                <a:cubicBezTo>
                  <a:pt x="1087" y="58"/>
                  <a:pt x="1087" y="59"/>
                  <a:pt x="1088" y="60"/>
                </a:cubicBezTo>
                <a:cubicBezTo>
                  <a:pt x="1088" y="59"/>
                  <a:pt x="1088" y="58"/>
                  <a:pt x="1087" y="57"/>
                </a:cubicBezTo>
                <a:close/>
                <a:moveTo>
                  <a:pt x="989" y="103"/>
                </a:moveTo>
                <a:cubicBezTo>
                  <a:pt x="988" y="103"/>
                  <a:pt x="987" y="103"/>
                  <a:pt x="986" y="103"/>
                </a:cubicBezTo>
                <a:cubicBezTo>
                  <a:pt x="987" y="103"/>
                  <a:pt x="988" y="103"/>
                  <a:pt x="989" y="103"/>
                </a:cubicBezTo>
                <a:close/>
                <a:moveTo>
                  <a:pt x="589" y="80"/>
                </a:moveTo>
                <a:cubicBezTo>
                  <a:pt x="589" y="81"/>
                  <a:pt x="589" y="82"/>
                  <a:pt x="589" y="82"/>
                </a:cubicBezTo>
                <a:cubicBezTo>
                  <a:pt x="590" y="82"/>
                  <a:pt x="589" y="81"/>
                  <a:pt x="589" y="80"/>
                </a:cubicBezTo>
                <a:close/>
                <a:moveTo>
                  <a:pt x="1716" y="75"/>
                </a:moveTo>
                <a:cubicBezTo>
                  <a:pt x="1715" y="75"/>
                  <a:pt x="1715" y="76"/>
                  <a:pt x="1714" y="76"/>
                </a:cubicBezTo>
                <a:cubicBezTo>
                  <a:pt x="1715" y="76"/>
                  <a:pt x="1715" y="76"/>
                  <a:pt x="1716" y="75"/>
                </a:cubicBezTo>
                <a:close/>
                <a:moveTo>
                  <a:pt x="1005" y="92"/>
                </a:moveTo>
                <a:cubicBezTo>
                  <a:pt x="1005" y="92"/>
                  <a:pt x="1006" y="93"/>
                  <a:pt x="1006" y="92"/>
                </a:cubicBezTo>
                <a:cubicBezTo>
                  <a:pt x="1006" y="92"/>
                  <a:pt x="1005" y="92"/>
                  <a:pt x="1005" y="92"/>
                </a:cubicBezTo>
                <a:close/>
                <a:moveTo>
                  <a:pt x="1289" y="60"/>
                </a:moveTo>
                <a:cubicBezTo>
                  <a:pt x="1288" y="61"/>
                  <a:pt x="1288" y="61"/>
                  <a:pt x="1288" y="62"/>
                </a:cubicBezTo>
                <a:cubicBezTo>
                  <a:pt x="1289" y="61"/>
                  <a:pt x="1289" y="61"/>
                  <a:pt x="1289" y="60"/>
                </a:cubicBezTo>
                <a:close/>
                <a:moveTo>
                  <a:pt x="1030" y="61"/>
                </a:moveTo>
                <a:cubicBezTo>
                  <a:pt x="1030" y="61"/>
                  <a:pt x="1030" y="60"/>
                  <a:pt x="1030" y="59"/>
                </a:cubicBezTo>
                <a:cubicBezTo>
                  <a:pt x="1029" y="60"/>
                  <a:pt x="1030" y="61"/>
                  <a:pt x="1030" y="61"/>
                </a:cubicBezTo>
                <a:close/>
                <a:moveTo>
                  <a:pt x="1219" y="75"/>
                </a:moveTo>
                <a:cubicBezTo>
                  <a:pt x="1219" y="75"/>
                  <a:pt x="1219" y="76"/>
                  <a:pt x="1219" y="77"/>
                </a:cubicBezTo>
                <a:cubicBezTo>
                  <a:pt x="1219" y="76"/>
                  <a:pt x="1219" y="75"/>
                  <a:pt x="1219" y="75"/>
                </a:cubicBezTo>
                <a:close/>
                <a:moveTo>
                  <a:pt x="1386" y="29"/>
                </a:moveTo>
                <a:cubicBezTo>
                  <a:pt x="1386" y="28"/>
                  <a:pt x="1386" y="28"/>
                  <a:pt x="1386" y="27"/>
                </a:cubicBezTo>
                <a:cubicBezTo>
                  <a:pt x="1386" y="28"/>
                  <a:pt x="1385" y="29"/>
                  <a:pt x="1386" y="29"/>
                </a:cubicBezTo>
                <a:close/>
                <a:moveTo>
                  <a:pt x="669" y="103"/>
                </a:moveTo>
                <a:cubicBezTo>
                  <a:pt x="669" y="103"/>
                  <a:pt x="668" y="103"/>
                  <a:pt x="668" y="103"/>
                </a:cubicBezTo>
                <a:cubicBezTo>
                  <a:pt x="668" y="103"/>
                  <a:pt x="669" y="103"/>
                  <a:pt x="669" y="103"/>
                </a:cubicBezTo>
                <a:close/>
                <a:moveTo>
                  <a:pt x="1208" y="78"/>
                </a:moveTo>
                <a:cubicBezTo>
                  <a:pt x="1208" y="78"/>
                  <a:pt x="1208" y="77"/>
                  <a:pt x="1208" y="76"/>
                </a:cubicBezTo>
                <a:cubicBezTo>
                  <a:pt x="1208" y="77"/>
                  <a:pt x="1207" y="78"/>
                  <a:pt x="1208" y="78"/>
                </a:cubicBezTo>
                <a:close/>
                <a:moveTo>
                  <a:pt x="1067" y="93"/>
                </a:moveTo>
                <a:cubicBezTo>
                  <a:pt x="1068" y="94"/>
                  <a:pt x="1068" y="94"/>
                  <a:pt x="1069" y="93"/>
                </a:cubicBezTo>
                <a:cubicBezTo>
                  <a:pt x="1068" y="93"/>
                  <a:pt x="1067" y="93"/>
                  <a:pt x="1067" y="93"/>
                </a:cubicBezTo>
                <a:close/>
                <a:moveTo>
                  <a:pt x="912" y="52"/>
                </a:moveTo>
                <a:cubicBezTo>
                  <a:pt x="912" y="52"/>
                  <a:pt x="912" y="53"/>
                  <a:pt x="912" y="54"/>
                </a:cubicBezTo>
                <a:cubicBezTo>
                  <a:pt x="912" y="53"/>
                  <a:pt x="913" y="52"/>
                  <a:pt x="912" y="52"/>
                </a:cubicBezTo>
                <a:close/>
                <a:moveTo>
                  <a:pt x="788" y="102"/>
                </a:moveTo>
                <a:cubicBezTo>
                  <a:pt x="788" y="102"/>
                  <a:pt x="787" y="102"/>
                  <a:pt x="787" y="103"/>
                </a:cubicBezTo>
                <a:cubicBezTo>
                  <a:pt x="787" y="102"/>
                  <a:pt x="788" y="103"/>
                  <a:pt x="788" y="102"/>
                </a:cubicBezTo>
                <a:close/>
                <a:moveTo>
                  <a:pt x="1684" y="26"/>
                </a:moveTo>
                <a:cubicBezTo>
                  <a:pt x="1684" y="27"/>
                  <a:pt x="1684" y="27"/>
                  <a:pt x="1684" y="28"/>
                </a:cubicBezTo>
                <a:cubicBezTo>
                  <a:pt x="1684" y="27"/>
                  <a:pt x="1684" y="26"/>
                  <a:pt x="1684" y="26"/>
                </a:cubicBezTo>
                <a:close/>
                <a:moveTo>
                  <a:pt x="1007" y="102"/>
                </a:moveTo>
                <a:cubicBezTo>
                  <a:pt x="1007" y="102"/>
                  <a:pt x="1006" y="102"/>
                  <a:pt x="1006" y="103"/>
                </a:cubicBezTo>
                <a:cubicBezTo>
                  <a:pt x="1006" y="102"/>
                  <a:pt x="1007" y="103"/>
                  <a:pt x="1007" y="102"/>
                </a:cubicBezTo>
                <a:close/>
                <a:moveTo>
                  <a:pt x="1729" y="6"/>
                </a:moveTo>
                <a:cubicBezTo>
                  <a:pt x="1729" y="6"/>
                  <a:pt x="1730" y="7"/>
                  <a:pt x="1730" y="6"/>
                </a:cubicBezTo>
                <a:cubicBezTo>
                  <a:pt x="1730" y="6"/>
                  <a:pt x="1729" y="6"/>
                  <a:pt x="1729" y="6"/>
                </a:cubicBezTo>
                <a:close/>
                <a:moveTo>
                  <a:pt x="1714" y="6"/>
                </a:moveTo>
                <a:cubicBezTo>
                  <a:pt x="1715" y="7"/>
                  <a:pt x="1716" y="7"/>
                  <a:pt x="1716" y="6"/>
                </a:cubicBezTo>
                <a:cubicBezTo>
                  <a:pt x="1716" y="6"/>
                  <a:pt x="1715" y="6"/>
                  <a:pt x="1714" y="6"/>
                </a:cubicBezTo>
                <a:close/>
                <a:moveTo>
                  <a:pt x="1560" y="6"/>
                </a:moveTo>
                <a:cubicBezTo>
                  <a:pt x="1561" y="6"/>
                  <a:pt x="1562" y="7"/>
                  <a:pt x="1562" y="6"/>
                </a:cubicBezTo>
                <a:cubicBezTo>
                  <a:pt x="1562" y="6"/>
                  <a:pt x="1561" y="6"/>
                  <a:pt x="1560" y="6"/>
                </a:cubicBezTo>
                <a:close/>
                <a:moveTo>
                  <a:pt x="1546" y="6"/>
                </a:moveTo>
                <a:cubicBezTo>
                  <a:pt x="1547" y="7"/>
                  <a:pt x="1547" y="7"/>
                  <a:pt x="1548" y="6"/>
                </a:cubicBezTo>
                <a:cubicBezTo>
                  <a:pt x="1547" y="6"/>
                  <a:pt x="1547" y="6"/>
                  <a:pt x="1546" y="6"/>
                </a:cubicBezTo>
                <a:close/>
                <a:moveTo>
                  <a:pt x="566" y="103"/>
                </a:moveTo>
                <a:cubicBezTo>
                  <a:pt x="566" y="103"/>
                  <a:pt x="565" y="103"/>
                  <a:pt x="564" y="103"/>
                </a:cubicBezTo>
                <a:cubicBezTo>
                  <a:pt x="565" y="103"/>
                  <a:pt x="566" y="103"/>
                  <a:pt x="566" y="103"/>
                </a:cubicBezTo>
                <a:close/>
                <a:moveTo>
                  <a:pt x="772" y="103"/>
                </a:moveTo>
                <a:cubicBezTo>
                  <a:pt x="772" y="103"/>
                  <a:pt x="771" y="103"/>
                  <a:pt x="770" y="103"/>
                </a:cubicBezTo>
                <a:cubicBezTo>
                  <a:pt x="771" y="103"/>
                  <a:pt x="772" y="103"/>
                  <a:pt x="772" y="103"/>
                </a:cubicBezTo>
                <a:close/>
                <a:moveTo>
                  <a:pt x="699" y="79"/>
                </a:moveTo>
                <a:cubicBezTo>
                  <a:pt x="699" y="80"/>
                  <a:pt x="699" y="81"/>
                  <a:pt x="700" y="81"/>
                </a:cubicBezTo>
                <a:cubicBezTo>
                  <a:pt x="700" y="80"/>
                  <a:pt x="700" y="80"/>
                  <a:pt x="699" y="79"/>
                </a:cubicBezTo>
                <a:close/>
                <a:moveTo>
                  <a:pt x="1362" y="6"/>
                </a:moveTo>
                <a:cubicBezTo>
                  <a:pt x="1363" y="7"/>
                  <a:pt x="1363" y="6"/>
                  <a:pt x="1364" y="6"/>
                </a:cubicBezTo>
                <a:cubicBezTo>
                  <a:pt x="1363" y="6"/>
                  <a:pt x="1363" y="6"/>
                  <a:pt x="1362" y="6"/>
                </a:cubicBezTo>
                <a:close/>
                <a:moveTo>
                  <a:pt x="575" y="6"/>
                </a:moveTo>
                <a:cubicBezTo>
                  <a:pt x="576" y="7"/>
                  <a:pt x="576" y="6"/>
                  <a:pt x="577" y="6"/>
                </a:cubicBezTo>
                <a:cubicBezTo>
                  <a:pt x="577" y="6"/>
                  <a:pt x="576" y="6"/>
                  <a:pt x="575" y="6"/>
                </a:cubicBezTo>
                <a:close/>
                <a:moveTo>
                  <a:pt x="843" y="42"/>
                </a:moveTo>
                <a:cubicBezTo>
                  <a:pt x="842" y="42"/>
                  <a:pt x="842" y="42"/>
                  <a:pt x="841" y="42"/>
                </a:cubicBezTo>
                <a:cubicBezTo>
                  <a:pt x="842" y="42"/>
                  <a:pt x="842" y="43"/>
                  <a:pt x="843" y="42"/>
                </a:cubicBezTo>
                <a:close/>
                <a:moveTo>
                  <a:pt x="951" y="47"/>
                </a:moveTo>
                <a:cubicBezTo>
                  <a:pt x="952" y="46"/>
                  <a:pt x="952" y="46"/>
                  <a:pt x="952" y="45"/>
                </a:cubicBezTo>
                <a:cubicBezTo>
                  <a:pt x="951" y="46"/>
                  <a:pt x="951" y="46"/>
                  <a:pt x="951" y="47"/>
                </a:cubicBezTo>
                <a:close/>
                <a:moveTo>
                  <a:pt x="559" y="6"/>
                </a:moveTo>
                <a:cubicBezTo>
                  <a:pt x="559" y="7"/>
                  <a:pt x="560" y="6"/>
                  <a:pt x="560" y="6"/>
                </a:cubicBezTo>
                <a:cubicBezTo>
                  <a:pt x="560" y="6"/>
                  <a:pt x="559" y="6"/>
                  <a:pt x="559" y="6"/>
                </a:cubicBezTo>
                <a:close/>
                <a:moveTo>
                  <a:pt x="805" y="56"/>
                </a:moveTo>
                <a:cubicBezTo>
                  <a:pt x="805" y="57"/>
                  <a:pt x="805" y="58"/>
                  <a:pt x="805" y="58"/>
                </a:cubicBezTo>
                <a:cubicBezTo>
                  <a:pt x="805" y="57"/>
                  <a:pt x="806" y="57"/>
                  <a:pt x="805" y="56"/>
                </a:cubicBezTo>
                <a:close/>
                <a:moveTo>
                  <a:pt x="963" y="47"/>
                </a:moveTo>
                <a:cubicBezTo>
                  <a:pt x="963" y="48"/>
                  <a:pt x="963" y="49"/>
                  <a:pt x="963" y="49"/>
                </a:cubicBezTo>
                <a:cubicBezTo>
                  <a:pt x="963" y="49"/>
                  <a:pt x="963" y="48"/>
                  <a:pt x="963" y="47"/>
                </a:cubicBezTo>
                <a:close/>
                <a:moveTo>
                  <a:pt x="1410" y="40"/>
                </a:moveTo>
                <a:cubicBezTo>
                  <a:pt x="1411" y="39"/>
                  <a:pt x="1411" y="38"/>
                  <a:pt x="1411" y="38"/>
                </a:cubicBezTo>
                <a:cubicBezTo>
                  <a:pt x="1410" y="38"/>
                  <a:pt x="1411" y="39"/>
                  <a:pt x="1410" y="40"/>
                </a:cubicBezTo>
                <a:close/>
                <a:moveTo>
                  <a:pt x="859" y="57"/>
                </a:moveTo>
                <a:cubicBezTo>
                  <a:pt x="859" y="56"/>
                  <a:pt x="859" y="55"/>
                  <a:pt x="859" y="55"/>
                </a:cubicBezTo>
                <a:cubicBezTo>
                  <a:pt x="859" y="55"/>
                  <a:pt x="858" y="56"/>
                  <a:pt x="859" y="57"/>
                </a:cubicBezTo>
                <a:close/>
                <a:moveTo>
                  <a:pt x="1410" y="42"/>
                </a:moveTo>
                <a:cubicBezTo>
                  <a:pt x="1410" y="42"/>
                  <a:pt x="1410" y="41"/>
                  <a:pt x="1410" y="40"/>
                </a:cubicBezTo>
                <a:cubicBezTo>
                  <a:pt x="1410" y="41"/>
                  <a:pt x="1410" y="42"/>
                  <a:pt x="1410" y="42"/>
                </a:cubicBezTo>
                <a:close/>
                <a:moveTo>
                  <a:pt x="1470" y="69"/>
                </a:moveTo>
                <a:cubicBezTo>
                  <a:pt x="1470" y="69"/>
                  <a:pt x="1470" y="70"/>
                  <a:pt x="1470" y="71"/>
                </a:cubicBezTo>
                <a:cubicBezTo>
                  <a:pt x="1470" y="70"/>
                  <a:pt x="1470" y="69"/>
                  <a:pt x="1470" y="69"/>
                </a:cubicBezTo>
                <a:close/>
                <a:moveTo>
                  <a:pt x="1186" y="85"/>
                </a:moveTo>
                <a:cubicBezTo>
                  <a:pt x="1186" y="86"/>
                  <a:pt x="1186" y="86"/>
                  <a:pt x="1186" y="87"/>
                </a:cubicBezTo>
                <a:cubicBezTo>
                  <a:pt x="1186" y="86"/>
                  <a:pt x="1186" y="86"/>
                  <a:pt x="1186" y="85"/>
                </a:cubicBezTo>
                <a:close/>
                <a:moveTo>
                  <a:pt x="1041" y="74"/>
                </a:moveTo>
                <a:cubicBezTo>
                  <a:pt x="1041" y="75"/>
                  <a:pt x="1041" y="76"/>
                  <a:pt x="1041" y="76"/>
                </a:cubicBezTo>
                <a:cubicBezTo>
                  <a:pt x="1041" y="76"/>
                  <a:pt x="1041" y="75"/>
                  <a:pt x="1041" y="74"/>
                </a:cubicBezTo>
                <a:close/>
                <a:moveTo>
                  <a:pt x="688" y="33"/>
                </a:moveTo>
                <a:cubicBezTo>
                  <a:pt x="688" y="33"/>
                  <a:pt x="689" y="33"/>
                  <a:pt x="690" y="33"/>
                </a:cubicBezTo>
                <a:cubicBezTo>
                  <a:pt x="689" y="33"/>
                  <a:pt x="688" y="33"/>
                  <a:pt x="688" y="33"/>
                </a:cubicBezTo>
                <a:close/>
                <a:moveTo>
                  <a:pt x="748" y="77"/>
                </a:moveTo>
                <a:cubicBezTo>
                  <a:pt x="748" y="76"/>
                  <a:pt x="748" y="75"/>
                  <a:pt x="747" y="75"/>
                </a:cubicBezTo>
                <a:cubicBezTo>
                  <a:pt x="747" y="76"/>
                  <a:pt x="747" y="76"/>
                  <a:pt x="748" y="77"/>
                </a:cubicBezTo>
                <a:close/>
                <a:moveTo>
                  <a:pt x="952" y="67"/>
                </a:moveTo>
                <a:cubicBezTo>
                  <a:pt x="952" y="67"/>
                  <a:pt x="952" y="66"/>
                  <a:pt x="951" y="66"/>
                </a:cubicBezTo>
                <a:cubicBezTo>
                  <a:pt x="951" y="66"/>
                  <a:pt x="951" y="67"/>
                  <a:pt x="952" y="67"/>
                </a:cubicBezTo>
                <a:close/>
                <a:moveTo>
                  <a:pt x="993" y="16"/>
                </a:moveTo>
                <a:cubicBezTo>
                  <a:pt x="992" y="16"/>
                  <a:pt x="992" y="16"/>
                  <a:pt x="991" y="17"/>
                </a:cubicBezTo>
                <a:cubicBezTo>
                  <a:pt x="992" y="17"/>
                  <a:pt x="993" y="17"/>
                  <a:pt x="993" y="16"/>
                </a:cubicBezTo>
                <a:close/>
                <a:moveTo>
                  <a:pt x="700" y="86"/>
                </a:moveTo>
                <a:cubicBezTo>
                  <a:pt x="699" y="86"/>
                  <a:pt x="699" y="87"/>
                  <a:pt x="699" y="88"/>
                </a:cubicBezTo>
                <a:cubicBezTo>
                  <a:pt x="700" y="87"/>
                  <a:pt x="700" y="86"/>
                  <a:pt x="700" y="86"/>
                </a:cubicBezTo>
                <a:close/>
                <a:moveTo>
                  <a:pt x="1006" y="17"/>
                </a:moveTo>
                <a:cubicBezTo>
                  <a:pt x="1006" y="16"/>
                  <a:pt x="1005" y="16"/>
                  <a:pt x="1005" y="16"/>
                </a:cubicBezTo>
                <a:cubicBezTo>
                  <a:pt x="1005" y="17"/>
                  <a:pt x="1006" y="16"/>
                  <a:pt x="1006" y="17"/>
                </a:cubicBezTo>
                <a:close/>
                <a:moveTo>
                  <a:pt x="871" y="58"/>
                </a:moveTo>
                <a:cubicBezTo>
                  <a:pt x="871" y="58"/>
                  <a:pt x="871" y="59"/>
                  <a:pt x="871" y="59"/>
                </a:cubicBezTo>
                <a:cubicBezTo>
                  <a:pt x="871" y="59"/>
                  <a:pt x="871" y="58"/>
                  <a:pt x="871" y="58"/>
                </a:cubicBezTo>
                <a:close/>
                <a:moveTo>
                  <a:pt x="1386" y="37"/>
                </a:moveTo>
                <a:cubicBezTo>
                  <a:pt x="1386" y="37"/>
                  <a:pt x="1386" y="36"/>
                  <a:pt x="1386" y="35"/>
                </a:cubicBezTo>
                <a:cubicBezTo>
                  <a:pt x="1385" y="36"/>
                  <a:pt x="1386" y="37"/>
                  <a:pt x="1386" y="37"/>
                </a:cubicBezTo>
                <a:close/>
                <a:moveTo>
                  <a:pt x="715" y="90"/>
                </a:moveTo>
                <a:cubicBezTo>
                  <a:pt x="715" y="89"/>
                  <a:pt x="715" y="88"/>
                  <a:pt x="715" y="88"/>
                </a:cubicBezTo>
                <a:cubicBezTo>
                  <a:pt x="715" y="88"/>
                  <a:pt x="714" y="89"/>
                  <a:pt x="715" y="90"/>
                </a:cubicBezTo>
                <a:close/>
                <a:moveTo>
                  <a:pt x="1397" y="25"/>
                </a:moveTo>
                <a:cubicBezTo>
                  <a:pt x="1397" y="26"/>
                  <a:pt x="1397" y="26"/>
                  <a:pt x="1397" y="27"/>
                </a:cubicBezTo>
                <a:cubicBezTo>
                  <a:pt x="1397" y="26"/>
                  <a:pt x="1397" y="25"/>
                  <a:pt x="1397" y="25"/>
                </a:cubicBezTo>
                <a:close/>
                <a:moveTo>
                  <a:pt x="1367" y="15"/>
                </a:moveTo>
                <a:cubicBezTo>
                  <a:pt x="1366" y="15"/>
                  <a:pt x="1366" y="15"/>
                  <a:pt x="1365" y="15"/>
                </a:cubicBezTo>
                <a:cubicBezTo>
                  <a:pt x="1366" y="15"/>
                  <a:pt x="1366" y="16"/>
                  <a:pt x="1367" y="15"/>
                </a:cubicBezTo>
                <a:close/>
                <a:moveTo>
                  <a:pt x="1373" y="15"/>
                </a:moveTo>
                <a:cubicBezTo>
                  <a:pt x="1373" y="15"/>
                  <a:pt x="1372" y="15"/>
                  <a:pt x="1371" y="15"/>
                </a:cubicBezTo>
                <a:cubicBezTo>
                  <a:pt x="1372" y="16"/>
                  <a:pt x="1373" y="15"/>
                  <a:pt x="1373" y="15"/>
                </a:cubicBezTo>
                <a:close/>
                <a:moveTo>
                  <a:pt x="963" y="64"/>
                </a:moveTo>
                <a:cubicBezTo>
                  <a:pt x="963" y="65"/>
                  <a:pt x="963" y="65"/>
                  <a:pt x="963" y="66"/>
                </a:cubicBezTo>
                <a:cubicBezTo>
                  <a:pt x="963" y="65"/>
                  <a:pt x="964" y="64"/>
                  <a:pt x="963" y="64"/>
                </a:cubicBezTo>
                <a:close/>
                <a:moveTo>
                  <a:pt x="1665" y="58"/>
                </a:moveTo>
                <a:cubicBezTo>
                  <a:pt x="1664" y="58"/>
                  <a:pt x="1664" y="58"/>
                  <a:pt x="1664" y="59"/>
                </a:cubicBezTo>
                <a:cubicBezTo>
                  <a:pt x="1664" y="59"/>
                  <a:pt x="1664" y="59"/>
                  <a:pt x="1664" y="59"/>
                </a:cubicBezTo>
                <a:cubicBezTo>
                  <a:pt x="1664" y="59"/>
                  <a:pt x="1664" y="59"/>
                  <a:pt x="1665" y="58"/>
                </a:cubicBezTo>
                <a:close/>
                <a:moveTo>
                  <a:pt x="1246" y="103"/>
                </a:moveTo>
                <a:cubicBezTo>
                  <a:pt x="1245" y="103"/>
                  <a:pt x="1245" y="103"/>
                  <a:pt x="1244" y="103"/>
                </a:cubicBezTo>
                <a:cubicBezTo>
                  <a:pt x="1245" y="103"/>
                  <a:pt x="1246" y="103"/>
                  <a:pt x="1246" y="103"/>
                </a:cubicBezTo>
                <a:close/>
                <a:moveTo>
                  <a:pt x="1411" y="74"/>
                </a:moveTo>
                <a:cubicBezTo>
                  <a:pt x="1411" y="73"/>
                  <a:pt x="1411" y="72"/>
                  <a:pt x="1410" y="72"/>
                </a:cubicBezTo>
                <a:cubicBezTo>
                  <a:pt x="1411" y="72"/>
                  <a:pt x="1410" y="73"/>
                  <a:pt x="1411" y="74"/>
                </a:cubicBezTo>
                <a:close/>
                <a:moveTo>
                  <a:pt x="1198" y="103"/>
                </a:moveTo>
                <a:cubicBezTo>
                  <a:pt x="1197" y="103"/>
                  <a:pt x="1196" y="103"/>
                  <a:pt x="1196" y="103"/>
                </a:cubicBezTo>
                <a:cubicBezTo>
                  <a:pt x="1197" y="103"/>
                  <a:pt x="1197" y="103"/>
                  <a:pt x="1198" y="103"/>
                </a:cubicBezTo>
                <a:close/>
                <a:moveTo>
                  <a:pt x="1539" y="88"/>
                </a:moveTo>
                <a:cubicBezTo>
                  <a:pt x="1538" y="88"/>
                  <a:pt x="1539" y="89"/>
                  <a:pt x="1539" y="90"/>
                </a:cubicBezTo>
                <a:cubicBezTo>
                  <a:pt x="1539" y="89"/>
                  <a:pt x="1539" y="88"/>
                  <a:pt x="1539" y="88"/>
                </a:cubicBezTo>
                <a:close/>
                <a:moveTo>
                  <a:pt x="1188" y="103"/>
                </a:moveTo>
                <a:cubicBezTo>
                  <a:pt x="1188" y="103"/>
                  <a:pt x="1187" y="103"/>
                  <a:pt x="1187" y="103"/>
                </a:cubicBezTo>
                <a:cubicBezTo>
                  <a:pt x="1187" y="103"/>
                  <a:pt x="1188" y="103"/>
                  <a:pt x="1188" y="103"/>
                </a:cubicBezTo>
                <a:close/>
                <a:moveTo>
                  <a:pt x="1551" y="15"/>
                </a:moveTo>
                <a:cubicBezTo>
                  <a:pt x="1550" y="15"/>
                  <a:pt x="1550" y="15"/>
                  <a:pt x="1549" y="15"/>
                </a:cubicBezTo>
                <a:cubicBezTo>
                  <a:pt x="1550" y="15"/>
                  <a:pt x="1551" y="16"/>
                  <a:pt x="1551" y="15"/>
                </a:cubicBezTo>
                <a:close/>
                <a:moveTo>
                  <a:pt x="1470" y="71"/>
                </a:moveTo>
                <a:cubicBezTo>
                  <a:pt x="1469" y="71"/>
                  <a:pt x="1469" y="72"/>
                  <a:pt x="1469" y="73"/>
                </a:cubicBezTo>
                <a:cubicBezTo>
                  <a:pt x="1470" y="72"/>
                  <a:pt x="1470" y="71"/>
                  <a:pt x="1470" y="71"/>
                </a:cubicBezTo>
                <a:close/>
                <a:moveTo>
                  <a:pt x="1719" y="15"/>
                </a:moveTo>
                <a:cubicBezTo>
                  <a:pt x="1719" y="15"/>
                  <a:pt x="1718" y="15"/>
                  <a:pt x="1717" y="15"/>
                </a:cubicBezTo>
                <a:cubicBezTo>
                  <a:pt x="1718" y="15"/>
                  <a:pt x="1719" y="16"/>
                  <a:pt x="1719" y="15"/>
                </a:cubicBezTo>
                <a:close/>
                <a:moveTo>
                  <a:pt x="759" y="75"/>
                </a:moveTo>
                <a:cubicBezTo>
                  <a:pt x="759" y="76"/>
                  <a:pt x="759" y="77"/>
                  <a:pt x="759" y="77"/>
                </a:cubicBezTo>
                <a:cubicBezTo>
                  <a:pt x="759" y="77"/>
                  <a:pt x="759" y="76"/>
                  <a:pt x="759" y="75"/>
                </a:cubicBezTo>
                <a:close/>
                <a:moveTo>
                  <a:pt x="1527" y="90"/>
                </a:moveTo>
                <a:cubicBezTo>
                  <a:pt x="1528" y="90"/>
                  <a:pt x="1528" y="89"/>
                  <a:pt x="1528" y="89"/>
                </a:cubicBezTo>
                <a:cubicBezTo>
                  <a:pt x="1527" y="89"/>
                  <a:pt x="1527" y="90"/>
                  <a:pt x="1527" y="90"/>
                </a:cubicBezTo>
                <a:close/>
                <a:moveTo>
                  <a:pt x="963" y="62"/>
                </a:moveTo>
                <a:cubicBezTo>
                  <a:pt x="963" y="62"/>
                  <a:pt x="963" y="63"/>
                  <a:pt x="963" y="64"/>
                </a:cubicBezTo>
                <a:cubicBezTo>
                  <a:pt x="963" y="63"/>
                  <a:pt x="963" y="62"/>
                  <a:pt x="963" y="62"/>
                </a:cubicBezTo>
                <a:close/>
                <a:moveTo>
                  <a:pt x="1696" y="90"/>
                </a:moveTo>
                <a:cubicBezTo>
                  <a:pt x="1696" y="90"/>
                  <a:pt x="1696" y="89"/>
                  <a:pt x="1696" y="89"/>
                </a:cubicBezTo>
                <a:cubicBezTo>
                  <a:pt x="1695" y="89"/>
                  <a:pt x="1696" y="90"/>
                  <a:pt x="1696" y="90"/>
                </a:cubicBezTo>
                <a:close/>
                <a:moveTo>
                  <a:pt x="1030" y="78"/>
                </a:moveTo>
                <a:cubicBezTo>
                  <a:pt x="1030" y="77"/>
                  <a:pt x="1030" y="77"/>
                  <a:pt x="1030" y="76"/>
                </a:cubicBezTo>
                <a:cubicBezTo>
                  <a:pt x="1030" y="77"/>
                  <a:pt x="1029" y="77"/>
                  <a:pt x="1030" y="78"/>
                </a:cubicBezTo>
                <a:close/>
                <a:moveTo>
                  <a:pt x="1144" y="57"/>
                </a:moveTo>
                <a:cubicBezTo>
                  <a:pt x="1144" y="57"/>
                  <a:pt x="1144" y="56"/>
                  <a:pt x="1143" y="55"/>
                </a:cubicBezTo>
                <a:cubicBezTo>
                  <a:pt x="1144" y="56"/>
                  <a:pt x="1143" y="57"/>
                  <a:pt x="1144" y="57"/>
                </a:cubicBezTo>
                <a:close/>
                <a:moveTo>
                  <a:pt x="1111" y="58"/>
                </a:moveTo>
                <a:cubicBezTo>
                  <a:pt x="1110" y="58"/>
                  <a:pt x="1110" y="59"/>
                  <a:pt x="1110" y="59"/>
                </a:cubicBezTo>
                <a:cubicBezTo>
                  <a:pt x="1111" y="59"/>
                  <a:pt x="1111" y="58"/>
                  <a:pt x="1111" y="58"/>
                </a:cubicBezTo>
                <a:close/>
                <a:moveTo>
                  <a:pt x="747" y="62"/>
                </a:moveTo>
                <a:cubicBezTo>
                  <a:pt x="748" y="62"/>
                  <a:pt x="748" y="61"/>
                  <a:pt x="748" y="60"/>
                </a:cubicBezTo>
                <a:cubicBezTo>
                  <a:pt x="747" y="61"/>
                  <a:pt x="747" y="62"/>
                  <a:pt x="747" y="62"/>
                </a:cubicBezTo>
                <a:close/>
                <a:moveTo>
                  <a:pt x="786" y="103"/>
                </a:moveTo>
                <a:cubicBezTo>
                  <a:pt x="786" y="103"/>
                  <a:pt x="785" y="103"/>
                  <a:pt x="784" y="103"/>
                </a:cubicBezTo>
                <a:cubicBezTo>
                  <a:pt x="785" y="103"/>
                  <a:pt x="786" y="103"/>
                  <a:pt x="786" y="103"/>
                </a:cubicBezTo>
                <a:close/>
                <a:moveTo>
                  <a:pt x="1470" y="36"/>
                </a:moveTo>
                <a:cubicBezTo>
                  <a:pt x="1470" y="37"/>
                  <a:pt x="1470" y="38"/>
                  <a:pt x="1470" y="38"/>
                </a:cubicBezTo>
                <a:cubicBezTo>
                  <a:pt x="1470" y="38"/>
                  <a:pt x="1470" y="37"/>
                  <a:pt x="1470" y="36"/>
                </a:cubicBezTo>
                <a:close/>
                <a:moveTo>
                  <a:pt x="1188" y="91"/>
                </a:moveTo>
                <a:cubicBezTo>
                  <a:pt x="1188" y="91"/>
                  <a:pt x="1188" y="92"/>
                  <a:pt x="1189" y="92"/>
                </a:cubicBezTo>
                <a:cubicBezTo>
                  <a:pt x="1189" y="91"/>
                  <a:pt x="1188" y="91"/>
                  <a:pt x="1188" y="91"/>
                </a:cubicBezTo>
                <a:close/>
                <a:moveTo>
                  <a:pt x="1397" y="36"/>
                </a:moveTo>
                <a:cubicBezTo>
                  <a:pt x="1397" y="37"/>
                  <a:pt x="1397" y="37"/>
                  <a:pt x="1397" y="38"/>
                </a:cubicBezTo>
                <a:cubicBezTo>
                  <a:pt x="1397" y="37"/>
                  <a:pt x="1397" y="37"/>
                  <a:pt x="1397" y="36"/>
                </a:cubicBezTo>
                <a:close/>
                <a:moveTo>
                  <a:pt x="1745" y="15"/>
                </a:moveTo>
                <a:cubicBezTo>
                  <a:pt x="1745" y="15"/>
                  <a:pt x="1745" y="16"/>
                  <a:pt x="1745" y="16"/>
                </a:cubicBezTo>
                <a:cubicBezTo>
                  <a:pt x="1745" y="15"/>
                  <a:pt x="1745" y="15"/>
                  <a:pt x="1745" y="15"/>
                </a:cubicBezTo>
                <a:close/>
                <a:moveTo>
                  <a:pt x="856" y="48"/>
                </a:moveTo>
                <a:cubicBezTo>
                  <a:pt x="856" y="47"/>
                  <a:pt x="856" y="47"/>
                  <a:pt x="855" y="47"/>
                </a:cubicBezTo>
                <a:cubicBezTo>
                  <a:pt x="855" y="47"/>
                  <a:pt x="855" y="47"/>
                  <a:pt x="856" y="48"/>
                </a:cubicBezTo>
                <a:close/>
                <a:moveTo>
                  <a:pt x="1376" y="6"/>
                </a:moveTo>
                <a:cubicBezTo>
                  <a:pt x="1377" y="6"/>
                  <a:pt x="1377" y="6"/>
                  <a:pt x="1378" y="6"/>
                </a:cubicBezTo>
                <a:cubicBezTo>
                  <a:pt x="1377" y="6"/>
                  <a:pt x="1377" y="6"/>
                  <a:pt x="1376" y="6"/>
                </a:cubicBezTo>
                <a:close/>
                <a:moveTo>
                  <a:pt x="1434" y="6"/>
                </a:moveTo>
                <a:cubicBezTo>
                  <a:pt x="1435" y="7"/>
                  <a:pt x="1435" y="7"/>
                  <a:pt x="1436" y="6"/>
                </a:cubicBezTo>
                <a:cubicBezTo>
                  <a:pt x="1435" y="6"/>
                  <a:pt x="1435" y="6"/>
                  <a:pt x="1434" y="6"/>
                </a:cubicBezTo>
                <a:close/>
                <a:moveTo>
                  <a:pt x="1447" y="6"/>
                </a:moveTo>
                <a:cubicBezTo>
                  <a:pt x="1447" y="6"/>
                  <a:pt x="1448" y="7"/>
                  <a:pt x="1448" y="6"/>
                </a:cubicBezTo>
                <a:cubicBezTo>
                  <a:pt x="1448" y="6"/>
                  <a:pt x="1447" y="6"/>
                  <a:pt x="1447" y="6"/>
                </a:cubicBezTo>
                <a:close/>
                <a:moveTo>
                  <a:pt x="1537" y="21"/>
                </a:moveTo>
                <a:cubicBezTo>
                  <a:pt x="1537" y="21"/>
                  <a:pt x="1537" y="21"/>
                  <a:pt x="1536" y="21"/>
                </a:cubicBezTo>
                <a:cubicBezTo>
                  <a:pt x="1537" y="21"/>
                  <a:pt x="1537" y="21"/>
                  <a:pt x="1537" y="21"/>
                </a:cubicBezTo>
                <a:close/>
                <a:moveTo>
                  <a:pt x="557" y="7"/>
                </a:moveTo>
                <a:cubicBezTo>
                  <a:pt x="557" y="7"/>
                  <a:pt x="558" y="7"/>
                  <a:pt x="558" y="7"/>
                </a:cubicBezTo>
                <a:cubicBezTo>
                  <a:pt x="558" y="7"/>
                  <a:pt x="557" y="6"/>
                  <a:pt x="557" y="7"/>
                </a:cubicBezTo>
                <a:close/>
                <a:moveTo>
                  <a:pt x="577" y="7"/>
                </a:moveTo>
                <a:cubicBezTo>
                  <a:pt x="578" y="7"/>
                  <a:pt x="578" y="7"/>
                  <a:pt x="579" y="7"/>
                </a:cubicBezTo>
                <a:cubicBezTo>
                  <a:pt x="578" y="6"/>
                  <a:pt x="578" y="7"/>
                  <a:pt x="577" y="7"/>
                </a:cubicBezTo>
                <a:close/>
                <a:moveTo>
                  <a:pt x="988" y="7"/>
                </a:moveTo>
                <a:cubicBezTo>
                  <a:pt x="988" y="7"/>
                  <a:pt x="989" y="7"/>
                  <a:pt x="989" y="7"/>
                </a:cubicBezTo>
                <a:cubicBezTo>
                  <a:pt x="989" y="7"/>
                  <a:pt x="988" y="6"/>
                  <a:pt x="988" y="7"/>
                </a:cubicBezTo>
                <a:close/>
                <a:moveTo>
                  <a:pt x="1010" y="7"/>
                </a:moveTo>
                <a:cubicBezTo>
                  <a:pt x="1010" y="7"/>
                  <a:pt x="1011" y="7"/>
                  <a:pt x="1012" y="7"/>
                </a:cubicBezTo>
                <a:cubicBezTo>
                  <a:pt x="1011" y="6"/>
                  <a:pt x="1011" y="7"/>
                  <a:pt x="1010" y="7"/>
                </a:cubicBezTo>
                <a:close/>
                <a:moveTo>
                  <a:pt x="1360" y="7"/>
                </a:moveTo>
                <a:cubicBezTo>
                  <a:pt x="1361" y="7"/>
                  <a:pt x="1361" y="7"/>
                  <a:pt x="1362" y="7"/>
                </a:cubicBezTo>
                <a:cubicBezTo>
                  <a:pt x="1361" y="7"/>
                  <a:pt x="1361" y="6"/>
                  <a:pt x="1360" y="7"/>
                </a:cubicBezTo>
                <a:close/>
                <a:moveTo>
                  <a:pt x="1378" y="7"/>
                </a:moveTo>
                <a:cubicBezTo>
                  <a:pt x="1378" y="7"/>
                  <a:pt x="1379" y="7"/>
                  <a:pt x="1379" y="7"/>
                </a:cubicBezTo>
                <a:cubicBezTo>
                  <a:pt x="1379" y="6"/>
                  <a:pt x="1379" y="7"/>
                  <a:pt x="1378" y="7"/>
                </a:cubicBezTo>
                <a:close/>
                <a:moveTo>
                  <a:pt x="968" y="16"/>
                </a:moveTo>
                <a:cubicBezTo>
                  <a:pt x="969" y="16"/>
                  <a:pt x="969" y="16"/>
                  <a:pt x="969" y="15"/>
                </a:cubicBezTo>
                <a:cubicBezTo>
                  <a:pt x="969" y="15"/>
                  <a:pt x="969" y="15"/>
                  <a:pt x="968" y="16"/>
                </a:cubicBezTo>
                <a:close/>
                <a:moveTo>
                  <a:pt x="680" y="94"/>
                </a:moveTo>
                <a:cubicBezTo>
                  <a:pt x="680" y="94"/>
                  <a:pt x="681" y="94"/>
                  <a:pt x="681" y="93"/>
                </a:cubicBezTo>
                <a:cubicBezTo>
                  <a:pt x="681" y="93"/>
                  <a:pt x="680" y="93"/>
                  <a:pt x="680" y="94"/>
                </a:cubicBezTo>
                <a:close/>
                <a:moveTo>
                  <a:pt x="952" y="45"/>
                </a:moveTo>
                <a:cubicBezTo>
                  <a:pt x="952" y="44"/>
                  <a:pt x="952" y="44"/>
                  <a:pt x="952" y="43"/>
                </a:cubicBezTo>
                <a:cubicBezTo>
                  <a:pt x="951" y="44"/>
                  <a:pt x="952" y="44"/>
                  <a:pt x="952" y="45"/>
                </a:cubicBezTo>
                <a:close/>
                <a:moveTo>
                  <a:pt x="737" y="94"/>
                </a:moveTo>
                <a:cubicBezTo>
                  <a:pt x="738" y="94"/>
                  <a:pt x="738" y="94"/>
                  <a:pt x="739" y="93"/>
                </a:cubicBezTo>
                <a:cubicBezTo>
                  <a:pt x="738" y="93"/>
                  <a:pt x="738" y="93"/>
                  <a:pt x="737" y="94"/>
                </a:cubicBezTo>
                <a:close/>
                <a:moveTo>
                  <a:pt x="1706" y="21"/>
                </a:moveTo>
                <a:cubicBezTo>
                  <a:pt x="1705" y="21"/>
                  <a:pt x="1705" y="21"/>
                  <a:pt x="1705" y="21"/>
                </a:cubicBezTo>
                <a:cubicBezTo>
                  <a:pt x="1705" y="21"/>
                  <a:pt x="1705" y="21"/>
                  <a:pt x="1706" y="21"/>
                </a:cubicBezTo>
                <a:close/>
                <a:moveTo>
                  <a:pt x="774" y="93"/>
                </a:moveTo>
                <a:cubicBezTo>
                  <a:pt x="775" y="94"/>
                  <a:pt x="775" y="94"/>
                  <a:pt x="776" y="93"/>
                </a:cubicBezTo>
                <a:cubicBezTo>
                  <a:pt x="775" y="93"/>
                  <a:pt x="775" y="93"/>
                  <a:pt x="774" y="93"/>
                </a:cubicBezTo>
                <a:close/>
                <a:moveTo>
                  <a:pt x="1076" y="37"/>
                </a:moveTo>
                <a:cubicBezTo>
                  <a:pt x="1077" y="38"/>
                  <a:pt x="1077" y="38"/>
                  <a:pt x="1077" y="38"/>
                </a:cubicBezTo>
                <a:cubicBezTo>
                  <a:pt x="1077" y="37"/>
                  <a:pt x="1077" y="37"/>
                  <a:pt x="1076" y="37"/>
                </a:cubicBezTo>
                <a:close/>
                <a:moveTo>
                  <a:pt x="785" y="93"/>
                </a:moveTo>
                <a:cubicBezTo>
                  <a:pt x="785" y="94"/>
                  <a:pt x="786" y="94"/>
                  <a:pt x="786" y="93"/>
                </a:cubicBezTo>
                <a:cubicBezTo>
                  <a:pt x="786" y="93"/>
                  <a:pt x="785" y="93"/>
                  <a:pt x="785" y="93"/>
                </a:cubicBezTo>
                <a:close/>
                <a:moveTo>
                  <a:pt x="579" y="7"/>
                </a:moveTo>
                <a:cubicBezTo>
                  <a:pt x="580" y="7"/>
                  <a:pt x="580" y="7"/>
                  <a:pt x="581" y="7"/>
                </a:cubicBezTo>
                <a:cubicBezTo>
                  <a:pt x="580" y="7"/>
                  <a:pt x="580" y="7"/>
                  <a:pt x="579" y="7"/>
                </a:cubicBezTo>
                <a:close/>
                <a:moveTo>
                  <a:pt x="1056" y="93"/>
                </a:moveTo>
                <a:cubicBezTo>
                  <a:pt x="1057" y="94"/>
                  <a:pt x="1057" y="94"/>
                  <a:pt x="1058" y="93"/>
                </a:cubicBezTo>
                <a:cubicBezTo>
                  <a:pt x="1057" y="93"/>
                  <a:pt x="1057" y="93"/>
                  <a:pt x="1056" y="93"/>
                </a:cubicBezTo>
                <a:close/>
                <a:moveTo>
                  <a:pt x="1012" y="7"/>
                </a:moveTo>
                <a:cubicBezTo>
                  <a:pt x="1012" y="7"/>
                  <a:pt x="1013" y="7"/>
                  <a:pt x="1013" y="7"/>
                </a:cubicBezTo>
                <a:cubicBezTo>
                  <a:pt x="1013" y="7"/>
                  <a:pt x="1012" y="7"/>
                  <a:pt x="1012" y="7"/>
                </a:cubicBezTo>
                <a:close/>
                <a:moveTo>
                  <a:pt x="1375" y="16"/>
                </a:moveTo>
                <a:cubicBezTo>
                  <a:pt x="1375" y="16"/>
                  <a:pt x="1374" y="15"/>
                  <a:pt x="1374" y="16"/>
                </a:cubicBezTo>
                <a:cubicBezTo>
                  <a:pt x="1374" y="16"/>
                  <a:pt x="1374" y="16"/>
                  <a:pt x="1375" y="16"/>
                </a:cubicBezTo>
                <a:close/>
                <a:moveTo>
                  <a:pt x="1191" y="93"/>
                </a:moveTo>
                <a:cubicBezTo>
                  <a:pt x="1192" y="94"/>
                  <a:pt x="1192" y="94"/>
                  <a:pt x="1193" y="94"/>
                </a:cubicBezTo>
                <a:cubicBezTo>
                  <a:pt x="1192" y="93"/>
                  <a:pt x="1192" y="93"/>
                  <a:pt x="1191" y="93"/>
                </a:cubicBezTo>
                <a:close/>
                <a:moveTo>
                  <a:pt x="1215" y="94"/>
                </a:moveTo>
                <a:cubicBezTo>
                  <a:pt x="1215" y="94"/>
                  <a:pt x="1215" y="93"/>
                  <a:pt x="1214" y="93"/>
                </a:cubicBezTo>
                <a:cubicBezTo>
                  <a:pt x="1214" y="94"/>
                  <a:pt x="1215" y="94"/>
                  <a:pt x="1215" y="94"/>
                </a:cubicBezTo>
                <a:close/>
                <a:moveTo>
                  <a:pt x="1581" y="37"/>
                </a:moveTo>
                <a:cubicBezTo>
                  <a:pt x="1581" y="37"/>
                  <a:pt x="1581" y="38"/>
                  <a:pt x="1581" y="39"/>
                </a:cubicBezTo>
                <a:cubicBezTo>
                  <a:pt x="1582" y="38"/>
                  <a:pt x="1581" y="37"/>
                  <a:pt x="1581" y="37"/>
                </a:cubicBezTo>
                <a:close/>
                <a:moveTo>
                  <a:pt x="1549" y="16"/>
                </a:moveTo>
                <a:cubicBezTo>
                  <a:pt x="1548" y="15"/>
                  <a:pt x="1548" y="16"/>
                  <a:pt x="1548" y="16"/>
                </a:cubicBezTo>
                <a:cubicBezTo>
                  <a:pt x="1548" y="16"/>
                  <a:pt x="1549" y="16"/>
                  <a:pt x="1549" y="16"/>
                </a:cubicBezTo>
                <a:close/>
                <a:moveTo>
                  <a:pt x="1749" y="37"/>
                </a:moveTo>
                <a:cubicBezTo>
                  <a:pt x="1749" y="37"/>
                  <a:pt x="1749" y="38"/>
                  <a:pt x="1749" y="39"/>
                </a:cubicBezTo>
                <a:cubicBezTo>
                  <a:pt x="1750" y="38"/>
                  <a:pt x="1749" y="37"/>
                  <a:pt x="1749" y="37"/>
                </a:cubicBezTo>
                <a:close/>
                <a:moveTo>
                  <a:pt x="1717" y="16"/>
                </a:moveTo>
                <a:cubicBezTo>
                  <a:pt x="1717" y="15"/>
                  <a:pt x="1716" y="16"/>
                  <a:pt x="1716" y="16"/>
                </a:cubicBezTo>
                <a:cubicBezTo>
                  <a:pt x="1716" y="16"/>
                  <a:pt x="1717" y="16"/>
                  <a:pt x="1717" y="16"/>
                </a:cubicBezTo>
                <a:close/>
                <a:moveTo>
                  <a:pt x="1234" y="93"/>
                </a:moveTo>
                <a:cubicBezTo>
                  <a:pt x="1235" y="94"/>
                  <a:pt x="1235" y="94"/>
                  <a:pt x="1236" y="93"/>
                </a:cubicBezTo>
                <a:cubicBezTo>
                  <a:pt x="1235" y="93"/>
                  <a:pt x="1235" y="93"/>
                  <a:pt x="1234" y="93"/>
                </a:cubicBezTo>
                <a:close/>
                <a:moveTo>
                  <a:pt x="1245" y="93"/>
                </a:moveTo>
                <a:cubicBezTo>
                  <a:pt x="1245" y="94"/>
                  <a:pt x="1246" y="94"/>
                  <a:pt x="1246" y="93"/>
                </a:cubicBezTo>
                <a:cubicBezTo>
                  <a:pt x="1246" y="93"/>
                  <a:pt x="1245" y="93"/>
                  <a:pt x="1245" y="93"/>
                </a:cubicBezTo>
                <a:close/>
                <a:moveTo>
                  <a:pt x="761" y="38"/>
                </a:moveTo>
                <a:cubicBezTo>
                  <a:pt x="761" y="38"/>
                  <a:pt x="761" y="38"/>
                  <a:pt x="762" y="37"/>
                </a:cubicBezTo>
                <a:cubicBezTo>
                  <a:pt x="761" y="37"/>
                  <a:pt x="761" y="38"/>
                  <a:pt x="761" y="38"/>
                </a:cubicBezTo>
                <a:close/>
                <a:moveTo>
                  <a:pt x="1154" y="51"/>
                </a:moveTo>
                <a:cubicBezTo>
                  <a:pt x="1154" y="52"/>
                  <a:pt x="1154" y="52"/>
                  <a:pt x="1155" y="53"/>
                </a:cubicBezTo>
                <a:cubicBezTo>
                  <a:pt x="1155" y="52"/>
                  <a:pt x="1155" y="51"/>
                  <a:pt x="1154" y="51"/>
                </a:cubicBezTo>
                <a:close/>
                <a:moveTo>
                  <a:pt x="1038" y="94"/>
                </a:moveTo>
                <a:cubicBezTo>
                  <a:pt x="1038" y="94"/>
                  <a:pt x="1037" y="94"/>
                  <a:pt x="1037" y="94"/>
                </a:cubicBezTo>
                <a:cubicBezTo>
                  <a:pt x="1037" y="94"/>
                  <a:pt x="1037" y="94"/>
                  <a:pt x="1038" y="94"/>
                </a:cubicBezTo>
                <a:close/>
                <a:moveTo>
                  <a:pt x="1742" y="53"/>
                </a:moveTo>
                <a:cubicBezTo>
                  <a:pt x="1742" y="53"/>
                  <a:pt x="1742" y="54"/>
                  <a:pt x="1741" y="54"/>
                </a:cubicBezTo>
                <a:cubicBezTo>
                  <a:pt x="1742" y="54"/>
                  <a:pt x="1742" y="54"/>
                  <a:pt x="1742" y="53"/>
                </a:cubicBezTo>
                <a:close/>
                <a:moveTo>
                  <a:pt x="1420" y="95"/>
                </a:moveTo>
                <a:cubicBezTo>
                  <a:pt x="1420" y="95"/>
                  <a:pt x="1420" y="94"/>
                  <a:pt x="1419" y="94"/>
                </a:cubicBezTo>
                <a:cubicBezTo>
                  <a:pt x="1420" y="95"/>
                  <a:pt x="1420" y="95"/>
                  <a:pt x="1420" y="95"/>
                </a:cubicBezTo>
                <a:close/>
                <a:moveTo>
                  <a:pt x="552" y="21"/>
                </a:moveTo>
                <a:cubicBezTo>
                  <a:pt x="551" y="22"/>
                  <a:pt x="551" y="22"/>
                  <a:pt x="551" y="22"/>
                </a:cubicBezTo>
                <a:cubicBezTo>
                  <a:pt x="551" y="22"/>
                  <a:pt x="552" y="22"/>
                  <a:pt x="552" y="21"/>
                </a:cubicBezTo>
                <a:close/>
                <a:moveTo>
                  <a:pt x="696" y="95"/>
                </a:moveTo>
                <a:cubicBezTo>
                  <a:pt x="695" y="95"/>
                  <a:pt x="695" y="95"/>
                  <a:pt x="695" y="96"/>
                </a:cubicBezTo>
                <a:cubicBezTo>
                  <a:pt x="696" y="96"/>
                  <a:pt x="696" y="95"/>
                  <a:pt x="696" y="95"/>
                </a:cubicBezTo>
                <a:close/>
                <a:moveTo>
                  <a:pt x="1116" y="38"/>
                </a:moveTo>
                <a:cubicBezTo>
                  <a:pt x="1116" y="38"/>
                  <a:pt x="1117" y="38"/>
                  <a:pt x="1117" y="37"/>
                </a:cubicBezTo>
                <a:cubicBezTo>
                  <a:pt x="1116" y="37"/>
                  <a:pt x="1116" y="38"/>
                  <a:pt x="1116" y="38"/>
                </a:cubicBezTo>
                <a:close/>
                <a:moveTo>
                  <a:pt x="969" y="96"/>
                </a:moveTo>
                <a:cubicBezTo>
                  <a:pt x="969" y="96"/>
                  <a:pt x="969" y="95"/>
                  <a:pt x="968" y="95"/>
                </a:cubicBezTo>
                <a:cubicBezTo>
                  <a:pt x="969" y="96"/>
                  <a:pt x="969" y="96"/>
                  <a:pt x="969" y="96"/>
                </a:cubicBezTo>
                <a:close/>
                <a:moveTo>
                  <a:pt x="971" y="97"/>
                </a:moveTo>
                <a:cubicBezTo>
                  <a:pt x="970" y="96"/>
                  <a:pt x="970" y="96"/>
                  <a:pt x="969" y="96"/>
                </a:cubicBezTo>
                <a:cubicBezTo>
                  <a:pt x="970" y="96"/>
                  <a:pt x="970" y="97"/>
                  <a:pt x="971" y="97"/>
                </a:cubicBezTo>
                <a:close/>
                <a:moveTo>
                  <a:pt x="1040" y="97"/>
                </a:moveTo>
                <a:cubicBezTo>
                  <a:pt x="1040" y="97"/>
                  <a:pt x="1040" y="96"/>
                  <a:pt x="1039" y="96"/>
                </a:cubicBezTo>
                <a:cubicBezTo>
                  <a:pt x="1040" y="97"/>
                  <a:pt x="1040" y="97"/>
                  <a:pt x="1040" y="97"/>
                </a:cubicBezTo>
                <a:close/>
                <a:moveTo>
                  <a:pt x="1309" y="44"/>
                </a:moveTo>
                <a:cubicBezTo>
                  <a:pt x="1308" y="43"/>
                  <a:pt x="1308" y="43"/>
                  <a:pt x="1307" y="43"/>
                </a:cubicBezTo>
                <a:cubicBezTo>
                  <a:pt x="1307" y="44"/>
                  <a:pt x="1308" y="44"/>
                  <a:pt x="1309" y="44"/>
                </a:cubicBezTo>
                <a:close/>
                <a:moveTo>
                  <a:pt x="1498" y="21"/>
                </a:moveTo>
                <a:cubicBezTo>
                  <a:pt x="1498" y="22"/>
                  <a:pt x="1497" y="22"/>
                  <a:pt x="1497" y="22"/>
                </a:cubicBezTo>
                <a:cubicBezTo>
                  <a:pt x="1498" y="22"/>
                  <a:pt x="1498" y="22"/>
                  <a:pt x="1498" y="21"/>
                </a:cubicBezTo>
                <a:close/>
                <a:moveTo>
                  <a:pt x="1684" y="37"/>
                </a:moveTo>
                <a:cubicBezTo>
                  <a:pt x="1684" y="38"/>
                  <a:pt x="1684" y="38"/>
                  <a:pt x="1684" y="39"/>
                </a:cubicBezTo>
                <a:cubicBezTo>
                  <a:pt x="1684" y="38"/>
                  <a:pt x="1684" y="38"/>
                  <a:pt x="1684" y="37"/>
                </a:cubicBezTo>
                <a:close/>
                <a:moveTo>
                  <a:pt x="1219" y="97"/>
                </a:moveTo>
                <a:cubicBezTo>
                  <a:pt x="1218" y="97"/>
                  <a:pt x="1218" y="97"/>
                  <a:pt x="1218" y="97"/>
                </a:cubicBezTo>
                <a:cubicBezTo>
                  <a:pt x="1218" y="97"/>
                  <a:pt x="1218" y="97"/>
                  <a:pt x="1219" y="97"/>
                </a:cubicBezTo>
                <a:close/>
                <a:moveTo>
                  <a:pt x="759" y="98"/>
                </a:moveTo>
                <a:cubicBezTo>
                  <a:pt x="759" y="97"/>
                  <a:pt x="759" y="97"/>
                  <a:pt x="758" y="97"/>
                </a:cubicBezTo>
                <a:cubicBezTo>
                  <a:pt x="758" y="97"/>
                  <a:pt x="759" y="98"/>
                  <a:pt x="759" y="98"/>
                </a:cubicBezTo>
                <a:close/>
                <a:moveTo>
                  <a:pt x="562" y="16"/>
                </a:moveTo>
                <a:cubicBezTo>
                  <a:pt x="561" y="16"/>
                  <a:pt x="561" y="16"/>
                  <a:pt x="560" y="17"/>
                </a:cubicBezTo>
                <a:cubicBezTo>
                  <a:pt x="561" y="17"/>
                  <a:pt x="561" y="17"/>
                  <a:pt x="562" y="16"/>
                </a:cubicBezTo>
                <a:close/>
                <a:moveTo>
                  <a:pt x="573" y="17"/>
                </a:moveTo>
                <a:cubicBezTo>
                  <a:pt x="573" y="16"/>
                  <a:pt x="572" y="16"/>
                  <a:pt x="572" y="16"/>
                </a:cubicBezTo>
                <a:cubicBezTo>
                  <a:pt x="572" y="17"/>
                  <a:pt x="573" y="17"/>
                  <a:pt x="573" y="17"/>
                </a:cubicBezTo>
                <a:close/>
                <a:moveTo>
                  <a:pt x="1423" y="98"/>
                </a:moveTo>
                <a:cubicBezTo>
                  <a:pt x="1423" y="97"/>
                  <a:pt x="1422" y="97"/>
                  <a:pt x="1422" y="97"/>
                </a:cubicBezTo>
                <a:cubicBezTo>
                  <a:pt x="1422" y="97"/>
                  <a:pt x="1422" y="98"/>
                  <a:pt x="1423" y="98"/>
                </a:cubicBezTo>
                <a:close/>
                <a:moveTo>
                  <a:pt x="665" y="39"/>
                </a:moveTo>
                <a:cubicBezTo>
                  <a:pt x="665" y="38"/>
                  <a:pt x="665" y="38"/>
                  <a:pt x="666" y="38"/>
                </a:cubicBezTo>
                <a:cubicBezTo>
                  <a:pt x="665" y="38"/>
                  <a:pt x="665" y="38"/>
                  <a:pt x="665" y="39"/>
                </a:cubicBezTo>
                <a:close/>
                <a:moveTo>
                  <a:pt x="1457" y="97"/>
                </a:moveTo>
                <a:cubicBezTo>
                  <a:pt x="1456" y="97"/>
                  <a:pt x="1456" y="98"/>
                  <a:pt x="1456" y="98"/>
                </a:cubicBezTo>
                <a:cubicBezTo>
                  <a:pt x="1456" y="98"/>
                  <a:pt x="1457" y="98"/>
                  <a:pt x="1457" y="97"/>
                </a:cubicBezTo>
                <a:close/>
                <a:moveTo>
                  <a:pt x="761" y="99"/>
                </a:moveTo>
                <a:cubicBezTo>
                  <a:pt x="760" y="98"/>
                  <a:pt x="760" y="98"/>
                  <a:pt x="760" y="98"/>
                </a:cubicBezTo>
                <a:cubicBezTo>
                  <a:pt x="760" y="99"/>
                  <a:pt x="760" y="99"/>
                  <a:pt x="761" y="99"/>
                </a:cubicBezTo>
                <a:close/>
                <a:moveTo>
                  <a:pt x="1425" y="99"/>
                </a:moveTo>
                <a:cubicBezTo>
                  <a:pt x="1424" y="99"/>
                  <a:pt x="1424" y="98"/>
                  <a:pt x="1424" y="98"/>
                </a:cubicBezTo>
                <a:cubicBezTo>
                  <a:pt x="1424" y="99"/>
                  <a:pt x="1424" y="99"/>
                  <a:pt x="1425" y="99"/>
                </a:cubicBezTo>
                <a:close/>
                <a:moveTo>
                  <a:pt x="1574" y="53"/>
                </a:moveTo>
                <a:cubicBezTo>
                  <a:pt x="1574" y="53"/>
                  <a:pt x="1573" y="54"/>
                  <a:pt x="1573" y="54"/>
                </a:cubicBezTo>
                <a:cubicBezTo>
                  <a:pt x="1574" y="54"/>
                  <a:pt x="1574" y="54"/>
                  <a:pt x="1574" y="53"/>
                </a:cubicBezTo>
                <a:close/>
                <a:moveTo>
                  <a:pt x="1011" y="102"/>
                </a:moveTo>
                <a:cubicBezTo>
                  <a:pt x="1010" y="101"/>
                  <a:pt x="1010" y="102"/>
                  <a:pt x="1009" y="102"/>
                </a:cubicBezTo>
                <a:cubicBezTo>
                  <a:pt x="1010" y="102"/>
                  <a:pt x="1010" y="102"/>
                  <a:pt x="1011" y="102"/>
                </a:cubicBezTo>
                <a:close/>
                <a:moveTo>
                  <a:pt x="984" y="102"/>
                </a:moveTo>
                <a:cubicBezTo>
                  <a:pt x="984" y="102"/>
                  <a:pt x="983" y="102"/>
                  <a:pt x="983" y="102"/>
                </a:cubicBezTo>
                <a:cubicBezTo>
                  <a:pt x="983" y="102"/>
                  <a:pt x="984" y="102"/>
                  <a:pt x="984" y="102"/>
                </a:cubicBezTo>
                <a:close/>
                <a:moveTo>
                  <a:pt x="1009" y="102"/>
                </a:moveTo>
                <a:cubicBezTo>
                  <a:pt x="1009" y="102"/>
                  <a:pt x="1008" y="102"/>
                  <a:pt x="1008" y="102"/>
                </a:cubicBezTo>
                <a:cubicBezTo>
                  <a:pt x="1008" y="102"/>
                  <a:pt x="1009" y="102"/>
                  <a:pt x="1009" y="102"/>
                </a:cubicBezTo>
                <a:close/>
                <a:moveTo>
                  <a:pt x="568" y="102"/>
                </a:moveTo>
                <a:cubicBezTo>
                  <a:pt x="568" y="102"/>
                  <a:pt x="567" y="102"/>
                  <a:pt x="567" y="103"/>
                </a:cubicBezTo>
                <a:cubicBezTo>
                  <a:pt x="567" y="103"/>
                  <a:pt x="568" y="103"/>
                  <a:pt x="568" y="102"/>
                </a:cubicBezTo>
                <a:close/>
                <a:moveTo>
                  <a:pt x="1220" y="39"/>
                </a:moveTo>
                <a:cubicBezTo>
                  <a:pt x="1220" y="38"/>
                  <a:pt x="1221" y="38"/>
                  <a:pt x="1221" y="38"/>
                </a:cubicBezTo>
                <a:cubicBezTo>
                  <a:pt x="1221" y="38"/>
                  <a:pt x="1220" y="38"/>
                  <a:pt x="1220" y="39"/>
                </a:cubicBezTo>
                <a:close/>
                <a:moveTo>
                  <a:pt x="684" y="102"/>
                </a:moveTo>
                <a:cubicBezTo>
                  <a:pt x="683" y="102"/>
                  <a:pt x="683" y="102"/>
                  <a:pt x="683" y="103"/>
                </a:cubicBezTo>
                <a:cubicBezTo>
                  <a:pt x="683" y="103"/>
                  <a:pt x="684" y="103"/>
                  <a:pt x="684" y="102"/>
                </a:cubicBezTo>
                <a:close/>
                <a:moveTo>
                  <a:pt x="986" y="103"/>
                </a:moveTo>
                <a:cubicBezTo>
                  <a:pt x="986" y="102"/>
                  <a:pt x="985" y="102"/>
                  <a:pt x="985" y="102"/>
                </a:cubicBezTo>
                <a:cubicBezTo>
                  <a:pt x="985" y="103"/>
                  <a:pt x="986" y="103"/>
                  <a:pt x="986" y="103"/>
                </a:cubicBezTo>
                <a:close/>
                <a:moveTo>
                  <a:pt x="1052" y="103"/>
                </a:moveTo>
                <a:cubicBezTo>
                  <a:pt x="1052" y="102"/>
                  <a:pt x="1051" y="102"/>
                  <a:pt x="1051" y="102"/>
                </a:cubicBezTo>
                <a:cubicBezTo>
                  <a:pt x="1051" y="103"/>
                  <a:pt x="1052" y="103"/>
                  <a:pt x="1052" y="103"/>
                </a:cubicBezTo>
                <a:close/>
                <a:moveTo>
                  <a:pt x="1070" y="102"/>
                </a:moveTo>
                <a:cubicBezTo>
                  <a:pt x="1070" y="102"/>
                  <a:pt x="1069" y="102"/>
                  <a:pt x="1069" y="103"/>
                </a:cubicBezTo>
                <a:cubicBezTo>
                  <a:pt x="1069" y="103"/>
                  <a:pt x="1070" y="103"/>
                  <a:pt x="1070" y="102"/>
                </a:cubicBezTo>
                <a:close/>
                <a:moveTo>
                  <a:pt x="575" y="17"/>
                </a:moveTo>
                <a:cubicBezTo>
                  <a:pt x="575" y="17"/>
                  <a:pt x="574" y="17"/>
                  <a:pt x="574" y="17"/>
                </a:cubicBezTo>
                <a:cubicBezTo>
                  <a:pt x="574" y="17"/>
                  <a:pt x="575" y="17"/>
                  <a:pt x="575" y="17"/>
                </a:cubicBezTo>
                <a:close/>
                <a:moveTo>
                  <a:pt x="1259" y="42"/>
                </a:moveTo>
                <a:cubicBezTo>
                  <a:pt x="1259" y="42"/>
                  <a:pt x="1259" y="42"/>
                  <a:pt x="1260" y="43"/>
                </a:cubicBezTo>
                <a:cubicBezTo>
                  <a:pt x="1260" y="42"/>
                  <a:pt x="1259" y="42"/>
                  <a:pt x="1259" y="42"/>
                </a:cubicBezTo>
                <a:close/>
                <a:moveTo>
                  <a:pt x="1230" y="103"/>
                </a:moveTo>
                <a:cubicBezTo>
                  <a:pt x="1230" y="102"/>
                  <a:pt x="1229" y="102"/>
                  <a:pt x="1229" y="102"/>
                </a:cubicBezTo>
                <a:cubicBezTo>
                  <a:pt x="1229" y="103"/>
                  <a:pt x="1230" y="103"/>
                  <a:pt x="1230" y="103"/>
                </a:cubicBezTo>
                <a:close/>
                <a:moveTo>
                  <a:pt x="1248" y="102"/>
                </a:moveTo>
                <a:cubicBezTo>
                  <a:pt x="1248" y="102"/>
                  <a:pt x="1247" y="102"/>
                  <a:pt x="1247" y="103"/>
                </a:cubicBezTo>
                <a:cubicBezTo>
                  <a:pt x="1247" y="103"/>
                  <a:pt x="1248" y="103"/>
                  <a:pt x="1248" y="102"/>
                </a:cubicBezTo>
                <a:close/>
                <a:moveTo>
                  <a:pt x="1663" y="8"/>
                </a:moveTo>
                <a:cubicBezTo>
                  <a:pt x="1664" y="8"/>
                  <a:pt x="1664" y="8"/>
                  <a:pt x="1665" y="8"/>
                </a:cubicBezTo>
                <a:cubicBezTo>
                  <a:pt x="1664" y="8"/>
                  <a:pt x="1664" y="8"/>
                  <a:pt x="1663" y="8"/>
                </a:cubicBezTo>
                <a:close/>
                <a:moveTo>
                  <a:pt x="991" y="17"/>
                </a:moveTo>
                <a:cubicBezTo>
                  <a:pt x="990" y="17"/>
                  <a:pt x="990" y="17"/>
                  <a:pt x="990" y="17"/>
                </a:cubicBezTo>
                <a:cubicBezTo>
                  <a:pt x="990" y="17"/>
                  <a:pt x="991" y="17"/>
                  <a:pt x="991" y="17"/>
                </a:cubicBezTo>
                <a:close/>
                <a:moveTo>
                  <a:pt x="1008" y="17"/>
                </a:moveTo>
                <a:cubicBezTo>
                  <a:pt x="1008" y="17"/>
                  <a:pt x="1008" y="17"/>
                  <a:pt x="1007" y="17"/>
                </a:cubicBezTo>
                <a:cubicBezTo>
                  <a:pt x="1007" y="17"/>
                  <a:pt x="1008" y="17"/>
                  <a:pt x="1008" y="17"/>
                </a:cubicBezTo>
                <a:close/>
                <a:moveTo>
                  <a:pt x="1433" y="103"/>
                </a:moveTo>
                <a:cubicBezTo>
                  <a:pt x="1432" y="102"/>
                  <a:pt x="1432" y="102"/>
                  <a:pt x="1431" y="102"/>
                </a:cubicBezTo>
                <a:cubicBezTo>
                  <a:pt x="1432" y="103"/>
                  <a:pt x="1432" y="103"/>
                  <a:pt x="1433" y="103"/>
                </a:cubicBezTo>
                <a:close/>
                <a:moveTo>
                  <a:pt x="1447" y="102"/>
                </a:moveTo>
                <a:cubicBezTo>
                  <a:pt x="1447" y="102"/>
                  <a:pt x="1446" y="102"/>
                  <a:pt x="1446" y="103"/>
                </a:cubicBezTo>
                <a:cubicBezTo>
                  <a:pt x="1446" y="103"/>
                  <a:pt x="1447" y="103"/>
                  <a:pt x="1447" y="102"/>
                </a:cubicBezTo>
                <a:close/>
                <a:moveTo>
                  <a:pt x="682" y="103"/>
                </a:moveTo>
                <a:cubicBezTo>
                  <a:pt x="682" y="103"/>
                  <a:pt x="681" y="103"/>
                  <a:pt x="681" y="103"/>
                </a:cubicBezTo>
                <a:cubicBezTo>
                  <a:pt x="681" y="103"/>
                  <a:pt x="682" y="103"/>
                  <a:pt x="682" y="103"/>
                </a:cubicBezTo>
                <a:close/>
                <a:moveTo>
                  <a:pt x="728" y="103"/>
                </a:moveTo>
                <a:cubicBezTo>
                  <a:pt x="728" y="103"/>
                  <a:pt x="727" y="103"/>
                  <a:pt x="727" y="103"/>
                </a:cubicBezTo>
                <a:cubicBezTo>
                  <a:pt x="727" y="103"/>
                  <a:pt x="728" y="103"/>
                  <a:pt x="728" y="103"/>
                </a:cubicBezTo>
                <a:close/>
                <a:moveTo>
                  <a:pt x="738" y="103"/>
                </a:moveTo>
                <a:cubicBezTo>
                  <a:pt x="737" y="103"/>
                  <a:pt x="737" y="103"/>
                  <a:pt x="736" y="103"/>
                </a:cubicBezTo>
                <a:cubicBezTo>
                  <a:pt x="737" y="103"/>
                  <a:pt x="737" y="103"/>
                  <a:pt x="738" y="103"/>
                </a:cubicBezTo>
                <a:close/>
                <a:moveTo>
                  <a:pt x="1054" y="103"/>
                </a:moveTo>
                <a:cubicBezTo>
                  <a:pt x="1054" y="103"/>
                  <a:pt x="1053" y="103"/>
                  <a:pt x="1053" y="103"/>
                </a:cubicBezTo>
                <a:cubicBezTo>
                  <a:pt x="1053" y="103"/>
                  <a:pt x="1054" y="103"/>
                  <a:pt x="1054" y="103"/>
                </a:cubicBezTo>
                <a:close/>
                <a:moveTo>
                  <a:pt x="961" y="24"/>
                </a:moveTo>
                <a:cubicBezTo>
                  <a:pt x="961" y="23"/>
                  <a:pt x="962" y="23"/>
                  <a:pt x="962" y="23"/>
                </a:cubicBezTo>
                <a:cubicBezTo>
                  <a:pt x="961" y="23"/>
                  <a:pt x="961" y="23"/>
                  <a:pt x="961" y="24"/>
                </a:cubicBezTo>
                <a:close/>
                <a:moveTo>
                  <a:pt x="1232" y="103"/>
                </a:moveTo>
                <a:cubicBezTo>
                  <a:pt x="1232" y="103"/>
                  <a:pt x="1231" y="103"/>
                  <a:pt x="1230" y="103"/>
                </a:cubicBezTo>
                <a:cubicBezTo>
                  <a:pt x="1231" y="103"/>
                  <a:pt x="1231" y="103"/>
                  <a:pt x="1232" y="103"/>
                </a:cubicBezTo>
                <a:close/>
                <a:moveTo>
                  <a:pt x="1435" y="103"/>
                </a:moveTo>
                <a:cubicBezTo>
                  <a:pt x="1434" y="103"/>
                  <a:pt x="1434" y="103"/>
                  <a:pt x="1433" y="103"/>
                </a:cubicBezTo>
                <a:cubicBezTo>
                  <a:pt x="1433" y="103"/>
                  <a:pt x="1434" y="103"/>
                  <a:pt x="1435" y="103"/>
                </a:cubicBezTo>
                <a:close/>
                <a:moveTo>
                  <a:pt x="1446" y="103"/>
                </a:moveTo>
                <a:cubicBezTo>
                  <a:pt x="1445" y="103"/>
                  <a:pt x="1445" y="103"/>
                  <a:pt x="1444" y="103"/>
                </a:cubicBezTo>
                <a:cubicBezTo>
                  <a:pt x="1445" y="103"/>
                  <a:pt x="1445" y="103"/>
                  <a:pt x="1446" y="103"/>
                </a:cubicBezTo>
                <a:close/>
                <a:moveTo>
                  <a:pt x="607" y="122"/>
                </a:moveTo>
                <a:cubicBezTo>
                  <a:pt x="607" y="122"/>
                  <a:pt x="608" y="122"/>
                  <a:pt x="608" y="121"/>
                </a:cubicBezTo>
                <a:cubicBezTo>
                  <a:pt x="607" y="121"/>
                  <a:pt x="607" y="122"/>
                  <a:pt x="607" y="122"/>
                </a:cubicBezTo>
                <a:close/>
                <a:moveTo>
                  <a:pt x="1665" y="8"/>
                </a:moveTo>
                <a:cubicBezTo>
                  <a:pt x="1665" y="9"/>
                  <a:pt x="1666" y="9"/>
                  <a:pt x="1666" y="9"/>
                </a:cubicBezTo>
                <a:cubicBezTo>
                  <a:pt x="1666" y="8"/>
                  <a:pt x="1665" y="8"/>
                  <a:pt x="1665" y="8"/>
                </a:cubicBezTo>
                <a:close/>
                <a:moveTo>
                  <a:pt x="597" y="123"/>
                </a:moveTo>
                <a:cubicBezTo>
                  <a:pt x="597" y="123"/>
                  <a:pt x="598" y="123"/>
                  <a:pt x="598" y="123"/>
                </a:cubicBezTo>
                <a:cubicBezTo>
                  <a:pt x="598" y="123"/>
                  <a:pt x="597" y="123"/>
                  <a:pt x="597" y="123"/>
                </a:cubicBezTo>
                <a:close/>
                <a:moveTo>
                  <a:pt x="1411" y="36"/>
                </a:moveTo>
                <a:cubicBezTo>
                  <a:pt x="1411" y="35"/>
                  <a:pt x="1412" y="35"/>
                  <a:pt x="1411" y="34"/>
                </a:cubicBezTo>
                <a:cubicBezTo>
                  <a:pt x="1411" y="35"/>
                  <a:pt x="1411" y="35"/>
                  <a:pt x="1411" y="36"/>
                </a:cubicBezTo>
                <a:close/>
                <a:moveTo>
                  <a:pt x="1469" y="34"/>
                </a:moveTo>
                <a:cubicBezTo>
                  <a:pt x="1469" y="35"/>
                  <a:pt x="1469" y="35"/>
                  <a:pt x="1470" y="36"/>
                </a:cubicBezTo>
                <a:cubicBezTo>
                  <a:pt x="1470" y="35"/>
                  <a:pt x="1470" y="35"/>
                  <a:pt x="1469" y="34"/>
                </a:cubicBezTo>
                <a:close/>
                <a:moveTo>
                  <a:pt x="619" y="123"/>
                </a:moveTo>
                <a:cubicBezTo>
                  <a:pt x="619" y="123"/>
                  <a:pt x="619" y="124"/>
                  <a:pt x="618" y="124"/>
                </a:cubicBezTo>
                <a:cubicBezTo>
                  <a:pt x="619" y="124"/>
                  <a:pt x="619" y="124"/>
                  <a:pt x="619" y="123"/>
                </a:cubicBezTo>
                <a:close/>
                <a:moveTo>
                  <a:pt x="618" y="125"/>
                </a:moveTo>
                <a:cubicBezTo>
                  <a:pt x="617" y="125"/>
                  <a:pt x="617" y="125"/>
                  <a:pt x="617" y="126"/>
                </a:cubicBezTo>
                <a:cubicBezTo>
                  <a:pt x="618" y="126"/>
                  <a:pt x="618" y="125"/>
                  <a:pt x="618" y="125"/>
                </a:cubicBezTo>
                <a:close/>
                <a:moveTo>
                  <a:pt x="966" y="18"/>
                </a:moveTo>
                <a:cubicBezTo>
                  <a:pt x="967" y="18"/>
                  <a:pt x="967" y="17"/>
                  <a:pt x="967" y="17"/>
                </a:cubicBezTo>
                <a:cubicBezTo>
                  <a:pt x="967" y="17"/>
                  <a:pt x="966" y="17"/>
                  <a:pt x="966" y="18"/>
                </a:cubicBezTo>
                <a:close/>
                <a:moveTo>
                  <a:pt x="615" y="128"/>
                </a:moveTo>
                <a:cubicBezTo>
                  <a:pt x="615" y="128"/>
                  <a:pt x="614" y="128"/>
                  <a:pt x="614" y="129"/>
                </a:cubicBezTo>
                <a:cubicBezTo>
                  <a:pt x="615" y="129"/>
                  <a:pt x="615" y="128"/>
                  <a:pt x="615" y="128"/>
                </a:cubicBezTo>
                <a:close/>
                <a:moveTo>
                  <a:pt x="597" y="133"/>
                </a:moveTo>
                <a:cubicBezTo>
                  <a:pt x="596" y="132"/>
                  <a:pt x="596" y="132"/>
                  <a:pt x="595" y="133"/>
                </a:cubicBezTo>
                <a:cubicBezTo>
                  <a:pt x="596" y="133"/>
                  <a:pt x="596" y="133"/>
                  <a:pt x="597" y="133"/>
                </a:cubicBezTo>
                <a:close/>
                <a:moveTo>
                  <a:pt x="759" y="39"/>
                </a:moveTo>
                <a:cubicBezTo>
                  <a:pt x="760" y="39"/>
                  <a:pt x="760" y="39"/>
                  <a:pt x="760" y="39"/>
                </a:cubicBezTo>
                <a:cubicBezTo>
                  <a:pt x="760" y="39"/>
                  <a:pt x="759" y="39"/>
                  <a:pt x="759" y="39"/>
                </a:cubicBezTo>
                <a:close/>
                <a:moveTo>
                  <a:pt x="906" y="39"/>
                </a:moveTo>
                <a:cubicBezTo>
                  <a:pt x="906" y="39"/>
                  <a:pt x="907" y="39"/>
                  <a:pt x="907" y="40"/>
                </a:cubicBezTo>
                <a:cubicBezTo>
                  <a:pt x="907" y="39"/>
                  <a:pt x="907" y="39"/>
                  <a:pt x="906" y="39"/>
                </a:cubicBezTo>
                <a:close/>
                <a:moveTo>
                  <a:pt x="1397" y="38"/>
                </a:moveTo>
                <a:cubicBezTo>
                  <a:pt x="1396" y="39"/>
                  <a:pt x="1396" y="39"/>
                  <a:pt x="1397" y="40"/>
                </a:cubicBezTo>
                <a:cubicBezTo>
                  <a:pt x="1397" y="39"/>
                  <a:pt x="1397" y="39"/>
                  <a:pt x="1397" y="38"/>
                </a:cubicBezTo>
                <a:close/>
                <a:moveTo>
                  <a:pt x="659" y="49"/>
                </a:moveTo>
                <a:cubicBezTo>
                  <a:pt x="659" y="49"/>
                  <a:pt x="659" y="48"/>
                  <a:pt x="659" y="48"/>
                </a:cubicBezTo>
                <a:cubicBezTo>
                  <a:pt x="658" y="48"/>
                  <a:pt x="659" y="49"/>
                  <a:pt x="659" y="49"/>
                </a:cubicBezTo>
                <a:close/>
                <a:moveTo>
                  <a:pt x="1149" y="39"/>
                </a:moveTo>
                <a:cubicBezTo>
                  <a:pt x="1149" y="39"/>
                  <a:pt x="1149" y="40"/>
                  <a:pt x="1149" y="40"/>
                </a:cubicBezTo>
                <a:cubicBezTo>
                  <a:pt x="1149" y="39"/>
                  <a:pt x="1149" y="39"/>
                  <a:pt x="1149" y="39"/>
                </a:cubicBezTo>
                <a:close/>
                <a:moveTo>
                  <a:pt x="1581" y="39"/>
                </a:moveTo>
                <a:cubicBezTo>
                  <a:pt x="1581" y="39"/>
                  <a:pt x="1581" y="40"/>
                  <a:pt x="1581" y="40"/>
                </a:cubicBezTo>
                <a:cubicBezTo>
                  <a:pt x="1581" y="40"/>
                  <a:pt x="1581" y="39"/>
                  <a:pt x="1581" y="39"/>
                </a:cubicBezTo>
                <a:close/>
                <a:moveTo>
                  <a:pt x="1749" y="39"/>
                </a:moveTo>
                <a:cubicBezTo>
                  <a:pt x="1749" y="39"/>
                  <a:pt x="1749" y="40"/>
                  <a:pt x="1749" y="40"/>
                </a:cubicBezTo>
                <a:cubicBezTo>
                  <a:pt x="1749" y="40"/>
                  <a:pt x="1749" y="39"/>
                  <a:pt x="1749" y="39"/>
                </a:cubicBezTo>
                <a:close/>
                <a:moveTo>
                  <a:pt x="864" y="39"/>
                </a:moveTo>
                <a:cubicBezTo>
                  <a:pt x="864" y="40"/>
                  <a:pt x="865" y="40"/>
                  <a:pt x="865" y="40"/>
                </a:cubicBezTo>
                <a:cubicBezTo>
                  <a:pt x="865" y="40"/>
                  <a:pt x="865" y="39"/>
                  <a:pt x="864" y="39"/>
                </a:cubicBezTo>
                <a:close/>
                <a:moveTo>
                  <a:pt x="1218" y="40"/>
                </a:moveTo>
                <a:cubicBezTo>
                  <a:pt x="1219" y="40"/>
                  <a:pt x="1219" y="40"/>
                  <a:pt x="1219" y="39"/>
                </a:cubicBezTo>
                <a:cubicBezTo>
                  <a:pt x="1219" y="39"/>
                  <a:pt x="1218" y="39"/>
                  <a:pt x="1218" y="40"/>
                </a:cubicBezTo>
                <a:close/>
                <a:moveTo>
                  <a:pt x="1391" y="52"/>
                </a:moveTo>
                <a:cubicBezTo>
                  <a:pt x="1391" y="52"/>
                  <a:pt x="1390" y="52"/>
                  <a:pt x="1390" y="53"/>
                </a:cubicBezTo>
                <a:cubicBezTo>
                  <a:pt x="1391" y="53"/>
                  <a:pt x="1391" y="52"/>
                  <a:pt x="1391" y="52"/>
                </a:cubicBezTo>
                <a:close/>
                <a:moveTo>
                  <a:pt x="1397" y="40"/>
                </a:moveTo>
                <a:cubicBezTo>
                  <a:pt x="1396" y="40"/>
                  <a:pt x="1396" y="41"/>
                  <a:pt x="1396" y="41"/>
                </a:cubicBezTo>
                <a:cubicBezTo>
                  <a:pt x="1397" y="41"/>
                  <a:pt x="1396" y="40"/>
                  <a:pt x="1397" y="40"/>
                </a:cubicBezTo>
                <a:close/>
                <a:moveTo>
                  <a:pt x="831" y="41"/>
                </a:moveTo>
                <a:cubicBezTo>
                  <a:pt x="831" y="41"/>
                  <a:pt x="831" y="41"/>
                  <a:pt x="831" y="40"/>
                </a:cubicBezTo>
                <a:cubicBezTo>
                  <a:pt x="831" y="40"/>
                  <a:pt x="831" y="41"/>
                  <a:pt x="831" y="41"/>
                </a:cubicBezTo>
                <a:close/>
                <a:moveTo>
                  <a:pt x="1112" y="42"/>
                </a:moveTo>
                <a:cubicBezTo>
                  <a:pt x="1113" y="42"/>
                  <a:pt x="1113" y="41"/>
                  <a:pt x="1113" y="41"/>
                </a:cubicBezTo>
                <a:cubicBezTo>
                  <a:pt x="1113" y="41"/>
                  <a:pt x="1112" y="41"/>
                  <a:pt x="1112" y="42"/>
                </a:cubicBezTo>
                <a:close/>
                <a:moveTo>
                  <a:pt x="670" y="49"/>
                </a:moveTo>
                <a:cubicBezTo>
                  <a:pt x="670" y="49"/>
                  <a:pt x="670" y="49"/>
                  <a:pt x="670" y="50"/>
                </a:cubicBezTo>
                <a:cubicBezTo>
                  <a:pt x="670" y="50"/>
                  <a:pt x="670" y="49"/>
                  <a:pt x="670" y="49"/>
                </a:cubicBezTo>
                <a:close/>
                <a:moveTo>
                  <a:pt x="1115" y="49"/>
                </a:moveTo>
                <a:cubicBezTo>
                  <a:pt x="1115" y="49"/>
                  <a:pt x="1114" y="49"/>
                  <a:pt x="1114" y="50"/>
                </a:cubicBezTo>
                <a:cubicBezTo>
                  <a:pt x="1115" y="49"/>
                  <a:pt x="1115" y="49"/>
                  <a:pt x="1115" y="49"/>
                </a:cubicBezTo>
                <a:close/>
                <a:moveTo>
                  <a:pt x="1380" y="50"/>
                </a:moveTo>
                <a:cubicBezTo>
                  <a:pt x="1380" y="49"/>
                  <a:pt x="1380" y="49"/>
                  <a:pt x="1381" y="49"/>
                </a:cubicBezTo>
                <a:cubicBezTo>
                  <a:pt x="1380" y="49"/>
                  <a:pt x="1380" y="49"/>
                  <a:pt x="1380" y="50"/>
                </a:cubicBezTo>
                <a:close/>
                <a:moveTo>
                  <a:pt x="607" y="132"/>
                </a:moveTo>
                <a:cubicBezTo>
                  <a:pt x="606" y="132"/>
                  <a:pt x="606" y="132"/>
                  <a:pt x="605" y="133"/>
                </a:cubicBezTo>
                <a:cubicBezTo>
                  <a:pt x="606" y="133"/>
                  <a:pt x="606" y="133"/>
                  <a:pt x="607" y="132"/>
                </a:cubicBezTo>
                <a:close/>
                <a:moveTo>
                  <a:pt x="976" y="23"/>
                </a:moveTo>
                <a:cubicBezTo>
                  <a:pt x="976" y="24"/>
                  <a:pt x="975" y="24"/>
                  <a:pt x="975" y="24"/>
                </a:cubicBezTo>
                <a:cubicBezTo>
                  <a:pt x="976" y="24"/>
                  <a:pt x="976" y="24"/>
                  <a:pt x="976" y="23"/>
                </a:cubicBezTo>
                <a:close/>
                <a:moveTo>
                  <a:pt x="553" y="42"/>
                </a:moveTo>
                <a:cubicBezTo>
                  <a:pt x="554" y="42"/>
                  <a:pt x="554" y="42"/>
                  <a:pt x="554" y="42"/>
                </a:cubicBezTo>
                <a:cubicBezTo>
                  <a:pt x="554" y="42"/>
                  <a:pt x="554" y="42"/>
                  <a:pt x="553" y="42"/>
                </a:cubicBezTo>
                <a:close/>
                <a:moveTo>
                  <a:pt x="1725" y="56"/>
                </a:moveTo>
                <a:cubicBezTo>
                  <a:pt x="1726" y="56"/>
                  <a:pt x="1726" y="56"/>
                  <a:pt x="1726" y="56"/>
                </a:cubicBezTo>
                <a:cubicBezTo>
                  <a:pt x="1726" y="56"/>
                  <a:pt x="1725" y="56"/>
                  <a:pt x="1725" y="56"/>
                </a:cubicBezTo>
                <a:close/>
                <a:moveTo>
                  <a:pt x="659" y="57"/>
                </a:moveTo>
                <a:cubicBezTo>
                  <a:pt x="659" y="57"/>
                  <a:pt x="659" y="56"/>
                  <a:pt x="659" y="56"/>
                </a:cubicBezTo>
                <a:cubicBezTo>
                  <a:pt x="659" y="56"/>
                  <a:pt x="658" y="57"/>
                  <a:pt x="659" y="57"/>
                </a:cubicBezTo>
                <a:close/>
                <a:moveTo>
                  <a:pt x="829" y="56"/>
                </a:moveTo>
                <a:cubicBezTo>
                  <a:pt x="828" y="57"/>
                  <a:pt x="828" y="57"/>
                  <a:pt x="828" y="58"/>
                </a:cubicBezTo>
                <a:cubicBezTo>
                  <a:pt x="829" y="58"/>
                  <a:pt x="829" y="57"/>
                  <a:pt x="829" y="56"/>
                </a:cubicBezTo>
                <a:close/>
                <a:moveTo>
                  <a:pt x="859" y="55"/>
                </a:moveTo>
                <a:cubicBezTo>
                  <a:pt x="859" y="54"/>
                  <a:pt x="859" y="54"/>
                  <a:pt x="858" y="53"/>
                </a:cubicBezTo>
                <a:cubicBezTo>
                  <a:pt x="858" y="54"/>
                  <a:pt x="858" y="54"/>
                  <a:pt x="859" y="55"/>
                </a:cubicBezTo>
                <a:close/>
                <a:moveTo>
                  <a:pt x="1372" y="57"/>
                </a:moveTo>
                <a:cubicBezTo>
                  <a:pt x="1372" y="57"/>
                  <a:pt x="1372" y="57"/>
                  <a:pt x="1373" y="57"/>
                </a:cubicBezTo>
                <a:cubicBezTo>
                  <a:pt x="1372" y="57"/>
                  <a:pt x="1372" y="57"/>
                  <a:pt x="1372" y="57"/>
                </a:cubicBezTo>
                <a:close/>
                <a:moveTo>
                  <a:pt x="578" y="58"/>
                </a:moveTo>
                <a:cubicBezTo>
                  <a:pt x="578" y="58"/>
                  <a:pt x="579" y="58"/>
                  <a:pt x="579" y="58"/>
                </a:cubicBezTo>
                <a:cubicBezTo>
                  <a:pt x="579" y="58"/>
                  <a:pt x="579" y="58"/>
                  <a:pt x="578" y="58"/>
                </a:cubicBezTo>
                <a:close/>
                <a:moveTo>
                  <a:pt x="1208" y="59"/>
                </a:moveTo>
                <a:cubicBezTo>
                  <a:pt x="1208" y="59"/>
                  <a:pt x="1208" y="58"/>
                  <a:pt x="1208" y="58"/>
                </a:cubicBezTo>
                <a:cubicBezTo>
                  <a:pt x="1208" y="58"/>
                  <a:pt x="1208" y="59"/>
                  <a:pt x="1208" y="59"/>
                </a:cubicBezTo>
                <a:close/>
                <a:moveTo>
                  <a:pt x="1289" y="58"/>
                </a:moveTo>
                <a:cubicBezTo>
                  <a:pt x="1289" y="59"/>
                  <a:pt x="1289" y="59"/>
                  <a:pt x="1289" y="60"/>
                </a:cubicBezTo>
                <a:cubicBezTo>
                  <a:pt x="1289" y="59"/>
                  <a:pt x="1289" y="59"/>
                  <a:pt x="1289" y="58"/>
                </a:cubicBezTo>
                <a:close/>
                <a:moveTo>
                  <a:pt x="748" y="60"/>
                </a:moveTo>
                <a:cubicBezTo>
                  <a:pt x="748" y="60"/>
                  <a:pt x="748" y="59"/>
                  <a:pt x="748" y="59"/>
                </a:cubicBezTo>
                <a:cubicBezTo>
                  <a:pt x="748" y="59"/>
                  <a:pt x="748" y="60"/>
                  <a:pt x="748" y="60"/>
                </a:cubicBezTo>
                <a:close/>
                <a:moveTo>
                  <a:pt x="670" y="50"/>
                </a:moveTo>
                <a:cubicBezTo>
                  <a:pt x="669" y="51"/>
                  <a:pt x="669" y="52"/>
                  <a:pt x="670" y="52"/>
                </a:cubicBezTo>
                <a:cubicBezTo>
                  <a:pt x="670" y="52"/>
                  <a:pt x="670" y="51"/>
                  <a:pt x="670" y="50"/>
                </a:cubicBezTo>
                <a:close/>
                <a:moveTo>
                  <a:pt x="1737" y="59"/>
                </a:moveTo>
                <a:cubicBezTo>
                  <a:pt x="1736" y="59"/>
                  <a:pt x="1736" y="59"/>
                  <a:pt x="1736" y="60"/>
                </a:cubicBezTo>
                <a:cubicBezTo>
                  <a:pt x="1736" y="60"/>
                  <a:pt x="1736" y="60"/>
                  <a:pt x="1737" y="59"/>
                </a:cubicBezTo>
                <a:close/>
                <a:moveTo>
                  <a:pt x="580" y="59"/>
                </a:moveTo>
                <a:cubicBezTo>
                  <a:pt x="580" y="60"/>
                  <a:pt x="581" y="60"/>
                  <a:pt x="581" y="60"/>
                </a:cubicBezTo>
                <a:cubicBezTo>
                  <a:pt x="581" y="60"/>
                  <a:pt x="581" y="59"/>
                  <a:pt x="580" y="59"/>
                </a:cubicBezTo>
                <a:close/>
                <a:moveTo>
                  <a:pt x="1208" y="61"/>
                </a:moveTo>
                <a:cubicBezTo>
                  <a:pt x="1208" y="60"/>
                  <a:pt x="1208" y="60"/>
                  <a:pt x="1208" y="59"/>
                </a:cubicBezTo>
                <a:cubicBezTo>
                  <a:pt x="1207" y="60"/>
                  <a:pt x="1208" y="60"/>
                  <a:pt x="1208" y="61"/>
                </a:cubicBezTo>
                <a:close/>
                <a:moveTo>
                  <a:pt x="1666" y="60"/>
                </a:moveTo>
                <a:cubicBezTo>
                  <a:pt x="1666" y="60"/>
                  <a:pt x="1667" y="61"/>
                  <a:pt x="1667" y="61"/>
                </a:cubicBezTo>
                <a:cubicBezTo>
                  <a:pt x="1667" y="60"/>
                  <a:pt x="1666" y="60"/>
                  <a:pt x="1666" y="60"/>
                </a:cubicBezTo>
                <a:close/>
                <a:moveTo>
                  <a:pt x="1719" y="61"/>
                </a:moveTo>
                <a:cubicBezTo>
                  <a:pt x="1720" y="61"/>
                  <a:pt x="1720" y="60"/>
                  <a:pt x="1720" y="60"/>
                </a:cubicBezTo>
                <a:cubicBezTo>
                  <a:pt x="1720" y="60"/>
                  <a:pt x="1719" y="60"/>
                  <a:pt x="1719" y="61"/>
                </a:cubicBezTo>
                <a:close/>
                <a:moveTo>
                  <a:pt x="1383" y="60"/>
                </a:moveTo>
                <a:cubicBezTo>
                  <a:pt x="1382" y="60"/>
                  <a:pt x="1382" y="61"/>
                  <a:pt x="1382" y="61"/>
                </a:cubicBezTo>
                <a:cubicBezTo>
                  <a:pt x="1382" y="61"/>
                  <a:pt x="1382" y="61"/>
                  <a:pt x="1383" y="60"/>
                </a:cubicBezTo>
                <a:close/>
                <a:moveTo>
                  <a:pt x="1366" y="62"/>
                </a:moveTo>
                <a:cubicBezTo>
                  <a:pt x="1366" y="61"/>
                  <a:pt x="1367" y="61"/>
                  <a:pt x="1367" y="61"/>
                </a:cubicBezTo>
                <a:cubicBezTo>
                  <a:pt x="1366" y="61"/>
                  <a:pt x="1366" y="61"/>
                  <a:pt x="1366" y="62"/>
                </a:cubicBezTo>
                <a:close/>
                <a:moveTo>
                  <a:pt x="1550" y="62"/>
                </a:moveTo>
                <a:cubicBezTo>
                  <a:pt x="1550" y="62"/>
                  <a:pt x="1550" y="62"/>
                  <a:pt x="1551" y="61"/>
                </a:cubicBezTo>
                <a:cubicBezTo>
                  <a:pt x="1550" y="61"/>
                  <a:pt x="1550" y="61"/>
                  <a:pt x="1550" y="62"/>
                </a:cubicBezTo>
                <a:close/>
                <a:moveTo>
                  <a:pt x="1566" y="61"/>
                </a:moveTo>
                <a:cubicBezTo>
                  <a:pt x="1566" y="61"/>
                  <a:pt x="1565" y="61"/>
                  <a:pt x="1565" y="62"/>
                </a:cubicBezTo>
                <a:cubicBezTo>
                  <a:pt x="1566" y="62"/>
                  <a:pt x="1566" y="62"/>
                  <a:pt x="1566" y="61"/>
                </a:cubicBezTo>
                <a:close/>
                <a:moveTo>
                  <a:pt x="1718" y="62"/>
                </a:moveTo>
                <a:cubicBezTo>
                  <a:pt x="1718" y="62"/>
                  <a:pt x="1719" y="62"/>
                  <a:pt x="1719" y="61"/>
                </a:cubicBezTo>
                <a:cubicBezTo>
                  <a:pt x="1718" y="61"/>
                  <a:pt x="1718" y="61"/>
                  <a:pt x="1718" y="62"/>
                </a:cubicBezTo>
                <a:close/>
                <a:moveTo>
                  <a:pt x="1456" y="10"/>
                </a:moveTo>
                <a:cubicBezTo>
                  <a:pt x="1456" y="10"/>
                  <a:pt x="1456" y="10"/>
                  <a:pt x="1457" y="10"/>
                </a:cubicBezTo>
                <a:cubicBezTo>
                  <a:pt x="1457" y="10"/>
                  <a:pt x="1456" y="10"/>
                  <a:pt x="1456" y="10"/>
                </a:cubicBezTo>
                <a:close/>
                <a:moveTo>
                  <a:pt x="1734" y="61"/>
                </a:moveTo>
                <a:cubicBezTo>
                  <a:pt x="1734" y="61"/>
                  <a:pt x="1733" y="61"/>
                  <a:pt x="1733" y="62"/>
                </a:cubicBezTo>
                <a:cubicBezTo>
                  <a:pt x="1734" y="62"/>
                  <a:pt x="1734" y="62"/>
                  <a:pt x="1734" y="61"/>
                </a:cubicBezTo>
                <a:close/>
                <a:moveTo>
                  <a:pt x="1119" y="45"/>
                </a:moveTo>
                <a:cubicBezTo>
                  <a:pt x="1118" y="45"/>
                  <a:pt x="1118" y="45"/>
                  <a:pt x="1118" y="46"/>
                </a:cubicBezTo>
                <a:cubicBezTo>
                  <a:pt x="1118" y="46"/>
                  <a:pt x="1119" y="46"/>
                  <a:pt x="1119" y="45"/>
                </a:cubicBezTo>
                <a:close/>
                <a:moveTo>
                  <a:pt x="1365" y="63"/>
                </a:moveTo>
                <a:cubicBezTo>
                  <a:pt x="1365" y="62"/>
                  <a:pt x="1365" y="62"/>
                  <a:pt x="1366" y="62"/>
                </a:cubicBezTo>
                <a:cubicBezTo>
                  <a:pt x="1365" y="62"/>
                  <a:pt x="1365" y="62"/>
                  <a:pt x="1365" y="63"/>
                </a:cubicBezTo>
                <a:close/>
                <a:moveTo>
                  <a:pt x="583" y="62"/>
                </a:moveTo>
                <a:cubicBezTo>
                  <a:pt x="583" y="63"/>
                  <a:pt x="584" y="63"/>
                  <a:pt x="584" y="63"/>
                </a:cubicBezTo>
                <a:cubicBezTo>
                  <a:pt x="584" y="63"/>
                  <a:pt x="584" y="62"/>
                  <a:pt x="583" y="62"/>
                </a:cubicBezTo>
                <a:close/>
                <a:moveTo>
                  <a:pt x="1581" y="25"/>
                </a:moveTo>
                <a:cubicBezTo>
                  <a:pt x="1581" y="25"/>
                  <a:pt x="1581" y="26"/>
                  <a:pt x="1581" y="26"/>
                </a:cubicBezTo>
                <a:cubicBezTo>
                  <a:pt x="1581" y="26"/>
                  <a:pt x="1582" y="25"/>
                  <a:pt x="1581" y="25"/>
                </a:cubicBezTo>
                <a:close/>
                <a:moveTo>
                  <a:pt x="1548" y="63"/>
                </a:moveTo>
                <a:cubicBezTo>
                  <a:pt x="1549" y="63"/>
                  <a:pt x="1549" y="63"/>
                  <a:pt x="1549" y="62"/>
                </a:cubicBezTo>
                <a:cubicBezTo>
                  <a:pt x="1549" y="62"/>
                  <a:pt x="1548" y="62"/>
                  <a:pt x="1548" y="63"/>
                </a:cubicBezTo>
                <a:close/>
                <a:moveTo>
                  <a:pt x="1668" y="62"/>
                </a:moveTo>
                <a:cubicBezTo>
                  <a:pt x="1668" y="63"/>
                  <a:pt x="1669" y="63"/>
                  <a:pt x="1669" y="63"/>
                </a:cubicBezTo>
                <a:cubicBezTo>
                  <a:pt x="1669" y="63"/>
                  <a:pt x="1669" y="62"/>
                  <a:pt x="1668" y="62"/>
                </a:cubicBezTo>
                <a:close/>
                <a:moveTo>
                  <a:pt x="964" y="44"/>
                </a:moveTo>
                <a:cubicBezTo>
                  <a:pt x="963" y="44"/>
                  <a:pt x="963" y="45"/>
                  <a:pt x="963" y="45"/>
                </a:cubicBezTo>
                <a:cubicBezTo>
                  <a:pt x="964" y="45"/>
                  <a:pt x="964" y="44"/>
                  <a:pt x="964" y="44"/>
                </a:cubicBezTo>
                <a:close/>
                <a:moveTo>
                  <a:pt x="1749" y="25"/>
                </a:moveTo>
                <a:cubicBezTo>
                  <a:pt x="1749" y="25"/>
                  <a:pt x="1749" y="26"/>
                  <a:pt x="1749" y="26"/>
                </a:cubicBezTo>
                <a:cubicBezTo>
                  <a:pt x="1749" y="26"/>
                  <a:pt x="1750" y="25"/>
                  <a:pt x="1749" y="25"/>
                </a:cubicBezTo>
                <a:close/>
                <a:moveTo>
                  <a:pt x="1716" y="63"/>
                </a:moveTo>
                <a:cubicBezTo>
                  <a:pt x="1717" y="63"/>
                  <a:pt x="1717" y="63"/>
                  <a:pt x="1717" y="62"/>
                </a:cubicBezTo>
                <a:cubicBezTo>
                  <a:pt x="1717" y="62"/>
                  <a:pt x="1717" y="62"/>
                  <a:pt x="1716" y="63"/>
                </a:cubicBezTo>
                <a:close/>
                <a:moveTo>
                  <a:pt x="1036" y="45"/>
                </a:moveTo>
                <a:cubicBezTo>
                  <a:pt x="1037" y="45"/>
                  <a:pt x="1037" y="44"/>
                  <a:pt x="1037" y="44"/>
                </a:cubicBezTo>
                <a:cubicBezTo>
                  <a:pt x="1036" y="44"/>
                  <a:pt x="1036" y="44"/>
                  <a:pt x="1036" y="45"/>
                </a:cubicBezTo>
                <a:close/>
                <a:moveTo>
                  <a:pt x="1571" y="10"/>
                </a:moveTo>
                <a:cubicBezTo>
                  <a:pt x="1571" y="10"/>
                  <a:pt x="1571" y="11"/>
                  <a:pt x="1572" y="11"/>
                </a:cubicBezTo>
                <a:cubicBezTo>
                  <a:pt x="1572" y="10"/>
                  <a:pt x="1571" y="10"/>
                  <a:pt x="1571" y="10"/>
                </a:cubicBezTo>
                <a:close/>
                <a:moveTo>
                  <a:pt x="1213" y="46"/>
                </a:moveTo>
                <a:cubicBezTo>
                  <a:pt x="1213" y="46"/>
                  <a:pt x="1214" y="46"/>
                  <a:pt x="1214" y="45"/>
                </a:cubicBezTo>
                <a:cubicBezTo>
                  <a:pt x="1213" y="45"/>
                  <a:pt x="1213" y="46"/>
                  <a:pt x="1213" y="46"/>
                </a:cubicBezTo>
                <a:close/>
                <a:moveTo>
                  <a:pt x="901" y="56"/>
                </a:moveTo>
                <a:cubicBezTo>
                  <a:pt x="901" y="55"/>
                  <a:pt x="901" y="54"/>
                  <a:pt x="901" y="54"/>
                </a:cubicBezTo>
                <a:cubicBezTo>
                  <a:pt x="901" y="55"/>
                  <a:pt x="901" y="55"/>
                  <a:pt x="901" y="56"/>
                </a:cubicBezTo>
                <a:close/>
                <a:moveTo>
                  <a:pt x="1363" y="64"/>
                </a:moveTo>
                <a:cubicBezTo>
                  <a:pt x="1364" y="64"/>
                  <a:pt x="1364" y="63"/>
                  <a:pt x="1364" y="63"/>
                </a:cubicBezTo>
                <a:cubicBezTo>
                  <a:pt x="1364" y="63"/>
                  <a:pt x="1363" y="63"/>
                  <a:pt x="1363" y="64"/>
                </a:cubicBezTo>
                <a:close/>
                <a:moveTo>
                  <a:pt x="1381" y="19"/>
                </a:moveTo>
                <a:cubicBezTo>
                  <a:pt x="1380" y="18"/>
                  <a:pt x="1380" y="18"/>
                  <a:pt x="1379" y="18"/>
                </a:cubicBezTo>
                <a:cubicBezTo>
                  <a:pt x="1380" y="18"/>
                  <a:pt x="1380" y="19"/>
                  <a:pt x="1381" y="19"/>
                </a:cubicBezTo>
                <a:close/>
                <a:moveTo>
                  <a:pt x="1547" y="64"/>
                </a:moveTo>
                <a:cubicBezTo>
                  <a:pt x="1547" y="64"/>
                  <a:pt x="1548" y="64"/>
                  <a:pt x="1548" y="63"/>
                </a:cubicBezTo>
                <a:cubicBezTo>
                  <a:pt x="1547" y="63"/>
                  <a:pt x="1547" y="63"/>
                  <a:pt x="1547" y="64"/>
                </a:cubicBezTo>
                <a:close/>
                <a:moveTo>
                  <a:pt x="1715" y="64"/>
                </a:moveTo>
                <a:cubicBezTo>
                  <a:pt x="1715" y="64"/>
                  <a:pt x="1716" y="64"/>
                  <a:pt x="1716" y="63"/>
                </a:cubicBezTo>
                <a:cubicBezTo>
                  <a:pt x="1716" y="63"/>
                  <a:pt x="1715" y="63"/>
                  <a:pt x="1715" y="64"/>
                </a:cubicBezTo>
                <a:close/>
                <a:moveTo>
                  <a:pt x="585" y="64"/>
                </a:moveTo>
                <a:cubicBezTo>
                  <a:pt x="585" y="64"/>
                  <a:pt x="585" y="65"/>
                  <a:pt x="585" y="65"/>
                </a:cubicBezTo>
                <a:cubicBezTo>
                  <a:pt x="585" y="64"/>
                  <a:pt x="585" y="64"/>
                  <a:pt x="585" y="64"/>
                </a:cubicBezTo>
                <a:close/>
                <a:moveTo>
                  <a:pt x="805" y="54"/>
                </a:moveTo>
                <a:cubicBezTo>
                  <a:pt x="805" y="55"/>
                  <a:pt x="805" y="55"/>
                  <a:pt x="805" y="56"/>
                </a:cubicBezTo>
                <a:cubicBezTo>
                  <a:pt x="805" y="55"/>
                  <a:pt x="805" y="55"/>
                  <a:pt x="805" y="54"/>
                </a:cubicBezTo>
                <a:close/>
                <a:moveTo>
                  <a:pt x="1360" y="66"/>
                </a:moveTo>
                <a:cubicBezTo>
                  <a:pt x="1360" y="66"/>
                  <a:pt x="1361" y="66"/>
                  <a:pt x="1361" y="65"/>
                </a:cubicBezTo>
                <a:cubicBezTo>
                  <a:pt x="1360" y="65"/>
                  <a:pt x="1360" y="66"/>
                  <a:pt x="1360" y="66"/>
                </a:cubicBezTo>
                <a:close/>
                <a:moveTo>
                  <a:pt x="1729" y="65"/>
                </a:moveTo>
                <a:cubicBezTo>
                  <a:pt x="1728" y="65"/>
                  <a:pt x="1728" y="66"/>
                  <a:pt x="1728" y="66"/>
                </a:cubicBezTo>
                <a:cubicBezTo>
                  <a:pt x="1728" y="66"/>
                  <a:pt x="1728" y="66"/>
                  <a:pt x="1729" y="65"/>
                </a:cubicBezTo>
                <a:close/>
                <a:moveTo>
                  <a:pt x="1712" y="66"/>
                </a:moveTo>
                <a:cubicBezTo>
                  <a:pt x="1712" y="66"/>
                  <a:pt x="1713" y="66"/>
                  <a:pt x="1713" y="66"/>
                </a:cubicBezTo>
                <a:cubicBezTo>
                  <a:pt x="1712" y="66"/>
                  <a:pt x="1712" y="66"/>
                  <a:pt x="1712" y="66"/>
                </a:cubicBezTo>
                <a:close/>
                <a:moveTo>
                  <a:pt x="537" y="27"/>
                </a:moveTo>
                <a:cubicBezTo>
                  <a:pt x="537" y="26"/>
                  <a:pt x="537" y="26"/>
                  <a:pt x="537" y="25"/>
                </a:cubicBezTo>
                <a:cubicBezTo>
                  <a:pt x="537" y="26"/>
                  <a:pt x="537" y="26"/>
                  <a:pt x="537" y="27"/>
                </a:cubicBezTo>
                <a:close/>
                <a:moveTo>
                  <a:pt x="1358" y="68"/>
                </a:moveTo>
                <a:cubicBezTo>
                  <a:pt x="1359" y="67"/>
                  <a:pt x="1359" y="67"/>
                  <a:pt x="1359" y="67"/>
                </a:cubicBezTo>
                <a:cubicBezTo>
                  <a:pt x="1359" y="67"/>
                  <a:pt x="1358" y="67"/>
                  <a:pt x="1358" y="68"/>
                </a:cubicBezTo>
                <a:close/>
                <a:moveTo>
                  <a:pt x="1351" y="11"/>
                </a:moveTo>
                <a:cubicBezTo>
                  <a:pt x="1351" y="11"/>
                  <a:pt x="1351" y="11"/>
                  <a:pt x="1352" y="11"/>
                </a:cubicBezTo>
                <a:cubicBezTo>
                  <a:pt x="1351" y="11"/>
                  <a:pt x="1351" y="11"/>
                  <a:pt x="1351" y="11"/>
                </a:cubicBezTo>
                <a:close/>
                <a:moveTo>
                  <a:pt x="1542" y="68"/>
                </a:moveTo>
                <a:cubicBezTo>
                  <a:pt x="1542" y="68"/>
                  <a:pt x="1542" y="68"/>
                  <a:pt x="1543" y="67"/>
                </a:cubicBezTo>
                <a:cubicBezTo>
                  <a:pt x="1542" y="67"/>
                  <a:pt x="1542" y="68"/>
                  <a:pt x="1542" y="68"/>
                </a:cubicBezTo>
                <a:close/>
                <a:moveTo>
                  <a:pt x="1457" y="11"/>
                </a:moveTo>
                <a:cubicBezTo>
                  <a:pt x="1457" y="11"/>
                  <a:pt x="1458" y="11"/>
                  <a:pt x="1458" y="11"/>
                </a:cubicBezTo>
                <a:cubicBezTo>
                  <a:pt x="1458" y="11"/>
                  <a:pt x="1458" y="11"/>
                  <a:pt x="1457" y="11"/>
                </a:cubicBezTo>
                <a:close/>
                <a:moveTo>
                  <a:pt x="1660" y="68"/>
                </a:moveTo>
                <a:cubicBezTo>
                  <a:pt x="1660" y="68"/>
                  <a:pt x="1659" y="68"/>
                  <a:pt x="1659" y="67"/>
                </a:cubicBezTo>
                <a:cubicBezTo>
                  <a:pt x="1659" y="68"/>
                  <a:pt x="1659" y="68"/>
                  <a:pt x="1660" y="68"/>
                </a:cubicBezTo>
                <a:close/>
                <a:moveTo>
                  <a:pt x="1038" y="43"/>
                </a:moveTo>
                <a:cubicBezTo>
                  <a:pt x="1038" y="43"/>
                  <a:pt x="1038" y="42"/>
                  <a:pt x="1038" y="42"/>
                </a:cubicBezTo>
                <a:cubicBezTo>
                  <a:pt x="1038" y="42"/>
                  <a:pt x="1038" y="43"/>
                  <a:pt x="1038" y="43"/>
                </a:cubicBezTo>
                <a:close/>
                <a:moveTo>
                  <a:pt x="952" y="69"/>
                </a:moveTo>
                <a:cubicBezTo>
                  <a:pt x="952" y="69"/>
                  <a:pt x="952" y="68"/>
                  <a:pt x="952" y="68"/>
                </a:cubicBezTo>
                <a:cubicBezTo>
                  <a:pt x="952" y="68"/>
                  <a:pt x="951" y="69"/>
                  <a:pt x="952" y="69"/>
                </a:cubicBezTo>
                <a:close/>
                <a:moveTo>
                  <a:pt x="1373" y="68"/>
                </a:moveTo>
                <a:cubicBezTo>
                  <a:pt x="1372" y="68"/>
                  <a:pt x="1372" y="68"/>
                  <a:pt x="1372" y="68"/>
                </a:cubicBezTo>
                <a:cubicBezTo>
                  <a:pt x="1372" y="68"/>
                  <a:pt x="1373" y="68"/>
                  <a:pt x="1373" y="68"/>
                </a:cubicBezTo>
                <a:close/>
                <a:moveTo>
                  <a:pt x="1557" y="68"/>
                </a:moveTo>
                <a:cubicBezTo>
                  <a:pt x="1556" y="68"/>
                  <a:pt x="1556" y="68"/>
                  <a:pt x="1556" y="69"/>
                </a:cubicBezTo>
                <a:cubicBezTo>
                  <a:pt x="1556" y="69"/>
                  <a:pt x="1556" y="69"/>
                  <a:pt x="1557" y="68"/>
                </a:cubicBezTo>
                <a:close/>
                <a:moveTo>
                  <a:pt x="1356" y="69"/>
                </a:moveTo>
                <a:cubicBezTo>
                  <a:pt x="1357" y="69"/>
                  <a:pt x="1357" y="69"/>
                  <a:pt x="1357" y="68"/>
                </a:cubicBezTo>
                <a:cubicBezTo>
                  <a:pt x="1357" y="68"/>
                  <a:pt x="1356" y="69"/>
                  <a:pt x="1356" y="69"/>
                </a:cubicBezTo>
                <a:close/>
                <a:moveTo>
                  <a:pt x="1423" y="12"/>
                </a:moveTo>
                <a:cubicBezTo>
                  <a:pt x="1424" y="12"/>
                  <a:pt x="1424" y="11"/>
                  <a:pt x="1424" y="11"/>
                </a:cubicBezTo>
                <a:cubicBezTo>
                  <a:pt x="1424" y="11"/>
                  <a:pt x="1423" y="11"/>
                  <a:pt x="1423" y="12"/>
                </a:cubicBezTo>
                <a:close/>
                <a:moveTo>
                  <a:pt x="692" y="69"/>
                </a:moveTo>
                <a:cubicBezTo>
                  <a:pt x="692" y="69"/>
                  <a:pt x="693" y="69"/>
                  <a:pt x="693" y="70"/>
                </a:cubicBezTo>
                <a:cubicBezTo>
                  <a:pt x="693" y="69"/>
                  <a:pt x="692" y="69"/>
                  <a:pt x="692" y="69"/>
                </a:cubicBezTo>
                <a:close/>
                <a:moveTo>
                  <a:pt x="1540" y="70"/>
                </a:moveTo>
                <a:cubicBezTo>
                  <a:pt x="1540" y="70"/>
                  <a:pt x="1540" y="70"/>
                  <a:pt x="1541" y="69"/>
                </a:cubicBezTo>
                <a:cubicBezTo>
                  <a:pt x="1540" y="69"/>
                  <a:pt x="1540" y="69"/>
                  <a:pt x="1540" y="70"/>
                </a:cubicBezTo>
                <a:close/>
                <a:moveTo>
                  <a:pt x="1708" y="70"/>
                </a:moveTo>
                <a:cubicBezTo>
                  <a:pt x="1708" y="70"/>
                  <a:pt x="1709" y="70"/>
                  <a:pt x="1709" y="69"/>
                </a:cubicBezTo>
                <a:cubicBezTo>
                  <a:pt x="1708" y="69"/>
                  <a:pt x="1708" y="69"/>
                  <a:pt x="1708" y="70"/>
                </a:cubicBezTo>
                <a:close/>
                <a:moveTo>
                  <a:pt x="1367" y="72"/>
                </a:moveTo>
                <a:cubicBezTo>
                  <a:pt x="1367" y="72"/>
                  <a:pt x="1366" y="72"/>
                  <a:pt x="1366" y="73"/>
                </a:cubicBezTo>
                <a:cubicBezTo>
                  <a:pt x="1367" y="73"/>
                  <a:pt x="1367" y="72"/>
                  <a:pt x="1367" y="72"/>
                </a:cubicBezTo>
                <a:close/>
                <a:moveTo>
                  <a:pt x="868" y="45"/>
                </a:moveTo>
                <a:cubicBezTo>
                  <a:pt x="868" y="46"/>
                  <a:pt x="868" y="46"/>
                  <a:pt x="868" y="46"/>
                </a:cubicBezTo>
                <a:cubicBezTo>
                  <a:pt x="868" y="46"/>
                  <a:pt x="868" y="46"/>
                  <a:pt x="869" y="46"/>
                </a:cubicBezTo>
                <a:cubicBezTo>
                  <a:pt x="868" y="45"/>
                  <a:pt x="868" y="45"/>
                  <a:pt x="868" y="45"/>
                </a:cubicBezTo>
                <a:close/>
                <a:moveTo>
                  <a:pt x="1740" y="11"/>
                </a:moveTo>
                <a:cubicBezTo>
                  <a:pt x="1741" y="11"/>
                  <a:pt x="1741" y="12"/>
                  <a:pt x="1741" y="12"/>
                </a:cubicBezTo>
                <a:cubicBezTo>
                  <a:pt x="1741" y="11"/>
                  <a:pt x="1741" y="11"/>
                  <a:pt x="1740" y="11"/>
                </a:cubicBezTo>
                <a:close/>
                <a:moveTo>
                  <a:pt x="912" y="50"/>
                </a:moveTo>
                <a:cubicBezTo>
                  <a:pt x="912" y="50"/>
                  <a:pt x="912" y="51"/>
                  <a:pt x="912" y="51"/>
                </a:cubicBezTo>
                <a:cubicBezTo>
                  <a:pt x="912" y="51"/>
                  <a:pt x="912" y="50"/>
                  <a:pt x="912" y="50"/>
                </a:cubicBezTo>
                <a:close/>
                <a:moveTo>
                  <a:pt x="1551" y="72"/>
                </a:moveTo>
                <a:cubicBezTo>
                  <a:pt x="1551" y="72"/>
                  <a:pt x="1550" y="73"/>
                  <a:pt x="1550" y="73"/>
                </a:cubicBezTo>
                <a:cubicBezTo>
                  <a:pt x="1551" y="73"/>
                  <a:pt x="1551" y="73"/>
                  <a:pt x="1551" y="72"/>
                </a:cubicBezTo>
                <a:close/>
                <a:moveTo>
                  <a:pt x="1389" y="11"/>
                </a:moveTo>
                <a:cubicBezTo>
                  <a:pt x="1389" y="12"/>
                  <a:pt x="1389" y="12"/>
                  <a:pt x="1389" y="12"/>
                </a:cubicBezTo>
                <a:cubicBezTo>
                  <a:pt x="1389" y="12"/>
                  <a:pt x="1389" y="11"/>
                  <a:pt x="1389" y="11"/>
                </a:cubicBezTo>
                <a:close/>
                <a:moveTo>
                  <a:pt x="1719" y="72"/>
                </a:moveTo>
                <a:cubicBezTo>
                  <a:pt x="1719" y="72"/>
                  <a:pt x="1718" y="73"/>
                  <a:pt x="1718" y="73"/>
                </a:cubicBezTo>
                <a:cubicBezTo>
                  <a:pt x="1719" y="73"/>
                  <a:pt x="1719" y="73"/>
                  <a:pt x="1719" y="72"/>
                </a:cubicBezTo>
                <a:close/>
                <a:moveTo>
                  <a:pt x="1296" y="36"/>
                </a:moveTo>
                <a:cubicBezTo>
                  <a:pt x="1296" y="36"/>
                  <a:pt x="1296" y="36"/>
                  <a:pt x="1297" y="36"/>
                </a:cubicBezTo>
                <a:cubicBezTo>
                  <a:pt x="1296" y="36"/>
                  <a:pt x="1296" y="36"/>
                  <a:pt x="1296" y="36"/>
                </a:cubicBezTo>
                <a:close/>
                <a:moveTo>
                  <a:pt x="1469" y="73"/>
                </a:moveTo>
                <a:cubicBezTo>
                  <a:pt x="1469" y="73"/>
                  <a:pt x="1469" y="74"/>
                  <a:pt x="1469" y="74"/>
                </a:cubicBezTo>
                <a:cubicBezTo>
                  <a:pt x="1469" y="74"/>
                  <a:pt x="1469" y="73"/>
                  <a:pt x="1469" y="73"/>
                </a:cubicBezTo>
                <a:close/>
                <a:moveTo>
                  <a:pt x="963" y="45"/>
                </a:moveTo>
                <a:cubicBezTo>
                  <a:pt x="963" y="46"/>
                  <a:pt x="963" y="46"/>
                  <a:pt x="963" y="47"/>
                </a:cubicBezTo>
                <a:cubicBezTo>
                  <a:pt x="964" y="46"/>
                  <a:pt x="963" y="46"/>
                  <a:pt x="963" y="45"/>
                </a:cubicBezTo>
                <a:close/>
                <a:moveTo>
                  <a:pt x="687" y="43"/>
                </a:moveTo>
                <a:cubicBezTo>
                  <a:pt x="687" y="42"/>
                  <a:pt x="686" y="42"/>
                  <a:pt x="686" y="42"/>
                </a:cubicBezTo>
                <a:cubicBezTo>
                  <a:pt x="686" y="43"/>
                  <a:pt x="687" y="43"/>
                  <a:pt x="687" y="43"/>
                </a:cubicBezTo>
                <a:close/>
                <a:moveTo>
                  <a:pt x="545" y="12"/>
                </a:moveTo>
                <a:cubicBezTo>
                  <a:pt x="546" y="12"/>
                  <a:pt x="546" y="12"/>
                  <a:pt x="546" y="12"/>
                </a:cubicBezTo>
                <a:cubicBezTo>
                  <a:pt x="546" y="12"/>
                  <a:pt x="546" y="12"/>
                  <a:pt x="545" y="12"/>
                </a:cubicBezTo>
                <a:close/>
                <a:moveTo>
                  <a:pt x="1549" y="74"/>
                </a:moveTo>
                <a:cubicBezTo>
                  <a:pt x="1549" y="74"/>
                  <a:pt x="1549" y="74"/>
                  <a:pt x="1548" y="74"/>
                </a:cubicBezTo>
                <a:cubicBezTo>
                  <a:pt x="1549" y="74"/>
                  <a:pt x="1549" y="74"/>
                  <a:pt x="1549" y="74"/>
                </a:cubicBezTo>
                <a:close/>
                <a:moveTo>
                  <a:pt x="1411" y="75"/>
                </a:moveTo>
                <a:cubicBezTo>
                  <a:pt x="1411" y="75"/>
                  <a:pt x="1411" y="74"/>
                  <a:pt x="1411" y="74"/>
                </a:cubicBezTo>
                <a:cubicBezTo>
                  <a:pt x="1411" y="74"/>
                  <a:pt x="1411" y="75"/>
                  <a:pt x="1411" y="75"/>
                </a:cubicBezTo>
                <a:close/>
                <a:moveTo>
                  <a:pt x="1364" y="75"/>
                </a:moveTo>
                <a:cubicBezTo>
                  <a:pt x="1363" y="75"/>
                  <a:pt x="1363" y="75"/>
                  <a:pt x="1363" y="75"/>
                </a:cubicBezTo>
                <a:cubicBezTo>
                  <a:pt x="1363" y="75"/>
                  <a:pt x="1364" y="75"/>
                  <a:pt x="1364" y="75"/>
                </a:cubicBezTo>
                <a:close/>
                <a:moveTo>
                  <a:pt x="835" y="37"/>
                </a:moveTo>
                <a:cubicBezTo>
                  <a:pt x="836" y="37"/>
                  <a:pt x="836" y="36"/>
                  <a:pt x="836" y="36"/>
                </a:cubicBezTo>
                <a:cubicBezTo>
                  <a:pt x="836" y="36"/>
                  <a:pt x="835" y="36"/>
                  <a:pt x="835" y="37"/>
                </a:cubicBezTo>
                <a:close/>
                <a:moveTo>
                  <a:pt x="1534" y="76"/>
                </a:moveTo>
                <a:cubicBezTo>
                  <a:pt x="1534" y="76"/>
                  <a:pt x="1534" y="76"/>
                  <a:pt x="1534" y="75"/>
                </a:cubicBezTo>
                <a:cubicBezTo>
                  <a:pt x="1534" y="75"/>
                  <a:pt x="1534" y="76"/>
                  <a:pt x="1534" y="76"/>
                </a:cubicBezTo>
                <a:close/>
                <a:moveTo>
                  <a:pt x="972" y="27"/>
                </a:moveTo>
                <a:cubicBezTo>
                  <a:pt x="972" y="27"/>
                  <a:pt x="972" y="28"/>
                  <a:pt x="971" y="28"/>
                </a:cubicBezTo>
                <a:cubicBezTo>
                  <a:pt x="972" y="28"/>
                  <a:pt x="972" y="28"/>
                  <a:pt x="972" y="27"/>
                </a:cubicBezTo>
                <a:close/>
                <a:moveTo>
                  <a:pt x="876" y="37"/>
                </a:moveTo>
                <a:cubicBezTo>
                  <a:pt x="877" y="37"/>
                  <a:pt x="877" y="36"/>
                  <a:pt x="877" y="36"/>
                </a:cubicBezTo>
                <a:cubicBezTo>
                  <a:pt x="877" y="36"/>
                  <a:pt x="876" y="36"/>
                  <a:pt x="876" y="37"/>
                </a:cubicBezTo>
                <a:close/>
                <a:moveTo>
                  <a:pt x="1702" y="76"/>
                </a:moveTo>
                <a:cubicBezTo>
                  <a:pt x="1702" y="76"/>
                  <a:pt x="1702" y="76"/>
                  <a:pt x="1703" y="75"/>
                </a:cubicBezTo>
                <a:cubicBezTo>
                  <a:pt x="1702" y="75"/>
                  <a:pt x="1702" y="76"/>
                  <a:pt x="1702" y="76"/>
                </a:cubicBezTo>
                <a:close/>
                <a:moveTo>
                  <a:pt x="1411" y="77"/>
                </a:moveTo>
                <a:cubicBezTo>
                  <a:pt x="1412" y="77"/>
                  <a:pt x="1412" y="76"/>
                  <a:pt x="1411" y="76"/>
                </a:cubicBezTo>
                <a:cubicBezTo>
                  <a:pt x="1411" y="76"/>
                  <a:pt x="1411" y="77"/>
                  <a:pt x="1411" y="77"/>
                </a:cubicBezTo>
                <a:close/>
                <a:moveTo>
                  <a:pt x="1570" y="28"/>
                </a:moveTo>
                <a:cubicBezTo>
                  <a:pt x="1570" y="28"/>
                  <a:pt x="1570" y="27"/>
                  <a:pt x="1570" y="27"/>
                </a:cubicBezTo>
                <a:cubicBezTo>
                  <a:pt x="1570" y="27"/>
                  <a:pt x="1570" y="28"/>
                  <a:pt x="1570" y="28"/>
                </a:cubicBezTo>
                <a:close/>
                <a:moveTo>
                  <a:pt x="1738" y="28"/>
                </a:moveTo>
                <a:cubicBezTo>
                  <a:pt x="1738" y="28"/>
                  <a:pt x="1738" y="27"/>
                  <a:pt x="1738" y="27"/>
                </a:cubicBezTo>
                <a:cubicBezTo>
                  <a:pt x="1738" y="27"/>
                  <a:pt x="1738" y="28"/>
                  <a:pt x="1738" y="28"/>
                </a:cubicBezTo>
                <a:close/>
                <a:moveTo>
                  <a:pt x="1041" y="76"/>
                </a:moveTo>
                <a:cubicBezTo>
                  <a:pt x="1041" y="77"/>
                  <a:pt x="1041" y="77"/>
                  <a:pt x="1041" y="78"/>
                </a:cubicBezTo>
                <a:cubicBezTo>
                  <a:pt x="1041" y="77"/>
                  <a:pt x="1042" y="77"/>
                  <a:pt x="1041" y="76"/>
                </a:cubicBezTo>
                <a:close/>
                <a:moveTo>
                  <a:pt x="1111" y="43"/>
                </a:moveTo>
                <a:cubicBezTo>
                  <a:pt x="1112" y="43"/>
                  <a:pt x="1112" y="43"/>
                  <a:pt x="1112" y="42"/>
                </a:cubicBezTo>
                <a:cubicBezTo>
                  <a:pt x="1112" y="43"/>
                  <a:pt x="1111" y="43"/>
                  <a:pt x="1111" y="43"/>
                </a:cubicBezTo>
                <a:close/>
                <a:moveTo>
                  <a:pt x="1219" y="77"/>
                </a:moveTo>
                <a:cubicBezTo>
                  <a:pt x="1219" y="77"/>
                  <a:pt x="1219" y="78"/>
                  <a:pt x="1219" y="78"/>
                </a:cubicBezTo>
                <a:cubicBezTo>
                  <a:pt x="1219" y="78"/>
                  <a:pt x="1219" y="77"/>
                  <a:pt x="1219" y="77"/>
                </a:cubicBezTo>
                <a:close/>
                <a:moveTo>
                  <a:pt x="1412" y="79"/>
                </a:moveTo>
                <a:cubicBezTo>
                  <a:pt x="1412" y="78"/>
                  <a:pt x="1412" y="78"/>
                  <a:pt x="1411" y="77"/>
                </a:cubicBezTo>
                <a:cubicBezTo>
                  <a:pt x="1412" y="78"/>
                  <a:pt x="1411" y="78"/>
                  <a:pt x="1412" y="79"/>
                </a:cubicBezTo>
                <a:close/>
                <a:moveTo>
                  <a:pt x="686" y="78"/>
                </a:moveTo>
                <a:cubicBezTo>
                  <a:pt x="685" y="78"/>
                  <a:pt x="685" y="78"/>
                  <a:pt x="685" y="77"/>
                </a:cubicBezTo>
                <a:cubicBezTo>
                  <a:pt x="685" y="78"/>
                  <a:pt x="685" y="78"/>
                  <a:pt x="686" y="78"/>
                </a:cubicBezTo>
                <a:close/>
                <a:moveTo>
                  <a:pt x="1134" y="43"/>
                </a:moveTo>
                <a:cubicBezTo>
                  <a:pt x="1133" y="42"/>
                  <a:pt x="1133" y="42"/>
                  <a:pt x="1132" y="42"/>
                </a:cubicBezTo>
                <a:cubicBezTo>
                  <a:pt x="1133" y="43"/>
                  <a:pt x="1133" y="43"/>
                  <a:pt x="1134" y="43"/>
                </a:cubicBezTo>
                <a:close/>
                <a:moveTo>
                  <a:pt x="748" y="79"/>
                </a:moveTo>
                <a:cubicBezTo>
                  <a:pt x="748" y="78"/>
                  <a:pt x="748" y="78"/>
                  <a:pt x="748" y="77"/>
                </a:cubicBezTo>
                <a:cubicBezTo>
                  <a:pt x="748" y="78"/>
                  <a:pt x="747" y="78"/>
                  <a:pt x="748" y="79"/>
                </a:cubicBezTo>
                <a:close/>
                <a:moveTo>
                  <a:pt x="1030" y="80"/>
                </a:moveTo>
                <a:cubicBezTo>
                  <a:pt x="1030" y="79"/>
                  <a:pt x="1030" y="79"/>
                  <a:pt x="1030" y="78"/>
                </a:cubicBezTo>
                <a:cubicBezTo>
                  <a:pt x="1030" y="79"/>
                  <a:pt x="1030" y="79"/>
                  <a:pt x="1030" y="80"/>
                </a:cubicBezTo>
                <a:close/>
                <a:moveTo>
                  <a:pt x="1215" y="43"/>
                </a:moveTo>
                <a:cubicBezTo>
                  <a:pt x="1216" y="43"/>
                  <a:pt x="1216" y="43"/>
                  <a:pt x="1216" y="42"/>
                </a:cubicBezTo>
                <a:cubicBezTo>
                  <a:pt x="1215" y="42"/>
                  <a:pt x="1215" y="43"/>
                  <a:pt x="1215" y="43"/>
                </a:cubicBezTo>
                <a:close/>
                <a:moveTo>
                  <a:pt x="1411" y="38"/>
                </a:moveTo>
                <a:cubicBezTo>
                  <a:pt x="1411" y="37"/>
                  <a:pt x="1411" y="37"/>
                  <a:pt x="1411" y="36"/>
                </a:cubicBezTo>
                <a:cubicBezTo>
                  <a:pt x="1411" y="36"/>
                  <a:pt x="1411" y="37"/>
                  <a:pt x="1411" y="38"/>
                </a:cubicBezTo>
                <a:close/>
                <a:moveTo>
                  <a:pt x="1208" y="80"/>
                </a:moveTo>
                <a:cubicBezTo>
                  <a:pt x="1208" y="79"/>
                  <a:pt x="1208" y="79"/>
                  <a:pt x="1208" y="78"/>
                </a:cubicBezTo>
                <a:cubicBezTo>
                  <a:pt x="1208" y="79"/>
                  <a:pt x="1208" y="80"/>
                  <a:pt x="1208" y="80"/>
                </a:cubicBezTo>
                <a:close/>
                <a:moveTo>
                  <a:pt x="1543" y="79"/>
                </a:moveTo>
                <a:cubicBezTo>
                  <a:pt x="1543" y="79"/>
                  <a:pt x="1542" y="80"/>
                  <a:pt x="1542" y="80"/>
                </a:cubicBezTo>
                <a:cubicBezTo>
                  <a:pt x="1543" y="80"/>
                  <a:pt x="1543" y="80"/>
                  <a:pt x="1543" y="79"/>
                </a:cubicBezTo>
                <a:close/>
                <a:moveTo>
                  <a:pt x="1711" y="79"/>
                </a:moveTo>
                <a:cubicBezTo>
                  <a:pt x="1711" y="79"/>
                  <a:pt x="1711" y="80"/>
                  <a:pt x="1710" y="80"/>
                </a:cubicBezTo>
                <a:cubicBezTo>
                  <a:pt x="1711" y="80"/>
                  <a:pt x="1711" y="80"/>
                  <a:pt x="1711" y="79"/>
                </a:cubicBezTo>
                <a:close/>
                <a:moveTo>
                  <a:pt x="971" y="29"/>
                </a:moveTo>
                <a:cubicBezTo>
                  <a:pt x="970" y="29"/>
                  <a:pt x="970" y="29"/>
                  <a:pt x="970" y="30"/>
                </a:cubicBezTo>
                <a:cubicBezTo>
                  <a:pt x="971" y="30"/>
                  <a:pt x="971" y="29"/>
                  <a:pt x="971" y="29"/>
                </a:cubicBezTo>
                <a:close/>
                <a:moveTo>
                  <a:pt x="1087" y="55"/>
                </a:moveTo>
                <a:cubicBezTo>
                  <a:pt x="1087" y="56"/>
                  <a:pt x="1087" y="56"/>
                  <a:pt x="1087" y="57"/>
                </a:cubicBezTo>
                <a:cubicBezTo>
                  <a:pt x="1087" y="56"/>
                  <a:pt x="1088" y="56"/>
                  <a:pt x="1087" y="55"/>
                </a:cubicBezTo>
                <a:close/>
                <a:moveTo>
                  <a:pt x="970" y="81"/>
                </a:moveTo>
                <a:cubicBezTo>
                  <a:pt x="971" y="81"/>
                  <a:pt x="971" y="82"/>
                  <a:pt x="971" y="82"/>
                </a:cubicBezTo>
                <a:cubicBezTo>
                  <a:pt x="971" y="81"/>
                  <a:pt x="971" y="81"/>
                  <a:pt x="970" y="81"/>
                </a:cubicBezTo>
                <a:close/>
                <a:moveTo>
                  <a:pt x="589" y="83"/>
                </a:moveTo>
                <a:cubicBezTo>
                  <a:pt x="589" y="83"/>
                  <a:pt x="589" y="84"/>
                  <a:pt x="589" y="84"/>
                </a:cubicBezTo>
                <a:cubicBezTo>
                  <a:pt x="589" y="84"/>
                  <a:pt x="589" y="83"/>
                  <a:pt x="589" y="83"/>
                </a:cubicBezTo>
                <a:close/>
                <a:moveTo>
                  <a:pt x="975" y="85"/>
                </a:moveTo>
                <a:cubicBezTo>
                  <a:pt x="975" y="86"/>
                  <a:pt x="975" y="86"/>
                  <a:pt x="976" y="86"/>
                </a:cubicBezTo>
                <a:cubicBezTo>
                  <a:pt x="976" y="86"/>
                  <a:pt x="975" y="86"/>
                  <a:pt x="975" y="85"/>
                </a:cubicBezTo>
                <a:close/>
                <a:moveTo>
                  <a:pt x="1675" y="12"/>
                </a:moveTo>
                <a:cubicBezTo>
                  <a:pt x="1675" y="13"/>
                  <a:pt x="1675" y="13"/>
                  <a:pt x="1676" y="13"/>
                </a:cubicBezTo>
                <a:cubicBezTo>
                  <a:pt x="1676" y="13"/>
                  <a:pt x="1675" y="12"/>
                  <a:pt x="1675" y="12"/>
                </a:cubicBezTo>
                <a:close/>
                <a:moveTo>
                  <a:pt x="1223" y="86"/>
                </a:moveTo>
                <a:cubicBezTo>
                  <a:pt x="1223" y="86"/>
                  <a:pt x="1223" y="87"/>
                  <a:pt x="1224" y="87"/>
                </a:cubicBezTo>
                <a:cubicBezTo>
                  <a:pt x="1224" y="86"/>
                  <a:pt x="1223" y="86"/>
                  <a:pt x="1223" y="86"/>
                </a:cubicBezTo>
                <a:close/>
                <a:moveTo>
                  <a:pt x="718" y="97"/>
                </a:moveTo>
                <a:cubicBezTo>
                  <a:pt x="718" y="97"/>
                  <a:pt x="718" y="97"/>
                  <a:pt x="717" y="96"/>
                </a:cubicBezTo>
                <a:cubicBezTo>
                  <a:pt x="717" y="97"/>
                  <a:pt x="718" y="97"/>
                  <a:pt x="718" y="97"/>
                </a:cubicBezTo>
                <a:close/>
                <a:moveTo>
                  <a:pt x="1143" y="55"/>
                </a:moveTo>
                <a:cubicBezTo>
                  <a:pt x="1143" y="55"/>
                  <a:pt x="1143" y="54"/>
                  <a:pt x="1143" y="54"/>
                </a:cubicBezTo>
                <a:cubicBezTo>
                  <a:pt x="1143" y="54"/>
                  <a:pt x="1143" y="55"/>
                  <a:pt x="1143" y="55"/>
                </a:cubicBezTo>
                <a:close/>
                <a:moveTo>
                  <a:pt x="880" y="44"/>
                </a:moveTo>
                <a:cubicBezTo>
                  <a:pt x="879" y="44"/>
                  <a:pt x="879" y="44"/>
                  <a:pt x="879" y="45"/>
                </a:cubicBezTo>
                <a:cubicBezTo>
                  <a:pt x="879" y="45"/>
                  <a:pt x="879" y="45"/>
                  <a:pt x="880" y="44"/>
                </a:cubicBezTo>
                <a:close/>
                <a:moveTo>
                  <a:pt x="1348" y="14"/>
                </a:moveTo>
                <a:cubicBezTo>
                  <a:pt x="1348" y="13"/>
                  <a:pt x="1349" y="13"/>
                  <a:pt x="1349" y="13"/>
                </a:cubicBezTo>
                <a:cubicBezTo>
                  <a:pt x="1348" y="13"/>
                  <a:pt x="1348" y="13"/>
                  <a:pt x="1348" y="14"/>
                </a:cubicBezTo>
                <a:close/>
                <a:moveTo>
                  <a:pt x="1344" y="88"/>
                </a:moveTo>
                <a:cubicBezTo>
                  <a:pt x="1344" y="88"/>
                  <a:pt x="1344" y="87"/>
                  <a:pt x="1344" y="87"/>
                </a:cubicBezTo>
                <a:cubicBezTo>
                  <a:pt x="1343" y="87"/>
                  <a:pt x="1344" y="87"/>
                  <a:pt x="1344" y="88"/>
                </a:cubicBezTo>
                <a:close/>
                <a:moveTo>
                  <a:pt x="658" y="88"/>
                </a:moveTo>
                <a:cubicBezTo>
                  <a:pt x="659" y="88"/>
                  <a:pt x="659" y="88"/>
                  <a:pt x="659" y="88"/>
                </a:cubicBezTo>
                <a:cubicBezTo>
                  <a:pt x="659" y="88"/>
                  <a:pt x="659" y="87"/>
                  <a:pt x="658" y="88"/>
                </a:cubicBezTo>
                <a:close/>
                <a:moveTo>
                  <a:pt x="1355" y="87"/>
                </a:moveTo>
                <a:cubicBezTo>
                  <a:pt x="1354" y="88"/>
                  <a:pt x="1354" y="88"/>
                  <a:pt x="1354" y="89"/>
                </a:cubicBezTo>
                <a:cubicBezTo>
                  <a:pt x="1355" y="88"/>
                  <a:pt x="1355" y="88"/>
                  <a:pt x="1355" y="87"/>
                </a:cubicBezTo>
                <a:close/>
                <a:moveTo>
                  <a:pt x="1557" y="56"/>
                </a:moveTo>
                <a:cubicBezTo>
                  <a:pt x="1557" y="56"/>
                  <a:pt x="1558" y="56"/>
                  <a:pt x="1558" y="56"/>
                </a:cubicBezTo>
                <a:cubicBezTo>
                  <a:pt x="1558" y="56"/>
                  <a:pt x="1557" y="56"/>
                  <a:pt x="1557" y="56"/>
                </a:cubicBezTo>
                <a:close/>
                <a:moveTo>
                  <a:pt x="660" y="88"/>
                </a:moveTo>
                <a:cubicBezTo>
                  <a:pt x="660" y="89"/>
                  <a:pt x="660" y="89"/>
                  <a:pt x="661" y="89"/>
                </a:cubicBezTo>
                <a:cubicBezTo>
                  <a:pt x="660" y="89"/>
                  <a:pt x="660" y="88"/>
                  <a:pt x="660" y="88"/>
                </a:cubicBezTo>
                <a:close/>
                <a:moveTo>
                  <a:pt x="962" y="89"/>
                </a:moveTo>
                <a:cubicBezTo>
                  <a:pt x="962" y="89"/>
                  <a:pt x="961" y="89"/>
                  <a:pt x="961" y="88"/>
                </a:cubicBezTo>
                <a:cubicBezTo>
                  <a:pt x="961" y="89"/>
                  <a:pt x="961" y="89"/>
                  <a:pt x="962" y="89"/>
                </a:cubicBezTo>
                <a:close/>
                <a:moveTo>
                  <a:pt x="1343" y="90"/>
                </a:moveTo>
                <a:cubicBezTo>
                  <a:pt x="1344" y="89"/>
                  <a:pt x="1344" y="89"/>
                  <a:pt x="1344" y="88"/>
                </a:cubicBezTo>
                <a:cubicBezTo>
                  <a:pt x="1343" y="89"/>
                  <a:pt x="1343" y="89"/>
                  <a:pt x="1343" y="90"/>
                </a:cubicBezTo>
                <a:close/>
                <a:moveTo>
                  <a:pt x="1570" y="38"/>
                </a:moveTo>
                <a:cubicBezTo>
                  <a:pt x="1570" y="37"/>
                  <a:pt x="1570" y="37"/>
                  <a:pt x="1570" y="36"/>
                </a:cubicBezTo>
                <a:cubicBezTo>
                  <a:pt x="1570" y="37"/>
                  <a:pt x="1570" y="37"/>
                  <a:pt x="1570" y="38"/>
                </a:cubicBezTo>
                <a:close/>
                <a:moveTo>
                  <a:pt x="1265" y="56"/>
                </a:moveTo>
                <a:cubicBezTo>
                  <a:pt x="1265" y="56"/>
                  <a:pt x="1265" y="57"/>
                  <a:pt x="1265" y="57"/>
                </a:cubicBezTo>
                <a:cubicBezTo>
                  <a:pt x="1265" y="57"/>
                  <a:pt x="1265" y="56"/>
                  <a:pt x="1265" y="56"/>
                </a:cubicBezTo>
                <a:close/>
                <a:moveTo>
                  <a:pt x="1738" y="38"/>
                </a:moveTo>
                <a:cubicBezTo>
                  <a:pt x="1738" y="37"/>
                  <a:pt x="1738" y="37"/>
                  <a:pt x="1738" y="36"/>
                </a:cubicBezTo>
                <a:cubicBezTo>
                  <a:pt x="1738" y="37"/>
                  <a:pt x="1738" y="37"/>
                  <a:pt x="1738" y="38"/>
                </a:cubicBezTo>
                <a:close/>
                <a:moveTo>
                  <a:pt x="1469" y="31"/>
                </a:moveTo>
                <a:cubicBezTo>
                  <a:pt x="1469" y="31"/>
                  <a:pt x="1469" y="32"/>
                  <a:pt x="1469" y="32"/>
                </a:cubicBezTo>
                <a:cubicBezTo>
                  <a:pt x="1469" y="32"/>
                  <a:pt x="1469" y="31"/>
                  <a:pt x="1469" y="31"/>
                </a:cubicBezTo>
                <a:close/>
                <a:moveTo>
                  <a:pt x="623" y="89"/>
                </a:moveTo>
                <a:cubicBezTo>
                  <a:pt x="623" y="89"/>
                  <a:pt x="623" y="89"/>
                  <a:pt x="624" y="90"/>
                </a:cubicBezTo>
                <a:cubicBezTo>
                  <a:pt x="624" y="90"/>
                  <a:pt x="624" y="90"/>
                  <a:pt x="624" y="89"/>
                </a:cubicBezTo>
                <a:cubicBezTo>
                  <a:pt x="624" y="89"/>
                  <a:pt x="624" y="89"/>
                  <a:pt x="623" y="89"/>
                </a:cubicBezTo>
                <a:close/>
                <a:moveTo>
                  <a:pt x="554" y="20"/>
                </a:moveTo>
                <a:cubicBezTo>
                  <a:pt x="553" y="20"/>
                  <a:pt x="553" y="20"/>
                  <a:pt x="553" y="20"/>
                </a:cubicBezTo>
                <a:cubicBezTo>
                  <a:pt x="553" y="20"/>
                  <a:pt x="554" y="20"/>
                  <a:pt x="554" y="20"/>
                </a:cubicBezTo>
                <a:close/>
                <a:moveTo>
                  <a:pt x="1175" y="91"/>
                </a:moveTo>
                <a:cubicBezTo>
                  <a:pt x="1175" y="90"/>
                  <a:pt x="1175" y="90"/>
                  <a:pt x="1175" y="89"/>
                </a:cubicBezTo>
                <a:cubicBezTo>
                  <a:pt x="1175" y="90"/>
                  <a:pt x="1175" y="90"/>
                  <a:pt x="1175" y="91"/>
                </a:cubicBezTo>
                <a:close/>
                <a:moveTo>
                  <a:pt x="1226" y="89"/>
                </a:moveTo>
                <a:cubicBezTo>
                  <a:pt x="1226" y="90"/>
                  <a:pt x="1227" y="90"/>
                  <a:pt x="1227" y="90"/>
                </a:cubicBezTo>
                <a:cubicBezTo>
                  <a:pt x="1227" y="90"/>
                  <a:pt x="1226" y="89"/>
                  <a:pt x="1226" y="89"/>
                </a:cubicBezTo>
                <a:close/>
                <a:moveTo>
                  <a:pt x="1479" y="31"/>
                </a:moveTo>
                <a:cubicBezTo>
                  <a:pt x="1478" y="31"/>
                  <a:pt x="1478" y="31"/>
                  <a:pt x="1477" y="31"/>
                </a:cubicBezTo>
                <a:cubicBezTo>
                  <a:pt x="1478" y="32"/>
                  <a:pt x="1478" y="32"/>
                  <a:pt x="1479" y="31"/>
                </a:cubicBezTo>
                <a:close/>
                <a:moveTo>
                  <a:pt x="555" y="43"/>
                </a:moveTo>
                <a:cubicBezTo>
                  <a:pt x="555" y="43"/>
                  <a:pt x="556" y="44"/>
                  <a:pt x="556" y="44"/>
                </a:cubicBezTo>
                <a:cubicBezTo>
                  <a:pt x="556" y="43"/>
                  <a:pt x="556" y="43"/>
                  <a:pt x="555" y="43"/>
                </a:cubicBezTo>
                <a:close/>
                <a:moveTo>
                  <a:pt x="766" y="90"/>
                </a:moveTo>
                <a:cubicBezTo>
                  <a:pt x="767" y="90"/>
                  <a:pt x="767" y="90"/>
                  <a:pt x="767" y="90"/>
                </a:cubicBezTo>
                <a:cubicBezTo>
                  <a:pt x="767" y="90"/>
                  <a:pt x="767" y="90"/>
                  <a:pt x="766" y="90"/>
                </a:cubicBezTo>
                <a:close/>
                <a:moveTo>
                  <a:pt x="1355" y="20"/>
                </a:moveTo>
                <a:cubicBezTo>
                  <a:pt x="1354" y="20"/>
                  <a:pt x="1354" y="20"/>
                  <a:pt x="1354" y="20"/>
                </a:cubicBezTo>
                <a:cubicBezTo>
                  <a:pt x="1354" y="20"/>
                  <a:pt x="1355" y="20"/>
                  <a:pt x="1355" y="20"/>
                </a:cubicBezTo>
                <a:close/>
                <a:moveTo>
                  <a:pt x="575" y="56"/>
                </a:moveTo>
                <a:cubicBezTo>
                  <a:pt x="576" y="56"/>
                  <a:pt x="576" y="56"/>
                  <a:pt x="576" y="56"/>
                </a:cubicBezTo>
                <a:cubicBezTo>
                  <a:pt x="576" y="56"/>
                  <a:pt x="576" y="56"/>
                  <a:pt x="575" y="56"/>
                </a:cubicBezTo>
                <a:close/>
                <a:moveTo>
                  <a:pt x="727" y="90"/>
                </a:moveTo>
                <a:cubicBezTo>
                  <a:pt x="727" y="90"/>
                  <a:pt x="727" y="91"/>
                  <a:pt x="728" y="91"/>
                </a:cubicBezTo>
                <a:cubicBezTo>
                  <a:pt x="728" y="91"/>
                  <a:pt x="728" y="90"/>
                  <a:pt x="727" y="90"/>
                </a:cubicBezTo>
                <a:close/>
                <a:moveTo>
                  <a:pt x="753" y="91"/>
                </a:moveTo>
                <a:cubicBezTo>
                  <a:pt x="753" y="91"/>
                  <a:pt x="753" y="90"/>
                  <a:pt x="752" y="90"/>
                </a:cubicBezTo>
                <a:cubicBezTo>
                  <a:pt x="752" y="91"/>
                  <a:pt x="752" y="91"/>
                  <a:pt x="753" y="91"/>
                </a:cubicBezTo>
                <a:close/>
                <a:moveTo>
                  <a:pt x="755" y="44"/>
                </a:moveTo>
                <a:cubicBezTo>
                  <a:pt x="755" y="44"/>
                  <a:pt x="755" y="44"/>
                  <a:pt x="755" y="43"/>
                </a:cubicBezTo>
                <a:cubicBezTo>
                  <a:pt x="755" y="43"/>
                  <a:pt x="755" y="44"/>
                  <a:pt x="755" y="44"/>
                </a:cubicBezTo>
                <a:close/>
                <a:moveTo>
                  <a:pt x="1213" y="91"/>
                </a:moveTo>
                <a:cubicBezTo>
                  <a:pt x="1213" y="91"/>
                  <a:pt x="1213" y="91"/>
                  <a:pt x="1212" y="90"/>
                </a:cubicBezTo>
                <a:cubicBezTo>
                  <a:pt x="1212" y="91"/>
                  <a:pt x="1213" y="91"/>
                  <a:pt x="1213" y="91"/>
                </a:cubicBezTo>
                <a:close/>
                <a:moveTo>
                  <a:pt x="1412" y="34"/>
                </a:moveTo>
                <a:cubicBezTo>
                  <a:pt x="1412" y="34"/>
                  <a:pt x="1412" y="33"/>
                  <a:pt x="1412" y="33"/>
                </a:cubicBezTo>
                <a:cubicBezTo>
                  <a:pt x="1411" y="33"/>
                  <a:pt x="1412" y="34"/>
                  <a:pt x="1412" y="34"/>
                </a:cubicBezTo>
                <a:close/>
                <a:moveTo>
                  <a:pt x="1469" y="33"/>
                </a:moveTo>
                <a:cubicBezTo>
                  <a:pt x="1469" y="33"/>
                  <a:pt x="1469" y="34"/>
                  <a:pt x="1469" y="34"/>
                </a:cubicBezTo>
                <a:cubicBezTo>
                  <a:pt x="1469" y="34"/>
                  <a:pt x="1469" y="33"/>
                  <a:pt x="1469" y="33"/>
                </a:cubicBezTo>
                <a:close/>
                <a:moveTo>
                  <a:pt x="675" y="33"/>
                </a:moveTo>
                <a:cubicBezTo>
                  <a:pt x="676" y="33"/>
                  <a:pt x="676" y="33"/>
                  <a:pt x="677" y="33"/>
                </a:cubicBezTo>
                <a:cubicBezTo>
                  <a:pt x="676" y="33"/>
                  <a:pt x="676" y="33"/>
                  <a:pt x="675" y="33"/>
                </a:cubicBezTo>
                <a:close/>
                <a:moveTo>
                  <a:pt x="771" y="33"/>
                </a:moveTo>
                <a:cubicBezTo>
                  <a:pt x="772" y="33"/>
                  <a:pt x="772" y="33"/>
                  <a:pt x="773" y="33"/>
                </a:cubicBezTo>
                <a:cubicBezTo>
                  <a:pt x="772" y="33"/>
                  <a:pt x="772" y="33"/>
                  <a:pt x="771" y="33"/>
                </a:cubicBezTo>
                <a:close/>
                <a:moveTo>
                  <a:pt x="784" y="33"/>
                </a:moveTo>
                <a:cubicBezTo>
                  <a:pt x="784" y="33"/>
                  <a:pt x="785" y="33"/>
                  <a:pt x="785" y="33"/>
                </a:cubicBezTo>
                <a:cubicBezTo>
                  <a:pt x="785" y="33"/>
                  <a:pt x="784" y="33"/>
                  <a:pt x="784" y="33"/>
                </a:cubicBezTo>
                <a:close/>
                <a:moveTo>
                  <a:pt x="843" y="33"/>
                </a:moveTo>
                <a:cubicBezTo>
                  <a:pt x="843" y="33"/>
                  <a:pt x="844" y="33"/>
                  <a:pt x="844" y="33"/>
                </a:cubicBezTo>
                <a:cubicBezTo>
                  <a:pt x="844" y="33"/>
                  <a:pt x="843" y="33"/>
                  <a:pt x="843" y="33"/>
                </a:cubicBezTo>
                <a:close/>
                <a:moveTo>
                  <a:pt x="1154" y="49"/>
                </a:moveTo>
                <a:cubicBezTo>
                  <a:pt x="1154" y="50"/>
                  <a:pt x="1154" y="50"/>
                  <a:pt x="1154" y="51"/>
                </a:cubicBezTo>
                <a:cubicBezTo>
                  <a:pt x="1154" y="50"/>
                  <a:pt x="1154" y="50"/>
                  <a:pt x="1154" y="49"/>
                </a:cubicBezTo>
                <a:close/>
                <a:moveTo>
                  <a:pt x="1082" y="43"/>
                </a:moveTo>
                <a:cubicBezTo>
                  <a:pt x="1082" y="43"/>
                  <a:pt x="1082" y="44"/>
                  <a:pt x="1083" y="44"/>
                </a:cubicBezTo>
                <a:cubicBezTo>
                  <a:pt x="1083" y="44"/>
                  <a:pt x="1083" y="43"/>
                  <a:pt x="1082" y="43"/>
                </a:cubicBezTo>
                <a:close/>
                <a:moveTo>
                  <a:pt x="904" y="37"/>
                </a:moveTo>
                <a:cubicBezTo>
                  <a:pt x="905" y="37"/>
                  <a:pt x="905" y="37"/>
                  <a:pt x="905" y="38"/>
                </a:cubicBezTo>
                <a:cubicBezTo>
                  <a:pt x="905" y="37"/>
                  <a:pt x="905" y="37"/>
                  <a:pt x="904" y="37"/>
                </a:cubicBezTo>
                <a:close/>
                <a:moveTo>
                  <a:pt x="884" y="33"/>
                </a:moveTo>
                <a:cubicBezTo>
                  <a:pt x="884" y="33"/>
                  <a:pt x="885" y="33"/>
                  <a:pt x="885" y="33"/>
                </a:cubicBezTo>
                <a:cubicBezTo>
                  <a:pt x="885" y="33"/>
                  <a:pt x="884" y="33"/>
                  <a:pt x="884" y="33"/>
                </a:cubicBezTo>
                <a:close/>
                <a:moveTo>
                  <a:pt x="896" y="33"/>
                </a:moveTo>
                <a:cubicBezTo>
                  <a:pt x="896" y="33"/>
                  <a:pt x="896" y="33"/>
                  <a:pt x="897" y="33"/>
                </a:cubicBezTo>
                <a:cubicBezTo>
                  <a:pt x="897" y="33"/>
                  <a:pt x="896" y="33"/>
                  <a:pt x="896" y="33"/>
                </a:cubicBezTo>
                <a:close/>
                <a:moveTo>
                  <a:pt x="1463" y="90"/>
                </a:moveTo>
                <a:cubicBezTo>
                  <a:pt x="1462" y="91"/>
                  <a:pt x="1462" y="91"/>
                  <a:pt x="1462" y="91"/>
                </a:cubicBezTo>
                <a:cubicBezTo>
                  <a:pt x="1462" y="91"/>
                  <a:pt x="1463" y="91"/>
                  <a:pt x="1463" y="90"/>
                </a:cubicBezTo>
                <a:close/>
                <a:moveTo>
                  <a:pt x="754" y="92"/>
                </a:moveTo>
                <a:cubicBezTo>
                  <a:pt x="754" y="92"/>
                  <a:pt x="753" y="91"/>
                  <a:pt x="753" y="91"/>
                </a:cubicBezTo>
                <a:cubicBezTo>
                  <a:pt x="753" y="92"/>
                  <a:pt x="753" y="92"/>
                  <a:pt x="754" y="92"/>
                </a:cubicBezTo>
                <a:close/>
                <a:moveTo>
                  <a:pt x="1053" y="33"/>
                </a:moveTo>
                <a:cubicBezTo>
                  <a:pt x="1054" y="33"/>
                  <a:pt x="1054" y="33"/>
                  <a:pt x="1055" y="33"/>
                </a:cubicBezTo>
                <a:cubicBezTo>
                  <a:pt x="1054" y="33"/>
                  <a:pt x="1054" y="33"/>
                  <a:pt x="1053" y="33"/>
                </a:cubicBezTo>
                <a:close/>
                <a:moveTo>
                  <a:pt x="1066" y="33"/>
                </a:moveTo>
                <a:cubicBezTo>
                  <a:pt x="1066" y="33"/>
                  <a:pt x="1067" y="33"/>
                  <a:pt x="1067" y="33"/>
                </a:cubicBezTo>
                <a:cubicBezTo>
                  <a:pt x="1067" y="33"/>
                  <a:pt x="1066" y="33"/>
                  <a:pt x="1066" y="33"/>
                </a:cubicBezTo>
                <a:close/>
                <a:moveTo>
                  <a:pt x="1126" y="33"/>
                </a:moveTo>
                <a:cubicBezTo>
                  <a:pt x="1126" y="33"/>
                  <a:pt x="1127" y="33"/>
                  <a:pt x="1127" y="33"/>
                </a:cubicBezTo>
                <a:cubicBezTo>
                  <a:pt x="1127" y="33"/>
                  <a:pt x="1126" y="33"/>
                  <a:pt x="1126" y="33"/>
                </a:cubicBezTo>
                <a:close/>
                <a:moveTo>
                  <a:pt x="1137" y="33"/>
                </a:moveTo>
                <a:cubicBezTo>
                  <a:pt x="1138" y="33"/>
                  <a:pt x="1138" y="33"/>
                  <a:pt x="1139" y="33"/>
                </a:cubicBezTo>
                <a:cubicBezTo>
                  <a:pt x="1139" y="33"/>
                  <a:pt x="1138" y="33"/>
                  <a:pt x="1137" y="33"/>
                </a:cubicBezTo>
                <a:close/>
                <a:moveTo>
                  <a:pt x="979" y="21"/>
                </a:moveTo>
                <a:cubicBezTo>
                  <a:pt x="978" y="22"/>
                  <a:pt x="978" y="22"/>
                  <a:pt x="978" y="22"/>
                </a:cubicBezTo>
                <a:cubicBezTo>
                  <a:pt x="978" y="22"/>
                  <a:pt x="979" y="22"/>
                  <a:pt x="979" y="21"/>
                </a:cubicBezTo>
                <a:close/>
                <a:moveTo>
                  <a:pt x="1461" y="14"/>
                </a:moveTo>
                <a:cubicBezTo>
                  <a:pt x="1461" y="15"/>
                  <a:pt x="1461" y="15"/>
                  <a:pt x="1462" y="15"/>
                </a:cubicBezTo>
                <a:cubicBezTo>
                  <a:pt x="1462" y="15"/>
                  <a:pt x="1461" y="14"/>
                  <a:pt x="1461" y="14"/>
                </a:cubicBezTo>
                <a:close/>
                <a:moveTo>
                  <a:pt x="1231" y="33"/>
                </a:moveTo>
                <a:cubicBezTo>
                  <a:pt x="1232" y="33"/>
                  <a:pt x="1232" y="33"/>
                  <a:pt x="1233" y="33"/>
                </a:cubicBezTo>
                <a:cubicBezTo>
                  <a:pt x="1232" y="33"/>
                  <a:pt x="1232" y="33"/>
                  <a:pt x="1231" y="33"/>
                </a:cubicBezTo>
                <a:close/>
                <a:moveTo>
                  <a:pt x="1244" y="33"/>
                </a:moveTo>
                <a:cubicBezTo>
                  <a:pt x="1244" y="33"/>
                  <a:pt x="1245" y="33"/>
                  <a:pt x="1245" y="33"/>
                </a:cubicBezTo>
                <a:cubicBezTo>
                  <a:pt x="1245" y="33"/>
                  <a:pt x="1244" y="33"/>
                  <a:pt x="1244" y="33"/>
                </a:cubicBezTo>
                <a:close/>
                <a:moveTo>
                  <a:pt x="1675" y="53"/>
                </a:moveTo>
                <a:cubicBezTo>
                  <a:pt x="1674" y="54"/>
                  <a:pt x="1674" y="54"/>
                  <a:pt x="1674" y="54"/>
                </a:cubicBezTo>
                <a:cubicBezTo>
                  <a:pt x="1674" y="54"/>
                  <a:pt x="1674" y="54"/>
                  <a:pt x="1675" y="53"/>
                </a:cubicBezTo>
                <a:close/>
                <a:moveTo>
                  <a:pt x="963" y="21"/>
                </a:moveTo>
                <a:cubicBezTo>
                  <a:pt x="963" y="21"/>
                  <a:pt x="963" y="21"/>
                  <a:pt x="964" y="20"/>
                </a:cubicBezTo>
                <a:cubicBezTo>
                  <a:pt x="963" y="21"/>
                  <a:pt x="963" y="21"/>
                  <a:pt x="963" y="21"/>
                </a:cubicBezTo>
                <a:close/>
                <a:moveTo>
                  <a:pt x="1146" y="37"/>
                </a:moveTo>
                <a:cubicBezTo>
                  <a:pt x="1146" y="37"/>
                  <a:pt x="1147" y="37"/>
                  <a:pt x="1147" y="38"/>
                </a:cubicBezTo>
                <a:cubicBezTo>
                  <a:pt x="1147" y="37"/>
                  <a:pt x="1147" y="37"/>
                  <a:pt x="1146" y="37"/>
                </a:cubicBezTo>
                <a:close/>
                <a:moveTo>
                  <a:pt x="987" y="92"/>
                </a:moveTo>
                <a:cubicBezTo>
                  <a:pt x="987" y="92"/>
                  <a:pt x="988" y="92"/>
                  <a:pt x="988" y="92"/>
                </a:cubicBezTo>
                <a:cubicBezTo>
                  <a:pt x="988" y="92"/>
                  <a:pt x="987" y="92"/>
                  <a:pt x="987" y="92"/>
                </a:cubicBezTo>
                <a:close/>
                <a:moveTo>
                  <a:pt x="1007" y="92"/>
                </a:moveTo>
                <a:cubicBezTo>
                  <a:pt x="1007" y="92"/>
                  <a:pt x="1008" y="92"/>
                  <a:pt x="1008" y="92"/>
                </a:cubicBezTo>
                <a:cubicBezTo>
                  <a:pt x="1008" y="92"/>
                  <a:pt x="1007" y="92"/>
                  <a:pt x="1007" y="92"/>
                </a:cubicBezTo>
                <a:close/>
                <a:moveTo>
                  <a:pt x="1087" y="53"/>
                </a:moveTo>
                <a:cubicBezTo>
                  <a:pt x="1087" y="54"/>
                  <a:pt x="1087" y="54"/>
                  <a:pt x="1087" y="55"/>
                </a:cubicBezTo>
                <a:cubicBezTo>
                  <a:pt x="1087" y="54"/>
                  <a:pt x="1087" y="54"/>
                  <a:pt x="1087" y="53"/>
                </a:cubicBezTo>
                <a:close/>
                <a:moveTo>
                  <a:pt x="988" y="92"/>
                </a:moveTo>
                <a:cubicBezTo>
                  <a:pt x="989" y="93"/>
                  <a:pt x="989" y="92"/>
                  <a:pt x="990" y="92"/>
                </a:cubicBezTo>
                <a:cubicBezTo>
                  <a:pt x="990" y="92"/>
                  <a:pt x="989" y="92"/>
                  <a:pt x="988" y="92"/>
                </a:cubicBezTo>
                <a:close/>
                <a:moveTo>
                  <a:pt x="755" y="93"/>
                </a:moveTo>
                <a:cubicBezTo>
                  <a:pt x="755" y="93"/>
                  <a:pt x="754" y="93"/>
                  <a:pt x="754" y="92"/>
                </a:cubicBezTo>
                <a:cubicBezTo>
                  <a:pt x="754" y="93"/>
                  <a:pt x="754" y="93"/>
                  <a:pt x="755" y="93"/>
                </a:cubicBezTo>
                <a:close/>
                <a:moveTo>
                  <a:pt x="1419" y="93"/>
                </a:moveTo>
                <a:cubicBezTo>
                  <a:pt x="1419" y="93"/>
                  <a:pt x="1418" y="93"/>
                  <a:pt x="1418" y="92"/>
                </a:cubicBezTo>
                <a:cubicBezTo>
                  <a:pt x="1418" y="93"/>
                  <a:pt x="1418" y="93"/>
                  <a:pt x="1419" y="93"/>
                </a:cubicBezTo>
                <a:close/>
                <a:moveTo>
                  <a:pt x="1052" y="34"/>
                </a:moveTo>
                <a:cubicBezTo>
                  <a:pt x="1052" y="34"/>
                  <a:pt x="1053" y="34"/>
                  <a:pt x="1053" y="33"/>
                </a:cubicBezTo>
                <a:cubicBezTo>
                  <a:pt x="1053" y="33"/>
                  <a:pt x="1052" y="33"/>
                  <a:pt x="1052" y="34"/>
                </a:cubicBezTo>
                <a:close/>
                <a:moveTo>
                  <a:pt x="754" y="45"/>
                </a:moveTo>
                <a:cubicBezTo>
                  <a:pt x="754" y="45"/>
                  <a:pt x="754" y="45"/>
                  <a:pt x="754" y="44"/>
                </a:cubicBezTo>
                <a:cubicBezTo>
                  <a:pt x="754" y="45"/>
                  <a:pt x="754" y="45"/>
                  <a:pt x="754" y="45"/>
                </a:cubicBezTo>
                <a:close/>
                <a:moveTo>
                  <a:pt x="787" y="93"/>
                </a:moveTo>
                <a:cubicBezTo>
                  <a:pt x="787" y="93"/>
                  <a:pt x="788" y="93"/>
                  <a:pt x="788" y="93"/>
                </a:cubicBezTo>
                <a:cubicBezTo>
                  <a:pt x="788" y="93"/>
                  <a:pt x="787" y="93"/>
                  <a:pt x="787" y="93"/>
                </a:cubicBezTo>
                <a:close/>
                <a:moveTo>
                  <a:pt x="966" y="94"/>
                </a:moveTo>
                <a:cubicBezTo>
                  <a:pt x="966" y="93"/>
                  <a:pt x="966" y="93"/>
                  <a:pt x="965" y="93"/>
                </a:cubicBezTo>
                <a:cubicBezTo>
                  <a:pt x="965" y="93"/>
                  <a:pt x="966" y="93"/>
                  <a:pt x="966" y="94"/>
                </a:cubicBezTo>
                <a:close/>
                <a:moveTo>
                  <a:pt x="670" y="93"/>
                </a:moveTo>
                <a:cubicBezTo>
                  <a:pt x="671" y="94"/>
                  <a:pt x="671" y="94"/>
                  <a:pt x="672" y="93"/>
                </a:cubicBezTo>
                <a:cubicBezTo>
                  <a:pt x="671" y="93"/>
                  <a:pt x="671" y="93"/>
                  <a:pt x="670" y="93"/>
                </a:cubicBezTo>
                <a:close/>
                <a:moveTo>
                  <a:pt x="1419" y="16"/>
                </a:moveTo>
                <a:cubicBezTo>
                  <a:pt x="1420" y="16"/>
                  <a:pt x="1420" y="15"/>
                  <a:pt x="1420" y="15"/>
                </a:cubicBezTo>
                <a:cubicBezTo>
                  <a:pt x="1420" y="15"/>
                  <a:pt x="1420" y="15"/>
                  <a:pt x="1419" y="16"/>
                </a:cubicBezTo>
                <a:close/>
                <a:moveTo>
                  <a:pt x="834" y="38"/>
                </a:moveTo>
                <a:cubicBezTo>
                  <a:pt x="834" y="38"/>
                  <a:pt x="834" y="37"/>
                  <a:pt x="835" y="37"/>
                </a:cubicBezTo>
                <a:cubicBezTo>
                  <a:pt x="834" y="37"/>
                  <a:pt x="834" y="37"/>
                  <a:pt x="834" y="38"/>
                </a:cubicBezTo>
                <a:close/>
                <a:moveTo>
                  <a:pt x="1576" y="15"/>
                </a:moveTo>
                <a:cubicBezTo>
                  <a:pt x="1577" y="15"/>
                  <a:pt x="1577" y="16"/>
                  <a:pt x="1577" y="16"/>
                </a:cubicBezTo>
                <a:cubicBezTo>
                  <a:pt x="1577" y="15"/>
                  <a:pt x="1577" y="15"/>
                  <a:pt x="1576" y="15"/>
                </a:cubicBezTo>
                <a:close/>
                <a:moveTo>
                  <a:pt x="605" y="66"/>
                </a:moveTo>
                <a:cubicBezTo>
                  <a:pt x="605" y="66"/>
                  <a:pt x="605" y="66"/>
                  <a:pt x="604" y="65"/>
                </a:cubicBezTo>
                <a:cubicBezTo>
                  <a:pt x="604" y="66"/>
                  <a:pt x="604" y="66"/>
                  <a:pt x="605" y="66"/>
                </a:cubicBezTo>
                <a:close/>
                <a:moveTo>
                  <a:pt x="900" y="52"/>
                </a:moveTo>
                <a:cubicBezTo>
                  <a:pt x="901" y="52"/>
                  <a:pt x="900" y="51"/>
                  <a:pt x="900" y="51"/>
                </a:cubicBezTo>
                <a:cubicBezTo>
                  <a:pt x="900" y="51"/>
                  <a:pt x="900" y="52"/>
                  <a:pt x="900" y="52"/>
                </a:cubicBezTo>
                <a:close/>
                <a:moveTo>
                  <a:pt x="1086" y="51"/>
                </a:moveTo>
                <a:cubicBezTo>
                  <a:pt x="1086" y="51"/>
                  <a:pt x="1086" y="52"/>
                  <a:pt x="1086" y="52"/>
                </a:cubicBezTo>
                <a:cubicBezTo>
                  <a:pt x="1086" y="52"/>
                  <a:pt x="1086" y="51"/>
                  <a:pt x="1086" y="51"/>
                </a:cubicBezTo>
                <a:close/>
                <a:moveTo>
                  <a:pt x="1433" y="7"/>
                </a:moveTo>
                <a:cubicBezTo>
                  <a:pt x="1433" y="7"/>
                  <a:pt x="1434" y="7"/>
                  <a:pt x="1434" y="7"/>
                </a:cubicBezTo>
                <a:cubicBezTo>
                  <a:pt x="1433" y="6"/>
                  <a:pt x="1433" y="6"/>
                  <a:pt x="1433" y="7"/>
                </a:cubicBezTo>
                <a:close/>
                <a:moveTo>
                  <a:pt x="1448" y="7"/>
                </a:moveTo>
                <a:cubicBezTo>
                  <a:pt x="1449" y="7"/>
                  <a:pt x="1449" y="7"/>
                  <a:pt x="1449" y="7"/>
                </a:cubicBezTo>
                <a:cubicBezTo>
                  <a:pt x="1449" y="6"/>
                  <a:pt x="1449" y="6"/>
                  <a:pt x="1448" y="7"/>
                </a:cubicBezTo>
                <a:close/>
                <a:moveTo>
                  <a:pt x="1396" y="22"/>
                </a:moveTo>
                <a:cubicBezTo>
                  <a:pt x="1396" y="23"/>
                  <a:pt x="1396" y="23"/>
                  <a:pt x="1396" y="23"/>
                </a:cubicBezTo>
                <a:cubicBezTo>
                  <a:pt x="1396" y="23"/>
                  <a:pt x="1397" y="22"/>
                  <a:pt x="1396" y="22"/>
                </a:cubicBezTo>
                <a:close/>
                <a:moveTo>
                  <a:pt x="1545" y="7"/>
                </a:moveTo>
                <a:cubicBezTo>
                  <a:pt x="1545" y="7"/>
                  <a:pt x="1546" y="7"/>
                  <a:pt x="1546" y="7"/>
                </a:cubicBezTo>
                <a:cubicBezTo>
                  <a:pt x="1546" y="7"/>
                  <a:pt x="1545" y="6"/>
                  <a:pt x="1545" y="7"/>
                </a:cubicBezTo>
                <a:close/>
                <a:moveTo>
                  <a:pt x="1562" y="7"/>
                </a:moveTo>
                <a:cubicBezTo>
                  <a:pt x="1563" y="7"/>
                  <a:pt x="1563" y="7"/>
                  <a:pt x="1564" y="7"/>
                </a:cubicBezTo>
                <a:cubicBezTo>
                  <a:pt x="1563" y="6"/>
                  <a:pt x="1563" y="7"/>
                  <a:pt x="1562" y="7"/>
                </a:cubicBezTo>
                <a:close/>
                <a:moveTo>
                  <a:pt x="1713" y="7"/>
                </a:moveTo>
                <a:cubicBezTo>
                  <a:pt x="1713" y="7"/>
                  <a:pt x="1714" y="7"/>
                  <a:pt x="1714" y="7"/>
                </a:cubicBezTo>
                <a:cubicBezTo>
                  <a:pt x="1714" y="7"/>
                  <a:pt x="1713" y="6"/>
                  <a:pt x="1713" y="7"/>
                </a:cubicBezTo>
                <a:close/>
                <a:moveTo>
                  <a:pt x="1731" y="7"/>
                </a:moveTo>
                <a:cubicBezTo>
                  <a:pt x="1731" y="7"/>
                  <a:pt x="1731" y="7"/>
                  <a:pt x="1732" y="7"/>
                </a:cubicBezTo>
                <a:cubicBezTo>
                  <a:pt x="1731" y="6"/>
                  <a:pt x="1731" y="7"/>
                  <a:pt x="1731" y="7"/>
                </a:cubicBezTo>
                <a:close/>
                <a:moveTo>
                  <a:pt x="556" y="7"/>
                </a:moveTo>
                <a:cubicBezTo>
                  <a:pt x="556" y="7"/>
                  <a:pt x="557" y="7"/>
                  <a:pt x="557" y="7"/>
                </a:cubicBezTo>
                <a:cubicBezTo>
                  <a:pt x="557" y="7"/>
                  <a:pt x="556" y="7"/>
                  <a:pt x="556" y="7"/>
                </a:cubicBezTo>
                <a:close/>
                <a:moveTo>
                  <a:pt x="986" y="7"/>
                </a:moveTo>
                <a:cubicBezTo>
                  <a:pt x="987" y="7"/>
                  <a:pt x="987" y="7"/>
                  <a:pt x="988" y="7"/>
                </a:cubicBezTo>
                <a:cubicBezTo>
                  <a:pt x="987" y="7"/>
                  <a:pt x="987" y="7"/>
                  <a:pt x="986" y="7"/>
                </a:cubicBezTo>
                <a:close/>
                <a:moveTo>
                  <a:pt x="1359" y="7"/>
                </a:moveTo>
                <a:cubicBezTo>
                  <a:pt x="1360" y="7"/>
                  <a:pt x="1360" y="7"/>
                  <a:pt x="1360" y="7"/>
                </a:cubicBezTo>
                <a:cubicBezTo>
                  <a:pt x="1360" y="7"/>
                  <a:pt x="1360" y="7"/>
                  <a:pt x="1359" y="7"/>
                </a:cubicBezTo>
                <a:close/>
                <a:moveTo>
                  <a:pt x="1379" y="7"/>
                </a:moveTo>
                <a:cubicBezTo>
                  <a:pt x="1380" y="7"/>
                  <a:pt x="1380" y="7"/>
                  <a:pt x="1381" y="7"/>
                </a:cubicBezTo>
                <a:cubicBezTo>
                  <a:pt x="1380" y="7"/>
                  <a:pt x="1380" y="7"/>
                  <a:pt x="1379" y="7"/>
                </a:cubicBezTo>
                <a:close/>
                <a:moveTo>
                  <a:pt x="1466" y="22"/>
                </a:moveTo>
                <a:cubicBezTo>
                  <a:pt x="1466" y="23"/>
                  <a:pt x="1466" y="23"/>
                  <a:pt x="1466" y="23"/>
                </a:cubicBezTo>
                <a:cubicBezTo>
                  <a:pt x="1466" y="23"/>
                  <a:pt x="1466" y="22"/>
                  <a:pt x="1466" y="22"/>
                </a:cubicBezTo>
                <a:close/>
                <a:moveTo>
                  <a:pt x="1031" y="56"/>
                </a:moveTo>
                <a:cubicBezTo>
                  <a:pt x="1031" y="56"/>
                  <a:pt x="1031" y="56"/>
                  <a:pt x="1031" y="55"/>
                </a:cubicBezTo>
                <a:cubicBezTo>
                  <a:pt x="1031" y="56"/>
                  <a:pt x="1031" y="56"/>
                  <a:pt x="1031" y="56"/>
                </a:cubicBezTo>
                <a:close/>
                <a:moveTo>
                  <a:pt x="1468" y="29"/>
                </a:moveTo>
                <a:cubicBezTo>
                  <a:pt x="1468" y="30"/>
                  <a:pt x="1468" y="30"/>
                  <a:pt x="1469" y="31"/>
                </a:cubicBezTo>
                <a:cubicBezTo>
                  <a:pt x="1469" y="30"/>
                  <a:pt x="1469" y="30"/>
                  <a:pt x="1468" y="29"/>
                </a:cubicBezTo>
                <a:close/>
                <a:moveTo>
                  <a:pt x="1543" y="7"/>
                </a:moveTo>
                <a:cubicBezTo>
                  <a:pt x="1544" y="7"/>
                  <a:pt x="1544" y="7"/>
                  <a:pt x="1545" y="7"/>
                </a:cubicBezTo>
                <a:cubicBezTo>
                  <a:pt x="1544" y="7"/>
                  <a:pt x="1544" y="7"/>
                  <a:pt x="1543" y="7"/>
                </a:cubicBezTo>
                <a:close/>
                <a:moveTo>
                  <a:pt x="1300" y="44"/>
                </a:moveTo>
                <a:cubicBezTo>
                  <a:pt x="1300" y="44"/>
                  <a:pt x="1299" y="44"/>
                  <a:pt x="1299" y="44"/>
                </a:cubicBezTo>
                <a:cubicBezTo>
                  <a:pt x="1299" y="44"/>
                  <a:pt x="1300" y="44"/>
                  <a:pt x="1300" y="44"/>
                </a:cubicBezTo>
                <a:close/>
                <a:moveTo>
                  <a:pt x="1712" y="7"/>
                </a:moveTo>
                <a:cubicBezTo>
                  <a:pt x="1712" y="7"/>
                  <a:pt x="1712" y="7"/>
                  <a:pt x="1713" y="7"/>
                </a:cubicBezTo>
                <a:cubicBezTo>
                  <a:pt x="1712" y="7"/>
                  <a:pt x="1712" y="7"/>
                  <a:pt x="1712" y="7"/>
                </a:cubicBezTo>
                <a:close/>
                <a:moveTo>
                  <a:pt x="1264" y="50"/>
                </a:moveTo>
                <a:cubicBezTo>
                  <a:pt x="1264" y="50"/>
                  <a:pt x="1264" y="51"/>
                  <a:pt x="1264" y="51"/>
                </a:cubicBezTo>
                <a:cubicBezTo>
                  <a:pt x="1264" y="51"/>
                  <a:pt x="1264" y="50"/>
                  <a:pt x="1264" y="50"/>
                </a:cubicBezTo>
                <a:close/>
                <a:moveTo>
                  <a:pt x="555" y="8"/>
                </a:moveTo>
                <a:cubicBezTo>
                  <a:pt x="555" y="8"/>
                  <a:pt x="555" y="8"/>
                  <a:pt x="556" y="7"/>
                </a:cubicBezTo>
                <a:cubicBezTo>
                  <a:pt x="555" y="7"/>
                  <a:pt x="555" y="7"/>
                  <a:pt x="555" y="8"/>
                </a:cubicBezTo>
                <a:close/>
                <a:moveTo>
                  <a:pt x="581" y="7"/>
                </a:moveTo>
                <a:cubicBezTo>
                  <a:pt x="581" y="7"/>
                  <a:pt x="581" y="8"/>
                  <a:pt x="582" y="8"/>
                </a:cubicBezTo>
                <a:cubicBezTo>
                  <a:pt x="581" y="7"/>
                  <a:pt x="581" y="7"/>
                  <a:pt x="581" y="7"/>
                </a:cubicBezTo>
                <a:close/>
                <a:moveTo>
                  <a:pt x="985" y="8"/>
                </a:moveTo>
                <a:cubicBezTo>
                  <a:pt x="985" y="8"/>
                  <a:pt x="986" y="8"/>
                  <a:pt x="986" y="7"/>
                </a:cubicBezTo>
                <a:cubicBezTo>
                  <a:pt x="986" y="7"/>
                  <a:pt x="985" y="7"/>
                  <a:pt x="985" y="8"/>
                </a:cubicBezTo>
                <a:close/>
                <a:moveTo>
                  <a:pt x="1014" y="7"/>
                </a:moveTo>
                <a:cubicBezTo>
                  <a:pt x="1014" y="8"/>
                  <a:pt x="1014" y="8"/>
                  <a:pt x="1015" y="7"/>
                </a:cubicBezTo>
                <a:cubicBezTo>
                  <a:pt x="1014" y="7"/>
                  <a:pt x="1014" y="7"/>
                  <a:pt x="1014" y="7"/>
                </a:cubicBezTo>
                <a:close/>
                <a:moveTo>
                  <a:pt x="1227" y="35"/>
                </a:moveTo>
                <a:cubicBezTo>
                  <a:pt x="1227" y="35"/>
                  <a:pt x="1227" y="35"/>
                  <a:pt x="1228" y="34"/>
                </a:cubicBezTo>
                <a:cubicBezTo>
                  <a:pt x="1227" y="34"/>
                  <a:pt x="1227" y="34"/>
                  <a:pt x="1227" y="35"/>
                </a:cubicBezTo>
                <a:close/>
                <a:moveTo>
                  <a:pt x="1749" y="40"/>
                </a:moveTo>
                <a:cubicBezTo>
                  <a:pt x="1748" y="41"/>
                  <a:pt x="1748" y="41"/>
                  <a:pt x="1748" y="42"/>
                </a:cubicBezTo>
                <a:cubicBezTo>
                  <a:pt x="1749" y="41"/>
                  <a:pt x="1749" y="41"/>
                  <a:pt x="1749" y="40"/>
                </a:cubicBezTo>
                <a:close/>
                <a:moveTo>
                  <a:pt x="1483" y="30"/>
                </a:moveTo>
                <a:cubicBezTo>
                  <a:pt x="1482" y="30"/>
                  <a:pt x="1482" y="30"/>
                  <a:pt x="1482" y="30"/>
                </a:cubicBezTo>
                <a:cubicBezTo>
                  <a:pt x="1482" y="30"/>
                  <a:pt x="1483" y="30"/>
                  <a:pt x="1483" y="30"/>
                </a:cubicBezTo>
                <a:close/>
                <a:moveTo>
                  <a:pt x="613" y="58"/>
                </a:moveTo>
                <a:cubicBezTo>
                  <a:pt x="613" y="58"/>
                  <a:pt x="613" y="58"/>
                  <a:pt x="613" y="59"/>
                </a:cubicBezTo>
                <a:cubicBezTo>
                  <a:pt x="613" y="58"/>
                  <a:pt x="613" y="58"/>
                  <a:pt x="613" y="58"/>
                </a:cubicBezTo>
                <a:close/>
                <a:moveTo>
                  <a:pt x="1263" y="49"/>
                </a:moveTo>
                <a:cubicBezTo>
                  <a:pt x="1263" y="49"/>
                  <a:pt x="1263" y="50"/>
                  <a:pt x="1264" y="50"/>
                </a:cubicBezTo>
                <a:cubicBezTo>
                  <a:pt x="1264" y="50"/>
                  <a:pt x="1264" y="49"/>
                  <a:pt x="1263" y="49"/>
                </a:cubicBezTo>
                <a:close/>
                <a:moveTo>
                  <a:pt x="1264" y="51"/>
                </a:moveTo>
                <a:cubicBezTo>
                  <a:pt x="1264" y="51"/>
                  <a:pt x="1264" y="52"/>
                  <a:pt x="1264" y="52"/>
                </a:cubicBezTo>
                <a:cubicBezTo>
                  <a:pt x="1264" y="52"/>
                  <a:pt x="1264" y="51"/>
                  <a:pt x="1264" y="51"/>
                </a:cubicBezTo>
                <a:close/>
                <a:moveTo>
                  <a:pt x="691" y="44"/>
                </a:moveTo>
                <a:cubicBezTo>
                  <a:pt x="691" y="43"/>
                  <a:pt x="690" y="43"/>
                  <a:pt x="690" y="43"/>
                </a:cubicBezTo>
                <a:cubicBezTo>
                  <a:pt x="690" y="44"/>
                  <a:pt x="691" y="44"/>
                  <a:pt x="691" y="44"/>
                </a:cubicBezTo>
                <a:close/>
                <a:moveTo>
                  <a:pt x="1412" y="31"/>
                </a:moveTo>
                <a:cubicBezTo>
                  <a:pt x="1413" y="31"/>
                  <a:pt x="1413" y="31"/>
                  <a:pt x="1413" y="30"/>
                </a:cubicBezTo>
                <a:cubicBezTo>
                  <a:pt x="1412" y="30"/>
                  <a:pt x="1412" y="31"/>
                  <a:pt x="1412" y="31"/>
                </a:cubicBezTo>
                <a:close/>
                <a:moveTo>
                  <a:pt x="644" y="64"/>
                </a:moveTo>
                <a:cubicBezTo>
                  <a:pt x="644" y="65"/>
                  <a:pt x="644" y="65"/>
                  <a:pt x="644" y="65"/>
                </a:cubicBezTo>
                <a:cubicBezTo>
                  <a:pt x="644" y="65"/>
                  <a:pt x="644" y="65"/>
                  <a:pt x="644" y="64"/>
                </a:cubicBezTo>
                <a:close/>
                <a:moveTo>
                  <a:pt x="553" y="8"/>
                </a:moveTo>
                <a:cubicBezTo>
                  <a:pt x="554" y="8"/>
                  <a:pt x="554" y="8"/>
                  <a:pt x="555" y="8"/>
                </a:cubicBezTo>
                <a:cubicBezTo>
                  <a:pt x="554" y="8"/>
                  <a:pt x="554" y="7"/>
                  <a:pt x="553" y="8"/>
                </a:cubicBezTo>
                <a:close/>
                <a:moveTo>
                  <a:pt x="1569" y="42"/>
                </a:moveTo>
                <a:cubicBezTo>
                  <a:pt x="1569" y="41"/>
                  <a:pt x="1569" y="41"/>
                  <a:pt x="1569" y="41"/>
                </a:cubicBezTo>
                <a:cubicBezTo>
                  <a:pt x="1569" y="41"/>
                  <a:pt x="1569" y="41"/>
                  <a:pt x="1569" y="42"/>
                </a:cubicBezTo>
                <a:close/>
                <a:moveTo>
                  <a:pt x="984" y="8"/>
                </a:moveTo>
                <a:cubicBezTo>
                  <a:pt x="984" y="8"/>
                  <a:pt x="985" y="8"/>
                  <a:pt x="985" y="8"/>
                </a:cubicBezTo>
                <a:cubicBezTo>
                  <a:pt x="984" y="8"/>
                  <a:pt x="984" y="7"/>
                  <a:pt x="984" y="8"/>
                </a:cubicBezTo>
                <a:close/>
                <a:moveTo>
                  <a:pt x="1015" y="8"/>
                </a:moveTo>
                <a:cubicBezTo>
                  <a:pt x="1015" y="8"/>
                  <a:pt x="1016" y="8"/>
                  <a:pt x="1016" y="8"/>
                </a:cubicBezTo>
                <a:cubicBezTo>
                  <a:pt x="1016" y="7"/>
                  <a:pt x="1015" y="8"/>
                  <a:pt x="1015" y="8"/>
                </a:cubicBezTo>
                <a:close/>
                <a:moveTo>
                  <a:pt x="1183" y="15"/>
                </a:moveTo>
                <a:cubicBezTo>
                  <a:pt x="1184" y="15"/>
                  <a:pt x="1184" y="15"/>
                  <a:pt x="1185" y="15"/>
                </a:cubicBezTo>
                <a:cubicBezTo>
                  <a:pt x="1184" y="15"/>
                  <a:pt x="1184" y="14"/>
                  <a:pt x="1183" y="15"/>
                </a:cubicBezTo>
                <a:close/>
                <a:moveTo>
                  <a:pt x="1481" y="19"/>
                </a:moveTo>
                <a:cubicBezTo>
                  <a:pt x="1482" y="19"/>
                  <a:pt x="1482" y="19"/>
                  <a:pt x="1482" y="19"/>
                </a:cubicBezTo>
                <a:cubicBezTo>
                  <a:pt x="1482" y="19"/>
                  <a:pt x="1482" y="19"/>
                  <a:pt x="1481" y="19"/>
                </a:cubicBezTo>
                <a:close/>
                <a:moveTo>
                  <a:pt x="1430" y="8"/>
                </a:moveTo>
                <a:cubicBezTo>
                  <a:pt x="1430" y="8"/>
                  <a:pt x="1430" y="8"/>
                  <a:pt x="1431" y="8"/>
                </a:cubicBezTo>
                <a:cubicBezTo>
                  <a:pt x="1430" y="8"/>
                  <a:pt x="1430" y="7"/>
                  <a:pt x="1430" y="8"/>
                </a:cubicBezTo>
                <a:close/>
                <a:moveTo>
                  <a:pt x="1452" y="8"/>
                </a:moveTo>
                <a:cubicBezTo>
                  <a:pt x="1452" y="8"/>
                  <a:pt x="1452" y="8"/>
                  <a:pt x="1453" y="8"/>
                </a:cubicBezTo>
                <a:cubicBezTo>
                  <a:pt x="1452" y="7"/>
                  <a:pt x="1452" y="8"/>
                  <a:pt x="1452" y="8"/>
                </a:cubicBezTo>
                <a:close/>
                <a:moveTo>
                  <a:pt x="1580" y="44"/>
                </a:moveTo>
                <a:cubicBezTo>
                  <a:pt x="1579" y="44"/>
                  <a:pt x="1579" y="44"/>
                  <a:pt x="1579" y="45"/>
                </a:cubicBezTo>
                <a:cubicBezTo>
                  <a:pt x="1580" y="45"/>
                  <a:pt x="1580" y="44"/>
                  <a:pt x="1580" y="44"/>
                </a:cubicBezTo>
                <a:close/>
                <a:moveTo>
                  <a:pt x="1570" y="39"/>
                </a:moveTo>
                <a:cubicBezTo>
                  <a:pt x="1570" y="39"/>
                  <a:pt x="1570" y="39"/>
                  <a:pt x="1570" y="38"/>
                </a:cubicBezTo>
                <a:cubicBezTo>
                  <a:pt x="1569" y="38"/>
                  <a:pt x="1570" y="39"/>
                  <a:pt x="1570" y="39"/>
                </a:cubicBezTo>
                <a:close/>
                <a:moveTo>
                  <a:pt x="1738" y="39"/>
                </a:moveTo>
                <a:cubicBezTo>
                  <a:pt x="1738" y="39"/>
                  <a:pt x="1738" y="39"/>
                  <a:pt x="1738" y="38"/>
                </a:cubicBezTo>
                <a:cubicBezTo>
                  <a:pt x="1738" y="38"/>
                  <a:pt x="1738" y="39"/>
                  <a:pt x="1738" y="39"/>
                </a:cubicBezTo>
                <a:close/>
                <a:moveTo>
                  <a:pt x="1480" y="31"/>
                </a:moveTo>
                <a:cubicBezTo>
                  <a:pt x="1479" y="31"/>
                  <a:pt x="1479" y="31"/>
                  <a:pt x="1479" y="31"/>
                </a:cubicBezTo>
                <a:cubicBezTo>
                  <a:pt x="1479" y="31"/>
                  <a:pt x="1479" y="31"/>
                  <a:pt x="1480" y="31"/>
                </a:cubicBezTo>
                <a:close/>
                <a:moveTo>
                  <a:pt x="1289" y="57"/>
                </a:moveTo>
                <a:cubicBezTo>
                  <a:pt x="1289" y="57"/>
                  <a:pt x="1289" y="58"/>
                  <a:pt x="1289" y="58"/>
                </a:cubicBezTo>
                <a:cubicBezTo>
                  <a:pt x="1289" y="58"/>
                  <a:pt x="1289" y="57"/>
                  <a:pt x="1289" y="57"/>
                </a:cubicBezTo>
                <a:close/>
                <a:moveTo>
                  <a:pt x="605" y="36"/>
                </a:moveTo>
                <a:cubicBezTo>
                  <a:pt x="605" y="36"/>
                  <a:pt x="605" y="37"/>
                  <a:pt x="605" y="37"/>
                </a:cubicBezTo>
                <a:cubicBezTo>
                  <a:pt x="605" y="36"/>
                  <a:pt x="605" y="36"/>
                  <a:pt x="605" y="36"/>
                </a:cubicBezTo>
                <a:close/>
                <a:moveTo>
                  <a:pt x="1412" y="33"/>
                </a:moveTo>
                <a:cubicBezTo>
                  <a:pt x="1412" y="32"/>
                  <a:pt x="1412" y="32"/>
                  <a:pt x="1412" y="32"/>
                </a:cubicBezTo>
                <a:cubicBezTo>
                  <a:pt x="1412" y="32"/>
                  <a:pt x="1412" y="32"/>
                  <a:pt x="1412" y="33"/>
                </a:cubicBezTo>
                <a:close/>
                <a:moveTo>
                  <a:pt x="983" y="8"/>
                </a:moveTo>
                <a:cubicBezTo>
                  <a:pt x="983" y="8"/>
                  <a:pt x="983" y="8"/>
                  <a:pt x="984" y="8"/>
                </a:cubicBezTo>
                <a:cubicBezTo>
                  <a:pt x="983" y="8"/>
                  <a:pt x="983" y="8"/>
                  <a:pt x="983" y="8"/>
                </a:cubicBezTo>
                <a:close/>
                <a:moveTo>
                  <a:pt x="1182" y="15"/>
                </a:moveTo>
                <a:cubicBezTo>
                  <a:pt x="1183" y="15"/>
                  <a:pt x="1183" y="15"/>
                  <a:pt x="1184" y="15"/>
                </a:cubicBezTo>
                <a:cubicBezTo>
                  <a:pt x="1183" y="15"/>
                  <a:pt x="1183" y="15"/>
                  <a:pt x="1182" y="15"/>
                </a:cubicBezTo>
                <a:close/>
                <a:moveTo>
                  <a:pt x="652" y="44"/>
                </a:moveTo>
                <a:cubicBezTo>
                  <a:pt x="652" y="44"/>
                  <a:pt x="652" y="45"/>
                  <a:pt x="652" y="45"/>
                </a:cubicBezTo>
                <a:cubicBezTo>
                  <a:pt x="652" y="45"/>
                  <a:pt x="652" y="44"/>
                  <a:pt x="652" y="44"/>
                </a:cubicBezTo>
                <a:close/>
                <a:moveTo>
                  <a:pt x="616" y="67"/>
                </a:moveTo>
                <a:cubicBezTo>
                  <a:pt x="616" y="67"/>
                  <a:pt x="616" y="67"/>
                  <a:pt x="616" y="68"/>
                </a:cubicBezTo>
                <a:cubicBezTo>
                  <a:pt x="616" y="67"/>
                  <a:pt x="616" y="67"/>
                  <a:pt x="616" y="67"/>
                </a:cubicBezTo>
                <a:close/>
                <a:moveTo>
                  <a:pt x="1143" y="54"/>
                </a:moveTo>
                <a:cubicBezTo>
                  <a:pt x="1143" y="53"/>
                  <a:pt x="1143" y="53"/>
                  <a:pt x="1143" y="53"/>
                </a:cubicBezTo>
                <a:cubicBezTo>
                  <a:pt x="1143" y="53"/>
                  <a:pt x="1143" y="54"/>
                  <a:pt x="1143" y="54"/>
                </a:cubicBezTo>
                <a:close/>
                <a:moveTo>
                  <a:pt x="1181" y="16"/>
                </a:moveTo>
                <a:cubicBezTo>
                  <a:pt x="1182" y="16"/>
                  <a:pt x="1182" y="16"/>
                  <a:pt x="1182" y="15"/>
                </a:cubicBezTo>
                <a:cubicBezTo>
                  <a:pt x="1182" y="15"/>
                  <a:pt x="1182" y="15"/>
                  <a:pt x="1181" y="16"/>
                </a:cubicBezTo>
                <a:close/>
                <a:moveTo>
                  <a:pt x="804" y="53"/>
                </a:moveTo>
                <a:cubicBezTo>
                  <a:pt x="804" y="53"/>
                  <a:pt x="804" y="54"/>
                  <a:pt x="805" y="54"/>
                </a:cubicBezTo>
                <a:cubicBezTo>
                  <a:pt x="805" y="54"/>
                  <a:pt x="805" y="53"/>
                  <a:pt x="804" y="53"/>
                </a:cubicBezTo>
                <a:close/>
                <a:moveTo>
                  <a:pt x="1567" y="8"/>
                </a:moveTo>
                <a:cubicBezTo>
                  <a:pt x="1567" y="8"/>
                  <a:pt x="1567" y="8"/>
                  <a:pt x="1568" y="8"/>
                </a:cubicBezTo>
                <a:cubicBezTo>
                  <a:pt x="1568" y="8"/>
                  <a:pt x="1567" y="8"/>
                  <a:pt x="1567" y="8"/>
                </a:cubicBezTo>
                <a:close/>
                <a:moveTo>
                  <a:pt x="1669" y="57"/>
                </a:moveTo>
                <a:cubicBezTo>
                  <a:pt x="1668" y="57"/>
                  <a:pt x="1668" y="57"/>
                  <a:pt x="1668" y="57"/>
                </a:cubicBezTo>
                <a:cubicBezTo>
                  <a:pt x="1668" y="57"/>
                  <a:pt x="1669" y="57"/>
                  <a:pt x="1669" y="57"/>
                </a:cubicBezTo>
                <a:close/>
                <a:moveTo>
                  <a:pt x="1735" y="8"/>
                </a:moveTo>
                <a:cubicBezTo>
                  <a:pt x="1735" y="8"/>
                  <a:pt x="1735" y="8"/>
                  <a:pt x="1736" y="8"/>
                </a:cubicBezTo>
                <a:cubicBezTo>
                  <a:pt x="1736" y="8"/>
                  <a:pt x="1735" y="8"/>
                  <a:pt x="1735" y="8"/>
                </a:cubicBezTo>
                <a:close/>
                <a:moveTo>
                  <a:pt x="552" y="9"/>
                </a:moveTo>
                <a:cubicBezTo>
                  <a:pt x="552" y="9"/>
                  <a:pt x="552" y="9"/>
                  <a:pt x="553" y="8"/>
                </a:cubicBezTo>
                <a:cubicBezTo>
                  <a:pt x="552" y="8"/>
                  <a:pt x="552" y="8"/>
                  <a:pt x="552" y="9"/>
                </a:cubicBezTo>
                <a:close/>
                <a:moveTo>
                  <a:pt x="830" y="53"/>
                </a:moveTo>
                <a:cubicBezTo>
                  <a:pt x="830" y="53"/>
                  <a:pt x="829" y="53"/>
                  <a:pt x="829" y="54"/>
                </a:cubicBezTo>
                <a:cubicBezTo>
                  <a:pt x="830" y="54"/>
                  <a:pt x="830" y="53"/>
                  <a:pt x="830" y="53"/>
                </a:cubicBezTo>
                <a:close/>
                <a:moveTo>
                  <a:pt x="982" y="9"/>
                </a:moveTo>
                <a:cubicBezTo>
                  <a:pt x="982" y="9"/>
                  <a:pt x="982" y="9"/>
                  <a:pt x="983" y="8"/>
                </a:cubicBezTo>
                <a:cubicBezTo>
                  <a:pt x="982" y="8"/>
                  <a:pt x="982" y="8"/>
                  <a:pt x="982" y="9"/>
                </a:cubicBezTo>
                <a:close/>
                <a:moveTo>
                  <a:pt x="1017" y="8"/>
                </a:moveTo>
                <a:cubicBezTo>
                  <a:pt x="1018" y="9"/>
                  <a:pt x="1018" y="9"/>
                  <a:pt x="1018" y="9"/>
                </a:cubicBezTo>
                <a:cubicBezTo>
                  <a:pt x="1018" y="8"/>
                  <a:pt x="1018" y="8"/>
                  <a:pt x="1017" y="8"/>
                </a:cubicBezTo>
                <a:close/>
                <a:moveTo>
                  <a:pt x="1016" y="19"/>
                </a:moveTo>
                <a:cubicBezTo>
                  <a:pt x="1016" y="19"/>
                  <a:pt x="1016" y="19"/>
                  <a:pt x="1015" y="19"/>
                </a:cubicBezTo>
                <a:cubicBezTo>
                  <a:pt x="1016" y="19"/>
                  <a:pt x="1016" y="19"/>
                  <a:pt x="1016" y="19"/>
                </a:cubicBezTo>
                <a:close/>
                <a:moveTo>
                  <a:pt x="1180" y="16"/>
                </a:moveTo>
                <a:cubicBezTo>
                  <a:pt x="1181" y="16"/>
                  <a:pt x="1181" y="16"/>
                  <a:pt x="1181" y="16"/>
                </a:cubicBezTo>
                <a:cubicBezTo>
                  <a:pt x="1181" y="16"/>
                  <a:pt x="1181" y="15"/>
                  <a:pt x="1180" y="16"/>
                </a:cubicBezTo>
                <a:close/>
                <a:moveTo>
                  <a:pt x="1364" y="16"/>
                </a:moveTo>
                <a:cubicBezTo>
                  <a:pt x="1364" y="16"/>
                  <a:pt x="1364" y="16"/>
                  <a:pt x="1363" y="16"/>
                </a:cubicBezTo>
                <a:cubicBezTo>
                  <a:pt x="1364" y="16"/>
                  <a:pt x="1364" y="16"/>
                  <a:pt x="1364" y="16"/>
                </a:cubicBezTo>
                <a:close/>
                <a:moveTo>
                  <a:pt x="615" y="66"/>
                </a:moveTo>
                <a:cubicBezTo>
                  <a:pt x="615" y="66"/>
                  <a:pt x="615" y="66"/>
                  <a:pt x="616" y="67"/>
                </a:cubicBezTo>
                <a:cubicBezTo>
                  <a:pt x="616" y="66"/>
                  <a:pt x="616" y="66"/>
                  <a:pt x="615" y="66"/>
                </a:cubicBezTo>
                <a:close/>
                <a:moveTo>
                  <a:pt x="853" y="33"/>
                </a:moveTo>
                <a:cubicBezTo>
                  <a:pt x="854" y="33"/>
                  <a:pt x="854" y="33"/>
                  <a:pt x="855" y="33"/>
                </a:cubicBezTo>
                <a:cubicBezTo>
                  <a:pt x="854" y="33"/>
                  <a:pt x="854" y="33"/>
                  <a:pt x="853" y="33"/>
                </a:cubicBezTo>
                <a:close/>
                <a:moveTo>
                  <a:pt x="1480" y="19"/>
                </a:moveTo>
                <a:cubicBezTo>
                  <a:pt x="1481" y="19"/>
                  <a:pt x="1481" y="19"/>
                  <a:pt x="1481" y="19"/>
                </a:cubicBezTo>
                <a:cubicBezTo>
                  <a:pt x="1481" y="19"/>
                  <a:pt x="1481" y="19"/>
                  <a:pt x="1480" y="19"/>
                </a:cubicBezTo>
                <a:close/>
                <a:moveTo>
                  <a:pt x="1559" y="16"/>
                </a:moveTo>
                <a:cubicBezTo>
                  <a:pt x="1559" y="16"/>
                  <a:pt x="1558" y="16"/>
                  <a:pt x="1558" y="16"/>
                </a:cubicBezTo>
                <a:cubicBezTo>
                  <a:pt x="1558" y="16"/>
                  <a:pt x="1559" y="16"/>
                  <a:pt x="1559" y="16"/>
                </a:cubicBezTo>
                <a:close/>
                <a:moveTo>
                  <a:pt x="1727" y="16"/>
                </a:moveTo>
                <a:cubicBezTo>
                  <a:pt x="1727" y="16"/>
                  <a:pt x="1727" y="16"/>
                  <a:pt x="1726" y="16"/>
                </a:cubicBezTo>
                <a:cubicBezTo>
                  <a:pt x="1726" y="16"/>
                  <a:pt x="1727" y="16"/>
                  <a:pt x="1727" y="16"/>
                </a:cubicBezTo>
                <a:close/>
                <a:moveTo>
                  <a:pt x="605" y="37"/>
                </a:moveTo>
                <a:cubicBezTo>
                  <a:pt x="605" y="37"/>
                  <a:pt x="605" y="38"/>
                  <a:pt x="606" y="38"/>
                </a:cubicBezTo>
                <a:cubicBezTo>
                  <a:pt x="606" y="37"/>
                  <a:pt x="606" y="37"/>
                  <a:pt x="605" y="37"/>
                </a:cubicBezTo>
                <a:close/>
                <a:moveTo>
                  <a:pt x="606" y="38"/>
                </a:moveTo>
                <a:cubicBezTo>
                  <a:pt x="606" y="38"/>
                  <a:pt x="606" y="39"/>
                  <a:pt x="606" y="39"/>
                </a:cubicBezTo>
                <a:cubicBezTo>
                  <a:pt x="606" y="38"/>
                  <a:pt x="606" y="38"/>
                  <a:pt x="606" y="38"/>
                </a:cubicBezTo>
                <a:close/>
                <a:moveTo>
                  <a:pt x="670" y="53"/>
                </a:moveTo>
                <a:cubicBezTo>
                  <a:pt x="670" y="54"/>
                  <a:pt x="670" y="54"/>
                  <a:pt x="670" y="54"/>
                </a:cubicBezTo>
                <a:cubicBezTo>
                  <a:pt x="670" y="54"/>
                  <a:pt x="670" y="53"/>
                  <a:pt x="670" y="53"/>
                </a:cubicBezTo>
                <a:close/>
                <a:moveTo>
                  <a:pt x="981" y="9"/>
                </a:moveTo>
                <a:cubicBezTo>
                  <a:pt x="981" y="9"/>
                  <a:pt x="981" y="9"/>
                  <a:pt x="982" y="9"/>
                </a:cubicBezTo>
                <a:cubicBezTo>
                  <a:pt x="981" y="9"/>
                  <a:pt x="981" y="8"/>
                  <a:pt x="981" y="9"/>
                </a:cubicBezTo>
                <a:close/>
                <a:moveTo>
                  <a:pt x="674" y="34"/>
                </a:moveTo>
                <a:cubicBezTo>
                  <a:pt x="674" y="34"/>
                  <a:pt x="675" y="34"/>
                  <a:pt x="675" y="33"/>
                </a:cubicBezTo>
                <a:cubicBezTo>
                  <a:pt x="675" y="33"/>
                  <a:pt x="674" y="33"/>
                  <a:pt x="674" y="34"/>
                </a:cubicBezTo>
                <a:close/>
                <a:moveTo>
                  <a:pt x="1363" y="16"/>
                </a:moveTo>
                <a:cubicBezTo>
                  <a:pt x="1363" y="16"/>
                  <a:pt x="1362" y="16"/>
                  <a:pt x="1362" y="16"/>
                </a:cubicBezTo>
                <a:cubicBezTo>
                  <a:pt x="1362" y="16"/>
                  <a:pt x="1363" y="16"/>
                  <a:pt x="1363" y="16"/>
                </a:cubicBezTo>
                <a:close/>
                <a:moveTo>
                  <a:pt x="1376" y="16"/>
                </a:moveTo>
                <a:cubicBezTo>
                  <a:pt x="1376" y="16"/>
                  <a:pt x="1375" y="16"/>
                  <a:pt x="1375" y="16"/>
                </a:cubicBezTo>
                <a:cubicBezTo>
                  <a:pt x="1375" y="16"/>
                  <a:pt x="1376" y="16"/>
                  <a:pt x="1376" y="16"/>
                </a:cubicBezTo>
                <a:close/>
                <a:moveTo>
                  <a:pt x="690" y="33"/>
                </a:moveTo>
                <a:cubicBezTo>
                  <a:pt x="690" y="34"/>
                  <a:pt x="691" y="34"/>
                  <a:pt x="691" y="34"/>
                </a:cubicBezTo>
                <a:cubicBezTo>
                  <a:pt x="691" y="33"/>
                  <a:pt x="690" y="33"/>
                  <a:pt x="690" y="33"/>
                </a:cubicBezTo>
                <a:close/>
                <a:moveTo>
                  <a:pt x="1301" y="43"/>
                </a:moveTo>
                <a:cubicBezTo>
                  <a:pt x="1301" y="43"/>
                  <a:pt x="1301" y="43"/>
                  <a:pt x="1300" y="44"/>
                </a:cubicBezTo>
                <a:cubicBezTo>
                  <a:pt x="1301" y="44"/>
                  <a:pt x="1301" y="44"/>
                  <a:pt x="1301" y="43"/>
                </a:cubicBezTo>
                <a:close/>
                <a:moveTo>
                  <a:pt x="770" y="34"/>
                </a:moveTo>
                <a:cubicBezTo>
                  <a:pt x="770" y="34"/>
                  <a:pt x="771" y="34"/>
                  <a:pt x="771" y="33"/>
                </a:cubicBezTo>
                <a:cubicBezTo>
                  <a:pt x="771" y="33"/>
                  <a:pt x="770" y="33"/>
                  <a:pt x="770" y="34"/>
                </a:cubicBezTo>
                <a:close/>
                <a:moveTo>
                  <a:pt x="785" y="33"/>
                </a:moveTo>
                <a:cubicBezTo>
                  <a:pt x="786" y="34"/>
                  <a:pt x="786" y="34"/>
                  <a:pt x="787" y="34"/>
                </a:cubicBezTo>
                <a:cubicBezTo>
                  <a:pt x="786" y="33"/>
                  <a:pt x="786" y="33"/>
                  <a:pt x="785" y="33"/>
                </a:cubicBezTo>
                <a:close/>
                <a:moveTo>
                  <a:pt x="1548" y="16"/>
                </a:moveTo>
                <a:cubicBezTo>
                  <a:pt x="1547" y="16"/>
                  <a:pt x="1547" y="16"/>
                  <a:pt x="1546" y="16"/>
                </a:cubicBezTo>
                <a:cubicBezTo>
                  <a:pt x="1547" y="16"/>
                  <a:pt x="1547" y="16"/>
                  <a:pt x="1548" y="16"/>
                </a:cubicBezTo>
                <a:close/>
                <a:moveTo>
                  <a:pt x="1666" y="9"/>
                </a:moveTo>
                <a:cubicBezTo>
                  <a:pt x="1667" y="9"/>
                  <a:pt x="1667" y="9"/>
                  <a:pt x="1667" y="9"/>
                </a:cubicBezTo>
                <a:cubicBezTo>
                  <a:pt x="1667" y="9"/>
                  <a:pt x="1667" y="9"/>
                  <a:pt x="1666" y="9"/>
                </a:cubicBezTo>
                <a:close/>
                <a:moveTo>
                  <a:pt x="1581" y="23"/>
                </a:moveTo>
                <a:cubicBezTo>
                  <a:pt x="1581" y="24"/>
                  <a:pt x="1581" y="24"/>
                  <a:pt x="1581" y="24"/>
                </a:cubicBezTo>
                <a:cubicBezTo>
                  <a:pt x="1581" y="24"/>
                  <a:pt x="1581" y="23"/>
                  <a:pt x="1581" y="23"/>
                </a:cubicBezTo>
                <a:close/>
                <a:moveTo>
                  <a:pt x="1716" y="16"/>
                </a:moveTo>
                <a:cubicBezTo>
                  <a:pt x="1715" y="16"/>
                  <a:pt x="1715" y="16"/>
                  <a:pt x="1715" y="16"/>
                </a:cubicBezTo>
                <a:cubicBezTo>
                  <a:pt x="1715" y="16"/>
                  <a:pt x="1715" y="16"/>
                  <a:pt x="1716" y="16"/>
                </a:cubicBezTo>
                <a:close/>
                <a:moveTo>
                  <a:pt x="841" y="34"/>
                </a:moveTo>
                <a:cubicBezTo>
                  <a:pt x="842" y="34"/>
                  <a:pt x="842" y="34"/>
                  <a:pt x="842" y="33"/>
                </a:cubicBezTo>
                <a:cubicBezTo>
                  <a:pt x="842" y="33"/>
                  <a:pt x="842" y="33"/>
                  <a:pt x="841" y="34"/>
                </a:cubicBezTo>
                <a:close/>
                <a:moveTo>
                  <a:pt x="1395" y="43"/>
                </a:moveTo>
                <a:cubicBezTo>
                  <a:pt x="1395" y="44"/>
                  <a:pt x="1395" y="44"/>
                  <a:pt x="1395" y="44"/>
                </a:cubicBezTo>
                <a:cubicBezTo>
                  <a:pt x="1396" y="44"/>
                  <a:pt x="1395" y="44"/>
                  <a:pt x="1395" y="43"/>
                </a:cubicBezTo>
                <a:close/>
                <a:moveTo>
                  <a:pt x="615" y="65"/>
                </a:moveTo>
                <a:cubicBezTo>
                  <a:pt x="615" y="65"/>
                  <a:pt x="615" y="65"/>
                  <a:pt x="615" y="66"/>
                </a:cubicBezTo>
                <a:cubicBezTo>
                  <a:pt x="615" y="65"/>
                  <a:pt x="615" y="65"/>
                  <a:pt x="615" y="65"/>
                </a:cubicBezTo>
                <a:close/>
                <a:moveTo>
                  <a:pt x="718" y="17"/>
                </a:moveTo>
                <a:cubicBezTo>
                  <a:pt x="719" y="17"/>
                  <a:pt x="719" y="17"/>
                  <a:pt x="719" y="16"/>
                </a:cubicBezTo>
                <a:cubicBezTo>
                  <a:pt x="719" y="16"/>
                  <a:pt x="718" y="16"/>
                  <a:pt x="718" y="17"/>
                </a:cubicBezTo>
                <a:close/>
                <a:moveTo>
                  <a:pt x="1749" y="23"/>
                </a:moveTo>
                <a:cubicBezTo>
                  <a:pt x="1749" y="24"/>
                  <a:pt x="1749" y="24"/>
                  <a:pt x="1749" y="24"/>
                </a:cubicBezTo>
                <a:cubicBezTo>
                  <a:pt x="1749" y="24"/>
                  <a:pt x="1749" y="23"/>
                  <a:pt x="1749" y="23"/>
                </a:cubicBezTo>
                <a:close/>
                <a:moveTo>
                  <a:pt x="1479" y="20"/>
                </a:moveTo>
                <a:cubicBezTo>
                  <a:pt x="1480" y="20"/>
                  <a:pt x="1480" y="20"/>
                  <a:pt x="1480" y="19"/>
                </a:cubicBezTo>
                <a:cubicBezTo>
                  <a:pt x="1480" y="19"/>
                  <a:pt x="1480" y="19"/>
                  <a:pt x="1479" y="20"/>
                </a:cubicBezTo>
                <a:close/>
                <a:moveTo>
                  <a:pt x="1580" y="42"/>
                </a:moveTo>
                <a:cubicBezTo>
                  <a:pt x="1580" y="42"/>
                  <a:pt x="1580" y="42"/>
                  <a:pt x="1580" y="43"/>
                </a:cubicBezTo>
                <a:cubicBezTo>
                  <a:pt x="1580" y="42"/>
                  <a:pt x="1580" y="42"/>
                  <a:pt x="1580" y="42"/>
                </a:cubicBezTo>
                <a:close/>
                <a:moveTo>
                  <a:pt x="1362" y="16"/>
                </a:moveTo>
                <a:cubicBezTo>
                  <a:pt x="1362" y="16"/>
                  <a:pt x="1361" y="16"/>
                  <a:pt x="1361" y="17"/>
                </a:cubicBezTo>
                <a:cubicBezTo>
                  <a:pt x="1361" y="17"/>
                  <a:pt x="1362" y="17"/>
                  <a:pt x="1362" y="16"/>
                </a:cubicBezTo>
                <a:close/>
                <a:moveTo>
                  <a:pt x="1377" y="17"/>
                </a:moveTo>
                <a:cubicBezTo>
                  <a:pt x="1377" y="16"/>
                  <a:pt x="1376" y="16"/>
                  <a:pt x="1376" y="16"/>
                </a:cubicBezTo>
                <a:cubicBezTo>
                  <a:pt x="1376" y="17"/>
                  <a:pt x="1377" y="17"/>
                  <a:pt x="1377" y="17"/>
                </a:cubicBezTo>
                <a:close/>
                <a:moveTo>
                  <a:pt x="883" y="34"/>
                </a:moveTo>
                <a:cubicBezTo>
                  <a:pt x="883" y="34"/>
                  <a:pt x="883" y="34"/>
                  <a:pt x="884" y="33"/>
                </a:cubicBezTo>
                <a:cubicBezTo>
                  <a:pt x="883" y="33"/>
                  <a:pt x="883" y="33"/>
                  <a:pt x="883" y="34"/>
                </a:cubicBezTo>
                <a:close/>
                <a:moveTo>
                  <a:pt x="897" y="33"/>
                </a:moveTo>
                <a:cubicBezTo>
                  <a:pt x="898" y="34"/>
                  <a:pt x="898" y="34"/>
                  <a:pt x="898" y="34"/>
                </a:cubicBezTo>
                <a:cubicBezTo>
                  <a:pt x="898" y="33"/>
                  <a:pt x="898" y="33"/>
                  <a:pt x="897" y="33"/>
                </a:cubicBezTo>
                <a:close/>
                <a:moveTo>
                  <a:pt x="1068" y="33"/>
                </a:moveTo>
                <a:cubicBezTo>
                  <a:pt x="1068" y="34"/>
                  <a:pt x="1068" y="34"/>
                  <a:pt x="1069" y="34"/>
                </a:cubicBezTo>
                <a:cubicBezTo>
                  <a:pt x="1068" y="33"/>
                  <a:pt x="1068" y="33"/>
                  <a:pt x="1068" y="33"/>
                </a:cubicBezTo>
                <a:close/>
                <a:moveTo>
                  <a:pt x="1397" y="24"/>
                </a:moveTo>
                <a:cubicBezTo>
                  <a:pt x="1397" y="24"/>
                  <a:pt x="1397" y="24"/>
                  <a:pt x="1397" y="25"/>
                </a:cubicBezTo>
                <a:cubicBezTo>
                  <a:pt x="1397" y="24"/>
                  <a:pt x="1397" y="24"/>
                  <a:pt x="1397" y="24"/>
                </a:cubicBezTo>
                <a:close/>
                <a:moveTo>
                  <a:pt x="1124" y="34"/>
                </a:moveTo>
                <a:cubicBezTo>
                  <a:pt x="1125" y="34"/>
                  <a:pt x="1125" y="34"/>
                  <a:pt x="1126" y="33"/>
                </a:cubicBezTo>
                <a:cubicBezTo>
                  <a:pt x="1125" y="33"/>
                  <a:pt x="1125" y="33"/>
                  <a:pt x="1124" y="34"/>
                </a:cubicBezTo>
                <a:close/>
                <a:moveTo>
                  <a:pt x="1139" y="33"/>
                </a:moveTo>
                <a:cubicBezTo>
                  <a:pt x="1139" y="34"/>
                  <a:pt x="1140" y="34"/>
                  <a:pt x="1140" y="34"/>
                </a:cubicBezTo>
                <a:cubicBezTo>
                  <a:pt x="1140" y="33"/>
                  <a:pt x="1140" y="33"/>
                  <a:pt x="1139" y="33"/>
                </a:cubicBezTo>
                <a:close/>
                <a:moveTo>
                  <a:pt x="1683" y="24"/>
                </a:moveTo>
                <a:cubicBezTo>
                  <a:pt x="1683" y="24"/>
                  <a:pt x="1683" y="24"/>
                  <a:pt x="1683" y="25"/>
                </a:cubicBezTo>
                <a:cubicBezTo>
                  <a:pt x="1683" y="24"/>
                  <a:pt x="1683" y="24"/>
                  <a:pt x="1683" y="24"/>
                </a:cubicBezTo>
                <a:close/>
                <a:moveTo>
                  <a:pt x="1230" y="34"/>
                </a:moveTo>
                <a:cubicBezTo>
                  <a:pt x="1230" y="34"/>
                  <a:pt x="1231" y="34"/>
                  <a:pt x="1231" y="33"/>
                </a:cubicBezTo>
                <a:cubicBezTo>
                  <a:pt x="1231" y="33"/>
                  <a:pt x="1230" y="33"/>
                  <a:pt x="1230" y="34"/>
                </a:cubicBezTo>
                <a:close/>
                <a:moveTo>
                  <a:pt x="537" y="25"/>
                </a:moveTo>
                <a:cubicBezTo>
                  <a:pt x="538" y="25"/>
                  <a:pt x="538" y="24"/>
                  <a:pt x="538" y="24"/>
                </a:cubicBezTo>
                <a:cubicBezTo>
                  <a:pt x="537" y="24"/>
                  <a:pt x="537" y="25"/>
                  <a:pt x="537" y="25"/>
                </a:cubicBezTo>
                <a:close/>
                <a:moveTo>
                  <a:pt x="560" y="17"/>
                </a:moveTo>
                <a:cubicBezTo>
                  <a:pt x="560" y="17"/>
                  <a:pt x="559" y="17"/>
                  <a:pt x="559" y="17"/>
                </a:cubicBezTo>
                <a:cubicBezTo>
                  <a:pt x="559" y="17"/>
                  <a:pt x="560" y="17"/>
                  <a:pt x="560" y="17"/>
                </a:cubicBezTo>
                <a:close/>
                <a:moveTo>
                  <a:pt x="717" y="17"/>
                </a:moveTo>
                <a:cubicBezTo>
                  <a:pt x="717" y="17"/>
                  <a:pt x="718" y="17"/>
                  <a:pt x="718" y="17"/>
                </a:cubicBezTo>
                <a:cubicBezTo>
                  <a:pt x="718" y="17"/>
                  <a:pt x="717" y="16"/>
                  <a:pt x="717" y="17"/>
                </a:cubicBezTo>
                <a:close/>
                <a:moveTo>
                  <a:pt x="610" y="50"/>
                </a:moveTo>
                <a:cubicBezTo>
                  <a:pt x="610" y="50"/>
                  <a:pt x="610" y="50"/>
                  <a:pt x="610" y="51"/>
                </a:cubicBezTo>
                <a:cubicBezTo>
                  <a:pt x="610" y="50"/>
                  <a:pt x="610" y="50"/>
                  <a:pt x="610" y="50"/>
                </a:cubicBezTo>
                <a:close/>
                <a:moveTo>
                  <a:pt x="1478" y="20"/>
                </a:moveTo>
                <a:cubicBezTo>
                  <a:pt x="1479" y="20"/>
                  <a:pt x="1479" y="20"/>
                  <a:pt x="1479" y="20"/>
                </a:cubicBezTo>
                <a:cubicBezTo>
                  <a:pt x="1479" y="20"/>
                  <a:pt x="1479" y="20"/>
                  <a:pt x="1478" y="20"/>
                </a:cubicBezTo>
                <a:close/>
                <a:moveTo>
                  <a:pt x="1748" y="42"/>
                </a:moveTo>
                <a:cubicBezTo>
                  <a:pt x="1748" y="42"/>
                  <a:pt x="1748" y="42"/>
                  <a:pt x="1748" y="43"/>
                </a:cubicBezTo>
                <a:cubicBezTo>
                  <a:pt x="1749" y="42"/>
                  <a:pt x="1748" y="42"/>
                  <a:pt x="1748" y="42"/>
                </a:cubicBezTo>
                <a:close/>
                <a:moveTo>
                  <a:pt x="601" y="57"/>
                </a:moveTo>
                <a:cubicBezTo>
                  <a:pt x="601" y="56"/>
                  <a:pt x="601" y="56"/>
                  <a:pt x="600" y="56"/>
                </a:cubicBezTo>
                <a:cubicBezTo>
                  <a:pt x="600" y="56"/>
                  <a:pt x="600" y="56"/>
                  <a:pt x="601" y="57"/>
                </a:cubicBezTo>
                <a:close/>
                <a:moveTo>
                  <a:pt x="1245" y="33"/>
                </a:moveTo>
                <a:cubicBezTo>
                  <a:pt x="1246" y="34"/>
                  <a:pt x="1246" y="34"/>
                  <a:pt x="1246" y="34"/>
                </a:cubicBezTo>
                <a:cubicBezTo>
                  <a:pt x="1246" y="33"/>
                  <a:pt x="1246" y="33"/>
                  <a:pt x="1245" y="33"/>
                </a:cubicBezTo>
                <a:close/>
                <a:moveTo>
                  <a:pt x="608" y="44"/>
                </a:moveTo>
                <a:cubicBezTo>
                  <a:pt x="608" y="44"/>
                  <a:pt x="608" y="45"/>
                  <a:pt x="608" y="45"/>
                </a:cubicBezTo>
                <a:cubicBezTo>
                  <a:pt x="608" y="44"/>
                  <a:pt x="608" y="44"/>
                  <a:pt x="608" y="44"/>
                </a:cubicBezTo>
                <a:close/>
                <a:moveTo>
                  <a:pt x="641" y="43"/>
                </a:moveTo>
                <a:cubicBezTo>
                  <a:pt x="641" y="43"/>
                  <a:pt x="642" y="42"/>
                  <a:pt x="642" y="42"/>
                </a:cubicBezTo>
                <a:cubicBezTo>
                  <a:pt x="641" y="42"/>
                  <a:pt x="641" y="43"/>
                  <a:pt x="641" y="43"/>
                </a:cubicBezTo>
                <a:close/>
                <a:moveTo>
                  <a:pt x="1466" y="24"/>
                </a:moveTo>
                <a:cubicBezTo>
                  <a:pt x="1466" y="24"/>
                  <a:pt x="1466" y="25"/>
                  <a:pt x="1467" y="25"/>
                </a:cubicBezTo>
                <a:cubicBezTo>
                  <a:pt x="1467" y="25"/>
                  <a:pt x="1467" y="24"/>
                  <a:pt x="1466" y="24"/>
                </a:cubicBezTo>
                <a:close/>
                <a:moveTo>
                  <a:pt x="1301" y="34"/>
                </a:moveTo>
                <a:cubicBezTo>
                  <a:pt x="1302" y="34"/>
                  <a:pt x="1302" y="34"/>
                  <a:pt x="1302" y="33"/>
                </a:cubicBezTo>
                <a:cubicBezTo>
                  <a:pt x="1302" y="33"/>
                  <a:pt x="1301" y="33"/>
                  <a:pt x="1301" y="34"/>
                </a:cubicBezTo>
                <a:close/>
                <a:moveTo>
                  <a:pt x="1310" y="33"/>
                </a:moveTo>
                <a:cubicBezTo>
                  <a:pt x="1310" y="34"/>
                  <a:pt x="1311" y="34"/>
                  <a:pt x="1311" y="34"/>
                </a:cubicBezTo>
                <a:cubicBezTo>
                  <a:pt x="1311" y="33"/>
                  <a:pt x="1310" y="33"/>
                  <a:pt x="1310" y="33"/>
                </a:cubicBezTo>
                <a:close/>
                <a:moveTo>
                  <a:pt x="672" y="34"/>
                </a:moveTo>
                <a:cubicBezTo>
                  <a:pt x="673" y="34"/>
                  <a:pt x="673" y="34"/>
                  <a:pt x="674" y="34"/>
                </a:cubicBezTo>
                <a:cubicBezTo>
                  <a:pt x="673" y="34"/>
                  <a:pt x="673" y="34"/>
                  <a:pt x="672" y="34"/>
                </a:cubicBezTo>
                <a:close/>
                <a:moveTo>
                  <a:pt x="691" y="34"/>
                </a:moveTo>
                <a:cubicBezTo>
                  <a:pt x="691" y="34"/>
                  <a:pt x="692" y="34"/>
                  <a:pt x="692" y="34"/>
                </a:cubicBezTo>
                <a:cubicBezTo>
                  <a:pt x="692" y="34"/>
                  <a:pt x="692" y="34"/>
                  <a:pt x="691" y="34"/>
                </a:cubicBezTo>
                <a:close/>
                <a:moveTo>
                  <a:pt x="640" y="47"/>
                </a:moveTo>
                <a:cubicBezTo>
                  <a:pt x="640" y="47"/>
                  <a:pt x="640" y="46"/>
                  <a:pt x="640" y="46"/>
                </a:cubicBezTo>
                <a:cubicBezTo>
                  <a:pt x="640" y="46"/>
                  <a:pt x="640" y="46"/>
                  <a:pt x="640" y="47"/>
                </a:cubicBezTo>
                <a:close/>
                <a:moveTo>
                  <a:pt x="632" y="67"/>
                </a:moveTo>
                <a:cubicBezTo>
                  <a:pt x="633" y="66"/>
                  <a:pt x="633" y="66"/>
                  <a:pt x="633" y="66"/>
                </a:cubicBezTo>
                <a:cubicBezTo>
                  <a:pt x="632" y="66"/>
                  <a:pt x="632" y="66"/>
                  <a:pt x="632" y="67"/>
                </a:cubicBezTo>
                <a:close/>
                <a:moveTo>
                  <a:pt x="840" y="34"/>
                </a:moveTo>
                <a:cubicBezTo>
                  <a:pt x="841" y="34"/>
                  <a:pt x="841" y="34"/>
                  <a:pt x="841" y="34"/>
                </a:cubicBezTo>
                <a:cubicBezTo>
                  <a:pt x="841" y="34"/>
                  <a:pt x="841" y="34"/>
                  <a:pt x="840" y="34"/>
                </a:cubicBezTo>
                <a:close/>
                <a:moveTo>
                  <a:pt x="1264" y="52"/>
                </a:moveTo>
                <a:cubicBezTo>
                  <a:pt x="1264" y="53"/>
                  <a:pt x="1264" y="53"/>
                  <a:pt x="1265" y="54"/>
                </a:cubicBezTo>
                <a:cubicBezTo>
                  <a:pt x="1265" y="53"/>
                  <a:pt x="1265" y="53"/>
                  <a:pt x="1264" y="52"/>
                </a:cubicBezTo>
                <a:close/>
                <a:moveTo>
                  <a:pt x="632" y="68"/>
                </a:moveTo>
                <a:cubicBezTo>
                  <a:pt x="632" y="67"/>
                  <a:pt x="632" y="67"/>
                  <a:pt x="632" y="67"/>
                </a:cubicBezTo>
                <a:cubicBezTo>
                  <a:pt x="632" y="67"/>
                  <a:pt x="632" y="67"/>
                  <a:pt x="632" y="68"/>
                </a:cubicBezTo>
                <a:close/>
                <a:moveTo>
                  <a:pt x="559" y="17"/>
                </a:moveTo>
                <a:cubicBezTo>
                  <a:pt x="559" y="17"/>
                  <a:pt x="558" y="17"/>
                  <a:pt x="558" y="17"/>
                </a:cubicBezTo>
                <a:cubicBezTo>
                  <a:pt x="558" y="17"/>
                  <a:pt x="559" y="17"/>
                  <a:pt x="559" y="17"/>
                </a:cubicBezTo>
                <a:close/>
                <a:moveTo>
                  <a:pt x="576" y="17"/>
                </a:moveTo>
                <a:cubicBezTo>
                  <a:pt x="576" y="17"/>
                  <a:pt x="576" y="17"/>
                  <a:pt x="575" y="17"/>
                </a:cubicBezTo>
                <a:cubicBezTo>
                  <a:pt x="576" y="17"/>
                  <a:pt x="576" y="17"/>
                  <a:pt x="576" y="17"/>
                </a:cubicBezTo>
                <a:close/>
                <a:moveTo>
                  <a:pt x="716" y="17"/>
                </a:moveTo>
                <a:cubicBezTo>
                  <a:pt x="716" y="17"/>
                  <a:pt x="717" y="17"/>
                  <a:pt x="717" y="17"/>
                </a:cubicBezTo>
                <a:cubicBezTo>
                  <a:pt x="717" y="17"/>
                  <a:pt x="716" y="17"/>
                  <a:pt x="716" y="17"/>
                </a:cubicBezTo>
                <a:close/>
                <a:moveTo>
                  <a:pt x="989" y="17"/>
                </a:moveTo>
                <a:cubicBezTo>
                  <a:pt x="989" y="17"/>
                  <a:pt x="988" y="17"/>
                  <a:pt x="988" y="17"/>
                </a:cubicBezTo>
                <a:cubicBezTo>
                  <a:pt x="989" y="17"/>
                  <a:pt x="989" y="17"/>
                  <a:pt x="989" y="17"/>
                </a:cubicBezTo>
                <a:close/>
                <a:moveTo>
                  <a:pt x="1010" y="17"/>
                </a:moveTo>
                <a:cubicBezTo>
                  <a:pt x="1010" y="17"/>
                  <a:pt x="1009" y="17"/>
                  <a:pt x="1009" y="17"/>
                </a:cubicBezTo>
                <a:cubicBezTo>
                  <a:pt x="1009" y="17"/>
                  <a:pt x="1010" y="17"/>
                  <a:pt x="1010" y="17"/>
                </a:cubicBezTo>
                <a:close/>
                <a:moveTo>
                  <a:pt x="1477" y="21"/>
                </a:moveTo>
                <a:cubicBezTo>
                  <a:pt x="1478" y="20"/>
                  <a:pt x="1478" y="20"/>
                  <a:pt x="1478" y="20"/>
                </a:cubicBezTo>
                <a:cubicBezTo>
                  <a:pt x="1478" y="20"/>
                  <a:pt x="1477" y="20"/>
                  <a:pt x="1477" y="21"/>
                </a:cubicBezTo>
                <a:close/>
                <a:moveTo>
                  <a:pt x="1030" y="58"/>
                </a:moveTo>
                <a:cubicBezTo>
                  <a:pt x="1031" y="57"/>
                  <a:pt x="1031" y="57"/>
                  <a:pt x="1031" y="57"/>
                </a:cubicBezTo>
                <a:cubicBezTo>
                  <a:pt x="1030" y="57"/>
                  <a:pt x="1030" y="57"/>
                  <a:pt x="1030" y="58"/>
                </a:cubicBezTo>
                <a:close/>
                <a:moveTo>
                  <a:pt x="898" y="34"/>
                </a:moveTo>
                <a:cubicBezTo>
                  <a:pt x="899" y="34"/>
                  <a:pt x="899" y="34"/>
                  <a:pt x="899" y="34"/>
                </a:cubicBezTo>
                <a:cubicBezTo>
                  <a:pt x="899" y="34"/>
                  <a:pt x="899" y="34"/>
                  <a:pt x="898" y="34"/>
                </a:cubicBezTo>
                <a:close/>
                <a:moveTo>
                  <a:pt x="911" y="47"/>
                </a:moveTo>
                <a:cubicBezTo>
                  <a:pt x="911" y="47"/>
                  <a:pt x="911" y="48"/>
                  <a:pt x="911" y="48"/>
                </a:cubicBezTo>
                <a:cubicBezTo>
                  <a:pt x="911" y="48"/>
                  <a:pt x="911" y="47"/>
                  <a:pt x="911" y="47"/>
                </a:cubicBezTo>
                <a:close/>
                <a:moveTo>
                  <a:pt x="651" y="46"/>
                </a:moveTo>
                <a:cubicBezTo>
                  <a:pt x="651" y="46"/>
                  <a:pt x="651" y="46"/>
                  <a:pt x="651" y="47"/>
                </a:cubicBezTo>
                <a:cubicBezTo>
                  <a:pt x="651" y="47"/>
                  <a:pt x="651" y="46"/>
                  <a:pt x="651" y="46"/>
                </a:cubicBezTo>
                <a:close/>
                <a:moveTo>
                  <a:pt x="1051" y="34"/>
                </a:moveTo>
                <a:cubicBezTo>
                  <a:pt x="1051" y="34"/>
                  <a:pt x="1052" y="34"/>
                  <a:pt x="1052" y="34"/>
                </a:cubicBezTo>
                <a:cubicBezTo>
                  <a:pt x="1052" y="34"/>
                  <a:pt x="1051" y="34"/>
                  <a:pt x="1051" y="34"/>
                </a:cubicBezTo>
                <a:close/>
                <a:moveTo>
                  <a:pt x="804" y="50"/>
                </a:moveTo>
                <a:cubicBezTo>
                  <a:pt x="804" y="51"/>
                  <a:pt x="804" y="51"/>
                  <a:pt x="804" y="51"/>
                </a:cubicBezTo>
                <a:cubicBezTo>
                  <a:pt x="804" y="51"/>
                  <a:pt x="804" y="51"/>
                  <a:pt x="804" y="50"/>
                </a:cubicBezTo>
                <a:close/>
                <a:moveTo>
                  <a:pt x="1683" y="25"/>
                </a:moveTo>
                <a:cubicBezTo>
                  <a:pt x="1683" y="25"/>
                  <a:pt x="1683" y="25"/>
                  <a:pt x="1684" y="26"/>
                </a:cubicBezTo>
                <a:cubicBezTo>
                  <a:pt x="1684" y="25"/>
                  <a:pt x="1684" y="25"/>
                  <a:pt x="1683" y="25"/>
                </a:cubicBezTo>
                <a:close/>
                <a:moveTo>
                  <a:pt x="1069" y="34"/>
                </a:moveTo>
                <a:cubicBezTo>
                  <a:pt x="1069" y="34"/>
                  <a:pt x="1070" y="34"/>
                  <a:pt x="1070" y="34"/>
                </a:cubicBezTo>
                <a:cubicBezTo>
                  <a:pt x="1070" y="34"/>
                  <a:pt x="1069" y="34"/>
                  <a:pt x="1069" y="34"/>
                </a:cubicBezTo>
                <a:close/>
                <a:moveTo>
                  <a:pt x="638" y="51"/>
                </a:moveTo>
                <a:cubicBezTo>
                  <a:pt x="639" y="50"/>
                  <a:pt x="639" y="50"/>
                  <a:pt x="639" y="50"/>
                </a:cubicBezTo>
                <a:cubicBezTo>
                  <a:pt x="638" y="50"/>
                  <a:pt x="638" y="50"/>
                  <a:pt x="638" y="51"/>
                </a:cubicBezTo>
                <a:close/>
                <a:moveTo>
                  <a:pt x="1123" y="34"/>
                </a:moveTo>
                <a:cubicBezTo>
                  <a:pt x="1124" y="34"/>
                  <a:pt x="1124" y="34"/>
                  <a:pt x="1124" y="34"/>
                </a:cubicBezTo>
                <a:cubicBezTo>
                  <a:pt x="1124" y="34"/>
                  <a:pt x="1124" y="34"/>
                  <a:pt x="1123" y="34"/>
                </a:cubicBezTo>
                <a:close/>
                <a:moveTo>
                  <a:pt x="1140" y="34"/>
                </a:moveTo>
                <a:cubicBezTo>
                  <a:pt x="1141" y="34"/>
                  <a:pt x="1141" y="34"/>
                  <a:pt x="1141" y="34"/>
                </a:cubicBezTo>
                <a:cubicBezTo>
                  <a:pt x="1141" y="34"/>
                  <a:pt x="1141" y="34"/>
                  <a:pt x="1140" y="34"/>
                </a:cubicBezTo>
                <a:close/>
                <a:moveTo>
                  <a:pt x="1385" y="26"/>
                </a:moveTo>
                <a:cubicBezTo>
                  <a:pt x="1385" y="26"/>
                  <a:pt x="1385" y="25"/>
                  <a:pt x="1385" y="25"/>
                </a:cubicBezTo>
                <a:cubicBezTo>
                  <a:pt x="1385" y="25"/>
                  <a:pt x="1385" y="26"/>
                  <a:pt x="1385" y="26"/>
                </a:cubicBezTo>
                <a:close/>
                <a:moveTo>
                  <a:pt x="1414" y="26"/>
                </a:moveTo>
                <a:cubicBezTo>
                  <a:pt x="1414" y="26"/>
                  <a:pt x="1414" y="25"/>
                  <a:pt x="1414" y="25"/>
                </a:cubicBezTo>
                <a:cubicBezTo>
                  <a:pt x="1414" y="25"/>
                  <a:pt x="1414" y="26"/>
                  <a:pt x="1414" y="26"/>
                </a:cubicBezTo>
                <a:close/>
                <a:moveTo>
                  <a:pt x="952" y="43"/>
                </a:moveTo>
                <a:cubicBezTo>
                  <a:pt x="952" y="43"/>
                  <a:pt x="952" y="42"/>
                  <a:pt x="952" y="42"/>
                </a:cubicBezTo>
                <a:cubicBezTo>
                  <a:pt x="952" y="42"/>
                  <a:pt x="952" y="43"/>
                  <a:pt x="952" y="43"/>
                </a:cubicBezTo>
                <a:close/>
                <a:moveTo>
                  <a:pt x="1467" y="25"/>
                </a:moveTo>
                <a:cubicBezTo>
                  <a:pt x="1467" y="25"/>
                  <a:pt x="1467" y="26"/>
                  <a:pt x="1467" y="26"/>
                </a:cubicBezTo>
                <a:cubicBezTo>
                  <a:pt x="1467" y="26"/>
                  <a:pt x="1467" y="25"/>
                  <a:pt x="1467" y="25"/>
                </a:cubicBezTo>
                <a:close/>
                <a:moveTo>
                  <a:pt x="1229" y="34"/>
                </a:moveTo>
                <a:cubicBezTo>
                  <a:pt x="1229" y="34"/>
                  <a:pt x="1230" y="34"/>
                  <a:pt x="1230" y="34"/>
                </a:cubicBezTo>
                <a:cubicBezTo>
                  <a:pt x="1229" y="34"/>
                  <a:pt x="1229" y="34"/>
                  <a:pt x="1229" y="34"/>
                </a:cubicBezTo>
                <a:close/>
                <a:moveTo>
                  <a:pt x="715" y="18"/>
                </a:moveTo>
                <a:cubicBezTo>
                  <a:pt x="715" y="18"/>
                  <a:pt x="716" y="18"/>
                  <a:pt x="716" y="17"/>
                </a:cubicBezTo>
                <a:cubicBezTo>
                  <a:pt x="716" y="17"/>
                  <a:pt x="715" y="17"/>
                  <a:pt x="715" y="18"/>
                </a:cubicBezTo>
                <a:close/>
                <a:moveTo>
                  <a:pt x="988" y="17"/>
                </a:moveTo>
                <a:cubicBezTo>
                  <a:pt x="988" y="17"/>
                  <a:pt x="987" y="17"/>
                  <a:pt x="987" y="18"/>
                </a:cubicBezTo>
                <a:cubicBezTo>
                  <a:pt x="987" y="18"/>
                  <a:pt x="988" y="18"/>
                  <a:pt x="988" y="17"/>
                </a:cubicBezTo>
                <a:close/>
                <a:moveTo>
                  <a:pt x="1011" y="18"/>
                </a:moveTo>
                <a:cubicBezTo>
                  <a:pt x="1011" y="17"/>
                  <a:pt x="1011" y="17"/>
                  <a:pt x="1010" y="17"/>
                </a:cubicBezTo>
                <a:cubicBezTo>
                  <a:pt x="1010" y="18"/>
                  <a:pt x="1011" y="18"/>
                  <a:pt x="1011" y="18"/>
                </a:cubicBezTo>
                <a:close/>
                <a:moveTo>
                  <a:pt x="1247" y="34"/>
                </a:moveTo>
                <a:cubicBezTo>
                  <a:pt x="1247" y="34"/>
                  <a:pt x="1247" y="34"/>
                  <a:pt x="1248" y="34"/>
                </a:cubicBezTo>
                <a:cubicBezTo>
                  <a:pt x="1248" y="34"/>
                  <a:pt x="1247" y="34"/>
                  <a:pt x="1247" y="34"/>
                </a:cubicBezTo>
                <a:close/>
                <a:moveTo>
                  <a:pt x="1209" y="56"/>
                </a:moveTo>
                <a:cubicBezTo>
                  <a:pt x="1209" y="56"/>
                  <a:pt x="1209" y="56"/>
                  <a:pt x="1209" y="55"/>
                </a:cubicBezTo>
                <a:cubicBezTo>
                  <a:pt x="1208" y="55"/>
                  <a:pt x="1209" y="56"/>
                  <a:pt x="1209" y="56"/>
                </a:cubicBezTo>
                <a:close/>
                <a:moveTo>
                  <a:pt x="901" y="53"/>
                </a:moveTo>
                <a:cubicBezTo>
                  <a:pt x="901" y="53"/>
                  <a:pt x="901" y="53"/>
                  <a:pt x="901" y="52"/>
                </a:cubicBezTo>
                <a:cubicBezTo>
                  <a:pt x="901" y="53"/>
                  <a:pt x="900" y="53"/>
                  <a:pt x="901" y="53"/>
                </a:cubicBezTo>
                <a:close/>
                <a:moveTo>
                  <a:pt x="549" y="34"/>
                </a:moveTo>
                <a:cubicBezTo>
                  <a:pt x="549" y="34"/>
                  <a:pt x="549" y="35"/>
                  <a:pt x="549" y="35"/>
                </a:cubicBezTo>
                <a:cubicBezTo>
                  <a:pt x="549" y="35"/>
                  <a:pt x="549" y="34"/>
                  <a:pt x="549" y="34"/>
                </a:cubicBezTo>
                <a:close/>
                <a:moveTo>
                  <a:pt x="671" y="34"/>
                </a:moveTo>
                <a:cubicBezTo>
                  <a:pt x="672" y="34"/>
                  <a:pt x="672" y="34"/>
                  <a:pt x="673" y="34"/>
                </a:cubicBezTo>
                <a:cubicBezTo>
                  <a:pt x="672" y="34"/>
                  <a:pt x="672" y="34"/>
                  <a:pt x="671" y="34"/>
                </a:cubicBezTo>
                <a:close/>
                <a:moveTo>
                  <a:pt x="692" y="34"/>
                </a:moveTo>
                <a:cubicBezTo>
                  <a:pt x="693" y="34"/>
                  <a:pt x="693" y="34"/>
                  <a:pt x="693" y="34"/>
                </a:cubicBezTo>
                <a:cubicBezTo>
                  <a:pt x="693" y="34"/>
                  <a:pt x="693" y="34"/>
                  <a:pt x="692" y="34"/>
                </a:cubicBezTo>
                <a:close/>
                <a:moveTo>
                  <a:pt x="1581" y="40"/>
                </a:moveTo>
                <a:cubicBezTo>
                  <a:pt x="1580" y="41"/>
                  <a:pt x="1580" y="41"/>
                  <a:pt x="1580" y="42"/>
                </a:cubicBezTo>
                <a:cubicBezTo>
                  <a:pt x="1581" y="41"/>
                  <a:pt x="1581" y="41"/>
                  <a:pt x="1581" y="40"/>
                </a:cubicBezTo>
                <a:close/>
                <a:moveTo>
                  <a:pt x="653" y="42"/>
                </a:moveTo>
                <a:cubicBezTo>
                  <a:pt x="652" y="43"/>
                  <a:pt x="652" y="43"/>
                  <a:pt x="652" y="43"/>
                </a:cubicBezTo>
                <a:cubicBezTo>
                  <a:pt x="653" y="43"/>
                  <a:pt x="653" y="43"/>
                  <a:pt x="653" y="42"/>
                </a:cubicBezTo>
                <a:close/>
                <a:moveTo>
                  <a:pt x="678" y="42"/>
                </a:moveTo>
                <a:cubicBezTo>
                  <a:pt x="677" y="42"/>
                  <a:pt x="677" y="42"/>
                  <a:pt x="677" y="43"/>
                </a:cubicBezTo>
                <a:cubicBezTo>
                  <a:pt x="677" y="43"/>
                  <a:pt x="677" y="43"/>
                  <a:pt x="678" y="42"/>
                </a:cubicBezTo>
                <a:close/>
                <a:moveTo>
                  <a:pt x="604" y="65"/>
                </a:moveTo>
                <a:cubicBezTo>
                  <a:pt x="604" y="64"/>
                  <a:pt x="604" y="64"/>
                  <a:pt x="604" y="64"/>
                </a:cubicBezTo>
                <a:cubicBezTo>
                  <a:pt x="604" y="64"/>
                  <a:pt x="603" y="64"/>
                  <a:pt x="604" y="65"/>
                </a:cubicBezTo>
                <a:close/>
                <a:moveTo>
                  <a:pt x="610" y="51"/>
                </a:moveTo>
                <a:cubicBezTo>
                  <a:pt x="610" y="51"/>
                  <a:pt x="610" y="51"/>
                  <a:pt x="611" y="52"/>
                </a:cubicBezTo>
                <a:cubicBezTo>
                  <a:pt x="611" y="51"/>
                  <a:pt x="611" y="51"/>
                  <a:pt x="610" y="51"/>
                </a:cubicBezTo>
                <a:close/>
                <a:moveTo>
                  <a:pt x="1153" y="47"/>
                </a:moveTo>
                <a:cubicBezTo>
                  <a:pt x="1153" y="47"/>
                  <a:pt x="1153" y="48"/>
                  <a:pt x="1154" y="48"/>
                </a:cubicBezTo>
                <a:cubicBezTo>
                  <a:pt x="1154" y="48"/>
                  <a:pt x="1154" y="47"/>
                  <a:pt x="1153" y="47"/>
                </a:cubicBezTo>
                <a:close/>
                <a:moveTo>
                  <a:pt x="598" y="50"/>
                </a:moveTo>
                <a:cubicBezTo>
                  <a:pt x="598" y="50"/>
                  <a:pt x="598" y="50"/>
                  <a:pt x="598" y="49"/>
                </a:cubicBezTo>
                <a:cubicBezTo>
                  <a:pt x="598" y="50"/>
                  <a:pt x="598" y="50"/>
                  <a:pt x="598" y="50"/>
                </a:cubicBezTo>
                <a:close/>
                <a:moveTo>
                  <a:pt x="829" y="55"/>
                </a:moveTo>
                <a:cubicBezTo>
                  <a:pt x="829" y="55"/>
                  <a:pt x="829" y="56"/>
                  <a:pt x="829" y="56"/>
                </a:cubicBezTo>
                <a:cubicBezTo>
                  <a:pt x="829" y="56"/>
                  <a:pt x="829" y="55"/>
                  <a:pt x="829" y="55"/>
                </a:cubicBezTo>
                <a:close/>
                <a:moveTo>
                  <a:pt x="841" y="42"/>
                </a:moveTo>
                <a:cubicBezTo>
                  <a:pt x="841" y="42"/>
                  <a:pt x="840" y="42"/>
                  <a:pt x="840" y="43"/>
                </a:cubicBezTo>
                <a:cubicBezTo>
                  <a:pt x="840" y="43"/>
                  <a:pt x="841" y="43"/>
                  <a:pt x="841" y="42"/>
                </a:cubicBezTo>
                <a:close/>
                <a:moveTo>
                  <a:pt x="849" y="43"/>
                </a:moveTo>
                <a:cubicBezTo>
                  <a:pt x="849" y="42"/>
                  <a:pt x="848" y="42"/>
                  <a:pt x="848" y="42"/>
                </a:cubicBezTo>
                <a:cubicBezTo>
                  <a:pt x="848" y="43"/>
                  <a:pt x="849" y="43"/>
                  <a:pt x="849" y="43"/>
                </a:cubicBezTo>
                <a:close/>
                <a:moveTo>
                  <a:pt x="1385" y="39"/>
                </a:moveTo>
                <a:cubicBezTo>
                  <a:pt x="1386" y="39"/>
                  <a:pt x="1386" y="38"/>
                  <a:pt x="1386" y="38"/>
                </a:cubicBezTo>
                <a:cubicBezTo>
                  <a:pt x="1385" y="38"/>
                  <a:pt x="1385" y="39"/>
                  <a:pt x="1385" y="39"/>
                </a:cubicBezTo>
                <a:close/>
                <a:moveTo>
                  <a:pt x="1570" y="27"/>
                </a:moveTo>
                <a:cubicBezTo>
                  <a:pt x="1570" y="26"/>
                  <a:pt x="1570" y="26"/>
                  <a:pt x="1570" y="26"/>
                </a:cubicBezTo>
                <a:cubicBezTo>
                  <a:pt x="1570" y="26"/>
                  <a:pt x="1569" y="26"/>
                  <a:pt x="1570" y="27"/>
                </a:cubicBezTo>
                <a:close/>
                <a:moveTo>
                  <a:pt x="803" y="49"/>
                </a:moveTo>
                <a:cubicBezTo>
                  <a:pt x="803" y="50"/>
                  <a:pt x="803" y="50"/>
                  <a:pt x="804" y="50"/>
                </a:cubicBezTo>
                <a:cubicBezTo>
                  <a:pt x="804" y="50"/>
                  <a:pt x="804" y="50"/>
                  <a:pt x="803" y="49"/>
                </a:cubicBezTo>
                <a:close/>
                <a:moveTo>
                  <a:pt x="1738" y="27"/>
                </a:moveTo>
                <a:cubicBezTo>
                  <a:pt x="1738" y="26"/>
                  <a:pt x="1738" y="26"/>
                  <a:pt x="1738" y="26"/>
                </a:cubicBezTo>
                <a:cubicBezTo>
                  <a:pt x="1738" y="26"/>
                  <a:pt x="1738" y="26"/>
                  <a:pt x="1738" y="27"/>
                </a:cubicBezTo>
                <a:close/>
                <a:moveTo>
                  <a:pt x="892" y="43"/>
                </a:moveTo>
                <a:cubicBezTo>
                  <a:pt x="892" y="42"/>
                  <a:pt x="891" y="42"/>
                  <a:pt x="891" y="42"/>
                </a:cubicBezTo>
                <a:cubicBezTo>
                  <a:pt x="891" y="43"/>
                  <a:pt x="892" y="43"/>
                  <a:pt x="892" y="43"/>
                </a:cubicBezTo>
                <a:close/>
                <a:moveTo>
                  <a:pt x="964" y="42"/>
                </a:moveTo>
                <a:cubicBezTo>
                  <a:pt x="964" y="43"/>
                  <a:pt x="964" y="43"/>
                  <a:pt x="964" y="43"/>
                </a:cubicBezTo>
                <a:cubicBezTo>
                  <a:pt x="964" y="43"/>
                  <a:pt x="964" y="43"/>
                  <a:pt x="964" y="42"/>
                </a:cubicBezTo>
                <a:close/>
                <a:moveTo>
                  <a:pt x="1125" y="42"/>
                </a:moveTo>
                <a:cubicBezTo>
                  <a:pt x="1125" y="42"/>
                  <a:pt x="1124" y="42"/>
                  <a:pt x="1124" y="43"/>
                </a:cubicBezTo>
                <a:cubicBezTo>
                  <a:pt x="1124" y="43"/>
                  <a:pt x="1125" y="43"/>
                  <a:pt x="1125" y="42"/>
                </a:cubicBezTo>
                <a:close/>
                <a:moveTo>
                  <a:pt x="549" y="26"/>
                </a:moveTo>
                <a:cubicBezTo>
                  <a:pt x="549" y="26"/>
                  <a:pt x="549" y="27"/>
                  <a:pt x="549" y="27"/>
                </a:cubicBezTo>
                <a:cubicBezTo>
                  <a:pt x="549" y="27"/>
                  <a:pt x="549" y="26"/>
                  <a:pt x="549" y="26"/>
                </a:cubicBezTo>
                <a:close/>
                <a:moveTo>
                  <a:pt x="1737" y="42"/>
                </a:moveTo>
                <a:cubicBezTo>
                  <a:pt x="1737" y="41"/>
                  <a:pt x="1737" y="41"/>
                  <a:pt x="1737" y="41"/>
                </a:cubicBezTo>
                <a:cubicBezTo>
                  <a:pt x="1737" y="41"/>
                  <a:pt x="1737" y="41"/>
                  <a:pt x="1737" y="42"/>
                </a:cubicBezTo>
                <a:close/>
                <a:moveTo>
                  <a:pt x="1396" y="21"/>
                </a:moveTo>
                <a:cubicBezTo>
                  <a:pt x="1396" y="22"/>
                  <a:pt x="1396" y="22"/>
                  <a:pt x="1396" y="22"/>
                </a:cubicBezTo>
                <a:cubicBezTo>
                  <a:pt x="1396" y="22"/>
                  <a:pt x="1396" y="21"/>
                  <a:pt x="1396" y="21"/>
                </a:cubicBezTo>
                <a:close/>
                <a:moveTo>
                  <a:pt x="1013" y="18"/>
                </a:moveTo>
                <a:cubicBezTo>
                  <a:pt x="1012" y="18"/>
                  <a:pt x="1012" y="18"/>
                  <a:pt x="1012" y="18"/>
                </a:cubicBezTo>
                <a:cubicBezTo>
                  <a:pt x="1012" y="18"/>
                  <a:pt x="1012" y="18"/>
                  <a:pt x="1013" y="18"/>
                </a:cubicBezTo>
                <a:close/>
                <a:moveTo>
                  <a:pt x="1386" y="27"/>
                </a:moveTo>
                <a:cubicBezTo>
                  <a:pt x="1386" y="27"/>
                  <a:pt x="1386" y="26"/>
                  <a:pt x="1385" y="26"/>
                </a:cubicBezTo>
                <a:cubicBezTo>
                  <a:pt x="1385" y="26"/>
                  <a:pt x="1385" y="27"/>
                  <a:pt x="1386" y="27"/>
                </a:cubicBezTo>
                <a:close/>
                <a:moveTo>
                  <a:pt x="1050" y="34"/>
                </a:moveTo>
                <a:cubicBezTo>
                  <a:pt x="1050" y="34"/>
                  <a:pt x="1051" y="34"/>
                  <a:pt x="1051" y="34"/>
                </a:cubicBezTo>
                <a:cubicBezTo>
                  <a:pt x="1050" y="34"/>
                  <a:pt x="1050" y="34"/>
                  <a:pt x="1050" y="34"/>
                </a:cubicBezTo>
                <a:close/>
                <a:moveTo>
                  <a:pt x="1467" y="26"/>
                </a:moveTo>
                <a:cubicBezTo>
                  <a:pt x="1467" y="26"/>
                  <a:pt x="1467" y="27"/>
                  <a:pt x="1468" y="27"/>
                </a:cubicBezTo>
                <a:cubicBezTo>
                  <a:pt x="1468" y="27"/>
                  <a:pt x="1468" y="26"/>
                  <a:pt x="1467" y="26"/>
                </a:cubicBezTo>
                <a:close/>
                <a:moveTo>
                  <a:pt x="607" y="43"/>
                </a:moveTo>
                <a:cubicBezTo>
                  <a:pt x="607" y="43"/>
                  <a:pt x="607" y="43"/>
                  <a:pt x="608" y="44"/>
                </a:cubicBezTo>
                <a:cubicBezTo>
                  <a:pt x="608" y="43"/>
                  <a:pt x="608" y="43"/>
                  <a:pt x="607" y="43"/>
                </a:cubicBezTo>
                <a:close/>
                <a:moveTo>
                  <a:pt x="1070" y="34"/>
                </a:moveTo>
                <a:cubicBezTo>
                  <a:pt x="1070" y="34"/>
                  <a:pt x="1071" y="34"/>
                  <a:pt x="1071" y="34"/>
                </a:cubicBezTo>
                <a:cubicBezTo>
                  <a:pt x="1071" y="34"/>
                  <a:pt x="1070" y="34"/>
                  <a:pt x="1070" y="34"/>
                </a:cubicBezTo>
                <a:close/>
                <a:moveTo>
                  <a:pt x="643" y="68"/>
                </a:moveTo>
                <a:cubicBezTo>
                  <a:pt x="642" y="68"/>
                  <a:pt x="642" y="68"/>
                  <a:pt x="642" y="69"/>
                </a:cubicBezTo>
                <a:cubicBezTo>
                  <a:pt x="643" y="69"/>
                  <a:pt x="643" y="68"/>
                  <a:pt x="643" y="68"/>
                </a:cubicBezTo>
                <a:close/>
                <a:moveTo>
                  <a:pt x="1031" y="54"/>
                </a:moveTo>
                <a:cubicBezTo>
                  <a:pt x="1032" y="54"/>
                  <a:pt x="1032" y="54"/>
                  <a:pt x="1032" y="53"/>
                </a:cubicBezTo>
                <a:cubicBezTo>
                  <a:pt x="1031" y="53"/>
                  <a:pt x="1031" y="54"/>
                  <a:pt x="1031" y="54"/>
                </a:cubicBezTo>
                <a:close/>
                <a:moveTo>
                  <a:pt x="689" y="43"/>
                </a:moveTo>
                <a:cubicBezTo>
                  <a:pt x="688" y="43"/>
                  <a:pt x="688" y="43"/>
                  <a:pt x="687" y="43"/>
                </a:cubicBezTo>
                <a:cubicBezTo>
                  <a:pt x="688" y="43"/>
                  <a:pt x="688" y="43"/>
                  <a:pt x="689" y="43"/>
                </a:cubicBezTo>
                <a:close/>
                <a:moveTo>
                  <a:pt x="748" y="58"/>
                </a:moveTo>
                <a:cubicBezTo>
                  <a:pt x="748" y="58"/>
                  <a:pt x="748" y="58"/>
                  <a:pt x="748" y="57"/>
                </a:cubicBezTo>
                <a:cubicBezTo>
                  <a:pt x="748" y="58"/>
                  <a:pt x="748" y="58"/>
                  <a:pt x="748" y="58"/>
                </a:cubicBezTo>
                <a:close/>
                <a:moveTo>
                  <a:pt x="659" y="47"/>
                </a:moveTo>
                <a:cubicBezTo>
                  <a:pt x="659" y="47"/>
                  <a:pt x="659" y="47"/>
                  <a:pt x="659" y="46"/>
                </a:cubicBezTo>
                <a:cubicBezTo>
                  <a:pt x="659" y="46"/>
                  <a:pt x="659" y="47"/>
                  <a:pt x="659" y="47"/>
                </a:cubicBezTo>
                <a:close/>
                <a:moveTo>
                  <a:pt x="1248" y="34"/>
                </a:moveTo>
                <a:cubicBezTo>
                  <a:pt x="1248" y="34"/>
                  <a:pt x="1249" y="34"/>
                  <a:pt x="1249" y="34"/>
                </a:cubicBezTo>
                <a:cubicBezTo>
                  <a:pt x="1249" y="34"/>
                  <a:pt x="1248" y="34"/>
                  <a:pt x="1248" y="34"/>
                </a:cubicBezTo>
                <a:close/>
                <a:moveTo>
                  <a:pt x="602" y="58"/>
                </a:moveTo>
                <a:cubicBezTo>
                  <a:pt x="602" y="58"/>
                  <a:pt x="601" y="58"/>
                  <a:pt x="601" y="57"/>
                </a:cubicBezTo>
                <a:cubicBezTo>
                  <a:pt x="601" y="58"/>
                  <a:pt x="601" y="58"/>
                  <a:pt x="602" y="58"/>
                </a:cubicBezTo>
                <a:close/>
                <a:moveTo>
                  <a:pt x="580" y="18"/>
                </a:moveTo>
                <a:cubicBezTo>
                  <a:pt x="579" y="18"/>
                  <a:pt x="579" y="18"/>
                  <a:pt x="579" y="18"/>
                </a:cubicBezTo>
                <a:cubicBezTo>
                  <a:pt x="579" y="18"/>
                  <a:pt x="579" y="18"/>
                  <a:pt x="580" y="18"/>
                </a:cubicBezTo>
                <a:close/>
                <a:moveTo>
                  <a:pt x="850" y="43"/>
                </a:moveTo>
                <a:cubicBezTo>
                  <a:pt x="850" y="43"/>
                  <a:pt x="850" y="43"/>
                  <a:pt x="849" y="43"/>
                </a:cubicBezTo>
                <a:cubicBezTo>
                  <a:pt x="850" y="43"/>
                  <a:pt x="850" y="43"/>
                  <a:pt x="850" y="43"/>
                </a:cubicBezTo>
                <a:close/>
                <a:moveTo>
                  <a:pt x="1468" y="27"/>
                </a:moveTo>
                <a:cubicBezTo>
                  <a:pt x="1467" y="27"/>
                  <a:pt x="1468" y="28"/>
                  <a:pt x="1468" y="28"/>
                </a:cubicBezTo>
                <a:cubicBezTo>
                  <a:pt x="1468" y="28"/>
                  <a:pt x="1468" y="27"/>
                  <a:pt x="1468" y="27"/>
                </a:cubicBezTo>
                <a:close/>
                <a:moveTo>
                  <a:pt x="1014" y="18"/>
                </a:moveTo>
                <a:cubicBezTo>
                  <a:pt x="1013" y="18"/>
                  <a:pt x="1013" y="18"/>
                  <a:pt x="1013" y="18"/>
                </a:cubicBezTo>
                <a:cubicBezTo>
                  <a:pt x="1013" y="18"/>
                  <a:pt x="1013" y="18"/>
                  <a:pt x="1014" y="18"/>
                </a:cubicBezTo>
                <a:close/>
                <a:moveTo>
                  <a:pt x="893" y="43"/>
                </a:moveTo>
                <a:cubicBezTo>
                  <a:pt x="893" y="43"/>
                  <a:pt x="893" y="43"/>
                  <a:pt x="892" y="43"/>
                </a:cubicBezTo>
                <a:cubicBezTo>
                  <a:pt x="892" y="43"/>
                  <a:pt x="893" y="43"/>
                  <a:pt x="893" y="43"/>
                </a:cubicBezTo>
                <a:close/>
                <a:moveTo>
                  <a:pt x="954" y="37"/>
                </a:moveTo>
                <a:cubicBezTo>
                  <a:pt x="954" y="37"/>
                  <a:pt x="954" y="36"/>
                  <a:pt x="954" y="36"/>
                </a:cubicBezTo>
                <a:cubicBezTo>
                  <a:pt x="954" y="36"/>
                  <a:pt x="954" y="37"/>
                  <a:pt x="954" y="37"/>
                </a:cubicBezTo>
                <a:close/>
                <a:moveTo>
                  <a:pt x="911" y="46"/>
                </a:moveTo>
                <a:cubicBezTo>
                  <a:pt x="911" y="46"/>
                  <a:pt x="911" y="47"/>
                  <a:pt x="911" y="47"/>
                </a:cubicBezTo>
                <a:cubicBezTo>
                  <a:pt x="911" y="47"/>
                  <a:pt x="911" y="46"/>
                  <a:pt x="911" y="46"/>
                </a:cubicBezTo>
                <a:close/>
                <a:moveTo>
                  <a:pt x="1124" y="43"/>
                </a:moveTo>
                <a:cubicBezTo>
                  <a:pt x="1123" y="43"/>
                  <a:pt x="1123" y="43"/>
                  <a:pt x="1123" y="43"/>
                </a:cubicBezTo>
                <a:cubicBezTo>
                  <a:pt x="1123" y="43"/>
                  <a:pt x="1123" y="43"/>
                  <a:pt x="1124" y="43"/>
                </a:cubicBezTo>
                <a:close/>
                <a:moveTo>
                  <a:pt x="1135" y="43"/>
                </a:moveTo>
                <a:cubicBezTo>
                  <a:pt x="1134" y="43"/>
                  <a:pt x="1134" y="43"/>
                  <a:pt x="1134" y="43"/>
                </a:cubicBezTo>
                <a:cubicBezTo>
                  <a:pt x="1134" y="43"/>
                  <a:pt x="1134" y="43"/>
                  <a:pt x="1135" y="43"/>
                </a:cubicBezTo>
                <a:close/>
                <a:moveTo>
                  <a:pt x="608" y="45"/>
                </a:moveTo>
                <a:cubicBezTo>
                  <a:pt x="608" y="45"/>
                  <a:pt x="608" y="46"/>
                  <a:pt x="608" y="46"/>
                </a:cubicBezTo>
                <a:cubicBezTo>
                  <a:pt x="608" y="45"/>
                  <a:pt x="609" y="45"/>
                  <a:pt x="608" y="45"/>
                </a:cubicBezTo>
                <a:close/>
                <a:moveTo>
                  <a:pt x="964" y="41"/>
                </a:moveTo>
                <a:cubicBezTo>
                  <a:pt x="964" y="41"/>
                  <a:pt x="964" y="42"/>
                  <a:pt x="964" y="42"/>
                </a:cubicBezTo>
                <a:cubicBezTo>
                  <a:pt x="965" y="42"/>
                  <a:pt x="965" y="42"/>
                  <a:pt x="964" y="41"/>
                </a:cubicBezTo>
                <a:close/>
                <a:moveTo>
                  <a:pt x="804" y="51"/>
                </a:moveTo>
                <a:cubicBezTo>
                  <a:pt x="804" y="52"/>
                  <a:pt x="804" y="52"/>
                  <a:pt x="804" y="53"/>
                </a:cubicBezTo>
                <a:cubicBezTo>
                  <a:pt x="804" y="52"/>
                  <a:pt x="805" y="52"/>
                  <a:pt x="804" y="51"/>
                </a:cubicBezTo>
                <a:close/>
                <a:moveTo>
                  <a:pt x="644" y="36"/>
                </a:moveTo>
                <a:cubicBezTo>
                  <a:pt x="644" y="36"/>
                  <a:pt x="644" y="36"/>
                  <a:pt x="644" y="35"/>
                </a:cubicBezTo>
                <a:cubicBezTo>
                  <a:pt x="644" y="36"/>
                  <a:pt x="644" y="36"/>
                  <a:pt x="644" y="36"/>
                </a:cubicBezTo>
                <a:close/>
                <a:moveTo>
                  <a:pt x="643" y="66"/>
                </a:moveTo>
                <a:cubicBezTo>
                  <a:pt x="643" y="66"/>
                  <a:pt x="643" y="67"/>
                  <a:pt x="643" y="67"/>
                </a:cubicBezTo>
                <a:cubicBezTo>
                  <a:pt x="643" y="67"/>
                  <a:pt x="643" y="66"/>
                  <a:pt x="643" y="66"/>
                </a:cubicBezTo>
                <a:close/>
                <a:moveTo>
                  <a:pt x="900" y="51"/>
                </a:moveTo>
                <a:cubicBezTo>
                  <a:pt x="900" y="51"/>
                  <a:pt x="900" y="50"/>
                  <a:pt x="900" y="50"/>
                </a:cubicBezTo>
                <a:cubicBezTo>
                  <a:pt x="900" y="50"/>
                  <a:pt x="900" y="51"/>
                  <a:pt x="900" y="51"/>
                </a:cubicBezTo>
                <a:close/>
                <a:moveTo>
                  <a:pt x="1748" y="43"/>
                </a:moveTo>
                <a:cubicBezTo>
                  <a:pt x="1748" y="43"/>
                  <a:pt x="1748" y="43"/>
                  <a:pt x="1748" y="44"/>
                </a:cubicBezTo>
                <a:cubicBezTo>
                  <a:pt x="1748" y="43"/>
                  <a:pt x="1748" y="43"/>
                  <a:pt x="1748" y="43"/>
                </a:cubicBezTo>
                <a:close/>
                <a:moveTo>
                  <a:pt x="964" y="67"/>
                </a:moveTo>
                <a:cubicBezTo>
                  <a:pt x="964" y="68"/>
                  <a:pt x="964" y="68"/>
                  <a:pt x="964" y="69"/>
                </a:cubicBezTo>
                <a:cubicBezTo>
                  <a:pt x="964" y="68"/>
                  <a:pt x="964" y="68"/>
                  <a:pt x="964" y="67"/>
                </a:cubicBezTo>
                <a:close/>
                <a:moveTo>
                  <a:pt x="953" y="38"/>
                </a:moveTo>
                <a:cubicBezTo>
                  <a:pt x="954" y="38"/>
                  <a:pt x="954" y="38"/>
                  <a:pt x="954" y="37"/>
                </a:cubicBezTo>
                <a:cubicBezTo>
                  <a:pt x="953" y="37"/>
                  <a:pt x="953" y="38"/>
                  <a:pt x="953" y="38"/>
                </a:cubicBezTo>
                <a:close/>
                <a:moveTo>
                  <a:pt x="1580" y="22"/>
                </a:moveTo>
                <a:cubicBezTo>
                  <a:pt x="1580" y="22"/>
                  <a:pt x="1580" y="23"/>
                  <a:pt x="1581" y="23"/>
                </a:cubicBezTo>
                <a:cubicBezTo>
                  <a:pt x="1581" y="23"/>
                  <a:pt x="1581" y="22"/>
                  <a:pt x="1580" y="22"/>
                </a:cubicBezTo>
                <a:close/>
                <a:moveTo>
                  <a:pt x="1468" y="28"/>
                </a:moveTo>
                <a:cubicBezTo>
                  <a:pt x="1468" y="29"/>
                  <a:pt x="1468" y="29"/>
                  <a:pt x="1468" y="29"/>
                </a:cubicBezTo>
                <a:cubicBezTo>
                  <a:pt x="1468" y="29"/>
                  <a:pt x="1468" y="29"/>
                  <a:pt x="1468" y="28"/>
                </a:cubicBezTo>
                <a:close/>
                <a:moveTo>
                  <a:pt x="690" y="43"/>
                </a:moveTo>
                <a:cubicBezTo>
                  <a:pt x="690" y="43"/>
                  <a:pt x="689" y="43"/>
                  <a:pt x="689" y="43"/>
                </a:cubicBezTo>
                <a:cubicBezTo>
                  <a:pt x="689" y="43"/>
                  <a:pt x="690" y="43"/>
                  <a:pt x="690" y="43"/>
                </a:cubicBezTo>
                <a:close/>
                <a:moveTo>
                  <a:pt x="953" y="39"/>
                </a:moveTo>
                <a:cubicBezTo>
                  <a:pt x="953" y="39"/>
                  <a:pt x="953" y="39"/>
                  <a:pt x="953" y="38"/>
                </a:cubicBezTo>
                <a:cubicBezTo>
                  <a:pt x="953" y="38"/>
                  <a:pt x="953" y="39"/>
                  <a:pt x="953" y="39"/>
                </a:cubicBezTo>
                <a:close/>
                <a:moveTo>
                  <a:pt x="985" y="18"/>
                </a:moveTo>
                <a:cubicBezTo>
                  <a:pt x="985" y="18"/>
                  <a:pt x="984" y="18"/>
                  <a:pt x="984" y="19"/>
                </a:cubicBezTo>
                <a:cubicBezTo>
                  <a:pt x="984" y="19"/>
                  <a:pt x="985" y="19"/>
                  <a:pt x="985" y="18"/>
                </a:cubicBezTo>
                <a:close/>
                <a:moveTo>
                  <a:pt x="1748" y="22"/>
                </a:moveTo>
                <a:cubicBezTo>
                  <a:pt x="1748" y="22"/>
                  <a:pt x="1748" y="23"/>
                  <a:pt x="1749" y="23"/>
                </a:cubicBezTo>
                <a:cubicBezTo>
                  <a:pt x="1749" y="23"/>
                  <a:pt x="1749" y="22"/>
                  <a:pt x="1748" y="22"/>
                </a:cubicBezTo>
                <a:close/>
                <a:moveTo>
                  <a:pt x="964" y="66"/>
                </a:moveTo>
                <a:cubicBezTo>
                  <a:pt x="963" y="66"/>
                  <a:pt x="963" y="67"/>
                  <a:pt x="964" y="67"/>
                </a:cubicBezTo>
                <a:cubicBezTo>
                  <a:pt x="964" y="67"/>
                  <a:pt x="964" y="66"/>
                  <a:pt x="964" y="66"/>
                </a:cubicBezTo>
                <a:close/>
                <a:moveTo>
                  <a:pt x="659" y="59"/>
                </a:moveTo>
                <a:cubicBezTo>
                  <a:pt x="659" y="58"/>
                  <a:pt x="659" y="58"/>
                  <a:pt x="659" y="58"/>
                </a:cubicBezTo>
                <a:cubicBezTo>
                  <a:pt x="659" y="58"/>
                  <a:pt x="659" y="58"/>
                  <a:pt x="659" y="59"/>
                </a:cubicBezTo>
                <a:close/>
                <a:moveTo>
                  <a:pt x="588" y="70"/>
                </a:moveTo>
                <a:cubicBezTo>
                  <a:pt x="588" y="70"/>
                  <a:pt x="588" y="70"/>
                  <a:pt x="588" y="71"/>
                </a:cubicBezTo>
                <a:cubicBezTo>
                  <a:pt x="588" y="70"/>
                  <a:pt x="588" y="70"/>
                  <a:pt x="588" y="70"/>
                </a:cubicBezTo>
                <a:close/>
                <a:moveTo>
                  <a:pt x="631" y="71"/>
                </a:moveTo>
                <a:cubicBezTo>
                  <a:pt x="631" y="70"/>
                  <a:pt x="631" y="70"/>
                  <a:pt x="631" y="70"/>
                </a:cubicBezTo>
                <a:cubicBezTo>
                  <a:pt x="631" y="70"/>
                  <a:pt x="631" y="70"/>
                  <a:pt x="631" y="71"/>
                </a:cubicBezTo>
                <a:close/>
                <a:moveTo>
                  <a:pt x="952" y="71"/>
                </a:moveTo>
                <a:cubicBezTo>
                  <a:pt x="952" y="70"/>
                  <a:pt x="952" y="70"/>
                  <a:pt x="952" y="69"/>
                </a:cubicBezTo>
                <a:cubicBezTo>
                  <a:pt x="952" y="70"/>
                  <a:pt x="952" y="70"/>
                  <a:pt x="952" y="71"/>
                </a:cubicBezTo>
                <a:close/>
                <a:moveTo>
                  <a:pt x="588" y="71"/>
                </a:moveTo>
                <a:cubicBezTo>
                  <a:pt x="588" y="71"/>
                  <a:pt x="588" y="71"/>
                  <a:pt x="589" y="72"/>
                </a:cubicBezTo>
                <a:cubicBezTo>
                  <a:pt x="589" y="71"/>
                  <a:pt x="589" y="71"/>
                  <a:pt x="588" y="71"/>
                </a:cubicBezTo>
                <a:close/>
                <a:moveTo>
                  <a:pt x="953" y="72"/>
                </a:moveTo>
                <a:cubicBezTo>
                  <a:pt x="953" y="71"/>
                  <a:pt x="953" y="71"/>
                  <a:pt x="952" y="71"/>
                </a:cubicBezTo>
                <a:cubicBezTo>
                  <a:pt x="952" y="71"/>
                  <a:pt x="952" y="72"/>
                  <a:pt x="953" y="72"/>
                </a:cubicBezTo>
                <a:close/>
                <a:moveTo>
                  <a:pt x="952" y="42"/>
                </a:moveTo>
                <a:cubicBezTo>
                  <a:pt x="953" y="41"/>
                  <a:pt x="953" y="41"/>
                  <a:pt x="953" y="41"/>
                </a:cubicBezTo>
                <a:cubicBezTo>
                  <a:pt x="952" y="41"/>
                  <a:pt x="952" y="41"/>
                  <a:pt x="952" y="42"/>
                </a:cubicBezTo>
                <a:close/>
                <a:moveTo>
                  <a:pt x="607" y="73"/>
                </a:moveTo>
                <a:cubicBezTo>
                  <a:pt x="607" y="72"/>
                  <a:pt x="607" y="72"/>
                  <a:pt x="607" y="72"/>
                </a:cubicBezTo>
                <a:cubicBezTo>
                  <a:pt x="607" y="72"/>
                  <a:pt x="607" y="72"/>
                  <a:pt x="607" y="73"/>
                </a:cubicBezTo>
                <a:close/>
                <a:moveTo>
                  <a:pt x="617" y="72"/>
                </a:moveTo>
                <a:cubicBezTo>
                  <a:pt x="617" y="72"/>
                  <a:pt x="617" y="72"/>
                  <a:pt x="618" y="73"/>
                </a:cubicBezTo>
                <a:cubicBezTo>
                  <a:pt x="618" y="72"/>
                  <a:pt x="618" y="72"/>
                  <a:pt x="617" y="72"/>
                </a:cubicBezTo>
                <a:close/>
                <a:moveTo>
                  <a:pt x="589" y="72"/>
                </a:moveTo>
                <a:cubicBezTo>
                  <a:pt x="589" y="72"/>
                  <a:pt x="589" y="73"/>
                  <a:pt x="589" y="73"/>
                </a:cubicBezTo>
                <a:cubicBezTo>
                  <a:pt x="589" y="73"/>
                  <a:pt x="589" y="72"/>
                  <a:pt x="589" y="72"/>
                </a:cubicBezTo>
                <a:close/>
                <a:moveTo>
                  <a:pt x="953" y="73"/>
                </a:moveTo>
                <a:cubicBezTo>
                  <a:pt x="953" y="73"/>
                  <a:pt x="953" y="72"/>
                  <a:pt x="953" y="72"/>
                </a:cubicBezTo>
                <a:cubicBezTo>
                  <a:pt x="953" y="72"/>
                  <a:pt x="953" y="73"/>
                  <a:pt x="953" y="73"/>
                </a:cubicBezTo>
                <a:close/>
                <a:moveTo>
                  <a:pt x="618" y="73"/>
                </a:moveTo>
                <a:cubicBezTo>
                  <a:pt x="618" y="73"/>
                  <a:pt x="618" y="73"/>
                  <a:pt x="618" y="74"/>
                </a:cubicBezTo>
                <a:cubicBezTo>
                  <a:pt x="618" y="73"/>
                  <a:pt x="618" y="73"/>
                  <a:pt x="618" y="73"/>
                </a:cubicBezTo>
                <a:close/>
                <a:moveTo>
                  <a:pt x="637" y="53"/>
                </a:moveTo>
                <a:cubicBezTo>
                  <a:pt x="638" y="53"/>
                  <a:pt x="638" y="53"/>
                  <a:pt x="638" y="52"/>
                </a:cubicBezTo>
                <a:cubicBezTo>
                  <a:pt x="637" y="53"/>
                  <a:pt x="637" y="53"/>
                  <a:pt x="637" y="53"/>
                </a:cubicBezTo>
                <a:close/>
                <a:moveTo>
                  <a:pt x="608" y="74"/>
                </a:moveTo>
                <a:cubicBezTo>
                  <a:pt x="608" y="74"/>
                  <a:pt x="608" y="74"/>
                  <a:pt x="607" y="73"/>
                </a:cubicBezTo>
                <a:cubicBezTo>
                  <a:pt x="607" y="74"/>
                  <a:pt x="607" y="74"/>
                  <a:pt x="608" y="74"/>
                </a:cubicBezTo>
                <a:close/>
                <a:moveTo>
                  <a:pt x="630" y="74"/>
                </a:moveTo>
                <a:cubicBezTo>
                  <a:pt x="630" y="74"/>
                  <a:pt x="630" y="74"/>
                  <a:pt x="630" y="73"/>
                </a:cubicBezTo>
                <a:cubicBezTo>
                  <a:pt x="630" y="74"/>
                  <a:pt x="630" y="74"/>
                  <a:pt x="630" y="74"/>
                </a:cubicBezTo>
                <a:close/>
                <a:moveTo>
                  <a:pt x="618" y="74"/>
                </a:moveTo>
                <a:cubicBezTo>
                  <a:pt x="618" y="74"/>
                  <a:pt x="618" y="74"/>
                  <a:pt x="619" y="75"/>
                </a:cubicBezTo>
                <a:cubicBezTo>
                  <a:pt x="619" y="74"/>
                  <a:pt x="619" y="74"/>
                  <a:pt x="618" y="74"/>
                </a:cubicBezTo>
                <a:close/>
                <a:moveTo>
                  <a:pt x="653" y="41"/>
                </a:moveTo>
                <a:cubicBezTo>
                  <a:pt x="653" y="41"/>
                  <a:pt x="653" y="41"/>
                  <a:pt x="653" y="42"/>
                </a:cubicBezTo>
                <a:cubicBezTo>
                  <a:pt x="653" y="41"/>
                  <a:pt x="653" y="41"/>
                  <a:pt x="653" y="41"/>
                </a:cubicBezTo>
                <a:close/>
                <a:moveTo>
                  <a:pt x="1030" y="59"/>
                </a:moveTo>
                <a:cubicBezTo>
                  <a:pt x="1030" y="59"/>
                  <a:pt x="1030" y="58"/>
                  <a:pt x="1030" y="58"/>
                </a:cubicBezTo>
                <a:cubicBezTo>
                  <a:pt x="1030" y="58"/>
                  <a:pt x="1030" y="59"/>
                  <a:pt x="1030" y="59"/>
                </a:cubicBezTo>
                <a:close/>
                <a:moveTo>
                  <a:pt x="911" y="48"/>
                </a:moveTo>
                <a:cubicBezTo>
                  <a:pt x="911" y="49"/>
                  <a:pt x="911" y="49"/>
                  <a:pt x="912" y="49"/>
                </a:cubicBezTo>
                <a:cubicBezTo>
                  <a:pt x="912" y="49"/>
                  <a:pt x="912" y="49"/>
                  <a:pt x="911" y="48"/>
                </a:cubicBezTo>
                <a:close/>
                <a:moveTo>
                  <a:pt x="1469" y="75"/>
                </a:moveTo>
                <a:cubicBezTo>
                  <a:pt x="1469" y="75"/>
                  <a:pt x="1469" y="75"/>
                  <a:pt x="1469" y="76"/>
                </a:cubicBezTo>
                <a:cubicBezTo>
                  <a:pt x="1469" y="75"/>
                  <a:pt x="1469" y="75"/>
                  <a:pt x="1469" y="75"/>
                </a:cubicBezTo>
                <a:close/>
                <a:moveTo>
                  <a:pt x="1385" y="41"/>
                </a:moveTo>
                <a:cubicBezTo>
                  <a:pt x="1385" y="41"/>
                  <a:pt x="1385" y="41"/>
                  <a:pt x="1385" y="40"/>
                </a:cubicBezTo>
                <a:cubicBezTo>
                  <a:pt x="1385" y="41"/>
                  <a:pt x="1385" y="41"/>
                  <a:pt x="1385" y="41"/>
                </a:cubicBezTo>
                <a:close/>
                <a:moveTo>
                  <a:pt x="1666" y="58"/>
                </a:moveTo>
                <a:cubicBezTo>
                  <a:pt x="1665" y="58"/>
                  <a:pt x="1665" y="58"/>
                  <a:pt x="1665" y="58"/>
                </a:cubicBezTo>
                <a:cubicBezTo>
                  <a:pt x="1665" y="58"/>
                  <a:pt x="1665" y="58"/>
                  <a:pt x="1666" y="58"/>
                </a:cubicBezTo>
                <a:close/>
                <a:moveTo>
                  <a:pt x="629" y="77"/>
                </a:moveTo>
                <a:cubicBezTo>
                  <a:pt x="629" y="77"/>
                  <a:pt x="629" y="77"/>
                  <a:pt x="629" y="76"/>
                </a:cubicBezTo>
                <a:cubicBezTo>
                  <a:pt x="629" y="76"/>
                  <a:pt x="629" y="77"/>
                  <a:pt x="629" y="77"/>
                </a:cubicBezTo>
                <a:close/>
                <a:moveTo>
                  <a:pt x="954" y="77"/>
                </a:moveTo>
                <a:cubicBezTo>
                  <a:pt x="954" y="77"/>
                  <a:pt x="954" y="76"/>
                  <a:pt x="954" y="76"/>
                </a:cubicBezTo>
                <a:cubicBezTo>
                  <a:pt x="954" y="76"/>
                  <a:pt x="954" y="77"/>
                  <a:pt x="954" y="77"/>
                </a:cubicBezTo>
                <a:close/>
                <a:moveTo>
                  <a:pt x="1469" y="76"/>
                </a:moveTo>
                <a:cubicBezTo>
                  <a:pt x="1468" y="76"/>
                  <a:pt x="1468" y="77"/>
                  <a:pt x="1468" y="77"/>
                </a:cubicBezTo>
                <a:cubicBezTo>
                  <a:pt x="1469" y="77"/>
                  <a:pt x="1469" y="76"/>
                  <a:pt x="1469" y="76"/>
                </a:cubicBezTo>
                <a:close/>
                <a:moveTo>
                  <a:pt x="699" y="77"/>
                </a:moveTo>
                <a:cubicBezTo>
                  <a:pt x="699" y="77"/>
                  <a:pt x="699" y="78"/>
                  <a:pt x="699" y="78"/>
                </a:cubicBezTo>
                <a:cubicBezTo>
                  <a:pt x="699" y="77"/>
                  <a:pt x="699" y="77"/>
                  <a:pt x="699" y="77"/>
                </a:cubicBezTo>
                <a:close/>
                <a:moveTo>
                  <a:pt x="759" y="77"/>
                </a:moveTo>
                <a:cubicBezTo>
                  <a:pt x="759" y="78"/>
                  <a:pt x="759" y="78"/>
                  <a:pt x="759" y="79"/>
                </a:cubicBezTo>
                <a:cubicBezTo>
                  <a:pt x="759" y="78"/>
                  <a:pt x="760" y="78"/>
                  <a:pt x="759" y="77"/>
                </a:cubicBezTo>
                <a:close/>
                <a:moveTo>
                  <a:pt x="1468" y="77"/>
                </a:moveTo>
                <a:cubicBezTo>
                  <a:pt x="1468" y="78"/>
                  <a:pt x="1468" y="78"/>
                  <a:pt x="1468" y="79"/>
                </a:cubicBezTo>
                <a:cubicBezTo>
                  <a:pt x="1468" y="78"/>
                  <a:pt x="1468" y="78"/>
                  <a:pt x="1468" y="77"/>
                </a:cubicBezTo>
                <a:close/>
                <a:moveTo>
                  <a:pt x="699" y="78"/>
                </a:moveTo>
                <a:cubicBezTo>
                  <a:pt x="699" y="78"/>
                  <a:pt x="699" y="79"/>
                  <a:pt x="699" y="79"/>
                </a:cubicBezTo>
                <a:cubicBezTo>
                  <a:pt x="699" y="79"/>
                  <a:pt x="699" y="78"/>
                  <a:pt x="699" y="78"/>
                </a:cubicBezTo>
                <a:close/>
                <a:moveTo>
                  <a:pt x="1041" y="78"/>
                </a:moveTo>
                <a:cubicBezTo>
                  <a:pt x="1041" y="79"/>
                  <a:pt x="1041" y="79"/>
                  <a:pt x="1042" y="79"/>
                </a:cubicBezTo>
                <a:cubicBezTo>
                  <a:pt x="1042" y="79"/>
                  <a:pt x="1042" y="78"/>
                  <a:pt x="1041" y="78"/>
                </a:cubicBezTo>
                <a:close/>
                <a:moveTo>
                  <a:pt x="1219" y="78"/>
                </a:moveTo>
                <a:cubicBezTo>
                  <a:pt x="1219" y="79"/>
                  <a:pt x="1219" y="79"/>
                  <a:pt x="1220" y="79"/>
                </a:cubicBezTo>
                <a:cubicBezTo>
                  <a:pt x="1220" y="79"/>
                  <a:pt x="1220" y="78"/>
                  <a:pt x="1219" y="78"/>
                </a:cubicBezTo>
                <a:close/>
                <a:moveTo>
                  <a:pt x="620" y="79"/>
                </a:moveTo>
                <a:cubicBezTo>
                  <a:pt x="620" y="79"/>
                  <a:pt x="620" y="79"/>
                  <a:pt x="620" y="80"/>
                </a:cubicBezTo>
                <a:cubicBezTo>
                  <a:pt x="620" y="79"/>
                  <a:pt x="620" y="79"/>
                  <a:pt x="620" y="79"/>
                </a:cubicBezTo>
                <a:close/>
                <a:moveTo>
                  <a:pt x="1412" y="80"/>
                </a:moveTo>
                <a:cubicBezTo>
                  <a:pt x="1412" y="79"/>
                  <a:pt x="1412" y="79"/>
                  <a:pt x="1412" y="79"/>
                </a:cubicBezTo>
                <a:cubicBezTo>
                  <a:pt x="1412" y="79"/>
                  <a:pt x="1412" y="79"/>
                  <a:pt x="1412" y="80"/>
                </a:cubicBezTo>
                <a:close/>
                <a:moveTo>
                  <a:pt x="1468" y="79"/>
                </a:moveTo>
                <a:cubicBezTo>
                  <a:pt x="1468" y="79"/>
                  <a:pt x="1468" y="79"/>
                  <a:pt x="1468" y="80"/>
                </a:cubicBezTo>
                <a:cubicBezTo>
                  <a:pt x="1468" y="79"/>
                  <a:pt x="1468" y="79"/>
                  <a:pt x="1468" y="79"/>
                </a:cubicBezTo>
                <a:close/>
                <a:moveTo>
                  <a:pt x="760" y="79"/>
                </a:moveTo>
                <a:cubicBezTo>
                  <a:pt x="759" y="79"/>
                  <a:pt x="760" y="80"/>
                  <a:pt x="760" y="80"/>
                </a:cubicBezTo>
                <a:cubicBezTo>
                  <a:pt x="760" y="80"/>
                  <a:pt x="760" y="79"/>
                  <a:pt x="760" y="79"/>
                </a:cubicBezTo>
                <a:close/>
                <a:moveTo>
                  <a:pt x="748" y="80"/>
                </a:moveTo>
                <a:cubicBezTo>
                  <a:pt x="748" y="80"/>
                  <a:pt x="748" y="79"/>
                  <a:pt x="748" y="79"/>
                </a:cubicBezTo>
                <a:cubicBezTo>
                  <a:pt x="748" y="80"/>
                  <a:pt x="748" y="80"/>
                  <a:pt x="748" y="80"/>
                </a:cubicBezTo>
                <a:close/>
                <a:moveTo>
                  <a:pt x="1042" y="79"/>
                </a:moveTo>
                <a:cubicBezTo>
                  <a:pt x="1042" y="80"/>
                  <a:pt x="1042" y="80"/>
                  <a:pt x="1042" y="80"/>
                </a:cubicBezTo>
                <a:cubicBezTo>
                  <a:pt x="1042" y="80"/>
                  <a:pt x="1042" y="80"/>
                  <a:pt x="1042" y="79"/>
                </a:cubicBezTo>
                <a:close/>
                <a:moveTo>
                  <a:pt x="613" y="59"/>
                </a:moveTo>
                <a:cubicBezTo>
                  <a:pt x="613" y="59"/>
                  <a:pt x="613" y="59"/>
                  <a:pt x="613" y="60"/>
                </a:cubicBezTo>
                <a:cubicBezTo>
                  <a:pt x="613" y="59"/>
                  <a:pt x="613" y="59"/>
                  <a:pt x="613" y="59"/>
                </a:cubicBezTo>
                <a:close/>
                <a:moveTo>
                  <a:pt x="610" y="81"/>
                </a:moveTo>
                <a:cubicBezTo>
                  <a:pt x="610" y="80"/>
                  <a:pt x="610" y="80"/>
                  <a:pt x="610" y="80"/>
                </a:cubicBezTo>
                <a:cubicBezTo>
                  <a:pt x="610" y="80"/>
                  <a:pt x="610" y="80"/>
                  <a:pt x="610" y="81"/>
                </a:cubicBezTo>
                <a:close/>
                <a:moveTo>
                  <a:pt x="620" y="80"/>
                </a:moveTo>
                <a:cubicBezTo>
                  <a:pt x="620" y="80"/>
                  <a:pt x="620" y="80"/>
                  <a:pt x="621" y="81"/>
                </a:cubicBezTo>
                <a:cubicBezTo>
                  <a:pt x="621" y="80"/>
                  <a:pt x="621" y="80"/>
                  <a:pt x="620" y="80"/>
                </a:cubicBezTo>
                <a:close/>
                <a:moveTo>
                  <a:pt x="627" y="81"/>
                </a:moveTo>
                <a:cubicBezTo>
                  <a:pt x="628" y="81"/>
                  <a:pt x="628" y="80"/>
                  <a:pt x="628" y="80"/>
                </a:cubicBezTo>
                <a:cubicBezTo>
                  <a:pt x="627" y="80"/>
                  <a:pt x="627" y="81"/>
                  <a:pt x="627" y="81"/>
                </a:cubicBezTo>
                <a:close/>
                <a:moveTo>
                  <a:pt x="760" y="80"/>
                </a:moveTo>
                <a:cubicBezTo>
                  <a:pt x="760" y="80"/>
                  <a:pt x="760" y="81"/>
                  <a:pt x="760" y="81"/>
                </a:cubicBezTo>
                <a:cubicBezTo>
                  <a:pt x="760" y="81"/>
                  <a:pt x="760" y="80"/>
                  <a:pt x="760" y="80"/>
                </a:cubicBezTo>
                <a:close/>
                <a:moveTo>
                  <a:pt x="1031" y="81"/>
                </a:moveTo>
                <a:cubicBezTo>
                  <a:pt x="1031" y="81"/>
                  <a:pt x="1031" y="80"/>
                  <a:pt x="1030" y="80"/>
                </a:cubicBezTo>
                <a:cubicBezTo>
                  <a:pt x="1030" y="80"/>
                  <a:pt x="1030" y="81"/>
                  <a:pt x="1031" y="81"/>
                </a:cubicBezTo>
                <a:close/>
                <a:moveTo>
                  <a:pt x="1413" y="81"/>
                </a:moveTo>
                <a:cubicBezTo>
                  <a:pt x="1413" y="81"/>
                  <a:pt x="1413" y="80"/>
                  <a:pt x="1412" y="80"/>
                </a:cubicBezTo>
                <a:cubicBezTo>
                  <a:pt x="1412" y="80"/>
                  <a:pt x="1412" y="81"/>
                  <a:pt x="1413" y="81"/>
                </a:cubicBezTo>
                <a:close/>
                <a:moveTo>
                  <a:pt x="1086" y="52"/>
                </a:moveTo>
                <a:cubicBezTo>
                  <a:pt x="1086" y="53"/>
                  <a:pt x="1086" y="53"/>
                  <a:pt x="1087" y="53"/>
                </a:cubicBezTo>
                <a:cubicBezTo>
                  <a:pt x="1087" y="53"/>
                  <a:pt x="1087" y="52"/>
                  <a:pt x="1086" y="52"/>
                </a:cubicBezTo>
                <a:close/>
                <a:moveTo>
                  <a:pt x="1209" y="81"/>
                </a:moveTo>
                <a:cubicBezTo>
                  <a:pt x="1209" y="81"/>
                  <a:pt x="1209" y="80"/>
                  <a:pt x="1208" y="80"/>
                </a:cubicBezTo>
                <a:cubicBezTo>
                  <a:pt x="1208" y="81"/>
                  <a:pt x="1208" y="81"/>
                  <a:pt x="1209" y="81"/>
                </a:cubicBezTo>
                <a:close/>
                <a:moveTo>
                  <a:pt x="621" y="81"/>
                </a:moveTo>
                <a:cubicBezTo>
                  <a:pt x="621" y="81"/>
                  <a:pt x="621" y="81"/>
                  <a:pt x="621" y="82"/>
                </a:cubicBezTo>
                <a:cubicBezTo>
                  <a:pt x="621" y="81"/>
                  <a:pt x="621" y="81"/>
                  <a:pt x="621" y="81"/>
                </a:cubicBezTo>
                <a:close/>
                <a:moveTo>
                  <a:pt x="749" y="82"/>
                </a:moveTo>
                <a:cubicBezTo>
                  <a:pt x="749" y="81"/>
                  <a:pt x="749" y="81"/>
                  <a:pt x="748" y="81"/>
                </a:cubicBezTo>
                <a:cubicBezTo>
                  <a:pt x="748" y="81"/>
                  <a:pt x="748" y="81"/>
                  <a:pt x="749" y="82"/>
                </a:cubicBezTo>
                <a:close/>
                <a:moveTo>
                  <a:pt x="637" y="81"/>
                </a:moveTo>
                <a:cubicBezTo>
                  <a:pt x="637" y="81"/>
                  <a:pt x="637" y="82"/>
                  <a:pt x="637" y="82"/>
                </a:cubicBezTo>
                <a:cubicBezTo>
                  <a:pt x="637" y="82"/>
                  <a:pt x="637" y="81"/>
                  <a:pt x="637" y="81"/>
                </a:cubicBezTo>
                <a:close/>
                <a:moveTo>
                  <a:pt x="1413" y="82"/>
                </a:moveTo>
                <a:cubicBezTo>
                  <a:pt x="1413" y="82"/>
                  <a:pt x="1413" y="81"/>
                  <a:pt x="1413" y="81"/>
                </a:cubicBezTo>
                <a:cubicBezTo>
                  <a:pt x="1413" y="81"/>
                  <a:pt x="1412" y="82"/>
                  <a:pt x="1413" y="82"/>
                </a:cubicBezTo>
                <a:close/>
                <a:moveTo>
                  <a:pt x="611" y="82"/>
                </a:moveTo>
                <a:cubicBezTo>
                  <a:pt x="611" y="82"/>
                  <a:pt x="611" y="82"/>
                  <a:pt x="611" y="81"/>
                </a:cubicBezTo>
                <a:cubicBezTo>
                  <a:pt x="611" y="82"/>
                  <a:pt x="610" y="82"/>
                  <a:pt x="611" y="82"/>
                </a:cubicBezTo>
                <a:close/>
                <a:moveTo>
                  <a:pt x="1031" y="82"/>
                </a:moveTo>
                <a:cubicBezTo>
                  <a:pt x="1031" y="82"/>
                  <a:pt x="1031" y="82"/>
                  <a:pt x="1031" y="81"/>
                </a:cubicBezTo>
                <a:cubicBezTo>
                  <a:pt x="1031" y="82"/>
                  <a:pt x="1031" y="82"/>
                  <a:pt x="1031" y="82"/>
                </a:cubicBezTo>
                <a:close/>
                <a:moveTo>
                  <a:pt x="1467" y="82"/>
                </a:moveTo>
                <a:cubicBezTo>
                  <a:pt x="1467" y="82"/>
                  <a:pt x="1466" y="82"/>
                  <a:pt x="1466" y="83"/>
                </a:cubicBezTo>
                <a:cubicBezTo>
                  <a:pt x="1467" y="82"/>
                  <a:pt x="1467" y="82"/>
                  <a:pt x="1467" y="82"/>
                </a:cubicBezTo>
                <a:close/>
                <a:moveTo>
                  <a:pt x="858" y="53"/>
                </a:moveTo>
                <a:cubicBezTo>
                  <a:pt x="858" y="53"/>
                  <a:pt x="858" y="52"/>
                  <a:pt x="858" y="52"/>
                </a:cubicBezTo>
                <a:cubicBezTo>
                  <a:pt x="858" y="52"/>
                  <a:pt x="858" y="53"/>
                  <a:pt x="858" y="53"/>
                </a:cubicBezTo>
                <a:close/>
                <a:moveTo>
                  <a:pt x="749" y="83"/>
                </a:moveTo>
                <a:cubicBezTo>
                  <a:pt x="749" y="83"/>
                  <a:pt x="749" y="82"/>
                  <a:pt x="749" y="82"/>
                </a:cubicBezTo>
                <a:cubicBezTo>
                  <a:pt x="749" y="82"/>
                  <a:pt x="749" y="83"/>
                  <a:pt x="749" y="83"/>
                </a:cubicBezTo>
                <a:close/>
                <a:moveTo>
                  <a:pt x="1413" y="83"/>
                </a:moveTo>
                <a:cubicBezTo>
                  <a:pt x="1413" y="83"/>
                  <a:pt x="1413" y="82"/>
                  <a:pt x="1413" y="82"/>
                </a:cubicBezTo>
                <a:cubicBezTo>
                  <a:pt x="1413" y="82"/>
                  <a:pt x="1413" y="83"/>
                  <a:pt x="1413" y="83"/>
                </a:cubicBezTo>
                <a:close/>
                <a:moveTo>
                  <a:pt x="637" y="83"/>
                </a:moveTo>
                <a:cubicBezTo>
                  <a:pt x="636" y="83"/>
                  <a:pt x="636" y="83"/>
                  <a:pt x="636" y="84"/>
                </a:cubicBezTo>
                <a:cubicBezTo>
                  <a:pt x="637" y="84"/>
                  <a:pt x="637" y="83"/>
                  <a:pt x="637" y="83"/>
                </a:cubicBezTo>
                <a:close/>
                <a:moveTo>
                  <a:pt x="1209" y="84"/>
                </a:moveTo>
                <a:cubicBezTo>
                  <a:pt x="1209" y="83"/>
                  <a:pt x="1209" y="83"/>
                  <a:pt x="1209" y="83"/>
                </a:cubicBezTo>
                <a:cubicBezTo>
                  <a:pt x="1209" y="83"/>
                  <a:pt x="1209" y="83"/>
                  <a:pt x="1209" y="84"/>
                </a:cubicBezTo>
                <a:close/>
                <a:moveTo>
                  <a:pt x="1396" y="41"/>
                </a:moveTo>
                <a:cubicBezTo>
                  <a:pt x="1396" y="42"/>
                  <a:pt x="1396" y="42"/>
                  <a:pt x="1396" y="42"/>
                </a:cubicBezTo>
                <a:cubicBezTo>
                  <a:pt x="1396" y="42"/>
                  <a:pt x="1396" y="42"/>
                  <a:pt x="1396" y="41"/>
                </a:cubicBezTo>
                <a:close/>
                <a:moveTo>
                  <a:pt x="749" y="84"/>
                </a:moveTo>
                <a:cubicBezTo>
                  <a:pt x="749" y="84"/>
                  <a:pt x="749" y="83"/>
                  <a:pt x="749" y="83"/>
                </a:cubicBezTo>
                <a:cubicBezTo>
                  <a:pt x="749" y="83"/>
                  <a:pt x="749" y="84"/>
                  <a:pt x="749" y="84"/>
                </a:cubicBezTo>
                <a:close/>
                <a:moveTo>
                  <a:pt x="1667" y="84"/>
                </a:moveTo>
                <a:cubicBezTo>
                  <a:pt x="1667" y="84"/>
                  <a:pt x="1667" y="83"/>
                  <a:pt x="1667" y="83"/>
                </a:cubicBezTo>
                <a:cubicBezTo>
                  <a:pt x="1667" y="83"/>
                  <a:pt x="1667" y="84"/>
                  <a:pt x="1667" y="84"/>
                </a:cubicBezTo>
                <a:close/>
                <a:moveTo>
                  <a:pt x="626" y="85"/>
                </a:moveTo>
                <a:cubicBezTo>
                  <a:pt x="626" y="85"/>
                  <a:pt x="626" y="84"/>
                  <a:pt x="626" y="84"/>
                </a:cubicBezTo>
                <a:cubicBezTo>
                  <a:pt x="626" y="84"/>
                  <a:pt x="626" y="84"/>
                  <a:pt x="626" y="85"/>
                </a:cubicBezTo>
                <a:close/>
                <a:moveTo>
                  <a:pt x="589" y="84"/>
                </a:moveTo>
                <a:cubicBezTo>
                  <a:pt x="588" y="85"/>
                  <a:pt x="588" y="85"/>
                  <a:pt x="588" y="85"/>
                </a:cubicBezTo>
                <a:cubicBezTo>
                  <a:pt x="589" y="85"/>
                  <a:pt x="589" y="85"/>
                  <a:pt x="589" y="84"/>
                </a:cubicBezTo>
                <a:close/>
                <a:moveTo>
                  <a:pt x="636" y="84"/>
                </a:moveTo>
                <a:cubicBezTo>
                  <a:pt x="636" y="85"/>
                  <a:pt x="636" y="85"/>
                  <a:pt x="636" y="85"/>
                </a:cubicBezTo>
                <a:cubicBezTo>
                  <a:pt x="636" y="85"/>
                  <a:pt x="636" y="85"/>
                  <a:pt x="636" y="84"/>
                </a:cubicBezTo>
                <a:close/>
                <a:moveTo>
                  <a:pt x="1032" y="85"/>
                </a:moveTo>
                <a:cubicBezTo>
                  <a:pt x="1032" y="85"/>
                  <a:pt x="1032" y="85"/>
                  <a:pt x="1032" y="84"/>
                </a:cubicBezTo>
                <a:cubicBezTo>
                  <a:pt x="1032" y="85"/>
                  <a:pt x="1032" y="85"/>
                  <a:pt x="1032" y="85"/>
                </a:cubicBezTo>
                <a:close/>
                <a:moveTo>
                  <a:pt x="595" y="42"/>
                </a:moveTo>
                <a:cubicBezTo>
                  <a:pt x="595" y="42"/>
                  <a:pt x="595" y="42"/>
                  <a:pt x="595" y="41"/>
                </a:cubicBezTo>
                <a:cubicBezTo>
                  <a:pt x="595" y="42"/>
                  <a:pt x="595" y="42"/>
                  <a:pt x="595" y="42"/>
                </a:cubicBezTo>
                <a:close/>
                <a:moveTo>
                  <a:pt x="1344" y="87"/>
                </a:moveTo>
                <a:cubicBezTo>
                  <a:pt x="1344" y="86"/>
                  <a:pt x="1344" y="86"/>
                  <a:pt x="1344" y="86"/>
                </a:cubicBezTo>
                <a:cubicBezTo>
                  <a:pt x="1344" y="86"/>
                  <a:pt x="1344" y="86"/>
                  <a:pt x="1344" y="87"/>
                </a:cubicBezTo>
                <a:close/>
                <a:moveTo>
                  <a:pt x="635" y="60"/>
                </a:moveTo>
                <a:cubicBezTo>
                  <a:pt x="635" y="60"/>
                  <a:pt x="635" y="59"/>
                  <a:pt x="635" y="59"/>
                </a:cubicBezTo>
                <a:cubicBezTo>
                  <a:pt x="635" y="59"/>
                  <a:pt x="635" y="60"/>
                  <a:pt x="635" y="60"/>
                </a:cubicBezTo>
                <a:close/>
                <a:moveTo>
                  <a:pt x="1355" y="86"/>
                </a:moveTo>
                <a:cubicBezTo>
                  <a:pt x="1355" y="86"/>
                  <a:pt x="1355" y="86"/>
                  <a:pt x="1355" y="87"/>
                </a:cubicBezTo>
                <a:cubicBezTo>
                  <a:pt x="1355" y="87"/>
                  <a:pt x="1355" y="86"/>
                  <a:pt x="1355" y="86"/>
                </a:cubicBezTo>
                <a:close/>
                <a:moveTo>
                  <a:pt x="1528" y="87"/>
                </a:moveTo>
                <a:cubicBezTo>
                  <a:pt x="1528" y="87"/>
                  <a:pt x="1528" y="86"/>
                  <a:pt x="1528" y="86"/>
                </a:cubicBezTo>
                <a:cubicBezTo>
                  <a:pt x="1528" y="86"/>
                  <a:pt x="1528" y="87"/>
                  <a:pt x="1528" y="87"/>
                </a:cubicBezTo>
                <a:close/>
                <a:moveTo>
                  <a:pt x="1696" y="87"/>
                </a:moveTo>
                <a:cubicBezTo>
                  <a:pt x="1697" y="87"/>
                  <a:pt x="1697" y="86"/>
                  <a:pt x="1697" y="86"/>
                </a:cubicBezTo>
                <a:cubicBezTo>
                  <a:pt x="1696" y="86"/>
                  <a:pt x="1696" y="87"/>
                  <a:pt x="1696" y="87"/>
                </a:cubicBezTo>
                <a:close/>
                <a:moveTo>
                  <a:pt x="635" y="86"/>
                </a:moveTo>
                <a:cubicBezTo>
                  <a:pt x="635" y="86"/>
                  <a:pt x="635" y="87"/>
                  <a:pt x="635" y="87"/>
                </a:cubicBezTo>
                <a:cubicBezTo>
                  <a:pt x="635" y="87"/>
                  <a:pt x="635" y="87"/>
                  <a:pt x="635" y="86"/>
                </a:cubicBezTo>
                <a:close/>
                <a:moveTo>
                  <a:pt x="726" y="86"/>
                </a:moveTo>
                <a:cubicBezTo>
                  <a:pt x="726" y="87"/>
                  <a:pt x="726" y="87"/>
                  <a:pt x="726" y="87"/>
                </a:cubicBezTo>
                <a:cubicBezTo>
                  <a:pt x="726" y="87"/>
                  <a:pt x="726" y="87"/>
                  <a:pt x="726" y="86"/>
                </a:cubicBezTo>
                <a:close/>
                <a:moveTo>
                  <a:pt x="1539" y="86"/>
                </a:moveTo>
                <a:cubicBezTo>
                  <a:pt x="1539" y="86"/>
                  <a:pt x="1539" y="87"/>
                  <a:pt x="1539" y="87"/>
                </a:cubicBezTo>
                <a:cubicBezTo>
                  <a:pt x="1539" y="87"/>
                  <a:pt x="1539" y="87"/>
                  <a:pt x="1539" y="86"/>
                </a:cubicBezTo>
                <a:close/>
                <a:moveTo>
                  <a:pt x="1707" y="86"/>
                </a:moveTo>
                <a:cubicBezTo>
                  <a:pt x="1707" y="86"/>
                  <a:pt x="1707" y="87"/>
                  <a:pt x="1707" y="87"/>
                </a:cubicBezTo>
                <a:cubicBezTo>
                  <a:pt x="1707" y="87"/>
                  <a:pt x="1707" y="87"/>
                  <a:pt x="1707" y="86"/>
                </a:cubicBezTo>
                <a:close/>
                <a:moveTo>
                  <a:pt x="623" y="87"/>
                </a:moveTo>
                <a:cubicBezTo>
                  <a:pt x="623" y="87"/>
                  <a:pt x="623" y="87"/>
                  <a:pt x="623" y="88"/>
                </a:cubicBezTo>
                <a:cubicBezTo>
                  <a:pt x="623" y="87"/>
                  <a:pt x="623" y="87"/>
                  <a:pt x="623" y="87"/>
                </a:cubicBezTo>
                <a:close/>
                <a:moveTo>
                  <a:pt x="625" y="88"/>
                </a:moveTo>
                <a:cubicBezTo>
                  <a:pt x="625" y="87"/>
                  <a:pt x="625" y="87"/>
                  <a:pt x="625" y="87"/>
                </a:cubicBezTo>
                <a:cubicBezTo>
                  <a:pt x="625" y="87"/>
                  <a:pt x="625" y="87"/>
                  <a:pt x="625" y="88"/>
                </a:cubicBezTo>
                <a:close/>
                <a:moveTo>
                  <a:pt x="1265" y="54"/>
                </a:moveTo>
                <a:cubicBezTo>
                  <a:pt x="1265" y="54"/>
                  <a:pt x="1265" y="55"/>
                  <a:pt x="1265" y="55"/>
                </a:cubicBezTo>
                <a:cubicBezTo>
                  <a:pt x="1265" y="55"/>
                  <a:pt x="1265" y="54"/>
                  <a:pt x="1265" y="54"/>
                </a:cubicBezTo>
                <a:close/>
                <a:moveTo>
                  <a:pt x="829" y="54"/>
                </a:moveTo>
                <a:cubicBezTo>
                  <a:pt x="829" y="54"/>
                  <a:pt x="829" y="54"/>
                  <a:pt x="829" y="55"/>
                </a:cubicBezTo>
                <a:cubicBezTo>
                  <a:pt x="830" y="55"/>
                  <a:pt x="829" y="54"/>
                  <a:pt x="829" y="54"/>
                </a:cubicBezTo>
                <a:close/>
                <a:moveTo>
                  <a:pt x="1528" y="88"/>
                </a:moveTo>
                <a:cubicBezTo>
                  <a:pt x="1528" y="88"/>
                  <a:pt x="1528" y="88"/>
                  <a:pt x="1528" y="87"/>
                </a:cubicBezTo>
                <a:cubicBezTo>
                  <a:pt x="1528" y="88"/>
                  <a:pt x="1528" y="88"/>
                  <a:pt x="1528" y="88"/>
                </a:cubicBezTo>
                <a:close/>
                <a:moveTo>
                  <a:pt x="1696" y="88"/>
                </a:moveTo>
                <a:cubicBezTo>
                  <a:pt x="1696" y="88"/>
                  <a:pt x="1696" y="88"/>
                  <a:pt x="1696" y="87"/>
                </a:cubicBezTo>
                <a:cubicBezTo>
                  <a:pt x="1696" y="88"/>
                  <a:pt x="1696" y="88"/>
                  <a:pt x="1696" y="88"/>
                </a:cubicBezTo>
                <a:close/>
                <a:moveTo>
                  <a:pt x="588" y="88"/>
                </a:moveTo>
                <a:cubicBezTo>
                  <a:pt x="587" y="88"/>
                  <a:pt x="587" y="88"/>
                  <a:pt x="587" y="89"/>
                </a:cubicBezTo>
                <a:cubicBezTo>
                  <a:pt x="588" y="88"/>
                  <a:pt x="588" y="88"/>
                  <a:pt x="588" y="88"/>
                </a:cubicBezTo>
                <a:close/>
                <a:moveTo>
                  <a:pt x="613" y="89"/>
                </a:moveTo>
                <a:cubicBezTo>
                  <a:pt x="613" y="88"/>
                  <a:pt x="613" y="88"/>
                  <a:pt x="613" y="88"/>
                </a:cubicBezTo>
                <a:cubicBezTo>
                  <a:pt x="613" y="88"/>
                  <a:pt x="613" y="88"/>
                  <a:pt x="613" y="89"/>
                </a:cubicBezTo>
                <a:close/>
                <a:moveTo>
                  <a:pt x="623" y="88"/>
                </a:moveTo>
                <a:cubicBezTo>
                  <a:pt x="623" y="88"/>
                  <a:pt x="623" y="88"/>
                  <a:pt x="623" y="89"/>
                </a:cubicBezTo>
                <a:cubicBezTo>
                  <a:pt x="623" y="88"/>
                  <a:pt x="623" y="88"/>
                  <a:pt x="623" y="88"/>
                </a:cubicBezTo>
                <a:close/>
                <a:moveTo>
                  <a:pt x="726" y="88"/>
                </a:moveTo>
                <a:cubicBezTo>
                  <a:pt x="726" y="88"/>
                  <a:pt x="726" y="88"/>
                  <a:pt x="726" y="89"/>
                </a:cubicBezTo>
                <a:cubicBezTo>
                  <a:pt x="726" y="88"/>
                  <a:pt x="727" y="88"/>
                  <a:pt x="726" y="88"/>
                </a:cubicBezTo>
                <a:close/>
                <a:moveTo>
                  <a:pt x="699" y="88"/>
                </a:moveTo>
                <a:cubicBezTo>
                  <a:pt x="699" y="88"/>
                  <a:pt x="699" y="89"/>
                  <a:pt x="699" y="89"/>
                </a:cubicBezTo>
                <a:cubicBezTo>
                  <a:pt x="699" y="89"/>
                  <a:pt x="699" y="88"/>
                  <a:pt x="699" y="88"/>
                </a:cubicBezTo>
                <a:close/>
                <a:moveTo>
                  <a:pt x="1384" y="42"/>
                </a:moveTo>
                <a:cubicBezTo>
                  <a:pt x="1385" y="42"/>
                  <a:pt x="1385" y="42"/>
                  <a:pt x="1385" y="41"/>
                </a:cubicBezTo>
                <a:cubicBezTo>
                  <a:pt x="1384" y="42"/>
                  <a:pt x="1384" y="42"/>
                  <a:pt x="1384" y="42"/>
                </a:cubicBezTo>
                <a:close/>
                <a:moveTo>
                  <a:pt x="614" y="90"/>
                </a:moveTo>
                <a:cubicBezTo>
                  <a:pt x="614" y="90"/>
                  <a:pt x="614" y="90"/>
                  <a:pt x="614" y="89"/>
                </a:cubicBezTo>
                <a:cubicBezTo>
                  <a:pt x="614" y="90"/>
                  <a:pt x="614" y="90"/>
                  <a:pt x="614" y="90"/>
                </a:cubicBezTo>
                <a:close/>
                <a:moveTo>
                  <a:pt x="748" y="57"/>
                </a:moveTo>
                <a:cubicBezTo>
                  <a:pt x="749" y="57"/>
                  <a:pt x="749" y="56"/>
                  <a:pt x="749" y="56"/>
                </a:cubicBezTo>
                <a:cubicBezTo>
                  <a:pt x="748" y="56"/>
                  <a:pt x="748" y="57"/>
                  <a:pt x="748" y="57"/>
                </a:cubicBezTo>
                <a:close/>
                <a:moveTo>
                  <a:pt x="1014" y="90"/>
                </a:moveTo>
                <a:cubicBezTo>
                  <a:pt x="1014" y="90"/>
                  <a:pt x="1015" y="90"/>
                  <a:pt x="1015" y="90"/>
                </a:cubicBezTo>
                <a:cubicBezTo>
                  <a:pt x="1015" y="90"/>
                  <a:pt x="1014" y="90"/>
                  <a:pt x="1014" y="90"/>
                </a:cubicBezTo>
                <a:close/>
                <a:moveTo>
                  <a:pt x="715" y="91"/>
                </a:moveTo>
                <a:cubicBezTo>
                  <a:pt x="715" y="91"/>
                  <a:pt x="715" y="90"/>
                  <a:pt x="715" y="90"/>
                </a:cubicBezTo>
                <a:cubicBezTo>
                  <a:pt x="715" y="90"/>
                  <a:pt x="715" y="91"/>
                  <a:pt x="715" y="91"/>
                </a:cubicBezTo>
                <a:close/>
                <a:moveTo>
                  <a:pt x="613" y="60"/>
                </a:moveTo>
                <a:cubicBezTo>
                  <a:pt x="613" y="60"/>
                  <a:pt x="613" y="61"/>
                  <a:pt x="614" y="61"/>
                </a:cubicBezTo>
                <a:cubicBezTo>
                  <a:pt x="614" y="60"/>
                  <a:pt x="614" y="60"/>
                  <a:pt x="613" y="60"/>
                </a:cubicBezTo>
                <a:close/>
                <a:moveTo>
                  <a:pt x="1011" y="91"/>
                </a:moveTo>
                <a:cubicBezTo>
                  <a:pt x="1011" y="91"/>
                  <a:pt x="1012" y="91"/>
                  <a:pt x="1012" y="91"/>
                </a:cubicBezTo>
                <a:cubicBezTo>
                  <a:pt x="1012" y="91"/>
                  <a:pt x="1011" y="91"/>
                  <a:pt x="1011" y="91"/>
                </a:cubicBezTo>
                <a:close/>
                <a:moveTo>
                  <a:pt x="1010" y="91"/>
                </a:moveTo>
                <a:cubicBezTo>
                  <a:pt x="1010" y="91"/>
                  <a:pt x="1011" y="91"/>
                  <a:pt x="1011" y="91"/>
                </a:cubicBezTo>
                <a:cubicBezTo>
                  <a:pt x="1010" y="91"/>
                  <a:pt x="1010" y="91"/>
                  <a:pt x="1010" y="91"/>
                </a:cubicBezTo>
                <a:close/>
                <a:moveTo>
                  <a:pt x="1176" y="92"/>
                </a:moveTo>
                <a:cubicBezTo>
                  <a:pt x="1176" y="92"/>
                  <a:pt x="1175" y="91"/>
                  <a:pt x="1175" y="91"/>
                </a:cubicBezTo>
                <a:cubicBezTo>
                  <a:pt x="1175" y="91"/>
                  <a:pt x="1175" y="92"/>
                  <a:pt x="1176" y="92"/>
                </a:cubicBezTo>
                <a:close/>
                <a:moveTo>
                  <a:pt x="1737" y="41"/>
                </a:moveTo>
                <a:cubicBezTo>
                  <a:pt x="1738" y="40"/>
                  <a:pt x="1738" y="40"/>
                  <a:pt x="1738" y="40"/>
                </a:cubicBezTo>
                <a:cubicBezTo>
                  <a:pt x="1737" y="40"/>
                  <a:pt x="1737" y="40"/>
                  <a:pt x="1737" y="41"/>
                </a:cubicBezTo>
                <a:close/>
                <a:moveTo>
                  <a:pt x="716" y="92"/>
                </a:moveTo>
                <a:cubicBezTo>
                  <a:pt x="716" y="92"/>
                  <a:pt x="716" y="92"/>
                  <a:pt x="715" y="91"/>
                </a:cubicBezTo>
                <a:cubicBezTo>
                  <a:pt x="715" y="92"/>
                  <a:pt x="715" y="92"/>
                  <a:pt x="716" y="92"/>
                </a:cubicBezTo>
                <a:close/>
                <a:moveTo>
                  <a:pt x="986" y="91"/>
                </a:moveTo>
                <a:cubicBezTo>
                  <a:pt x="986" y="92"/>
                  <a:pt x="986" y="92"/>
                  <a:pt x="987" y="92"/>
                </a:cubicBezTo>
                <a:cubicBezTo>
                  <a:pt x="987" y="91"/>
                  <a:pt x="986" y="91"/>
                  <a:pt x="986" y="91"/>
                </a:cubicBezTo>
                <a:close/>
                <a:moveTo>
                  <a:pt x="1008" y="92"/>
                </a:moveTo>
                <a:cubicBezTo>
                  <a:pt x="1009" y="92"/>
                  <a:pt x="1009" y="92"/>
                  <a:pt x="1010" y="91"/>
                </a:cubicBezTo>
                <a:cubicBezTo>
                  <a:pt x="1009" y="91"/>
                  <a:pt x="1009" y="91"/>
                  <a:pt x="1008" y="92"/>
                </a:cubicBezTo>
                <a:close/>
                <a:moveTo>
                  <a:pt x="1251" y="92"/>
                </a:moveTo>
                <a:cubicBezTo>
                  <a:pt x="1252" y="92"/>
                  <a:pt x="1252" y="92"/>
                  <a:pt x="1252" y="91"/>
                </a:cubicBezTo>
                <a:cubicBezTo>
                  <a:pt x="1252" y="91"/>
                  <a:pt x="1252" y="91"/>
                  <a:pt x="1251" y="92"/>
                </a:cubicBezTo>
                <a:close/>
                <a:moveTo>
                  <a:pt x="791" y="92"/>
                </a:moveTo>
                <a:cubicBezTo>
                  <a:pt x="791" y="92"/>
                  <a:pt x="791" y="92"/>
                  <a:pt x="792" y="92"/>
                </a:cubicBezTo>
                <a:cubicBezTo>
                  <a:pt x="791" y="92"/>
                  <a:pt x="791" y="92"/>
                  <a:pt x="791" y="92"/>
                </a:cubicBezTo>
                <a:close/>
                <a:moveTo>
                  <a:pt x="667" y="92"/>
                </a:moveTo>
                <a:cubicBezTo>
                  <a:pt x="667" y="92"/>
                  <a:pt x="667" y="93"/>
                  <a:pt x="668" y="92"/>
                </a:cubicBezTo>
                <a:cubicBezTo>
                  <a:pt x="667" y="92"/>
                  <a:pt x="667" y="92"/>
                  <a:pt x="667" y="92"/>
                </a:cubicBezTo>
                <a:close/>
                <a:moveTo>
                  <a:pt x="789" y="92"/>
                </a:moveTo>
                <a:cubicBezTo>
                  <a:pt x="790" y="92"/>
                  <a:pt x="790" y="92"/>
                  <a:pt x="791" y="92"/>
                </a:cubicBezTo>
                <a:cubicBezTo>
                  <a:pt x="790" y="92"/>
                  <a:pt x="790" y="92"/>
                  <a:pt x="789" y="92"/>
                </a:cubicBezTo>
                <a:close/>
                <a:moveTo>
                  <a:pt x="1569" y="41"/>
                </a:moveTo>
                <a:cubicBezTo>
                  <a:pt x="1570" y="40"/>
                  <a:pt x="1570" y="40"/>
                  <a:pt x="1570" y="40"/>
                </a:cubicBezTo>
                <a:cubicBezTo>
                  <a:pt x="1569" y="40"/>
                  <a:pt x="1569" y="40"/>
                  <a:pt x="1569" y="41"/>
                </a:cubicBezTo>
                <a:close/>
                <a:moveTo>
                  <a:pt x="1176" y="93"/>
                </a:moveTo>
                <a:cubicBezTo>
                  <a:pt x="1176" y="93"/>
                  <a:pt x="1176" y="92"/>
                  <a:pt x="1175" y="92"/>
                </a:cubicBezTo>
                <a:cubicBezTo>
                  <a:pt x="1175" y="92"/>
                  <a:pt x="1175" y="93"/>
                  <a:pt x="1176" y="93"/>
                </a:cubicBezTo>
                <a:close/>
                <a:moveTo>
                  <a:pt x="668" y="92"/>
                </a:moveTo>
                <a:cubicBezTo>
                  <a:pt x="668" y="93"/>
                  <a:pt x="668" y="93"/>
                  <a:pt x="669" y="93"/>
                </a:cubicBezTo>
                <a:cubicBezTo>
                  <a:pt x="668" y="92"/>
                  <a:pt x="668" y="92"/>
                  <a:pt x="668" y="92"/>
                </a:cubicBezTo>
                <a:close/>
                <a:moveTo>
                  <a:pt x="716" y="93"/>
                </a:moveTo>
                <a:cubicBezTo>
                  <a:pt x="716" y="93"/>
                  <a:pt x="716" y="93"/>
                  <a:pt x="716" y="92"/>
                </a:cubicBezTo>
                <a:cubicBezTo>
                  <a:pt x="716" y="93"/>
                  <a:pt x="716" y="93"/>
                  <a:pt x="716" y="93"/>
                </a:cubicBezTo>
                <a:close/>
                <a:moveTo>
                  <a:pt x="772" y="92"/>
                </a:moveTo>
                <a:cubicBezTo>
                  <a:pt x="772" y="93"/>
                  <a:pt x="772" y="93"/>
                  <a:pt x="773" y="93"/>
                </a:cubicBezTo>
                <a:cubicBezTo>
                  <a:pt x="772" y="92"/>
                  <a:pt x="772" y="92"/>
                  <a:pt x="772" y="92"/>
                </a:cubicBezTo>
                <a:close/>
                <a:moveTo>
                  <a:pt x="788" y="93"/>
                </a:moveTo>
                <a:cubicBezTo>
                  <a:pt x="789" y="93"/>
                  <a:pt x="789" y="93"/>
                  <a:pt x="789" y="92"/>
                </a:cubicBezTo>
                <a:cubicBezTo>
                  <a:pt x="789" y="92"/>
                  <a:pt x="789" y="92"/>
                  <a:pt x="788" y="93"/>
                </a:cubicBezTo>
                <a:close/>
                <a:moveTo>
                  <a:pt x="1070" y="93"/>
                </a:moveTo>
                <a:cubicBezTo>
                  <a:pt x="1071" y="93"/>
                  <a:pt x="1071" y="93"/>
                  <a:pt x="1071" y="92"/>
                </a:cubicBezTo>
                <a:cubicBezTo>
                  <a:pt x="1071" y="92"/>
                  <a:pt x="1071" y="92"/>
                  <a:pt x="1070" y="93"/>
                </a:cubicBezTo>
                <a:close/>
                <a:moveTo>
                  <a:pt x="1248" y="93"/>
                </a:moveTo>
                <a:cubicBezTo>
                  <a:pt x="1249" y="93"/>
                  <a:pt x="1249" y="93"/>
                  <a:pt x="1249" y="92"/>
                </a:cubicBezTo>
                <a:cubicBezTo>
                  <a:pt x="1249" y="92"/>
                  <a:pt x="1249" y="92"/>
                  <a:pt x="1248" y="93"/>
                </a:cubicBezTo>
                <a:close/>
                <a:moveTo>
                  <a:pt x="669" y="93"/>
                </a:moveTo>
                <a:cubicBezTo>
                  <a:pt x="669" y="93"/>
                  <a:pt x="670" y="93"/>
                  <a:pt x="670" y="93"/>
                </a:cubicBezTo>
                <a:cubicBezTo>
                  <a:pt x="670" y="93"/>
                  <a:pt x="669" y="93"/>
                  <a:pt x="669" y="93"/>
                </a:cubicBezTo>
                <a:close/>
                <a:moveTo>
                  <a:pt x="682" y="93"/>
                </a:moveTo>
                <a:cubicBezTo>
                  <a:pt x="682" y="93"/>
                  <a:pt x="682" y="93"/>
                  <a:pt x="683" y="93"/>
                </a:cubicBezTo>
                <a:cubicBezTo>
                  <a:pt x="682" y="93"/>
                  <a:pt x="682" y="93"/>
                  <a:pt x="682" y="93"/>
                </a:cubicBezTo>
                <a:close/>
                <a:moveTo>
                  <a:pt x="773" y="93"/>
                </a:moveTo>
                <a:cubicBezTo>
                  <a:pt x="773" y="93"/>
                  <a:pt x="774" y="93"/>
                  <a:pt x="774" y="93"/>
                </a:cubicBezTo>
                <a:cubicBezTo>
                  <a:pt x="774" y="93"/>
                  <a:pt x="773" y="93"/>
                  <a:pt x="773" y="93"/>
                </a:cubicBezTo>
                <a:close/>
                <a:moveTo>
                  <a:pt x="1055" y="93"/>
                </a:moveTo>
                <a:cubicBezTo>
                  <a:pt x="1055" y="93"/>
                  <a:pt x="1056" y="93"/>
                  <a:pt x="1056" y="93"/>
                </a:cubicBezTo>
                <a:cubicBezTo>
                  <a:pt x="1056" y="93"/>
                  <a:pt x="1055" y="93"/>
                  <a:pt x="1055" y="93"/>
                </a:cubicBezTo>
                <a:close/>
                <a:moveTo>
                  <a:pt x="1069" y="93"/>
                </a:moveTo>
                <a:cubicBezTo>
                  <a:pt x="1069" y="93"/>
                  <a:pt x="1070" y="93"/>
                  <a:pt x="1070" y="93"/>
                </a:cubicBezTo>
                <a:cubicBezTo>
                  <a:pt x="1070" y="93"/>
                  <a:pt x="1069" y="93"/>
                  <a:pt x="1069" y="93"/>
                </a:cubicBezTo>
                <a:close/>
                <a:moveTo>
                  <a:pt x="1233" y="93"/>
                </a:moveTo>
                <a:cubicBezTo>
                  <a:pt x="1233" y="93"/>
                  <a:pt x="1234" y="93"/>
                  <a:pt x="1234" y="93"/>
                </a:cubicBezTo>
                <a:cubicBezTo>
                  <a:pt x="1234" y="93"/>
                  <a:pt x="1233" y="93"/>
                  <a:pt x="1233" y="93"/>
                </a:cubicBezTo>
                <a:close/>
                <a:moveTo>
                  <a:pt x="1247" y="93"/>
                </a:moveTo>
                <a:cubicBezTo>
                  <a:pt x="1247" y="93"/>
                  <a:pt x="1248" y="93"/>
                  <a:pt x="1248" y="93"/>
                </a:cubicBezTo>
                <a:cubicBezTo>
                  <a:pt x="1248" y="93"/>
                  <a:pt x="1247" y="93"/>
                  <a:pt x="1247" y="93"/>
                </a:cubicBezTo>
                <a:close/>
                <a:moveTo>
                  <a:pt x="636" y="57"/>
                </a:moveTo>
                <a:cubicBezTo>
                  <a:pt x="636" y="57"/>
                  <a:pt x="636" y="57"/>
                  <a:pt x="636" y="56"/>
                </a:cubicBezTo>
                <a:cubicBezTo>
                  <a:pt x="636" y="57"/>
                  <a:pt x="636" y="57"/>
                  <a:pt x="636" y="57"/>
                </a:cubicBezTo>
                <a:close/>
                <a:moveTo>
                  <a:pt x="731" y="93"/>
                </a:moveTo>
                <a:cubicBezTo>
                  <a:pt x="732" y="94"/>
                  <a:pt x="732" y="94"/>
                  <a:pt x="733" y="93"/>
                </a:cubicBezTo>
                <a:cubicBezTo>
                  <a:pt x="732" y="93"/>
                  <a:pt x="732" y="93"/>
                  <a:pt x="731" y="93"/>
                </a:cubicBezTo>
                <a:close/>
                <a:moveTo>
                  <a:pt x="645" y="61"/>
                </a:moveTo>
                <a:cubicBezTo>
                  <a:pt x="645" y="61"/>
                  <a:pt x="645" y="61"/>
                  <a:pt x="645" y="62"/>
                </a:cubicBezTo>
                <a:cubicBezTo>
                  <a:pt x="645" y="62"/>
                  <a:pt x="645" y="61"/>
                  <a:pt x="645" y="61"/>
                </a:cubicBezTo>
                <a:close/>
                <a:moveTo>
                  <a:pt x="639" y="50"/>
                </a:moveTo>
                <a:cubicBezTo>
                  <a:pt x="639" y="49"/>
                  <a:pt x="639" y="49"/>
                  <a:pt x="639" y="49"/>
                </a:cubicBezTo>
                <a:cubicBezTo>
                  <a:pt x="639" y="49"/>
                  <a:pt x="639" y="49"/>
                  <a:pt x="639" y="50"/>
                </a:cubicBezTo>
                <a:close/>
                <a:moveTo>
                  <a:pt x="1197" y="93"/>
                </a:moveTo>
                <a:cubicBezTo>
                  <a:pt x="1198" y="94"/>
                  <a:pt x="1198" y="94"/>
                  <a:pt x="1199" y="93"/>
                </a:cubicBezTo>
                <a:cubicBezTo>
                  <a:pt x="1198" y="93"/>
                  <a:pt x="1198" y="93"/>
                  <a:pt x="1197" y="93"/>
                </a:cubicBezTo>
                <a:close/>
                <a:moveTo>
                  <a:pt x="595" y="41"/>
                </a:moveTo>
                <a:cubicBezTo>
                  <a:pt x="595" y="40"/>
                  <a:pt x="594" y="40"/>
                  <a:pt x="594" y="40"/>
                </a:cubicBezTo>
                <a:cubicBezTo>
                  <a:pt x="594" y="40"/>
                  <a:pt x="594" y="40"/>
                  <a:pt x="595" y="41"/>
                </a:cubicBezTo>
                <a:close/>
                <a:moveTo>
                  <a:pt x="670" y="55"/>
                </a:moveTo>
                <a:cubicBezTo>
                  <a:pt x="670" y="55"/>
                  <a:pt x="670" y="55"/>
                  <a:pt x="670" y="56"/>
                </a:cubicBezTo>
                <a:cubicBezTo>
                  <a:pt x="670" y="55"/>
                  <a:pt x="670" y="55"/>
                  <a:pt x="670" y="55"/>
                </a:cubicBezTo>
                <a:close/>
                <a:moveTo>
                  <a:pt x="871" y="56"/>
                </a:moveTo>
                <a:cubicBezTo>
                  <a:pt x="871" y="56"/>
                  <a:pt x="871" y="57"/>
                  <a:pt x="871" y="57"/>
                </a:cubicBezTo>
                <a:cubicBezTo>
                  <a:pt x="871" y="57"/>
                  <a:pt x="871" y="57"/>
                  <a:pt x="871" y="56"/>
                </a:cubicBezTo>
                <a:close/>
                <a:moveTo>
                  <a:pt x="1111" y="56"/>
                </a:moveTo>
                <a:cubicBezTo>
                  <a:pt x="1111" y="56"/>
                  <a:pt x="1111" y="57"/>
                  <a:pt x="1111" y="57"/>
                </a:cubicBezTo>
                <a:cubicBezTo>
                  <a:pt x="1111" y="57"/>
                  <a:pt x="1111" y="57"/>
                  <a:pt x="1111" y="56"/>
                </a:cubicBezTo>
                <a:close/>
                <a:moveTo>
                  <a:pt x="617" y="97"/>
                </a:moveTo>
                <a:cubicBezTo>
                  <a:pt x="616" y="96"/>
                  <a:pt x="616" y="96"/>
                  <a:pt x="616" y="96"/>
                </a:cubicBezTo>
                <a:cubicBezTo>
                  <a:pt x="616" y="96"/>
                  <a:pt x="616" y="96"/>
                  <a:pt x="617" y="97"/>
                </a:cubicBezTo>
                <a:close/>
                <a:moveTo>
                  <a:pt x="1208" y="57"/>
                </a:moveTo>
                <a:cubicBezTo>
                  <a:pt x="1209" y="57"/>
                  <a:pt x="1209" y="57"/>
                  <a:pt x="1209" y="56"/>
                </a:cubicBezTo>
                <a:cubicBezTo>
                  <a:pt x="1208" y="57"/>
                  <a:pt x="1208" y="57"/>
                  <a:pt x="1208" y="57"/>
                </a:cubicBezTo>
                <a:close/>
                <a:moveTo>
                  <a:pt x="1684" y="39"/>
                </a:moveTo>
                <a:cubicBezTo>
                  <a:pt x="1683" y="39"/>
                  <a:pt x="1683" y="40"/>
                  <a:pt x="1683" y="40"/>
                </a:cubicBezTo>
                <a:cubicBezTo>
                  <a:pt x="1684" y="40"/>
                  <a:pt x="1684" y="40"/>
                  <a:pt x="1684" y="39"/>
                </a:cubicBezTo>
                <a:close/>
                <a:moveTo>
                  <a:pt x="617" y="98"/>
                </a:moveTo>
                <a:cubicBezTo>
                  <a:pt x="617" y="98"/>
                  <a:pt x="617" y="98"/>
                  <a:pt x="617" y="97"/>
                </a:cubicBezTo>
                <a:cubicBezTo>
                  <a:pt x="617" y="98"/>
                  <a:pt x="617" y="98"/>
                  <a:pt x="617" y="98"/>
                </a:cubicBezTo>
                <a:close/>
                <a:moveTo>
                  <a:pt x="1385" y="40"/>
                </a:moveTo>
                <a:cubicBezTo>
                  <a:pt x="1385" y="40"/>
                  <a:pt x="1385" y="40"/>
                  <a:pt x="1385" y="39"/>
                </a:cubicBezTo>
                <a:cubicBezTo>
                  <a:pt x="1385" y="39"/>
                  <a:pt x="1385" y="40"/>
                  <a:pt x="1385" y="40"/>
                </a:cubicBezTo>
                <a:close/>
                <a:moveTo>
                  <a:pt x="1017" y="99"/>
                </a:moveTo>
                <a:cubicBezTo>
                  <a:pt x="1017" y="99"/>
                  <a:pt x="1017" y="99"/>
                  <a:pt x="1016" y="100"/>
                </a:cubicBezTo>
                <a:cubicBezTo>
                  <a:pt x="1017" y="100"/>
                  <a:pt x="1017" y="100"/>
                  <a:pt x="1017" y="99"/>
                </a:cubicBezTo>
                <a:close/>
                <a:moveTo>
                  <a:pt x="1255" y="100"/>
                </a:moveTo>
                <a:cubicBezTo>
                  <a:pt x="1255" y="100"/>
                  <a:pt x="1254" y="100"/>
                  <a:pt x="1254" y="100"/>
                </a:cubicBezTo>
                <a:cubicBezTo>
                  <a:pt x="1255" y="100"/>
                  <a:pt x="1255" y="101"/>
                  <a:pt x="1255" y="100"/>
                </a:cubicBezTo>
                <a:close/>
                <a:moveTo>
                  <a:pt x="794" y="100"/>
                </a:moveTo>
                <a:cubicBezTo>
                  <a:pt x="794" y="100"/>
                  <a:pt x="794" y="101"/>
                  <a:pt x="793" y="101"/>
                </a:cubicBezTo>
                <a:cubicBezTo>
                  <a:pt x="794" y="101"/>
                  <a:pt x="794" y="101"/>
                  <a:pt x="794" y="100"/>
                </a:cubicBezTo>
                <a:close/>
                <a:moveTo>
                  <a:pt x="573" y="101"/>
                </a:moveTo>
                <a:cubicBezTo>
                  <a:pt x="573" y="101"/>
                  <a:pt x="572" y="101"/>
                  <a:pt x="572" y="101"/>
                </a:cubicBezTo>
                <a:cubicBezTo>
                  <a:pt x="573" y="101"/>
                  <a:pt x="573" y="101"/>
                  <a:pt x="573" y="101"/>
                </a:cubicBezTo>
                <a:close/>
                <a:moveTo>
                  <a:pt x="765" y="101"/>
                </a:moveTo>
                <a:cubicBezTo>
                  <a:pt x="765" y="101"/>
                  <a:pt x="765" y="101"/>
                  <a:pt x="764" y="101"/>
                </a:cubicBezTo>
                <a:cubicBezTo>
                  <a:pt x="765" y="101"/>
                  <a:pt x="765" y="101"/>
                  <a:pt x="765" y="101"/>
                </a:cubicBezTo>
                <a:close/>
                <a:moveTo>
                  <a:pt x="1013" y="101"/>
                </a:moveTo>
                <a:cubicBezTo>
                  <a:pt x="1013" y="101"/>
                  <a:pt x="1012" y="101"/>
                  <a:pt x="1012" y="101"/>
                </a:cubicBezTo>
                <a:cubicBezTo>
                  <a:pt x="1013" y="101"/>
                  <a:pt x="1013" y="101"/>
                  <a:pt x="1013" y="101"/>
                </a:cubicBezTo>
                <a:close/>
                <a:moveTo>
                  <a:pt x="1076" y="101"/>
                </a:moveTo>
                <a:cubicBezTo>
                  <a:pt x="1075" y="101"/>
                  <a:pt x="1075" y="101"/>
                  <a:pt x="1074" y="101"/>
                </a:cubicBezTo>
                <a:cubicBezTo>
                  <a:pt x="1075" y="101"/>
                  <a:pt x="1075" y="101"/>
                  <a:pt x="1076" y="101"/>
                </a:cubicBezTo>
                <a:close/>
                <a:moveTo>
                  <a:pt x="572" y="101"/>
                </a:moveTo>
                <a:cubicBezTo>
                  <a:pt x="572" y="101"/>
                  <a:pt x="571" y="101"/>
                  <a:pt x="571" y="101"/>
                </a:cubicBezTo>
                <a:cubicBezTo>
                  <a:pt x="572" y="102"/>
                  <a:pt x="572" y="102"/>
                  <a:pt x="572" y="101"/>
                </a:cubicBezTo>
                <a:close/>
                <a:moveTo>
                  <a:pt x="629" y="101"/>
                </a:moveTo>
                <a:cubicBezTo>
                  <a:pt x="629" y="101"/>
                  <a:pt x="629" y="102"/>
                  <a:pt x="629" y="102"/>
                </a:cubicBezTo>
                <a:cubicBezTo>
                  <a:pt x="629" y="102"/>
                  <a:pt x="629" y="102"/>
                  <a:pt x="629" y="101"/>
                </a:cubicBezTo>
                <a:close/>
                <a:moveTo>
                  <a:pt x="792" y="101"/>
                </a:moveTo>
                <a:cubicBezTo>
                  <a:pt x="792" y="101"/>
                  <a:pt x="791" y="101"/>
                  <a:pt x="791" y="102"/>
                </a:cubicBezTo>
                <a:cubicBezTo>
                  <a:pt x="792" y="102"/>
                  <a:pt x="792" y="102"/>
                  <a:pt x="792" y="101"/>
                </a:cubicBezTo>
                <a:close/>
                <a:moveTo>
                  <a:pt x="982" y="102"/>
                </a:moveTo>
                <a:cubicBezTo>
                  <a:pt x="981" y="101"/>
                  <a:pt x="981" y="101"/>
                  <a:pt x="981" y="101"/>
                </a:cubicBezTo>
                <a:cubicBezTo>
                  <a:pt x="981" y="102"/>
                  <a:pt x="981" y="102"/>
                  <a:pt x="982" y="102"/>
                </a:cubicBezTo>
                <a:close/>
                <a:moveTo>
                  <a:pt x="1012" y="101"/>
                </a:moveTo>
                <a:cubicBezTo>
                  <a:pt x="1012" y="101"/>
                  <a:pt x="1011" y="101"/>
                  <a:pt x="1011" y="101"/>
                </a:cubicBezTo>
                <a:cubicBezTo>
                  <a:pt x="1011" y="101"/>
                  <a:pt x="1012" y="102"/>
                  <a:pt x="1012" y="101"/>
                </a:cubicBezTo>
                <a:close/>
                <a:moveTo>
                  <a:pt x="1048" y="101"/>
                </a:moveTo>
                <a:cubicBezTo>
                  <a:pt x="1048" y="101"/>
                  <a:pt x="1048" y="101"/>
                  <a:pt x="1047" y="101"/>
                </a:cubicBezTo>
                <a:cubicBezTo>
                  <a:pt x="1048" y="102"/>
                  <a:pt x="1048" y="101"/>
                  <a:pt x="1048" y="101"/>
                </a:cubicBezTo>
                <a:close/>
                <a:moveTo>
                  <a:pt x="1075" y="101"/>
                </a:moveTo>
                <a:cubicBezTo>
                  <a:pt x="1074" y="101"/>
                  <a:pt x="1074" y="101"/>
                  <a:pt x="1073" y="101"/>
                </a:cubicBezTo>
                <a:cubicBezTo>
                  <a:pt x="1074" y="101"/>
                  <a:pt x="1074" y="102"/>
                  <a:pt x="1075" y="101"/>
                </a:cubicBezTo>
                <a:close/>
                <a:moveTo>
                  <a:pt x="1226" y="101"/>
                </a:moveTo>
                <a:cubicBezTo>
                  <a:pt x="1226" y="101"/>
                  <a:pt x="1226" y="101"/>
                  <a:pt x="1225" y="101"/>
                </a:cubicBezTo>
                <a:cubicBezTo>
                  <a:pt x="1225" y="102"/>
                  <a:pt x="1226" y="102"/>
                  <a:pt x="1226" y="101"/>
                </a:cubicBezTo>
                <a:close/>
                <a:moveTo>
                  <a:pt x="571" y="101"/>
                </a:moveTo>
                <a:cubicBezTo>
                  <a:pt x="571" y="101"/>
                  <a:pt x="570" y="101"/>
                  <a:pt x="570" y="102"/>
                </a:cubicBezTo>
                <a:cubicBezTo>
                  <a:pt x="570" y="102"/>
                  <a:pt x="571" y="102"/>
                  <a:pt x="571" y="101"/>
                </a:cubicBezTo>
                <a:close/>
                <a:moveTo>
                  <a:pt x="618" y="103"/>
                </a:moveTo>
                <a:cubicBezTo>
                  <a:pt x="618" y="102"/>
                  <a:pt x="618" y="102"/>
                  <a:pt x="618" y="102"/>
                </a:cubicBezTo>
                <a:cubicBezTo>
                  <a:pt x="618" y="102"/>
                  <a:pt x="618" y="102"/>
                  <a:pt x="618" y="103"/>
                </a:cubicBezTo>
                <a:close/>
                <a:moveTo>
                  <a:pt x="665" y="102"/>
                </a:moveTo>
                <a:cubicBezTo>
                  <a:pt x="664" y="101"/>
                  <a:pt x="664" y="101"/>
                  <a:pt x="663" y="101"/>
                </a:cubicBezTo>
                <a:cubicBezTo>
                  <a:pt x="664" y="102"/>
                  <a:pt x="664" y="102"/>
                  <a:pt x="665" y="102"/>
                </a:cubicBezTo>
                <a:close/>
                <a:moveTo>
                  <a:pt x="724" y="102"/>
                </a:moveTo>
                <a:cubicBezTo>
                  <a:pt x="724" y="102"/>
                  <a:pt x="724" y="101"/>
                  <a:pt x="723" y="101"/>
                </a:cubicBezTo>
                <a:cubicBezTo>
                  <a:pt x="724" y="102"/>
                  <a:pt x="724" y="102"/>
                  <a:pt x="724" y="102"/>
                </a:cubicBezTo>
                <a:close/>
                <a:moveTo>
                  <a:pt x="791" y="101"/>
                </a:moveTo>
                <a:cubicBezTo>
                  <a:pt x="791" y="101"/>
                  <a:pt x="790" y="101"/>
                  <a:pt x="790" y="102"/>
                </a:cubicBezTo>
                <a:cubicBezTo>
                  <a:pt x="790" y="102"/>
                  <a:pt x="791" y="102"/>
                  <a:pt x="791" y="101"/>
                </a:cubicBezTo>
                <a:close/>
                <a:moveTo>
                  <a:pt x="983" y="102"/>
                </a:moveTo>
                <a:cubicBezTo>
                  <a:pt x="982" y="101"/>
                  <a:pt x="982" y="101"/>
                  <a:pt x="982" y="101"/>
                </a:cubicBezTo>
                <a:cubicBezTo>
                  <a:pt x="982" y="102"/>
                  <a:pt x="982" y="102"/>
                  <a:pt x="983" y="102"/>
                </a:cubicBezTo>
                <a:close/>
                <a:moveTo>
                  <a:pt x="1050" y="102"/>
                </a:moveTo>
                <a:cubicBezTo>
                  <a:pt x="1049" y="102"/>
                  <a:pt x="1049" y="101"/>
                  <a:pt x="1048" y="101"/>
                </a:cubicBezTo>
                <a:cubicBezTo>
                  <a:pt x="1049" y="102"/>
                  <a:pt x="1049" y="102"/>
                  <a:pt x="1050" y="102"/>
                </a:cubicBezTo>
                <a:close/>
                <a:moveTo>
                  <a:pt x="1073" y="102"/>
                </a:moveTo>
                <a:cubicBezTo>
                  <a:pt x="1073" y="102"/>
                  <a:pt x="1072" y="102"/>
                  <a:pt x="1072" y="102"/>
                </a:cubicBezTo>
                <a:cubicBezTo>
                  <a:pt x="1072" y="102"/>
                  <a:pt x="1073" y="102"/>
                  <a:pt x="1073" y="102"/>
                </a:cubicBezTo>
                <a:close/>
                <a:moveTo>
                  <a:pt x="1227" y="102"/>
                </a:moveTo>
                <a:cubicBezTo>
                  <a:pt x="1227" y="102"/>
                  <a:pt x="1227" y="101"/>
                  <a:pt x="1226" y="101"/>
                </a:cubicBezTo>
                <a:cubicBezTo>
                  <a:pt x="1227" y="102"/>
                  <a:pt x="1227" y="102"/>
                  <a:pt x="1227" y="102"/>
                </a:cubicBezTo>
                <a:close/>
                <a:moveTo>
                  <a:pt x="1251" y="102"/>
                </a:moveTo>
                <a:cubicBezTo>
                  <a:pt x="1251" y="101"/>
                  <a:pt x="1250" y="102"/>
                  <a:pt x="1250" y="102"/>
                </a:cubicBezTo>
                <a:cubicBezTo>
                  <a:pt x="1250" y="102"/>
                  <a:pt x="1251" y="102"/>
                  <a:pt x="1251" y="102"/>
                </a:cubicBezTo>
                <a:close/>
                <a:moveTo>
                  <a:pt x="1430" y="102"/>
                </a:moveTo>
                <a:cubicBezTo>
                  <a:pt x="1430" y="102"/>
                  <a:pt x="1430" y="101"/>
                  <a:pt x="1429" y="101"/>
                </a:cubicBezTo>
                <a:cubicBezTo>
                  <a:pt x="1429" y="102"/>
                  <a:pt x="1430" y="102"/>
                  <a:pt x="1430" y="102"/>
                </a:cubicBezTo>
                <a:close/>
                <a:moveTo>
                  <a:pt x="570" y="102"/>
                </a:moveTo>
                <a:cubicBezTo>
                  <a:pt x="569" y="102"/>
                  <a:pt x="569" y="102"/>
                  <a:pt x="569" y="102"/>
                </a:cubicBezTo>
                <a:cubicBezTo>
                  <a:pt x="569" y="102"/>
                  <a:pt x="569" y="102"/>
                  <a:pt x="570" y="102"/>
                </a:cubicBezTo>
                <a:close/>
                <a:moveTo>
                  <a:pt x="666" y="102"/>
                </a:moveTo>
                <a:cubicBezTo>
                  <a:pt x="666" y="102"/>
                  <a:pt x="665" y="102"/>
                  <a:pt x="665" y="102"/>
                </a:cubicBezTo>
                <a:cubicBezTo>
                  <a:pt x="665" y="102"/>
                  <a:pt x="666" y="102"/>
                  <a:pt x="666" y="102"/>
                </a:cubicBezTo>
                <a:close/>
                <a:moveTo>
                  <a:pt x="685" y="102"/>
                </a:moveTo>
                <a:cubicBezTo>
                  <a:pt x="685" y="102"/>
                  <a:pt x="684" y="102"/>
                  <a:pt x="684" y="102"/>
                </a:cubicBezTo>
                <a:cubicBezTo>
                  <a:pt x="684" y="102"/>
                  <a:pt x="685" y="102"/>
                  <a:pt x="685" y="102"/>
                </a:cubicBezTo>
                <a:close/>
                <a:moveTo>
                  <a:pt x="740" y="102"/>
                </a:moveTo>
                <a:cubicBezTo>
                  <a:pt x="740" y="102"/>
                  <a:pt x="740" y="102"/>
                  <a:pt x="739" y="102"/>
                </a:cubicBezTo>
                <a:cubicBezTo>
                  <a:pt x="740" y="102"/>
                  <a:pt x="740" y="102"/>
                  <a:pt x="740" y="102"/>
                </a:cubicBezTo>
                <a:close/>
                <a:moveTo>
                  <a:pt x="769" y="102"/>
                </a:moveTo>
                <a:cubicBezTo>
                  <a:pt x="768" y="102"/>
                  <a:pt x="768" y="102"/>
                  <a:pt x="768" y="102"/>
                </a:cubicBezTo>
                <a:cubicBezTo>
                  <a:pt x="768" y="102"/>
                  <a:pt x="768" y="102"/>
                  <a:pt x="769" y="102"/>
                </a:cubicBezTo>
                <a:close/>
                <a:moveTo>
                  <a:pt x="790" y="102"/>
                </a:moveTo>
                <a:cubicBezTo>
                  <a:pt x="789" y="102"/>
                  <a:pt x="789" y="102"/>
                  <a:pt x="789" y="102"/>
                </a:cubicBezTo>
                <a:cubicBezTo>
                  <a:pt x="789" y="102"/>
                  <a:pt x="789" y="102"/>
                  <a:pt x="790" y="102"/>
                </a:cubicBezTo>
                <a:close/>
                <a:moveTo>
                  <a:pt x="1031" y="55"/>
                </a:moveTo>
                <a:cubicBezTo>
                  <a:pt x="1031" y="55"/>
                  <a:pt x="1031" y="55"/>
                  <a:pt x="1031" y="54"/>
                </a:cubicBezTo>
                <a:cubicBezTo>
                  <a:pt x="1031" y="54"/>
                  <a:pt x="1031" y="55"/>
                  <a:pt x="1031" y="55"/>
                </a:cubicBezTo>
                <a:close/>
                <a:moveTo>
                  <a:pt x="1051" y="102"/>
                </a:moveTo>
                <a:cubicBezTo>
                  <a:pt x="1050" y="102"/>
                  <a:pt x="1050" y="102"/>
                  <a:pt x="1049" y="102"/>
                </a:cubicBezTo>
                <a:cubicBezTo>
                  <a:pt x="1050" y="102"/>
                  <a:pt x="1050" y="102"/>
                  <a:pt x="1051" y="102"/>
                </a:cubicBezTo>
                <a:close/>
                <a:moveTo>
                  <a:pt x="1072" y="102"/>
                </a:moveTo>
                <a:cubicBezTo>
                  <a:pt x="1071" y="102"/>
                  <a:pt x="1071" y="102"/>
                  <a:pt x="1071" y="102"/>
                </a:cubicBezTo>
                <a:cubicBezTo>
                  <a:pt x="1071" y="102"/>
                  <a:pt x="1071" y="102"/>
                  <a:pt x="1072" y="102"/>
                </a:cubicBezTo>
                <a:close/>
                <a:moveTo>
                  <a:pt x="1185" y="102"/>
                </a:moveTo>
                <a:cubicBezTo>
                  <a:pt x="1185" y="102"/>
                  <a:pt x="1185" y="102"/>
                  <a:pt x="1184" y="102"/>
                </a:cubicBezTo>
                <a:cubicBezTo>
                  <a:pt x="1184" y="102"/>
                  <a:pt x="1185" y="102"/>
                  <a:pt x="1185" y="102"/>
                </a:cubicBezTo>
                <a:close/>
                <a:moveTo>
                  <a:pt x="1200" y="102"/>
                </a:moveTo>
                <a:cubicBezTo>
                  <a:pt x="1200" y="102"/>
                  <a:pt x="1199" y="102"/>
                  <a:pt x="1199" y="102"/>
                </a:cubicBezTo>
                <a:cubicBezTo>
                  <a:pt x="1200" y="102"/>
                  <a:pt x="1200" y="102"/>
                  <a:pt x="1200" y="102"/>
                </a:cubicBezTo>
                <a:close/>
                <a:moveTo>
                  <a:pt x="1229" y="102"/>
                </a:moveTo>
                <a:cubicBezTo>
                  <a:pt x="1228" y="102"/>
                  <a:pt x="1228" y="102"/>
                  <a:pt x="1227" y="102"/>
                </a:cubicBezTo>
                <a:cubicBezTo>
                  <a:pt x="1228" y="102"/>
                  <a:pt x="1228" y="102"/>
                  <a:pt x="1229" y="102"/>
                </a:cubicBezTo>
                <a:close/>
                <a:moveTo>
                  <a:pt x="1250" y="102"/>
                </a:moveTo>
                <a:cubicBezTo>
                  <a:pt x="1249" y="102"/>
                  <a:pt x="1249" y="102"/>
                  <a:pt x="1248" y="102"/>
                </a:cubicBezTo>
                <a:cubicBezTo>
                  <a:pt x="1249" y="102"/>
                  <a:pt x="1249" y="102"/>
                  <a:pt x="1250" y="102"/>
                </a:cubicBezTo>
                <a:close/>
                <a:moveTo>
                  <a:pt x="1431" y="102"/>
                </a:moveTo>
                <a:cubicBezTo>
                  <a:pt x="1431" y="102"/>
                  <a:pt x="1431" y="102"/>
                  <a:pt x="1430" y="102"/>
                </a:cubicBezTo>
                <a:cubicBezTo>
                  <a:pt x="1431" y="102"/>
                  <a:pt x="1431" y="102"/>
                  <a:pt x="1431" y="102"/>
                </a:cubicBezTo>
                <a:close/>
                <a:moveTo>
                  <a:pt x="1448" y="102"/>
                </a:moveTo>
                <a:cubicBezTo>
                  <a:pt x="1448" y="102"/>
                  <a:pt x="1448" y="102"/>
                  <a:pt x="1447" y="102"/>
                </a:cubicBezTo>
                <a:cubicBezTo>
                  <a:pt x="1448" y="102"/>
                  <a:pt x="1448" y="102"/>
                  <a:pt x="1448" y="102"/>
                </a:cubicBezTo>
                <a:close/>
                <a:moveTo>
                  <a:pt x="1652" y="62"/>
                </a:moveTo>
                <a:cubicBezTo>
                  <a:pt x="1651" y="62"/>
                  <a:pt x="1651" y="62"/>
                  <a:pt x="1651" y="62"/>
                </a:cubicBezTo>
                <a:cubicBezTo>
                  <a:pt x="1651" y="62"/>
                  <a:pt x="1651" y="62"/>
                  <a:pt x="1652" y="62"/>
                </a:cubicBezTo>
                <a:close/>
                <a:moveTo>
                  <a:pt x="667" y="103"/>
                </a:moveTo>
                <a:cubicBezTo>
                  <a:pt x="667" y="102"/>
                  <a:pt x="667" y="102"/>
                  <a:pt x="666" y="102"/>
                </a:cubicBezTo>
                <a:cubicBezTo>
                  <a:pt x="667" y="103"/>
                  <a:pt x="667" y="103"/>
                  <a:pt x="667" y="103"/>
                </a:cubicBezTo>
                <a:close/>
                <a:moveTo>
                  <a:pt x="727" y="103"/>
                </a:moveTo>
                <a:cubicBezTo>
                  <a:pt x="726" y="102"/>
                  <a:pt x="726" y="102"/>
                  <a:pt x="725" y="102"/>
                </a:cubicBezTo>
                <a:cubicBezTo>
                  <a:pt x="726" y="103"/>
                  <a:pt x="726" y="103"/>
                  <a:pt x="727" y="103"/>
                </a:cubicBezTo>
                <a:close/>
                <a:moveTo>
                  <a:pt x="739" y="102"/>
                </a:moveTo>
                <a:cubicBezTo>
                  <a:pt x="739" y="102"/>
                  <a:pt x="738" y="102"/>
                  <a:pt x="738" y="103"/>
                </a:cubicBezTo>
                <a:cubicBezTo>
                  <a:pt x="738" y="103"/>
                  <a:pt x="739" y="103"/>
                  <a:pt x="739" y="102"/>
                </a:cubicBezTo>
                <a:close/>
                <a:moveTo>
                  <a:pt x="770" y="103"/>
                </a:moveTo>
                <a:cubicBezTo>
                  <a:pt x="770" y="102"/>
                  <a:pt x="769" y="102"/>
                  <a:pt x="769" y="102"/>
                </a:cubicBezTo>
                <a:cubicBezTo>
                  <a:pt x="769" y="103"/>
                  <a:pt x="770" y="103"/>
                  <a:pt x="770" y="103"/>
                </a:cubicBezTo>
                <a:close/>
                <a:moveTo>
                  <a:pt x="1186" y="103"/>
                </a:moveTo>
                <a:cubicBezTo>
                  <a:pt x="1186" y="102"/>
                  <a:pt x="1186" y="102"/>
                  <a:pt x="1185" y="102"/>
                </a:cubicBezTo>
                <a:cubicBezTo>
                  <a:pt x="1186" y="103"/>
                  <a:pt x="1186" y="103"/>
                  <a:pt x="1186" y="103"/>
                </a:cubicBezTo>
                <a:close/>
                <a:moveTo>
                  <a:pt x="1199" y="102"/>
                </a:moveTo>
                <a:cubicBezTo>
                  <a:pt x="1199" y="102"/>
                  <a:pt x="1198" y="102"/>
                  <a:pt x="1198" y="103"/>
                </a:cubicBezTo>
                <a:cubicBezTo>
                  <a:pt x="1198" y="103"/>
                  <a:pt x="1199" y="103"/>
                  <a:pt x="1199" y="102"/>
                </a:cubicBezTo>
                <a:close/>
                <a:moveTo>
                  <a:pt x="953" y="40"/>
                </a:moveTo>
                <a:cubicBezTo>
                  <a:pt x="953" y="40"/>
                  <a:pt x="953" y="40"/>
                  <a:pt x="953" y="39"/>
                </a:cubicBezTo>
                <a:cubicBezTo>
                  <a:pt x="953" y="39"/>
                  <a:pt x="953" y="40"/>
                  <a:pt x="953" y="40"/>
                </a:cubicBezTo>
                <a:close/>
                <a:moveTo>
                  <a:pt x="645" y="63"/>
                </a:moveTo>
                <a:cubicBezTo>
                  <a:pt x="644" y="63"/>
                  <a:pt x="644" y="63"/>
                  <a:pt x="644" y="64"/>
                </a:cubicBezTo>
                <a:cubicBezTo>
                  <a:pt x="645" y="63"/>
                  <a:pt x="645" y="63"/>
                  <a:pt x="645" y="63"/>
                </a:cubicBezTo>
                <a:close/>
                <a:moveTo>
                  <a:pt x="611" y="52"/>
                </a:moveTo>
                <a:cubicBezTo>
                  <a:pt x="610" y="52"/>
                  <a:pt x="611" y="53"/>
                  <a:pt x="611" y="53"/>
                </a:cubicBezTo>
                <a:cubicBezTo>
                  <a:pt x="611" y="52"/>
                  <a:pt x="611" y="52"/>
                  <a:pt x="611" y="52"/>
                </a:cubicBezTo>
                <a:close/>
                <a:moveTo>
                  <a:pt x="642" y="40"/>
                </a:moveTo>
                <a:cubicBezTo>
                  <a:pt x="643" y="40"/>
                  <a:pt x="643" y="40"/>
                  <a:pt x="643" y="39"/>
                </a:cubicBezTo>
                <a:cubicBezTo>
                  <a:pt x="642" y="39"/>
                  <a:pt x="642" y="40"/>
                  <a:pt x="642" y="40"/>
                </a:cubicBezTo>
                <a:close/>
                <a:moveTo>
                  <a:pt x="803" y="48"/>
                </a:moveTo>
                <a:cubicBezTo>
                  <a:pt x="803" y="48"/>
                  <a:pt x="803" y="48"/>
                  <a:pt x="803" y="49"/>
                </a:cubicBezTo>
                <a:cubicBezTo>
                  <a:pt x="803" y="48"/>
                  <a:pt x="803" y="48"/>
                  <a:pt x="803" y="48"/>
                </a:cubicBezTo>
                <a:close/>
                <a:moveTo>
                  <a:pt x="670" y="48"/>
                </a:moveTo>
                <a:cubicBezTo>
                  <a:pt x="670" y="48"/>
                  <a:pt x="670" y="48"/>
                  <a:pt x="670" y="49"/>
                </a:cubicBezTo>
                <a:cubicBezTo>
                  <a:pt x="670" y="48"/>
                  <a:pt x="670" y="48"/>
                  <a:pt x="670" y="48"/>
                </a:cubicBezTo>
                <a:close/>
                <a:moveTo>
                  <a:pt x="651" y="48"/>
                </a:moveTo>
                <a:cubicBezTo>
                  <a:pt x="650" y="48"/>
                  <a:pt x="650" y="48"/>
                  <a:pt x="650" y="49"/>
                </a:cubicBezTo>
                <a:cubicBezTo>
                  <a:pt x="651" y="48"/>
                  <a:pt x="651" y="48"/>
                  <a:pt x="651" y="48"/>
                </a:cubicBezTo>
                <a:close/>
                <a:moveTo>
                  <a:pt x="598" y="49"/>
                </a:moveTo>
                <a:cubicBezTo>
                  <a:pt x="598" y="48"/>
                  <a:pt x="598" y="48"/>
                  <a:pt x="597" y="48"/>
                </a:cubicBezTo>
                <a:cubicBezTo>
                  <a:pt x="597" y="48"/>
                  <a:pt x="597" y="48"/>
                  <a:pt x="598" y="49"/>
                </a:cubicBezTo>
                <a:close/>
                <a:moveTo>
                  <a:pt x="629" y="103"/>
                </a:moveTo>
                <a:cubicBezTo>
                  <a:pt x="628" y="103"/>
                  <a:pt x="628" y="104"/>
                  <a:pt x="628" y="104"/>
                </a:cubicBezTo>
                <a:cubicBezTo>
                  <a:pt x="629" y="104"/>
                  <a:pt x="629" y="103"/>
                  <a:pt x="629" y="103"/>
                </a:cubicBezTo>
                <a:close/>
                <a:moveTo>
                  <a:pt x="628" y="105"/>
                </a:moveTo>
                <a:cubicBezTo>
                  <a:pt x="628" y="105"/>
                  <a:pt x="628" y="105"/>
                  <a:pt x="628" y="106"/>
                </a:cubicBezTo>
                <a:cubicBezTo>
                  <a:pt x="628" y="105"/>
                  <a:pt x="628" y="105"/>
                  <a:pt x="628" y="105"/>
                </a:cubicBezTo>
                <a:close/>
                <a:moveTo>
                  <a:pt x="627" y="106"/>
                </a:moveTo>
                <a:cubicBezTo>
                  <a:pt x="627" y="107"/>
                  <a:pt x="627" y="107"/>
                  <a:pt x="627" y="107"/>
                </a:cubicBezTo>
                <a:cubicBezTo>
                  <a:pt x="627" y="107"/>
                  <a:pt x="627" y="107"/>
                  <a:pt x="627" y="106"/>
                </a:cubicBezTo>
                <a:close/>
                <a:moveTo>
                  <a:pt x="596" y="123"/>
                </a:moveTo>
                <a:cubicBezTo>
                  <a:pt x="596" y="123"/>
                  <a:pt x="596" y="123"/>
                  <a:pt x="597" y="123"/>
                </a:cubicBezTo>
                <a:cubicBezTo>
                  <a:pt x="596" y="123"/>
                  <a:pt x="596" y="123"/>
                  <a:pt x="596" y="123"/>
                </a:cubicBezTo>
                <a:close/>
                <a:moveTo>
                  <a:pt x="634" y="64"/>
                </a:moveTo>
                <a:cubicBezTo>
                  <a:pt x="634" y="64"/>
                  <a:pt x="634" y="63"/>
                  <a:pt x="634" y="63"/>
                </a:cubicBezTo>
                <a:cubicBezTo>
                  <a:pt x="633" y="63"/>
                  <a:pt x="634" y="64"/>
                  <a:pt x="634" y="64"/>
                </a:cubicBezTo>
                <a:close/>
                <a:moveTo>
                  <a:pt x="603" y="123"/>
                </a:moveTo>
                <a:cubicBezTo>
                  <a:pt x="604" y="123"/>
                  <a:pt x="604" y="123"/>
                  <a:pt x="604" y="123"/>
                </a:cubicBezTo>
                <a:cubicBezTo>
                  <a:pt x="604" y="123"/>
                  <a:pt x="604" y="123"/>
                  <a:pt x="603" y="123"/>
                </a:cubicBezTo>
                <a:close/>
                <a:moveTo>
                  <a:pt x="1032" y="52"/>
                </a:moveTo>
                <a:cubicBezTo>
                  <a:pt x="1032" y="52"/>
                  <a:pt x="1032" y="52"/>
                  <a:pt x="1032" y="51"/>
                </a:cubicBezTo>
                <a:cubicBezTo>
                  <a:pt x="1032" y="52"/>
                  <a:pt x="1032" y="52"/>
                  <a:pt x="1032" y="52"/>
                </a:cubicBezTo>
                <a:close/>
                <a:moveTo>
                  <a:pt x="608" y="132"/>
                </a:moveTo>
                <a:cubicBezTo>
                  <a:pt x="607" y="132"/>
                  <a:pt x="607" y="132"/>
                  <a:pt x="607" y="132"/>
                </a:cubicBezTo>
                <a:cubicBezTo>
                  <a:pt x="607" y="132"/>
                  <a:pt x="607" y="133"/>
                  <a:pt x="608" y="132"/>
                </a:cubicBezTo>
                <a:close/>
                <a:moveTo>
                  <a:pt x="1179" y="16"/>
                </a:moveTo>
                <a:cubicBezTo>
                  <a:pt x="1180" y="16"/>
                  <a:pt x="1180" y="16"/>
                  <a:pt x="1180" y="16"/>
                </a:cubicBezTo>
                <a:cubicBezTo>
                  <a:pt x="1180" y="16"/>
                  <a:pt x="1180" y="16"/>
                  <a:pt x="1179" y="16"/>
                </a:cubicBezTo>
                <a:close/>
                <a:moveTo>
                  <a:pt x="1393" y="16"/>
                </a:moveTo>
                <a:cubicBezTo>
                  <a:pt x="1393" y="16"/>
                  <a:pt x="1393" y="16"/>
                  <a:pt x="1393" y="17"/>
                </a:cubicBezTo>
                <a:cubicBezTo>
                  <a:pt x="1393" y="16"/>
                  <a:pt x="1393" y="16"/>
                  <a:pt x="1393" y="16"/>
                </a:cubicBezTo>
                <a:close/>
                <a:moveTo>
                  <a:pt x="1462" y="16"/>
                </a:moveTo>
                <a:cubicBezTo>
                  <a:pt x="1462" y="16"/>
                  <a:pt x="1462" y="16"/>
                  <a:pt x="1463" y="17"/>
                </a:cubicBezTo>
                <a:cubicBezTo>
                  <a:pt x="1463" y="16"/>
                  <a:pt x="1463" y="16"/>
                  <a:pt x="1462" y="16"/>
                </a:cubicBezTo>
                <a:close/>
                <a:moveTo>
                  <a:pt x="1488" y="16"/>
                </a:moveTo>
                <a:cubicBezTo>
                  <a:pt x="1488" y="16"/>
                  <a:pt x="1489" y="16"/>
                  <a:pt x="1489" y="16"/>
                </a:cubicBezTo>
                <a:cubicBezTo>
                  <a:pt x="1489" y="16"/>
                  <a:pt x="1488" y="16"/>
                  <a:pt x="1488" y="16"/>
                </a:cubicBezTo>
                <a:close/>
                <a:moveTo>
                  <a:pt x="1560" y="16"/>
                </a:moveTo>
                <a:cubicBezTo>
                  <a:pt x="1560" y="16"/>
                  <a:pt x="1560" y="16"/>
                  <a:pt x="1559" y="16"/>
                </a:cubicBezTo>
                <a:cubicBezTo>
                  <a:pt x="1560" y="16"/>
                  <a:pt x="1560" y="16"/>
                  <a:pt x="1560" y="16"/>
                </a:cubicBezTo>
                <a:close/>
                <a:moveTo>
                  <a:pt x="1728" y="16"/>
                </a:moveTo>
                <a:cubicBezTo>
                  <a:pt x="1728" y="16"/>
                  <a:pt x="1728" y="16"/>
                  <a:pt x="1728" y="16"/>
                </a:cubicBezTo>
                <a:cubicBezTo>
                  <a:pt x="1728" y="16"/>
                  <a:pt x="1728" y="16"/>
                  <a:pt x="1728" y="16"/>
                </a:cubicBezTo>
                <a:close/>
                <a:moveTo>
                  <a:pt x="541" y="17"/>
                </a:moveTo>
                <a:cubicBezTo>
                  <a:pt x="542" y="17"/>
                  <a:pt x="542" y="17"/>
                  <a:pt x="542" y="16"/>
                </a:cubicBezTo>
                <a:cubicBezTo>
                  <a:pt x="541" y="16"/>
                  <a:pt x="541" y="17"/>
                  <a:pt x="541" y="17"/>
                </a:cubicBezTo>
                <a:close/>
                <a:moveTo>
                  <a:pt x="1568" y="44"/>
                </a:moveTo>
                <a:cubicBezTo>
                  <a:pt x="1568" y="44"/>
                  <a:pt x="1568" y="44"/>
                  <a:pt x="1568" y="43"/>
                </a:cubicBezTo>
                <a:cubicBezTo>
                  <a:pt x="1568" y="44"/>
                  <a:pt x="1568" y="44"/>
                  <a:pt x="1568" y="44"/>
                </a:cubicBezTo>
                <a:close/>
                <a:moveTo>
                  <a:pt x="1178" y="17"/>
                </a:moveTo>
                <a:cubicBezTo>
                  <a:pt x="1179" y="17"/>
                  <a:pt x="1179" y="17"/>
                  <a:pt x="1179" y="16"/>
                </a:cubicBezTo>
                <a:cubicBezTo>
                  <a:pt x="1179" y="16"/>
                  <a:pt x="1178" y="16"/>
                  <a:pt x="1178" y="17"/>
                </a:cubicBezTo>
                <a:close/>
                <a:moveTo>
                  <a:pt x="1682" y="43"/>
                </a:moveTo>
                <a:cubicBezTo>
                  <a:pt x="1682" y="44"/>
                  <a:pt x="1682" y="44"/>
                  <a:pt x="1682" y="44"/>
                </a:cubicBezTo>
                <a:cubicBezTo>
                  <a:pt x="1682" y="44"/>
                  <a:pt x="1682" y="44"/>
                  <a:pt x="1682" y="43"/>
                </a:cubicBezTo>
                <a:close/>
                <a:moveTo>
                  <a:pt x="1487" y="17"/>
                </a:moveTo>
                <a:cubicBezTo>
                  <a:pt x="1488" y="17"/>
                  <a:pt x="1488" y="17"/>
                  <a:pt x="1488" y="16"/>
                </a:cubicBezTo>
                <a:cubicBezTo>
                  <a:pt x="1488" y="16"/>
                  <a:pt x="1488" y="16"/>
                  <a:pt x="1487" y="17"/>
                </a:cubicBezTo>
                <a:close/>
                <a:moveTo>
                  <a:pt x="1546" y="16"/>
                </a:moveTo>
                <a:cubicBezTo>
                  <a:pt x="1546" y="16"/>
                  <a:pt x="1546" y="16"/>
                  <a:pt x="1545" y="17"/>
                </a:cubicBezTo>
                <a:cubicBezTo>
                  <a:pt x="1546" y="17"/>
                  <a:pt x="1546" y="17"/>
                  <a:pt x="1546" y="16"/>
                </a:cubicBezTo>
                <a:close/>
                <a:moveTo>
                  <a:pt x="1561" y="17"/>
                </a:moveTo>
                <a:cubicBezTo>
                  <a:pt x="1561" y="16"/>
                  <a:pt x="1561" y="16"/>
                  <a:pt x="1560" y="16"/>
                </a:cubicBezTo>
                <a:cubicBezTo>
                  <a:pt x="1561" y="17"/>
                  <a:pt x="1561" y="17"/>
                  <a:pt x="1561" y="17"/>
                </a:cubicBezTo>
                <a:close/>
                <a:moveTo>
                  <a:pt x="1577" y="16"/>
                </a:moveTo>
                <a:cubicBezTo>
                  <a:pt x="1577" y="17"/>
                  <a:pt x="1578" y="17"/>
                  <a:pt x="1578" y="17"/>
                </a:cubicBezTo>
                <a:cubicBezTo>
                  <a:pt x="1578" y="17"/>
                  <a:pt x="1578" y="16"/>
                  <a:pt x="1577" y="16"/>
                </a:cubicBezTo>
                <a:close/>
                <a:moveTo>
                  <a:pt x="1736" y="44"/>
                </a:moveTo>
                <a:cubicBezTo>
                  <a:pt x="1736" y="44"/>
                  <a:pt x="1736" y="44"/>
                  <a:pt x="1736" y="43"/>
                </a:cubicBezTo>
                <a:cubicBezTo>
                  <a:pt x="1736" y="44"/>
                  <a:pt x="1736" y="44"/>
                  <a:pt x="1736" y="44"/>
                </a:cubicBezTo>
                <a:close/>
                <a:moveTo>
                  <a:pt x="1714" y="16"/>
                </a:moveTo>
                <a:cubicBezTo>
                  <a:pt x="1714" y="16"/>
                  <a:pt x="1714" y="16"/>
                  <a:pt x="1713" y="17"/>
                </a:cubicBezTo>
                <a:cubicBezTo>
                  <a:pt x="1714" y="17"/>
                  <a:pt x="1714" y="17"/>
                  <a:pt x="1714" y="16"/>
                </a:cubicBezTo>
                <a:close/>
                <a:moveTo>
                  <a:pt x="1729" y="17"/>
                </a:moveTo>
                <a:cubicBezTo>
                  <a:pt x="1729" y="16"/>
                  <a:pt x="1729" y="16"/>
                  <a:pt x="1729" y="16"/>
                </a:cubicBezTo>
                <a:cubicBezTo>
                  <a:pt x="1729" y="17"/>
                  <a:pt x="1729" y="17"/>
                  <a:pt x="1729" y="17"/>
                </a:cubicBezTo>
                <a:close/>
                <a:moveTo>
                  <a:pt x="1746" y="16"/>
                </a:moveTo>
                <a:cubicBezTo>
                  <a:pt x="1746" y="17"/>
                  <a:pt x="1746" y="17"/>
                  <a:pt x="1746" y="17"/>
                </a:cubicBezTo>
                <a:cubicBezTo>
                  <a:pt x="1746" y="17"/>
                  <a:pt x="1746" y="16"/>
                  <a:pt x="1746" y="16"/>
                </a:cubicBezTo>
                <a:close/>
                <a:moveTo>
                  <a:pt x="1177" y="17"/>
                </a:moveTo>
                <a:cubicBezTo>
                  <a:pt x="1178" y="17"/>
                  <a:pt x="1178" y="17"/>
                  <a:pt x="1178" y="17"/>
                </a:cubicBezTo>
                <a:cubicBezTo>
                  <a:pt x="1178" y="17"/>
                  <a:pt x="1177" y="17"/>
                  <a:pt x="1177" y="17"/>
                </a:cubicBezTo>
                <a:close/>
                <a:moveTo>
                  <a:pt x="1361" y="17"/>
                </a:moveTo>
                <a:cubicBezTo>
                  <a:pt x="1361" y="17"/>
                  <a:pt x="1360" y="17"/>
                  <a:pt x="1360" y="17"/>
                </a:cubicBezTo>
                <a:cubicBezTo>
                  <a:pt x="1361" y="17"/>
                  <a:pt x="1361" y="17"/>
                  <a:pt x="1361" y="17"/>
                </a:cubicBezTo>
                <a:close/>
                <a:moveTo>
                  <a:pt x="1378" y="17"/>
                </a:moveTo>
                <a:cubicBezTo>
                  <a:pt x="1378" y="17"/>
                  <a:pt x="1377" y="17"/>
                  <a:pt x="1377" y="17"/>
                </a:cubicBezTo>
                <a:cubicBezTo>
                  <a:pt x="1377" y="17"/>
                  <a:pt x="1377" y="17"/>
                  <a:pt x="1378" y="17"/>
                </a:cubicBezTo>
                <a:close/>
                <a:moveTo>
                  <a:pt x="1418" y="17"/>
                </a:moveTo>
                <a:cubicBezTo>
                  <a:pt x="1419" y="17"/>
                  <a:pt x="1419" y="17"/>
                  <a:pt x="1419" y="17"/>
                </a:cubicBezTo>
                <a:cubicBezTo>
                  <a:pt x="1419" y="17"/>
                  <a:pt x="1418" y="17"/>
                  <a:pt x="1418" y="17"/>
                </a:cubicBezTo>
                <a:close/>
                <a:moveTo>
                  <a:pt x="660" y="44"/>
                </a:moveTo>
                <a:cubicBezTo>
                  <a:pt x="660" y="44"/>
                  <a:pt x="660" y="44"/>
                  <a:pt x="660" y="44"/>
                </a:cubicBezTo>
                <a:cubicBezTo>
                  <a:pt x="660" y="44"/>
                  <a:pt x="660" y="44"/>
                  <a:pt x="660" y="44"/>
                </a:cubicBezTo>
                <a:close/>
                <a:moveTo>
                  <a:pt x="1487" y="17"/>
                </a:moveTo>
                <a:cubicBezTo>
                  <a:pt x="1487" y="17"/>
                  <a:pt x="1487" y="17"/>
                  <a:pt x="1487" y="17"/>
                </a:cubicBezTo>
                <a:cubicBezTo>
                  <a:pt x="1487" y="17"/>
                  <a:pt x="1487" y="17"/>
                  <a:pt x="1487" y="17"/>
                </a:cubicBezTo>
                <a:close/>
                <a:moveTo>
                  <a:pt x="1545" y="17"/>
                </a:moveTo>
                <a:cubicBezTo>
                  <a:pt x="1545" y="17"/>
                  <a:pt x="1545" y="17"/>
                  <a:pt x="1544" y="17"/>
                </a:cubicBezTo>
                <a:cubicBezTo>
                  <a:pt x="1545" y="17"/>
                  <a:pt x="1545" y="17"/>
                  <a:pt x="1545" y="17"/>
                </a:cubicBezTo>
                <a:close/>
                <a:moveTo>
                  <a:pt x="1562" y="17"/>
                </a:moveTo>
                <a:cubicBezTo>
                  <a:pt x="1562" y="17"/>
                  <a:pt x="1561" y="17"/>
                  <a:pt x="1561" y="17"/>
                </a:cubicBezTo>
                <a:cubicBezTo>
                  <a:pt x="1561" y="17"/>
                  <a:pt x="1562" y="17"/>
                  <a:pt x="1562" y="17"/>
                </a:cubicBezTo>
                <a:close/>
                <a:moveTo>
                  <a:pt x="674" y="44"/>
                </a:moveTo>
                <a:cubicBezTo>
                  <a:pt x="674" y="44"/>
                  <a:pt x="674" y="44"/>
                  <a:pt x="674" y="44"/>
                </a:cubicBezTo>
                <a:cubicBezTo>
                  <a:pt x="674" y="44"/>
                  <a:pt x="674" y="44"/>
                  <a:pt x="674" y="44"/>
                </a:cubicBezTo>
                <a:close/>
                <a:moveTo>
                  <a:pt x="1713" y="17"/>
                </a:moveTo>
                <a:cubicBezTo>
                  <a:pt x="1713" y="17"/>
                  <a:pt x="1713" y="17"/>
                  <a:pt x="1713" y="17"/>
                </a:cubicBezTo>
                <a:cubicBezTo>
                  <a:pt x="1713" y="17"/>
                  <a:pt x="1713" y="17"/>
                  <a:pt x="1713" y="17"/>
                </a:cubicBezTo>
                <a:close/>
                <a:moveTo>
                  <a:pt x="1730" y="17"/>
                </a:moveTo>
                <a:cubicBezTo>
                  <a:pt x="1730" y="17"/>
                  <a:pt x="1730" y="17"/>
                  <a:pt x="1729" y="17"/>
                </a:cubicBezTo>
                <a:cubicBezTo>
                  <a:pt x="1729" y="17"/>
                  <a:pt x="1730" y="17"/>
                  <a:pt x="1730" y="17"/>
                </a:cubicBezTo>
                <a:close/>
                <a:moveTo>
                  <a:pt x="692" y="44"/>
                </a:moveTo>
                <a:cubicBezTo>
                  <a:pt x="692" y="44"/>
                  <a:pt x="691" y="44"/>
                  <a:pt x="691" y="44"/>
                </a:cubicBezTo>
                <a:cubicBezTo>
                  <a:pt x="691" y="44"/>
                  <a:pt x="691" y="44"/>
                  <a:pt x="692" y="44"/>
                </a:cubicBezTo>
                <a:close/>
                <a:moveTo>
                  <a:pt x="1176" y="17"/>
                </a:moveTo>
                <a:cubicBezTo>
                  <a:pt x="1176" y="17"/>
                  <a:pt x="1177" y="17"/>
                  <a:pt x="1177" y="17"/>
                </a:cubicBezTo>
                <a:cubicBezTo>
                  <a:pt x="1177" y="17"/>
                  <a:pt x="1176" y="17"/>
                  <a:pt x="1176" y="17"/>
                </a:cubicBezTo>
                <a:close/>
                <a:moveTo>
                  <a:pt x="1360" y="17"/>
                </a:moveTo>
                <a:cubicBezTo>
                  <a:pt x="1360" y="17"/>
                  <a:pt x="1359" y="17"/>
                  <a:pt x="1359" y="17"/>
                </a:cubicBezTo>
                <a:cubicBezTo>
                  <a:pt x="1360" y="17"/>
                  <a:pt x="1360" y="17"/>
                  <a:pt x="1360" y="17"/>
                </a:cubicBezTo>
                <a:close/>
                <a:moveTo>
                  <a:pt x="1378" y="17"/>
                </a:moveTo>
                <a:cubicBezTo>
                  <a:pt x="1378" y="17"/>
                  <a:pt x="1378" y="17"/>
                  <a:pt x="1378" y="17"/>
                </a:cubicBezTo>
                <a:cubicBezTo>
                  <a:pt x="1378" y="17"/>
                  <a:pt x="1378" y="17"/>
                  <a:pt x="1378" y="17"/>
                </a:cubicBezTo>
                <a:close/>
                <a:moveTo>
                  <a:pt x="1394" y="17"/>
                </a:moveTo>
                <a:cubicBezTo>
                  <a:pt x="1394" y="17"/>
                  <a:pt x="1394" y="17"/>
                  <a:pt x="1394" y="18"/>
                </a:cubicBezTo>
                <a:cubicBezTo>
                  <a:pt x="1394" y="17"/>
                  <a:pt x="1394" y="17"/>
                  <a:pt x="1394" y="17"/>
                </a:cubicBezTo>
                <a:close/>
                <a:moveTo>
                  <a:pt x="1463" y="17"/>
                </a:moveTo>
                <a:cubicBezTo>
                  <a:pt x="1463" y="17"/>
                  <a:pt x="1463" y="18"/>
                  <a:pt x="1463" y="18"/>
                </a:cubicBezTo>
                <a:cubicBezTo>
                  <a:pt x="1463" y="17"/>
                  <a:pt x="1463" y="17"/>
                  <a:pt x="1463" y="17"/>
                </a:cubicBezTo>
                <a:close/>
                <a:moveTo>
                  <a:pt x="1486" y="17"/>
                </a:moveTo>
                <a:cubicBezTo>
                  <a:pt x="1486" y="17"/>
                  <a:pt x="1487" y="17"/>
                  <a:pt x="1487" y="17"/>
                </a:cubicBezTo>
                <a:cubicBezTo>
                  <a:pt x="1486" y="17"/>
                  <a:pt x="1486" y="17"/>
                  <a:pt x="1486" y="17"/>
                </a:cubicBezTo>
                <a:close/>
                <a:moveTo>
                  <a:pt x="1544" y="17"/>
                </a:moveTo>
                <a:cubicBezTo>
                  <a:pt x="1544" y="17"/>
                  <a:pt x="1544" y="17"/>
                  <a:pt x="1544" y="17"/>
                </a:cubicBezTo>
                <a:cubicBezTo>
                  <a:pt x="1544" y="17"/>
                  <a:pt x="1544" y="17"/>
                  <a:pt x="1544" y="17"/>
                </a:cubicBezTo>
                <a:close/>
                <a:moveTo>
                  <a:pt x="1563" y="17"/>
                </a:moveTo>
                <a:cubicBezTo>
                  <a:pt x="1562" y="17"/>
                  <a:pt x="1562" y="17"/>
                  <a:pt x="1562" y="17"/>
                </a:cubicBezTo>
                <a:cubicBezTo>
                  <a:pt x="1562" y="17"/>
                  <a:pt x="1562" y="17"/>
                  <a:pt x="1563" y="17"/>
                </a:cubicBezTo>
                <a:close/>
                <a:moveTo>
                  <a:pt x="801" y="44"/>
                </a:moveTo>
                <a:cubicBezTo>
                  <a:pt x="801" y="44"/>
                  <a:pt x="801" y="44"/>
                  <a:pt x="801" y="44"/>
                </a:cubicBezTo>
                <a:cubicBezTo>
                  <a:pt x="801" y="44"/>
                  <a:pt x="801" y="44"/>
                  <a:pt x="801" y="44"/>
                </a:cubicBezTo>
                <a:close/>
                <a:moveTo>
                  <a:pt x="1713" y="17"/>
                </a:moveTo>
                <a:cubicBezTo>
                  <a:pt x="1712" y="17"/>
                  <a:pt x="1712" y="17"/>
                  <a:pt x="1712" y="17"/>
                </a:cubicBezTo>
                <a:cubicBezTo>
                  <a:pt x="1712" y="17"/>
                  <a:pt x="1712" y="17"/>
                  <a:pt x="1713" y="17"/>
                </a:cubicBezTo>
                <a:close/>
                <a:moveTo>
                  <a:pt x="1731" y="17"/>
                </a:moveTo>
                <a:cubicBezTo>
                  <a:pt x="1731" y="17"/>
                  <a:pt x="1730" y="17"/>
                  <a:pt x="1730" y="17"/>
                </a:cubicBezTo>
                <a:cubicBezTo>
                  <a:pt x="1730" y="17"/>
                  <a:pt x="1730" y="17"/>
                  <a:pt x="1731" y="17"/>
                </a:cubicBezTo>
                <a:close/>
                <a:moveTo>
                  <a:pt x="837" y="44"/>
                </a:moveTo>
                <a:cubicBezTo>
                  <a:pt x="837" y="44"/>
                  <a:pt x="837" y="44"/>
                  <a:pt x="837" y="44"/>
                </a:cubicBezTo>
                <a:cubicBezTo>
                  <a:pt x="837" y="44"/>
                  <a:pt x="837" y="44"/>
                  <a:pt x="837" y="44"/>
                </a:cubicBezTo>
                <a:close/>
                <a:moveTo>
                  <a:pt x="852" y="44"/>
                </a:moveTo>
                <a:cubicBezTo>
                  <a:pt x="852" y="44"/>
                  <a:pt x="852" y="44"/>
                  <a:pt x="852" y="44"/>
                </a:cubicBezTo>
                <a:cubicBezTo>
                  <a:pt x="852" y="44"/>
                  <a:pt x="852" y="44"/>
                  <a:pt x="852" y="44"/>
                </a:cubicBezTo>
                <a:close/>
                <a:moveTo>
                  <a:pt x="558" y="17"/>
                </a:moveTo>
                <a:cubicBezTo>
                  <a:pt x="558" y="17"/>
                  <a:pt x="557" y="17"/>
                  <a:pt x="557" y="18"/>
                </a:cubicBezTo>
                <a:cubicBezTo>
                  <a:pt x="558" y="18"/>
                  <a:pt x="558" y="18"/>
                  <a:pt x="558" y="17"/>
                </a:cubicBezTo>
                <a:close/>
                <a:moveTo>
                  <a:pt x="578" y="18"/>
                </a:moveTo>
                <a:cubicBezTo>
                  <a:pt x="577" y="17"/>
                  <a:pt x="577" y="17"/>
                  <a:pt x="577" y="17"/>
                </a:cubicBezTo>
                <a:cubicBezTo>
                  <a:pt x="577" y="18"/>
                  <a:pt x="577" y="18"/>
                  <a:pt x="578" y="18"/>
                </a:cubicBezTo>
                <a:close/>
                <a:moveTo>
                  <a:pt x="1175" y="18"/>
                </a:moveTo>
                <a:cubicBezTo>
                  <a:pt x="1175" y="18"/>
                  <a:pt x="1176" y="18"/>
                  <a:pt x="1176" y="17"/>
                </a:cubicBezTo>
                <a:cubicBezTo>
                  <a:pt x="1176" y="17"/>
                  <a:pt x="1175" y="17"/>
                  <a:pt x="1175" y="18"/>
                </a:cubicBezTo>
                <a:close/>
                <a:moveTo>
                  <a:pt x="1359" y="17"/>
                </a:moveTo>
                <a:cubicBezTo>
                  <a:pt x="1359" y="17"/>
                  <a:pt x="1359" y="17"/>
                  <a:pt x="1359" y="18"/>
                </a:cubicBezTo>
                <a:cubicBezTo>
                  <a:pt x="1359" y="18"/>
                  <a:pt x="1359" y="18"/>
                  <a:pt x="1359" y="17"/>
                </a:cubicBezTo>
                <a:close/>
                <a:moveTo>
                  <a:pt x="1379" y="18"/>
                </a:moveTo>
                <a:cubicBezTo>
                  <a:pt x="1379" y="17"/>
                  <a:pt x="1379" y="17"/>
                  <a:pt x="1378" y="17"/>
                </a:cubicBezTo>
                <a:cubicBezTo>
                  <a:pt x="1379" y="18"/>
                  <a:pt x="1379" y="18"/>
                  <a:pt x="1379" y="18"/>
                </a:cubicBezTo>
                <a:close/>
                <a:moveTo>
                  <a:pt x="867" y="44"/>
                </a:moveTo>
                <a:cubicBezTo>
                  <a:pt x="867" y="44"/>
                  <a:pt x="867" y="44"/>
                  <a:pt x="867" y="44"/>
                </a:cubicBezTo>
                <a:cubicBezTo>
                  <a:pt x="867" y="44"/>
                  <a:pt x="867" y="44"/>
                  <a:pt x="867" y="44"/>
                </a:cubicBezTo>
                <a:close/>
                <a:moveTo>
                  <a:pt x="1485" y="18"/>
                </a:moveTo>
                <a:cubicBezTo>
                  <a:pt x="1485" y="18"/>
                  <a:pt x="1486" y="18"/>
                  <a:pt x="1486" y="17"/>
                </a:cubicBezTo>
                <a:cubicBezTo>
                  <a:pt x="1485" y="17"/>
                  <a:pt x="1485" y="17"/>
                  <a:pt x="1485" y="18"/>
                </a:cubicBezTo>
                <a:close/>
                <a:moveTo>
                  <a:pt x="1543" y="17"/>
                </a:moveTo>
                <a:cubicBezTo>
                  <a:pt x="1543" y="17"/>
                  <a:pt x="1543" y="17"/>
                  <a:pt x="1543" y="18"/>
                </a:cubicBezTo>
                <a:cubicBezTo>
                  <a:pt x="1543" y="18"/>
                  <a:pt x="1543" y="18"/>
                  <a:pt x="1543" y="17"/>
                </a:cubicBezTo>
                <a:close/>
                <a:moveTo>
                  <a:pt x="1563" y="18"/>
                </a:moveTo>
                <a:cubicBezTo>
                  <a:pt x="1563" y="17"/>
                  <a:pt x="1563" y="17"/>
                  <a:pt x="1563" y="17"/>
                </a:cubicBezTo>
                <a:cubicBezTo>
                  <a:pt x="1563" y="18"/>
                  <a:pt x="1563" y="18"/>
                  <a:pt x="1563" y="18"/>
                </a:cubicBezTo>
                <a:close/>
                <a:moveTo>
                  <a:pt x="1578" y="17"/>
                </a:moveTo>
                <a:cubicBezTo>
                  <a:pt x="1578" y="18"/>
                  <a:pt x="1578" y="18"/>
                  <a:pt x="1579" y="18"/>
                </a:cubicBezTo>
                <a:cubicBezTo>
                  <a:pt x="1579" y="18"/>
                  <a:pt x="1579" y="17"/>
                  <a:pt x="1578" y="17"/>
                </a:cubicBezTo>
                <a:close/>
                <a:moveTo>
                  <a:pt x="1680" y="17"/>
                </a:moveTo>
                <a:cubicBezTo>
                  <a:pt x="1680" y="18"/>
                  <a:pt x="1680" y="18"/>
                  <a:pt x="1680" y="18"/>
                </a:cubicBezTo>
                <a:cubicBezTo>
                  <a:pt x="1680" y="18"/>
                  <a:pt x="1680" y="17"/>
                  <a:pt x="1680" y="17"/>
                </a:cubicBezTo>
                <a:close/>
                <a:moveTo>
                  <a:pt x="1712" y="17"/>
                </a:moveTo>
                <a:cubicBezTo>
                  <a:pt x="1711" y="17"/>
                  <a:pt x="1711" y="17"/>
                  <a:pt x="1711" y="18"/>
                </a:cubicBezTo>
                <a:cubicBezTo>
                  <a:pt x="1711" y="18"/>
                  <a:pt x="1711" y="18"/>
                  <a:pt x="1712" y="17"/>
                </a:cubicBezTo>
                <a:close/>
                <a:moveTo>
                  <a:pt x="1731" y="18"/>
                </a:moveTo>
                <a:cubicBezTo>
                  <a:pt x="1731" y="17"/>
                  <a:pt x="1731" y="17"/>
                  <a:pt x="1731" y="17"/>
                </a:cubicBezTo>
                <a:cubicBezTo>
                  <a:pt x="1731" y="18"/>
                  <a:pt x="1731" y="18"/>
                  <a:pt x="1731" y="18"/>
                </a:cubicBezTo>
                <a:close/>
                <a:moveTo>
                  <a:pt x="1746" y="17"/>
                </a:moveTo>
                <a:cubicBezTo>
                  <a:pt x="1746" y="18"/>
                  <a:pt x="1746" y="18"/>
                  <a:pt x="1747" y="18"/>
                </a:cubicBezTo>
                <a:cubicBezTo>
                  <a:pt x="1747" y="18"/>
                  <a:pt x="1747" y="17"/>
                  <a:pt x="1746" y="17"/>
                </a:cubicBezTo>
                <a:close/>
                <a:moveTo>
                  <a:pt x="540" y="18"/>
                </a:moveTo>
                <a:cubicBezTo>
                  <a:pt x="541" y="18"/>
                  <a:pt x="541" y="18"/>
                  <a:pt x="541" y="18"/>
                </a:cubicBezTo>
                <a:cubicBezTo>
                  <a:pt x="540" y="18"/>
                  <a:pt x="540" y="18"/>
                  <a:pt x="540" y="18"/>
                </a:cubicBezTo>
                <a:close/>
                <a:moveTo>
                  <a:pt x="557" y="18"/>
                </a:moveTo>
                <a:cubicBezTo>
                  <a:pt x="557" y="18"/>
                  <a:pt x="557" y="18"/>
                  <a:pt x="556" y="18"/>
                </a:cubicBezTo>
                <a:cubicBezTo>
                  <a:pt x="557" y="18"/>
                  <a:pt x="557" y="18"/>
                  <a:pt x="557" y="18"/>
                </a:cubicBezTo>
                <a:close/>
                <a:moveTo>
                  <a:pt x="579" y="18"/>
                </a:moveTo>
                <a:cubicBezTo>
                  <a:pt x="578" y="18"/>
                  <a:pt x="578" y="18"/>
                  <a:pt x="578" y="18"/>
                </a:cubicBezTo>
                <a:cubicBezTo>
                  <a:pt x="578" y="18"/>
                  <a:pt x="578" y="18"/>
                  <a:pt x="579" y="18"/>
                </a:cubicBezTo>
                <a:close/>
                <a:moveTo>
                  <a:pt x="869" y="44"/>
                </a:moveTo>
                <a:cubicBezTo>
                  <a:pt x="869" y="44"/>
                  <a:pt x="870" y="44"/>
                  <a:pt x="870" y="44"/>
                </a:cubicBezTo>
                <a:cubicBezTo>
                  <a:pt x="869" y="44"/>
                  <a:pt x="869" y="44"/>
                  <a:pt x="869" y="44"/>
                </a:cubicBezTo>
                <a:close/>
                <a:moveTo>
                  <a:pt x="987" y="18"/>
                </a:moveTo>
                <a:cubicBezTo>
                  <a:pt x="986" y="18"/>
                  <a:pt x="986" y="18"/>
                  <a:pt x="986" y="18"/>
                </a:cubicBezTo>
                <a:cubicBezTo>
                  <a:pt x="986" y="18"/>
                  <a:pt x="987" y="18"/>
                  <a:pt x="987" y="18"/>
                </a:cubicBezTo>
                <a:close/>
                <a:moveTo>
                  <a:pt x="1359" y="18"/>
                </a:moveTo>
                <a:cubicBezTo>
                  <a:pt x="1358" y="18"/>
                  <a:pt x="1358" y="18"/>
                  <a:pt x="1358" y="18"/>
                </a:cubicBezTo>
                <a:cubicBezTo>
                  <a:pt x="1358" y="18"/>
                  <a:pt x="1358" y="18"/>
                  <a:pt x="1359" y="18"/>
                </a:cubicBezTo>
                <a:close/>
                <a:moveTo>
                  <a:pt x="880" y="44"/>
                </a:moveTo>
                <a:cubicBezTo>
                  <a:pt x="880" y="44"/>
                  <a:pt x="880" y="44"/>
                  <a:pt x="880" y="44"/>
                </a:cubicBezTo>
                <a:cubicBezTo>
                  <a:pt x="880" y="44"/>
                  <a:pt x="880" y="44"/>
                  <a:pt x="880" y="44"/>
                </a:cubicBezTo>
                <a:close/>
                <a:moveTo>
                  <a:pt x="1394" y="18"/>
                </a:moveTo>
                <a:cubicBezTo>
                  <a:pt x="1394" y="18"/>
                  <a:pt x="1394" y="18"/>
                  <a:pt x="1394" y="18"/>
                </a:cubicBezTo>
                <a:cubicBezTo>
                  <a:pt x="1394" y="18"/>
                  <a:pt x="1394" y="18"/>
                  <a:pt x="1394" y="18"/>
                </a:cubicBezTo>
                <a:close/>
                <a:moveTo>
                  <a:pt x="1418" y="18"/>
                </a:moveTo>
                <a:cubicBezTo>
                  <a:pt x="1418" y="18"/>
                  <a:pt x="1418" y="18"/>
                  <a:pt x="1418" y="18"/>
                </a:cubicBezTo>
                <a:cubicBezTo>
                  <a:pt x="1418" y="18"/>
                  <a:pt x="1418" y="18"/>
                  <a:pt x="1418" y="18"/>
                </a:cubicBezTo>
                <a:close/>
                <a:moveTo>
                  <a:pt x="1463" y="18"/>
                </a:moveTo>
                <a:cubicBezTo>
                  <a:pt x="1463" y="18"/>
                  <a:pt x="1463" y="18"/>
                  <a:pt x="1464" y="18"/>
                </a:cubicBezTo>
                <a:cubicBezTo>
                  <a:pt x="1464" y="18"/>
                  <a:pt x="1464" y="18"/>
                  <a:pt x="1463" y="18"/>
                </a:cubicBezTo>
                <a:close/>
                <a:moveTo>
                  <a:pt x="1484" y="18"/>
                </a:moveTo>
                <a:cubicBezTo>
                  <a:pt x="1485" y="18"/>
                  <a:pt x="1485" y="18"/>
                  <a:pt x="1485" y="18"/>
                </a:cubicBezTo>
                <a:cubicBezTo>
                  <a:pt x="1485" y="18"/>
                  <a:pt x="1484" y="18"/>
                  <a:pt x="1484" y="18"/>
                </a:cubicBezTo>
                <a:close/>
                <a:moveTo>
                  <a:pt x="1543" y="18"/>
                </a:moveTo>
                <a:cubicBezTo>
                  <a:pt x="1542" y="18"/>
                  <a:pt x="1542" y="18"/>
                  <a:pt x="1542" y="18"/>
                </a:cubicBezTo>
                <a:cubicBezTo>
                  <a:pt x="1542" y="18"/>
                  <a:pt x="1543" y="18"/>
                  <a:pt x="1543" y="18"/>
                </a:cubicBezTo>
                <a:close/>
                <a:moveTo>
                  <a:pt x="895" y="44"/>
                </a:moveTo>
                <a:cubicBezTo>
                  <a:pt x="895" y="44"/>
                  <a:pt x="895" y="44"/>
                  <a:pt x="895" y="44"/>
                </a:cubicBezTo>
                <a:cubicBezTo>
                  <a:pt x="895" y="44"/>
                  <a:pt x="895" y="44"/>
                  <a:pt x="895" y="44"/>
                </a:cubicBezTo>
                <a:close/>
                <a:moveTo>
                  <a:pt x="1711" y="18"/>
                </a:moveTo>
                <a:cubicBezTo>
                  <a:pt x="1711" y="18"/>
                  <a:pt x="1710" y="18"/>
                  <a:pt x="1710" y="18"/>
                </a:cubicBezTo>
                <a:cubicBezTo>
                  <a:pt x="1710" y="18"/>
                  <a:pt x="1711" y="18"/>
                  <a:pt x="1711" y="18"/>
                </a:cubicBezTo>
                <a:close/>
                <a:moveTo>
                  <a:pt x="557" y="18"/>
                </a:moveTo>
                <a:cubicBezTo>
                  <a:pt x="556" y="18"/>
                  <a:pt x="556" y="18"/>
                  <a:pt x="556" y="18"/>
                </a:cubicBezTo>
                <a:cubicBezTo>
                  <a:pt x="556" y="18"/>
                  <a:pt x="556" y="18"/>
                  <a:pt x="557" y="18"/>
                </a:cubicBezTo>
                <a:close/>
                <a:moveTo>
                  <a:pt x="986" y="18"/>
                </a:moveTo>
                <a:cubicBezTo>
                  <a:pt x="985" y="18"/>
                  <a:pt x="985" y="18"/>
                  <a:pt x="985" y="18"/>
                </a:cubicBezTo>
                <a:cubicBezTo>
                  <a:pt x="985" y="18"/>
                  <a:pt x="986" y="18"/>
                  <a:pt x="986" y="18"/>
                </a:cubicBezTo>
                <a:close/>
                <a:moveTo>
                  <a:pt x="1358" y="18"/>
                </a:moveTo>
                <a:cubicBezTo>
                  <a:pt x="1358" y="18"/>
                  <a:pt x="1357" y="18"/>
                  <a:pt x="1357" y="18"/>
                </a:cubicBezTo>
                <a:cubicBezTo>
                  <a:pt x="1357" y="18"/>
                  <a:pt x="1358" y="18"/>
                  <a:pt x="1358" y="18"/>
                </a:cubicBezTo>
                <a:close/>
                <a:moveTo>
                  <a:pt x="1484" y="18"/>
                </a:moveTo>
                <a:cubicBezTo>
                  <a:pt x="1484" y="18"/>
                  <a:pt x="1484" y="18"/>
                  <a:pt x="1484" y="18"/>
                </a:cubicBezTo>
                <a:cubicBezTo>
                  <a:pt x="1484" y="18"/>
                  <a:pt x="1484" y="18"/>
                  <a:pt x="1484" y="18"/>
                </a:cubicBezTo>
                <a:close/>
                <a:moveTo>
                  <a:pt x="1542" y="18"/>
                </a:moveTo>
                <a:cubicBezTo>
                  <a:pt x="1542" y="18"/>
                  <a:pt x="1541" y="18"/>
                  <a:pt x="1541" y="18"/>
                </a:cubicBezTo>
                <a:cubicBezTo>
                  <a:pt x="1542" y="18"/>
                  <a:pt x="1542" y="18"/>
                  <a:pt x="1542" y="18"/>
                </a:cubicBezTo>
                <a:close/>
                <a:moveTo>
                  <a:pt x="1564" y="18"/>
                </a:moveTo>
                <a:cubicBezTo>
                  <a:pt x="1564" y="18"/>
                  <a:pt x="1564" y="18"/>
                  <a:pt x="1564" y="18"/>
                </a:cubicBezTo>
                <a:cubicBezTo>
                  <a:pt x="1564" y="18"/>
                  <a:pt x="1564" y="18"/>
                  <a:pt x="1564" y="18"/>
                </a:cubicBezTo>
                <a:close/>
                <a:moveTo>
                  <a:pt x="1579" y="18"/>
                </a:moveTo>
                <a:cubicBezTo>
                  <a:pt x="1579" y="18"/>
                  <a:pt x="1579" y="19"/>
                  <a:pt x="1579" y="19"/>
                </a:cubicBezTo>
                <a:cubicBezTo>
                  <a:pt x="1579" y="18"/>
                  <a:pt x="1579" y="18"/>
                  <a:pt x="1579" y="18"/>
                </a:cubicBezTo>
                <a:close/>
                <a:moveTo>
                  <a:pt x="1111" y="44"/>
                </a:moveTo>
                <a:cubicBezTo>
                  <a:pt x="1111" y="44"/>
                  <a:pt x="1111" y="44"/>
                  <a:pt x="1111" y="44"/>
                </a:cubicBezTo>
                <a:cubicBezTo>
                  <a:pt x="1111" y="44"/>
                  <a:pt x="1111" y="44"/>
                  <a:pt x="1111" y="44"/>
                </a:cubicBezTo>
                <a:close/>
                <a:moveTo>
                  <a:pt x="1710" y="18"/>
                </a:moveTo>
                <a:cubicBezTo>
                  <a:pt x="1710" y="18"/>
                  <a:pt x="1710" y="18"/>
                  <a:pt x="1709" y="18"/>
                </a:cubicBezTo>
                <a:cubicBezTo>
                  <a:pt x="1710" y="18"/>
                  <a:pt x="1710" y="18"/>
                  <a:pt x="1710" y="18"/>
                </a:cubicBezTo>
                <a:close/>
                <a:moveTo>
                  <a:pt x="1732" y="18"/>
                </a:moveTo>
                <a:cubicBezTo>
                  <a:pt x="1732" y="18"/>
                  <a:pt x="1732" y="18"/>
                  <a:pt x="1732" y="18"/>
                </a:cubicBezTo>
                <a:cubicBezTo>
                  <a:pt x="1732" y="18"/>
                  <a:pt x="1732" y="18"/>
                  <a:pt x="1732" y="18"/>
                </a:cubicBezTo>
                <a:close/>
                <a:moveTo>
                  <a:pt x="1747" y="18"/>
                </a:moveTo>
                <a:cubicBezTo>
                  <a:pt x="1747" y="18"/>
                  <a:pt x="1747" y="19"/>
                  <a:pt x="1747" y="19"/>
                </a:cubicBezTo>
                <a:cubicBezTo>
                  <a:pt x="1747" y="18"/>
                  <a:pt x="1747" y="18"/>
                  <a:pt x="1747" y="18"/>
                </a:cubicBezTo>
                <a:close/>
                <a:moveTo>
                  <a:pt x="540" y="19"/>
                </a:moveTo>
                <a:cubicBezTo>
                  <a:pt x="540" y="19"/>
                  <a:pt x="540" y="19"/>
                  <a:pt x="540" y="18"/>
                </a:cubicBezTo>
                <a:cubicBezTo>
                  <a:pt x="540" y="18"/>
                  <a:pt x="540" y="19"/>
                  <a:pt x="540" y="19"/>
                </a:cubicBezTo>
                <a:close/>
                <a:moveTo>
                  <a:pt x="556" y="18"/>
                </a:moveTo>
                <a:cubicBezTo>
                  <a:pt x="556" y="18"/>
                  <a:pt x="555" y="18"/>
                  <a:pt x="555" y="19"/>
                </a:cubicBezTo>
                <a:cubicBezTo>
                  <a:pt x="555" y="19"/>
                  <a:pt x="556" y="19"/>
                  <a:pt x="556" y="18"/>
                </a:cubicBezTo>
                <a:close/>
                <a:moveTo>
                  <a:pt x="580" y="19"/>
                </a:moveTo>
                <a:cubicBezTo>
                  <a:pt x="580" y="18"/>
                  <a:pt x="580" y="18"/>
                  <a:pt x="580" y="18"/>
                </a:cubicBezTo>
                <a:cubicBezTo>
                  <a:pt x="580" y="19"/>
                  <a:pt x="580" y="19"/>
                  <a:pt x="580" y="19"/>
                </a:cubicBezTo>
                <a:close/>
                <a:moveTo>
                  <a:pt x="650" y="49"/>
                </a:moveTo>
                <a:cubicBezTo>
                  <a:pt x="650" y="50"/>
                  <a:pt x="649" y="50"/>
                  <a:pt x="649" y="50"/>
                </a:cubicBezTo>
                <a:cubicBezTo>
                  <a:pt x="650" y="50"/>
                  <a:pt x="650" y="50"/>
                  <a:pt x="650" y="49"/>
                </a:cubicBezTo>
                <a:close/>
                <a:moveTo>
                  <a:pt x="1014" y="19"/>
                </a:moveTo>
                <a:cubicBezTo>
                  <a:pt x="1014" y="18"/>
                  <a:pt x="1014" y="18"/>
                  <a:pt x="1014" y="18"/>
                </a:cubicBezTo>
                <a:cubicBezTo>
                  <a:pt x="1014" y="19"/>
                  <a:pt x="1014" y="19"/>
                  <a:pt x="1014" y="19"/>
                </a:cubicBezTo>
                <a:close/>
                <a:moveTo>
                  <a:pt x="1357" y="18"/>
                </a:moveTo>
                <a:cubicBezTo>
                  <a:pt x="1357" y="18"/>
                  <a:pt x="1357" y="18"/>
                  <a:pt x="1356" y="19"/>
                </a:cubicBezTo>
                <a:cubicBezTo>
                  <a:pt x="1357" y="19"/>
                  <a:pt x="1357" y="19"/>
                  <a:pt x="1357" y="18"/>
                </a:cubicBezTo>
                <a:close/>
                <a:moveTo>
                  <a:pt x="1137" y="44"/>
                </a:moveTo>
                <a:cubicBezTo>
                  <a:pt x="1137" y="44"/>
                  <a:pt x="1136" y="44"/>
                  <a:pt x="1136" y="44"/>
                </a:cubicBezTo>
                <a:cubicBezTo>
                  <a:pt x="1136" y="44"/>
                  <a:pt x="1137" y="44"/>
                  <a:pt x="1137" y="44"/>
                </a:cubicBezTo>
                <a:close/>
                <a:moveTo>
                  <a:pt x="1152" y="44"/>
                </a:moveTo>
                <a:cubicBezTo>
                  <a:pt x="1152" y="44"/>
                  <a:pt x="1152" y="44"/>
                  <a:pt x="1152" y="44"/>
                </a:cubicBezTo>
                <a:cubicBezTo>
                  <a:pt x="1152" y="44"/>
                  <a:pt x="1152" y="44"/>
                  <a:pt x="1152" y="44"/>
                </a:cubicBezTo>
                <a:close/>
                <a:moveTo>
                  <a:pt x="751" y="50"/>
                </a:moveTo>
                <a:cubicBezTo>
                  <a:pt x="751" y="50"/>
                  <a:pt x="751" y="50"/>
                  <a:pt x="751" y="50"/>
                </a:cubicBezTo>
                <a:cubicBezTo>
                  <a:pt x="751" y="50"/>
                  <a:pt x="751" y="50"/>
                  <a:pt x="751" y="50"/>
                </a:cubicBezTo>
                <a:close/>
                <a:moveTo>
                  <a:pt x="1482" y="19"/>
                </a:moveTo>
                <a:cubicBezTo>
                  <a:pt x="1483" y="19"/>
                  <a:pt x="1483" y="19"/>
                  <a:pt x="1483" y="18"/>
                </a:cubicBezTo>
                <a:cubicBezTo>
                  <a:pt x="1483" y="18"/>
                  <a:pt x="1483" y="18"/>
                  <a:pt x="1482" y="19"/>
                </a:cubicBezTo>
                <a:close/>
                <a:moveTo>
                  <a:pt x="1541" y="18"/>
                </a:moveTo>
                <a:cubicBezTo>
                  <a:pt x="1541" y="18"/>
                  <a:pt x="1541" y="18"/>
                  <a:pt x="1541" y="19"/>
                </a:cubicBezTo>
                <a:cubicBezTo>
                  <a:pt x="1541" y="19"/>
                  <a:pt x="1541" y="19"/>
                  <a:pt x="1541" y="18"/>
                </a:cubicBezTo>
                <a:close/>
                <a:moveTo>
                  <a:pt x="1680" y="18"/>
                </a:moveTo>
                <a:cubicBezTo>
                  <a:pt x="1681" y="19"/>
                  <a:pt x="1681" y="19"/>
                  <a:pt x="1681" y="19"/>
                </a:cubicBezTo>
                <a:cubicBezTo>
                  <a:pt x="1681" y="19"/>
                  <a:pt x="1681" y="18"/>
                  <a:pt x="1680" y="18"/>
                </a:cubicBezTo>
                <a:close/>
                <a:moveTo>
                  <a:pt x="1709" y="18"/>
                </a:moveTo>
                <a:cubicBezTo>
                  <a:pt x="1709" y="18"/>
                  <a:pt x="1709" y="18"/>
                  <a:pt x="1709" y="19"/>
                </a:cubicBezTo>
                <a:cubicBezTo>
                  <a:pt x="1709" y="19"/>
                  <a:pt x="1709" y="19"/>
                  <a:pt x="1709" y="18"/>
                </a:cubicBezTo>
                <a:close/>
                <a:moveTo>
                  <a:pt x="555" y="19"/>
                </a:moveTo>
                <a:cubicBezTo>
                  <a:pt x="555" y="19"/>
                  <a:pt x="555" y="19"/>
                  <a:pt x="555" y="19"/>
                </a:cubicBezTo>
                <a:cubicBezTo>
                  <a:pt x="555" y="19"/>
                  <a:pt x="555" y="19"/>
                  <a:pt x="555" y="19"/>
                </a:cubicBezTo>
                <a:close/>
                <a:moveTo>
                  <a:pt x="581" y="19"/>
                </a:moveTo>
                <a:cubicBezTo>
                  <a:pt x="581" y="19"/>
                  <a:pt x="581" y="19"/>
                  <a:pt x="580" y="19"/>
                </a:cubicBezTo>
                <a:cubicBezTo>
                  <a:pt x="580" y="19"/>
                  <a:pt x="581" y="19"/>
                  <a:pt x="581" y="19"/>
                </a:cubicBezTo>
                <a:close/>
                <a:moveTo>
                  <a:pt x="1310" y="44"/>
                </a:moveTo>
                <a:cubicBezTo>
                  <a:pt x="1309" y="44"/>
                  <a:pt x="1309" y="44"/>
                  <a:pt x="1309" y="44"/>
                </a:cubicBezTo>
                <a:cubicBezTo>
                  <a:pt x="1309" y="44"/>
                  <a:pt x="1309" y="44"/>
                  <a:pt x="1310" y="44"/>
                </a:cubicBezTo>
                <a:close/>
                <a:moveTo>
                  <a:pt x="984" y="19"/>
                </a:moveTo>
                <a:cubicBezTo>
                  <a:pt x="984" y="19"/>
                  <a:pt x="983" y="19"/>
                  <a:pt x="983" y="19"/>
                </a:cubicBezTo>
                <a:cubicBezTo>
                  <a:pt x="984" y="19"/>
                  <a:pt x="984" y="19"/>
                  <a:pt x="984" y="19"/>
                </a:cubicBezTo>
                <a:close/>
                <a:moveTo>
                  <a:pt x="1015" y="19"/>
                </a:moveTo>
                <a:cubicBezTo>
                  <a:pt x="1015" y="19"/>
                  <a:pt x="1015" y="19"/>
                  <a:pt x="1015" y="19"/>
                </a:cubicBezTo>
                <a:cubicBezTo>
                  <a:pt x="1015" y="19"/>
                  <a:pt x="1015" y="19"/>
                  <a:pt x="1015" y="19"/>
                </a:cubicBezTo>
                <a:close/>
                <a:moveTo>
                  <a:pt x="1356" y="19"/>
                </a:moveTo>
                <a:cubicBezTo>
                  <a:pt x="1356" y="19"/>
                  <a:pt x="1356" y="19"/>
                  <a:pt x="1356" y="19"/>
                </a:cubicBezTo>
                <a:cubicBezTo>
                  <a:pt x="1356" y="19"/>
                  <a:pt x="1356" y="19"/>
                  <a:pt x="1356" y="19"/>
                </a:cubicBezTo>
                <a:close/>
                <a:moveTo>
                  <a:pt x="1383" y="44"/>
                </a:moveTo>
                <a:cubicBezTo>
                  <a:pt x="1384" y="44"/>
                  <a:pt x="1384" y="44"/>
                  <a:pt x="1384" y="44"/>
                </a:cubicBezTo>
                <a:cubicBezTo>
                  <a:pt x="1383" y="44"/>
                  <a:pt x="1383" y="44"/>
                  <a:pt x="1383" y="44"/>
                </a:cubicBezTo>
                <a:close/>
                <a:moveTo>
                  <a:pt x="1417" y="19"/>
                </a:moveTo>
                <a:cubicBezTo>
                  <a:pt x="1417" y="19"/>
                  <a:pt x="1417" y="19"/>
                  <a:pt x="1417" y="19"/>
                </a:cubicBezTo>
                <a:cubicBezTo>
                  <a:pt x="1417" y="19"/>
                  <a:pt x="1417" y="19"/>
                  <a:pt x="1417" y="19"/>
                </a:cubicBezTo>
                <a:close/>
                <a:moveTo>
                  <a:pt x="1464" y="19"/>
                </a:moveTo>
                <a:cubicBezTo>
                  <a:pt x="1464" y="19"/>
                  <a:pt x="1464" y="19"/>
                  <a:pt x="1464" y="19"/>
                </a:cubicBezTo>
                <a:cubicBezTo>
                  <a:pt x="1464" y="19"/>
                  <a:pt x="1464" y="19"/>
                  <a:pt x="1464" y="19"/>
                </a:cubicBezTo>
                <a:close/>
                <a:moveTo>
                  <a:pt x="1748" y="44"/>
                </a:moveTo>
                <a:cubicBezTo>
                  <a:pt x="1747" y="44"/>
                  <a:pt x="1747" y="44"/>
                  <a:pt x="1747" y="44"/>
                </a:cubicBezTo>
                <a:cubicBezTo>
                  <a:pt x="1748" y="44"/>
                  <a:pt x="1748" y="44"/>
                  <a:pt x="1748" y="44"/>
                </a:cubicBezTo>
                <a:close/>
                <a:moveTo>
                  <a:pt x="1579" y="19"/>
                </a:moveTo>
                <a:cubicBezTo>
                  <a:pt x="1579" y="19"/>
                  <a:pt x="1579" y="19"/>
                  <a:pt x="1579" y="19"/>
                </a:cubicBezTo>
                <a:cubicBezTo>
                  <a:pt x="1579" y="19"/>
                  <a:pt x="1579" y="19"/>
                  <a:pt x="1579" y="19"/>
                </a:cubicBezTo>
                <a:close/>
                <a:moveTo>
                  <a:pt x="557" y="44"/>
                </a:moveTo>
                <a:cubicBezTo>
                  <a:pt x="557" y="44"/>
                  <a:pt x="557" y="44"/>
                  <a:pt x="557" y="45"/>
                </a:cubicBezTo>
                <a:cubicBezTo>
                  <a:pt x="557" y="44"/>
                  <a:pt x="557" y="44"/>
                  <a:pt x="557" y="44"/>
                </a:cubicBezTo>
                <a:close/>
                <a:moveTo>
                  <a:pt x="596" y="45"/>
                </a:moveTo>
                <a:cubicBezTo>
                  <a:pt x="596" y="44"/>
                  <a:pt x="596" y="44"/>
                  <a:pt x="596" y="44"/>
                </a:cubicBezTo>
                <a:cubicBezTo>
                  <a:pt x="596" y="44"/>
                  <a:pt x="596" y="45"/>
                  <a:pt x="596" y="45"/>
                </a:cubicBezTo>
                <a:close/>
                <a:moveTo>
                  <a:pt x="1747" y="19"/>
                </a:moveTo>
                <a:cubicBezTo>
                  <a:pt x="1747" y="19"/>
                  <a:pt x="1747" y="19"/>
                  <a:pt x="1747" y="19"/>
                </a:cubicBezTo>
                <a:cubicBezTo>
                  <a:pt x="1747" y="19"/>
                  <a:pt x="1747" y="19"/>
                  <a:pt x="1747" y="19"/>
                </a:cubicBezTo>
                <a:close/>
                <a:moveTo>
                  <a:pt x="640" y="45"/>
                </a:moveTo>
                <a:cubicBezTo>
                  <a:pt x="641" y="45"/>
                  <a:pt x="641" y="44"/>
                  <a:pt x="641" y="44"/>
                </a:cubicBezTo>
                <a:cubicBezTo>
                  <a:pt x="640" y="44"/>
                  <a:pt x="640" y="45"/>
                  <a:pt x="640" y="45"/>
                </a:cubicBezTo>
                <a:close/>
                <a:moveTo>
                  <a:pt x="582" y="19"/>
                </a:moveTo>
                <a:cubicBezTo>
                  <a:pt x="582" y="19"/>
                  <a:pt x="581" y="19"/>
                  <a:pt x="581" y="19"/>
                </a:cubicBezTo>
                <a:cubicBezTo>
                  <a:pt x="581" y="19"/>
                  <a:pt x="581" y="19"/>
                  <a:pt x="582" y="19"/>
                </a:cubicBezTo>
                <a:close/>
                <a:moveTo>
                  <a:pt x="983" y="19"/>
                </a:moveTo>
                <a:cubicBezTo>
                  <a:pt x="983" y="19"/>
                  <a:pt x="983" y="19"/>
                  <a:pt x="983" y="19"/>
                </a:cubicBezTo>
                <a:cubicBezTo>
                  <a:pt x="983" y="19"/>
                  <a:pt x="983" y="19"/>
                  <a:pt x="983" y="19"/>
                </a:cubicBezTo>
                <a:close/>
                <a:moveTo>
                  <a:pt x="692" y="44"/>
                </a:moveTo>
                <a:cubicBezTo>
                  <a:pt x="692" y="44"/>
                  <a:pt x="692" y="44"/>
                  <a:pt x="692" y="44"/>
                </a:cubicBezTo>
                <a:cubicBezTo>
                  <a:pt x="692" y="44"/>
                  <a:pt x="692" y="44"/>
                  <a:pt x="692" y="44"/>
                </a:cubicBezTo>
                <a:close/>
                <a:moveTo>
                  <a:pt x="837" y="44"/>
                </a:moveTo>
                <a:cubicBezTo>
                  <a:pt x="836" y="44"/>
                  <a:pt x="836" y="44"/>
                  <a:pt x="836" y="44"/>
                </a:cubicBezTo>
                <a:cubicBezTo>
                  <a:pt x="836" y="44"/>
                  <a:pt x="837" y="44"/>
                  <a:pt x="837" y="44"/>
                </a:cubicBezTo>
                <a:close/>
                <a:moveTo>
                  <a:pt x="1540" y="19"/>
                </a:moveTo>
                <a:cubicBezTo>
                  <a:pt x="1540" y="19"/>
                  <a:pt x="1540" y="19"/>
                  <a:pt x="1540" y="19"/>
                </a:cubicBezTo>
                <a:cubicBezTo>
                  <a:pt x="1540" y="19"/>
                  <a:pt x="1540" y="19"/>
                  <a:pt x="1540" y="19"/>
                </a:cubicBezTo>
                <a:close/>
                <a:moveTo>
                  <a:pt x="1681" y="19"/>
                </a:moveTo>
                <a:cubicBezTo>
                  <a:pt x="1681" y="19"/>
                  <a:pt x="1681" y="20"/>
                  <a:pt x="1681" y="20"/>
                </a:cubicBezTo>
                <a:cubicBezTo>
                  <a:pt x="1681" y="19"/>
                  <a:pt x="1681" y="19"/>
                  <a:pt x="1681" y="19"/>
                </a:cubicBezTo>
                <a:close/>
                <a:moveTo>
                  <a:pt x="1708" y="19"/>
                </a:moveTo>
                <a:cubicBezTo>
                  <a:pt x="1708" y="19"/>
                  <a:pt x="1708" y="19"/>
                  <a:pt x="1708" y="19"/>
                </a:cubicBezTo>
                <a:cubicBezTo>
                  <a:pt x="1708" y="19"/>
                  <a:pt x="1708" y="19"/>
                  <a:pt x="1708" y="19"/>
                </a:cubicBezTo>
                <a:close/>
                <a:moveTo>
                  <a:pt x="539" y="20"/>
                </a:moveTo>
                <a:cubicBezTo>
                  <a:pt x="540" y="20"/>
                  <a:pt x="540" y="20"/>
                  <a:pt x="540" y="19"/>
                </a:cubicBezTo>
                <a:cubicBezTo>
                  <a:pt x="539" y="20"/>
                  <a:pt x="539" y="20"/>
                  <a:pt x="539" y="20"/>
                </a:cubicBezTo>
                <a:close/>
                <a:moveTo>
                  <a:pt x="1392" y="50"/>
                </a:moveTo>
                <a:cubicBezTo>
                  <a:pt x="1392" y="50"/>
                  <a:pt x="1392" y="50"/>
                  <a:pt x="1392" y="50"/>
                </a:cubicBezTo>
                <a:cubicBezTo>
                  <a:pt x="1392" y="50"/>
                  <a:pt x="1392" y="50"/>
                  <a:pt x="1392" y="50"/>
                </a:cubicBezTo>
                <a:close/>
                <a:moveTo>
                  <a:pt x="582" y="20"/>
                </a:moveTo>
                <a:cubicBezTo>
                  <a:pt x="582" y="19"/>
                  <a:pt x="582" y="19"/>
                  <a:pt x="582" y="19"/>
                </a:cubicBezTo>
                <a:cubicBezTo>
                  <a:pt x="582" y="20"/>
                  <a:pt x="582" y="20"/>
                  <a:pt x="582" y="20"/>
                </a:cubicBezTo>
                <a:close/>
                <a:moveTo>
                  <a:pt x="983" y="19"/>
                </a:moveTo>
                <a:cubicBezTo>
                  <a:pt x="982" y="19"/>
                  <a:pt x="982" y="19"/>
                  <a:pt x="982" y="20"/>
                </a:cubicBezTo>
                <a:cubicBezTo>
                  <a:pt x="982" y="20"/>
                  <a:pt x="982" y="20"/>
                  <a:pt x="983" y="19"/>
                </a:cubicBezTo>
                <a:close/>
                <a:moveTo>
                  <a:pt x="1017" y="20"/>
                </a:moveTo>
                <a:cubicBezTo>
                  <a:pt x="1017" y="19"/>
                  <a:pt x="1017" y="19"/>
                  <a:pt x="1016" y="19"/>
                </a:cubicBezTo>
                <a:cubicBezTo>
                  <a:pt x="1017" y="20"/>
                  <a:pt x="1017" y="20"/>
                  <a:pt x="1017" y="20"/>
                </a:cubicBezTo>
                <a:close/>
                <a:moveTo>
                  <a:pt x="1355" y="19"/>
                </a:moveTo>
                <a:cubicBezTo>
                  <a:pt x="1355" y="19"/>
                  <a:pt x="1355" y="19"/>
                  <a:pt x="1355" y="20"/>
                </a:cubicBezTo>
                <a:cubicBezTo>
                  <a:pt x="1355" y="20"/>
                  <a:pt x="1355" y="20"/>
                  <a:pt x="1355" y="19"/>
                </a:cubicBezTo>
                <a:close/>
                <a:moveTo>
                  <a:pt x="1417" y="20"/>
                </a:moveTo>
                <a:cubicBezTo>
                  <a:pt x="1417" y="20"/>
                  <a:pt x="1417" y="20"/>
                  <a:pt x="1417" y="19"/>
                </a:cubicBezTo>
                <a:cubicBezTo>
                  <a:pt x="1417" y="20"/>
                  <a:pt x="1417" y="20"/>
                  <a:pt x="1417" y="20"/>
                </a:cubicBezTo>
                <a:close/>
                <a:moveTo>
                  <a:pt x="1464" y="19"/>
                </a:moveTo>
                <a:cubicBezTo>
                  <a:pt x="1464" y="20"/>
                  <a:pt x="1464" y="20"/>
                  <a:pt x="1465" y="20"/>
                </a:cubicBezTo>
                <a:cubicBezTo>
                  <a:pt x="1465" y="20"/>
                  <a:pt x="1465" y="20"/>
                  <a:pt x="1464" y="19"/>
                </a:cubicBezTo>
                <a:close/>
                <a:moveTo>
                  <a:pt x="1540" y="19"/>
                </a:moveTo>
                <a:cubicBezTo>
                  <a:pt x="1539" y="19"/>
                  <a:pt x="1539" y="19"/>
                  <a:pt x="1539" y="20"/>
                </a:cubicBezTo>
                <a:cubicBezTo>
                  <a:pt x="1539" y="20"/>
                  <a:pt x="1539" y="20"/>
                  <a:pt x="1540" y="19"/>
                </a:cubicBezTo>
                <a:close/>
                <a:moveTo>
                  <a:pt x="1579" y="19"/>
                </a:moveTo>
                <a:cubicBezTo>
                  <a:pt x="1579" y="20"/>
                  <a:pt x="1579" y="20"/>
                  <a:pt x="1580" y="20"/>
                </a:cubicBezTo>
                <a:cubicBezTo>
                  <a:pt x="1580" y="20"/>
                  <a:pt x="1580" y="20"/>
                  <a:pt x="1579" y="19"/>
                </a:cubicBezTo>
                <a:close/>
                <a:moveTo>
                  <a:pt x="1708" y="19"/>
                </a:moveTo>
                <a:cubicBezTo>
                  <a:pt x="1707" y="19"/>
                  <a:pt x="1707" y="19"/>
                  <a:pt x="1707" y="20"/>
                </a:cubicBezTo>
                <a:cubicBezTo>
                  <a:pt x="1707" y="20"/>
                  <a:pt x="1708" y="20"/>
                  <a:pt x="1708" y="19"/>
                </a:cubicBezTo>
                <a:close/>
                <a:moveTo>
                  <a:pt x="1747" y="19"/>
                </a:moveTo>
                <a:cubicBezTo>
                  <a:pt x="1747" y="20"/>
                  <a:pt x="1747" y="20"/>
                  <a:pt x="1748" y="20"/>
                </a:cubicBezTo>
                <a:cubicBezTo>
                  <a:pt x="1748" y="20"/>
                  <a:pt x="1748" y="20"/>
                  <a:pt x="1747" y="19"/>
                </a:cubicBezTo>
                <a:close/>
                <a:moveTo>
                  <a:pt x="910" y="44"/>
                </a:moveTo>
                <a:cubicBezTo>
                  <a:pt x="910" y="44"/>
                  <a:pt x="910" y="45"/>
                  <a:pt x="910" y="45"/>
                </a:cubicBezTo>
                <a:cubicBezTo>
                  <a:pt x="910" y="45"/>
                  <a:pt x="910" y="44"/>
                  <a:pt x="910" y="44"/>
                </a:cubicBezTo>
                <a:close/>
                <a:moveTo>
                  <a:pt x="1083" y="44"/>
                </a:moveTo>
                <a:cubicBezTo>
                  <a:pt x="1083" y="44"/>
                  <a:pt x="1083" y="45"/>
                  <a:pt x="1083" y="45"/>
                </a:cubicBezTo>
                <a:cubicBezTo>
                  <a:pt x="1083" y="44"/>
                  <a:pt x="1083" y="44"/>
                  <a:pt x="1083" y="44"/>
                </a:cubicBezTo>
                <a:close/>
                <a:moveTo>
                  <a:pt x="982" y="20"/>
                </a:moveTo>
                <a:cubicBezTo>
                  <a:pt x="982" y="20"/>
                  <a:pt x="981" y="20"/>
                  <a:pt x="981" y="20"/>
                </a:cubicBezTo>
                <a:cubicBezTo>
                  <a:pt x="982" y="20"/>
                  <a:pt x="982" y="20"/>
                  <a:pt x="982" y="20"/>
                </a:cubicBezTo>
                <a:close/>
                <a:moveTo>
                  <a:pt x="1018" y="20"/>
                </a:moveTo>
                <a:cubicBezTo>
                  <a:pt x="1018" y="20"/>
                  <a:pt x="1017" y="20"/>
                  <a:pt x="1017" y="20"/>
                </a:cubicBezTo>
                <a:cubicBezTo>
                  <a:pt x="1017" y="20"/>
                  <a:pt x="1018" y="20"/>
                  <a:pt x="1018" y="20"/>
                </a:cubicBezTo>
                <a:close/>
                <a:moveTo>
                  <a:pt x="1395" y="20"/>
                </a:moveTo>
                <a:cubicBezTo>
                  <a:pt x="1395" y="20"/>
                  <a:pt x="1395" y="20"/>
                  <a:pt x="1395" y="20"/>
                </a:cubicBezTo>
                <a:cubicBezTo>
                  <a:pt x="1395" y="20"/>
                  <a:pt x="1395" y="20"/>
                  <a:pt x="1395" y="20"/>
                </a:cubicBezTo>
                <a:close/>
                <a:moveTo>
                  <a:pt x="1214" y="45"/>
                </a:moveTo>
                <a:cubicBezTo>
                  <a:pt x="1214" y="45"/>
                  <a:pt x="1215" y="44"/>
                  <a:pt x="1215" y="44"/>
                </a:cubicBezTo>
                <a:cubicBezTo>
                  <a:pt x="1214" y="44"/>
                  <a:pt x="1214" y="44"/>
                  <a:pt x="1214" y="45"/>
                </a:cubicBezTo>
                <a:close/>
                <a:moveTo>
                  <a:pt x="1261" y="44"/>
                </a:moveTo>
                <a:cubicBezTo>
                  <a:pt x="1261" y="44"/>
                  <a:pt x="1261" y="45"/>
                  <a:pt x="1261" y="45"/>
                </a:cubicBezTo>
                <a:cubicBezTo>
                  <a:pt x="1261" y="44"/>
                  <a:pt x="1261" y="44"/>
                  <a:pt x="1261" y="44"/>
                </a:cubicBezTo>
                <a:close/>
                <a:moveTo>
                  <a:pt x="539" y="21"/>
                </a:moveTo>
                <a:cubicBezTo>
                  <a:pt x="539" y="21"/>
                  <a:pt x="539" y="20"/>
                  <a:pt x="539" y="20"/>
                </a:cubicBezTo>
                <a:cubicBezTo>
                  <a:pt x="539" y="20"/>
                  <a:pt x="539" y="21"/>
                  <a:pt x="539" y="21"/>
                </a:cubicBezTo>
                <a:close/>
                <a:moveTo>
                  <a:pt x="583" y="20"/>
                </a:moveTo>
                <a:cubicBezTo>
                  <a:pt x="583" y="20"/>
                  <a:pt x="583" y="20"/>
                  <a:pt x="583" y="20"/>
                </a:cubicBezTo>
                <a:cubicBezTo>
                  <a:pt x="583" y="20"/>
                  <a:pt x="583" y="20"/>
                  <a:pt x="583" y="20"/>
                </a:cubicBezTo>
                <a:close/>
                <a:moveTo>
                  <a:pt x="1289" y="45"/>
                </a:moveTo>
                <a:cubicBezTo>
                  <a:pt x="1290" y="45"/>
                  <a:pt x="1290" y="44"/>
                  <a:pt x="1290" y="44"/>
                </a:cubicBezTo>
                <a:cubicBezTo>
                  <a:pt x="1289" y="44"/>
                  <a:pt x="1289" y="44"/>
                  <a:pt x="1289" y="45"/>
                </a:cubicBezTo>
                <a:close/>
                <a:moveTo>
                  <a:pt x="981" y="20"/>
                </a:moveTo>
                <a:cubicBezTo>
                  <a:pt x="981" y="20"/>
                  <a:pt x="981" y="20"/>
                  <a:pt x="981" y="20"/>
                </a:cubicBezTo>
                <a:cubicBezTo>
                  <a:pt x="981" y="20"/>
                  <a:pt x="981" y="20"/>
                  <a:pt x="981" y="20"/>
                </a:cubicBezTo>
                <a:close/>
                <a:moveTo>
                  <a:pt x="1019" y="20"/>
                </a:moveTo>
                <a:cubicBezTo>
                  <a:pt x="1018" y="20"/>
                  <a:pt x="1018" y="20"/>
                  <a:pt x="1018" y="20"/>
                </a:cubicBezTo>
                <a:cubicBezTo>
                  <a:pt x="1018" y="20"/>
                  <a:pt x="1018" y="20"/>
                  <a:pt x="1019" y="20"/>
                </a:cubicBezTo>
                <a:close/>
                <a:moveTo>
                  <a:pt x="1299" y="44"/>
                </a:moveTo>
                <a:cubicBezTo>
                  <a:pt x="1299" y="44"/>
                  <a:pt x="1298" y="44"/>
                  <a:pt x="1298" y="44"/>
                </a:cubicBezTo>
                <a:cubicBezTo>
                  <a:pt x="1299" y="44"/>
                  <a:pt x="1299" y="44"/>
                  <a:pt x="1299" y="44"/>
                </a:cubicBezTo>
                <a:close/>
                <a:moveTo>
                  <a:pt x="1311" y="44"/>
                </a:moveTo>
                <a:cubicBezTo>
                  <a:pt x="1310" y="44"/>
                  <a:pt x="1310" y="44"/>
                  <a:pt x="1310" y="44"/>
                </a:cubicBezTo>
                <a:cubicBezTo>
                  <a:pt x="1310" y="44"/>
                  <a:pt x="1310" y="44"/>
                  <a:pt x="1311" y="44"/>
                </a:cubicBezTo>
                <a:close/>
                <a:moveTo>
                  <a:pt x="1465" y="20"/>
                </a:moveTo>
                <a:cubicBezTo>
                  <a:pt x="1465" y="20"/>
                  <a:pt x="1465" y="21"/>
                  <a:pt x="1465" y="21"/>
                </a:cubicBezTo>
                <a:cubicBezTo>
                  <a:pt x="1465" y="20"/>
                  <a:pt x="1465" y="20"/>
                  <a:pt x="1465" y="20"/>
                </a:cubicBezTo>
                <a:close/>
                <a:moveTo>
                  <a:pt x="1539" y="20"/>
                </a:moveTo>
                <a:cubicBezTo>
                  <a:pt x="1538" y="20"/>
                  <a:pt x="1538" y="20"/>
                  <a:pt x="1538" y="20"/>
                </a:cubicBezTo>
                <a:cubicBezTo>
                  <a:pt x="1538" y="20"/>
                  <a:pt x="1538" y="20"/>
                  <a:pt x="1539" y="20"/>
                </a:cubicBezTo>
                <a:close/>
                <a:moveTo>
                  <a:pt x="1580" y="20"/>
                </a:moveTo>
                <a:cubicBezTo>
                  <a:pt x="1580" y="20"/>
                  <a:pt x="1580" y="21"/>
                  <a:pt x="1580" y="21"/>
                </a:cubicBezTo>
                <a:cubicBezTo>
                  <a:pt x="1580" y="21"/>
                  <a:pt x="1580" y="20"/>
                  <a:pt x="1580" y="20"/>
                </a:cubicBezTo>
                <a:close/>
                <a:moveTo>
                  <a:pt x="1682" y="20"/>
                </a:moveTo>
                <a:cubicBezTo>
                  <a:pt x="1682" y="20"/>
                  <a:pt x="1682" y="21"/>
                  <a:pt x="1682" y="21"/>
                </a:cubicBezTo>
                <a:cubicBezTo>
                  <a:pt x="1682" y="21"/>
                  <a:pt x="1682" y="20"/>
                  <a:pt x="1682" y="20"/>
                </a:cubicBezTo>
                <a:close/>
                <a:moveTo>
                  <a:pt x="1707" y="20"/>
                </a:moveTo>
                <a:cubicBezTo>
                  <a:pt x="1706" y="20"/>
                  <a:pt x="1706" y="20"/>
                  <a:pt x="1706" y="20"/>
                </a:cubicBezTo>
                <a:cubicBezTo>
                  <a:pt x="1706" y="20"/>
                  <a:pt x="1707" y="20"/>
                  <a:pt x="1707" y="20"/>
                </a:cubicBezTo>
                <a:close/>
                <a:moveTo>
                  <a:pt x="1748" y="20"/>
                </a:moveTo>
                <a:cubicBezTo>
                  <a:pt x="1748" y="20"/>
                  <a:pt x="1748" y="21"/>
                  <a:pt x="1748" y="21"/>
                </a:cubicBezTo>
                <a:cubicBezTo>
                  <a:pt x="1748" y="21"/>
                  <a:pt x="1748" y="20"/>
                  <a:pt x="1748" y="20"/>
                </a:cubicBezTo>
                <a:close/>
                <a:moveTo>
                  <a:pt x="1567" y="45"/>
                </a:moveTo>
                <a:cubicBezTo>
                  <a:pt x="1568" y="45"/>
                  <a:pt x="1568" y="44"/>
                  <a:pt x="1568" y="44"/>
                </a:cubicBezTo>
                <a:cubicBezTo>
                  <a:pt x="1568" y="44"/>
                  <a:pt x="1567" y="44"/>
                  <a:pt x="1567" y="45"/>
                </a:cubicBezTo>
                <a:close/>
                <a:moveTo>
                  <a:pt x="584" y="21"/>
                </a:moveTo>
                <a:cubicBezTo>
                  <a:pt x="584" y="21"/>
                  <a:pt x="584" y="20"/>
                  <a:pt x="583" y="20"/>
                </a:cubicBezTo>
                <a:cubicBezTo>
                  <a:pt x="583" y="21"/>
                  <a:pt x="584" y="21"/>
                  <a:pt x="584" y="21"/>
                </a:cubicBezTo>
                <a:close/>
                <a:moveTo>
                  <a:pt x="981" y="20"/>
                </a:moveTo>
                <a:cubicBezTo>
                  <a:pt x="980" y="20"/>
                  <a:pt x="980" y="20"/>
                  <a:pt x="980" y="21"/>
                </a:cubicBezTo>
                <a:cubicBezTo>
                  <a:pt x="980" y="21"/>
                  <a:pt x="980" y="21"/>
                  <a:pt x="981" y="20"/>
                </a:cubicBezTo>
                <a:close/>
                <a:moveTo>
                  <a:pt x="1019" y="21"/>
                </a:moveTo>
                <a:cubicBezTo>
                  <a:pt x="1019" y="20"/>
                  <a:pt x="1019" y="20"/>
                  <a:pt x="1019" y="20"/>
                </a:cubicBezTo>
                <a:cubicBezTo>
                  <a:pt x="1019" y="21"/>
                  <a:pt x="1019" y="21"/>
                  <a:pt x="1019" y="21"/>
                </a:cubicBezTo>
                <a:close/>
                <a:moveTo>
                  <a:pt x="1682" y="44"/>
                </a:moveTo>
                <a:cubicBezTo>
                  <a:pt x="1682" y="44"/>
                  <a:pt x="1682" y="44"/>
                  <a:pt x="1682" y="45"/>
                </a:cubicBezTo>
                <a:cubicBezTo>
                  <a:pt x="1682" y="45"/>
                  <a:pt x="1682" y="44"/>
                  <a:pt x="1682" y="44"/>
                </a:cubicBezTo>
                <a:close/>
                <a:moveTo>
                  <a:pt x="1736" y="45"/>
                </a:moveTo>
                <a:cubicBezTo>
                  <a:pt x="1736" y="45"/>
                  <a:pt x="1736" y="44"/>
                  <a:pt x="1736" y="44"/>
                </a:cubicBezTo>
                <a:cubicBezTo>
                  <a:pt x="1736" y="44"/>
                  <a:pt x="1736" y="44"/>
                  <a:pt x="1736" y="45"/>
                </a:cubicBezTo>
                <a:close/>
                <a:moveTo>
                  <a:pt x="1395" y="20"/>
                </a:moveTo>
                <a:cubicBezTo>
                  <a:pt x="1395" y="21"/>
                  <a:pt x="1395" y="21"/>
                  <a:pt x="1396" y="21"/>
                </a:cubicBezTo>
                <a:cubicBezTo>
                  <a:pt x="1396" y="21"/>
                  <a:pt x="1396" y="21"/>
                  <a:pt x="1395" y="20"/>
                </a:cubicBezTo>
                <a:close/>
                <a:moveTo>
                  <a:pt x="566" y="50"/>
                </a:moveTo>
                <a:cubicBezTo>
                  <a:pt x="566" y="50"/>
                  <a:pt x="567" y="50"/>
                  <a:pt x="567" y="50"/>
                </a:cubicBezTo>
                <a:cubicBezTo>
                  <a:pt x="567" y="50"/>
                  <a:pt x="567" y="50"/>
                  <a:pt x="566" y="50"/>
                </a:cubicBezTo>
                <a:close/>
                <a:moveTo>
                  <a:pt x="660" y="45"/>
                </a:moveTo>
                <a:cubicBezTo>
                  <a:pt x="660" y="45"/>
                  <a:pt x="660" y="45"/>
                  <a:pt x="660" y="44"/>
                </a:cubicBezTo>
                <a:cubicBezTo>
                  <a:pt x="660" y="45"/>
                  <a:pt x="660" y="45"/>
                  <a:pt x="660" y="45"/>
                </a:cubicBezTo>
                <a:close/>
                <a:moveTo>
                  <a:pt x="693" y="45"/>
                </a:moveTo>
                <a:cubicBezTo>
                  <a:pt x="693" y="44"/>
                  <a:pt x="693" y="44"/>
                  <a:pt x="692" y="44"/>
                </a:cubicBezTo>
                <a:cubicBezTo>
                  <a:pt x="692" y="45"/>
                  <a:pt x="693" y="45"/>
                  <a:pt x="693" y="45"/>
                </a:cubicBezTo>
                <a:close/>
                <a:moveTo>
                  <a:pt x="1020" y="21"/>
                </a:moveTo>
                <a:cubicBezTo>
                  <a:pt x="1020" y="21"/>
                  <a:pt x="1020" y="21"/>
                  <a:pt x="1019" y="21"/>
                </a:cubicBezTo>
                <a:cubicBezTo>
                  <a:pt x="1019" y="21"/>
                  <a:pt x="1020" y="21"/>
                  <a:pt x="1020" y="21"/>
                </a:cubicBezTo>
                <a:close/>
                <a:moveTo>
                  <a:pt x="1353" y="21"/>
                </a:moveTo>
                <a:cubicBezTo>
                  <a:pt x="1353" y="21"/>
                  <a:pt x="1353" y="21"/>
                  <a:pt x="1353" y="21"/>
                </a:cubicBezTo>
                <a:cubicBezTo>
                  <a:pt x="1353" y="21"/>
                  <a:pt x="1353" y="21"/>
                  <a:pt x="1353" y="21"/>
                </a:cubicBezTo>
                <a:close/>
                <a:moveTo>
                  <a:pt x="831" y="50"/>
                </a:moveTo>
                <a:cubicBezTo>
                  <a:pt x="831" y="50"/>
                  <a:pt x="831" y="50"/>
                  <a:pt x="831" y="51"/>
                </a:cubicBezTo>
                <a:cubicBezTo>
                  <a:pt x="831" y="51"/>
                  <a:pt x="831" y="50"/>
                  <a:pt x="831" y="50"/>
                </a:cubicBezTo>
                <a:close/>
                <a:moveTo>
                  <a:pt x="858" y="51"/>
                </a:moveTo>
                <a:cubicBezTo>
                  <a:pt x="858" y="50"/>
                  <a:pt x="858" y="50"/>
                  <a:pt x="857" y="50"/>
                </a:cubicBezTo>
                <a:cubicBezTo>
                  <a:pt x="857" y="50"/>
                  <a:pt x="857" y="51"/>
                  <a:pt x="858" y="51"/>
                </a:cubicBezTo>
                <a:close/>
                <a:moveTo>
                  <a:pt x="1465" y="21"/>
                </a:moveTo>
                <a:cubicBezTo>
                  <a:pt x="1465" y="21"/>
                  <a:pt x="1465" y="21"/>
                  <a:pt x="1465" y="21"/>
                </a:cubicBezTo>
                <a:cubicBezTo>
                  <a:pt x="1465" y="21"/>
                  <a:pt x="1465" y="21"/>
                  <a:pt x="1465" y="21"/>
                </a:cubicBezTo>
                <a:close/>
                <a:moveTo>
                  <a:pt x="853" y="45"/>
                </a:moveTo>
                <a:cubicBezTo>
                  <a:pt x="853" y="45"/>
                  <a:pt x="853" y="44"/>
                  <a:pt x="853" y="44"/>
                </a:cubicBezTo>
                <a:cubicBezTo>
                  <a:pt x="853" y="45"/>
                  <a:pt x="853" y="45"/>
                  <a:pt x="853" y="45"/>
                </a:cubicBezTo>
                <a:close/>
                <a:moveTo>
                  <a:pt x="1682" y="21"/>
                </a:moveTo>
                <a:cubicBezTo>
                  <a:pt x="1682" y="21"/>
                  <a:pt x="1682" y="21"/>
                  <a:pt x="1682" y="22"/>
                </a:cubicBezTo>
                <a:cubicBezTo>
                  <a:pt x="1682" y="21"/>
                  <a:pt x="1682" y="21"/>
                  <a:pt x="1682" y="21"/>
                </a:cubicBezTo>
                <a:close/>
                <a:moveTo>
                  <a:pt x="867" y="44"/>
                </a:moveTo>
                <a:cubicBezTo>
                  <a:pt x="867" y="45"/>
                  <a:pt x="867" y="45"/>
                  <a:pt x="868" y="45"/>
                </a:cubicBezTo>
                <a:cubicBezTo>
                  <a:pt x="868" y="45"/>
                  <a:pt x="868" y="45"/>
                  <a:pt x="867" y="44"/>
                </a:cubicBezTo>
                <a:close/>
                <a:moveTo>
                  <a:pt x="538" y="22"/>
                </a:moveTo>
                <a:cubicBezTo>
                  <a:pt x="539" y="22"/>
                  <a:pt x="539" y="21"/>
                  <a:pt x="539" y="21"/>
                </a:cubicBezTo>
                <a:cubicBezTo>
                  <a:pt x="539" y="21"/>
                  <a:pt x="538" y="22"/>
                  <a:pt x="538" y="22"/>
                </a:cubicBezTo>
                <a:close/>
                <a:moveTo>
                  <a:pt x="896" y="45"/>
                </a:moveTo>
                <a:cubicBezTo>
                  <a:pt x="896" y="44"/>
                  <a:pt x="896" y="44"/>
                  <a:pt x="896" y="44"/>
                </a:cubicBezTo>
                <a:cubicBezTo>
                  <a:pt x="896" y="45"/>
                  <a:pt x="896" y="45"/>
                  <a:pt x="896" y="45"/>
                </a:cubicBezTo>
                <a:close/>
                <a:moveTo>
                  <a:pt x="979" y="21"/>
                </a:moveTo>
                <a:cubicBezTo>
                  <a:pt x="979" y="21"/>
                  <a:pt x="979" y="21"/>
                  <a:pt x="979" y="21"/>
                </a:cubicBezTo>
                <a:cubicBezTo>
                  <a:pt x="979" y="21"/>
                  <a:pt x="979" y="21"/>
                  <a:pt x="979" y="21"/>
                </a:cubicBezTo>
                <a:close/>
                <a:moveTo>
                  <a:pt x="1021" y="21"/>
                </a:moveTo>
                <a:cubicBezTo>
                  <a:pt x="1020" y="21"/>
                  <a:pt x="1020" y="21"/>
                  <a:pt x="1020" y="21"/>
                </a:cubicBezTo>
                <a:cubicBezTo>
                  <a:pt x="1020" y="21"/>
                  <a:pt x="1020" y="21"/>
                  <a:pt x="1021" y="21"/>
                </a:cubicBezTo>
                <a:close/>
                <a:moveTo>
                  <a:pt x="1120" y="44"/>
                </a:moveTo>
                <a:cubicBezTo>
                  <a:pt x="1119" y="44"/>
                  <a:pt x="1119" y="44"/>
                  <a:pt x="1119" y="45"/>
                </a:cubicBezTo>
                <a:cubicBezTo>
                  <a:pt x="1119" y="45"/>
                  <a:pt x="1120" y="45"/>
                  <a:pt x="1120" y="44"/>
                </a:cubicBezTo>
                <a:close/>
                <a:moveTo>
                  <a:pt x="1383" y="22"/>
                </a:moveTo>
                <a:cubicBezTo>
                  <a:pt x="1383" y="21"/>
                  <a:pt x="1383" y="21"/>
                  <a:pt x="1383" y="21"/>
                </a:cubicBezTo>
                <a:cubicBezTo>
                  <a:pt x="1383" y="21"/>
                  <a:pt x="1383" y="22"/>
                  <a:pt x="1383" y="22"/>
                </a:cubicBezTo>
                <a:close/>
                <a:moveTo>
                  <a:pt x="1416" y="22"/>
                </a:moveTo>
                <a:cubicBezTo>
                  <a:pt x="1416" y="22"/>
                  <a:pt x="1416" y="21"/>
                  <a:pt x="1416" y="21"/>
                </a:cubicBezTo>
                <a:cubicBezTo>
                  <a:pt x="1416" y="21"/>
                  <a:pt x="1416" y="22"/>
                  <a:pt x="1416" y="22"/>
                </a:cubicBezTo>
                <a:close/>
                <a:moveTo>
                  <a:pt x="1138" y="45"/>
                </a:moveTo>
                <a:cubicBezTo>
                  <a:pt x="1138" y="45"/>
                  <a:pt x="1138" y="44"/>
                  <a:pt x="1137" y="44"/>
                </a:cubicBezTo>
                <a:cubicBezTo>
                  <a:pt x="1137" y="45"/>
                  <a:pt x="1138" y="45"/>
                  <a:pt x="1138" y="45"/>
                </a:cubicBezTo>
                <a:close/>
                <a:moveTo>
                  <a:pt x="1152" y="44"/>
                </a:moveTo>
                <a:cubicBezTo>
                  <a:pt x="1152" y="45"/>
                  <a:pt x="1152" y="45"/>
                  <a:pt x="1152" y="45"/>
                </a:cubicBezTo>
                <a:cubicBezTo>
                  <a:pt x="1153" y="45"/>
                  <a:pt x="1152" y="45"/>
                  <a:pt x="1152" y="44"/>
                </a:cubicBezTo>
                <a:close/>
                <a:moveTo>
                  <a:pt x="1580" y="21"/>
                </a:moveTo>
                <a:cubicBezTo>
                  <a:pt x="1580" y="21"/>
                  <a:pt x="1580" y="22"/>
                  <a:pt x="1580" y="22"/>
                </a:cubicBezTo>
                <a:cubicBezTo>
                  <a:pt x="1580" y="22"/>
                  <a:pt x="1580" y="21"/>
                  <a:pt x="1580" y="21"/>
                </a:cubicBezTo>
                <a:close/>
                <a:moveTo>
                  <a:pt x="1298" y="44"/>
                </a:moveTo>
                <a:cubicBezTo>
                  <a:pt x="1298" y="44"/>
                  <a:pt x="1298" y="44"/>
                  <a:pt x="1298" y="45"/>
                </a:cubicBezTo>
                <a:cubicBezTo>
                  <a:pt x="1298" y="45"/>
                  <a:pt x="1298" y="45"/>
                  <a:pt x="1298" y="44"/>
                </a:cubicBezTo>
                <a:close/>
                <a:moveTo>
                  <a:pt x="1748" y="21"/>
                </a:moveTo>
                <a:cubicBezTo>
                  <a:pt x="1748" y="21"/>
                  <a:pt x="1748" y="22"/>
                  <a:pt x="1748" y="22"/>
                </a:cubicBezTo>
                <a:cubicBezTo>
                  <a:pt x="1748" y="22"/>
                  <a:pt x="1748" y="21"/>
                  <a:pt x="1748" y="21"/>
                </a:cubicBezTo>
                <a:close/>
                <a:moveTo>
                  <a:pt x="1311" y="45"/>
                </a:moveTo>
                <a:cubicBezTo>
                  <a:pt x="1311" y="45"/>
                  <a:pt x="1311" y="44"/>
                  <a:pt x="1311" y="44"/>
                </a:cubicBezTo>
                <a:cubicBezTo>
                  <a:pt x="1311" y="45"/>
                  <a:pt x="1311" y="45"/>
                  <a:pt x="1311" y="45"/>
                </a:cubicBezTo>
                <a:close/>
                <a:moveTo>
                  <a:pt x="652" y="43"/>
                </a:moveTo>
                <a:cubicBezTo>
                  <a:pt x="652" y="43"/>
                  <a:pt x="652" y="44"/>
                  <a:pt x="652" y="44"/>
                </a:cubicBezTo>
                <a:cubicBezTo>
                  <a:pt x="652" y="44"/>
                  <a:pt x="652" y="44"/>
                  <a:pt x="652" y="43"/>
                </a:cubicBezTo>
                <a:close/>
                <a:moveTo>
                  <a:pt x="1383" y="45"/>
                </a:moveTo>
                <a:cubicBezTo>
                  <a:pt x="1383" y="45"/>
                  <a:pt x="1383" y="45"/>
                  <a:pt x="1383" y="44"/>
                </a:cubicBezTo>
                <a:cubicBezTo>
                  <a:pt x="1383" y="45"/>
                  <a:pt x="1383" y="45"/>
                  <a:pt x="1383" y="45"/>
                </a:cubicBezTo>
                <a:close/>
                <a:moveTo>
                  <a:pt x="1395" y="44"/>
                </a:moveTo>
                <a:cubicBezTo>
                  <a:pt x="1395" y="45"/>
                  <a:pt x="1395" y="45"/>
                  <a:pt x="1395" y="45"/>
                </a:cubicBezTo>
                <a:cubicBezTo>
                  <a:pt x="1395" y="45"/>
                  <a:pt x="1395" y="45"/>
                  <a:pt x="1395" y="44"/>
                </a:cubicBezTo>
                <a:close/>
                <a:moveTo>
                  <a:pt x="1465" y="21"/>
                </a:moveTo>
                <a:cubicBezTo>
                  <a:pt x="1465" y="22"/>
                  <a:pt x="1465" y="22"/>
                  <a:pt x="1466" y="22"/>
                </a:cubicBezTo>
                <a:cubicBezTo>
                  <a:pt x="1466" y="22"/>
                  <a:pt x="1466" y="22"/>
                  <a:pt x="1465" y="21"/>
                </a:cubicBezTo>
                <a:close/>
                <a:moveTo>
                  <a:pt x="558" y="45"/>
                </a:moveTo>
                <a:cubicBezTo>
                  <a:pt x="558" y="45"/>
                  <a:pt x="558" y="45"/>
                  <a:pt x="558" y="45"/>
                </a:cubicBezTo>
                <a:cubicBezTo>
                  <a:pt x="558" y="45"/>
                  <a:pt x="558" y="45"/>
                  <a:pt x="558" y="45"/>
                </a:cubicBezTo>
                <a:close/>
                <a:moveTo>
                  <a:pt x="1568" y="22"/>
                </a:moveTo>
                <a:cubicBezTo>
                  <a:pt x="1568" y="22"/>
                  <a:pt x="1568" y="22"/>
                  <a:pt x="1567" y="21"/>
                </a:cubicBezTo>
                <a:cubicBezTo>
                  <a:pt x="1567" y="22"/>
                  <a:pt x="1568" y="22"/>
                  <a:pt x="1568" y="22"/>
                </a:cubicBezTo>
                <a:close/>
                <a:moveTo>
                  <a:pt x="1736" y="22"/>
                </a:moveTo>
                <a:cubicBezTo>
                  <a:pt x="1736" y="22"/>
                  <a:pt x="1736" y="22"/>
                  <a:pt x="1736" y="21"/>
                </a:cubicBezTo>
                <a:cubicBezTo>
                  <a:pt x="1736" y="22"/>
                  <a:pt x="1736" y="22"/>
                  <a:pt x="1736" y="22"/>
                </a:cubicBezTo>
                <a:close/>
                <a:moveTo>
                  <a:pt x="538" y="23"/>
                </a:moveTo>
                <a:cubicBezTo>
                  <a:pt x="538" y="22"/>
                  <a:pt x="538" y="22"/>
                  <a:pt x="538" y="22"/>
                </a:cubicBezTo>
                <a:cubicBezTo>
                  <a:pt x="538" y="22"/>
                  <a:pt x="538" y="22"/>
                  <a:pt x="538" y="23"/>
                </a:cubicBezTo>
                <a:close/>
                <a:moveTo>
                  <a:pt x="694" y="45"/>
                </a:moveTo>
                <a:cubicBezTo>
                  <a:pt x="694" y="45"/>
                  <a:pt x="693" y="45"/>
                  <a:pt x="693" y="45"/>
                </a:cubicBezTo>
                <a:cubicBezTo>
                  <a:pt x="693" y="45"/>
                  <a:pt x="693" y="45"/>
                  <a:pt x="694" y="45"/>
                </a:cubicBezTo>
                <a:close/>
                <a:moveTo>
                  <a:pt x="1352" y="22"/>
                </a:moveTo>
                <a:cubicBezTo>
                  <a:pt x="1352" y="22"/>
                  <a:pt x="1351" y="22"/>
                  <a:pt x="1351" y="22"/>
                </a:cubicBezTo>
                <a:cubicBezTo>
                  <a:pt x="1352" y="22"/>
                  <a:pt x="1352" y="22"/>
                  <a:pt x="1352" y="22"/>
                </a:cubicBezTo>
                <a:close/>
                <a:moveTo>
                  <a:pt x="1415" y="23"/>
                </a:moveTo>
                <a:cubicBezTo>
                  <a:pt x="1416" y="22"/>
                  <a:pt x="1416" y="22"/>
                  <a:pt x="1416" y="22"/>
                </a:cubicBezTo>
                <a:cubicBezTo>
                  <a:pt x="1415" y="22"/>
                  <a:pt x="1415" y="22"/>
                  <a:pt x="1415" y="23"/>
                </a:cubicBezTo>
                <a:close/>
                <a:moveTo>
                  <a:pt x="1033" y="51"/>
                </a:moveTo>
                <a:cubicBezTo>
                  <a:pt x="1033" y="51"/>
                  <a:pt x="1033" y="50"/>
                  <a:pt x="1033" y="50"/>
                </a:cubicBezTo>
                <a:cubicBezTo>
                  <a:pt x="1033" y="50"/>
                  <a:pt x="1033" y="50"/>
                  <a:pt x="1033" y="51"/>
                </a:cubicBezTo>
                <a:close/>
                <a:moveTo>
                  <a:pt x="1682" y="22"/>
                </a:moveTo>
                <a:cubicBezTo>
                  <a:pt x="1682" y="22"/>
                  <a:pt x="1682" y="22"/>
                  <a:pt x="1683" y="23"/>
                </a:cubicBezTo>
                <a:cubicBezTo>
                  <a:pt x="1683" y="22"/>
                  <a:pt x="1683" y="22"/>
                  <a:pt x="1682" y="22"/>
                </a:cubicBezTo>
                <a:close/>
                <a:moveTo>
                  <a:pt x="869" y="46"/>
                </a:moveTo>
                <a:cubicBezTo>
                  <a:pt x="869" y="45"/>
                  <a:pt x="869" y="45"/>
                  <a:pt x="869" y="45"/>
                </a:cubicBezTo>
                <a:cubicBezTo>
                  <a:pt x="869" y="45"/>
                  <a:pt x="868" y="45"/>
                  <a:pt x="869" y="46"/>
                </a:cubicBezTo>
                <a:close/>
                <a:moveTo>
                  <a:pt x="1086" y="50"/>
                </a:moveTo>
                <a:cubicBezTo>
                  <a:pt x="1086" y="50"/>
                  <a:pt x="1086" y="51"/>
                  <a:pt x="1086" y="51"/>
                </a:cubicBezTo>
                <a:cubicBezTo>
                  <a:pt x="1086" y="51"/>
                  <a:pt x="1086" y="50"/>
                  <a:pt x="1086" y="50"/>
                </a:cubicBezTo>
                <a:close/>
                <a:moveTo>
                  <a:pt x="1114" y="50"/>
                </a:moveTo>
                <a:cubicBezTo>
                  <a:pt x="1114" y="50"/>
                  <a:pt x="1113" y="50"/>
                  <a:pt x="1113" y="51"/>
                </a:cubicBezTo>
                <a:cubicBezTo>
                  <a:pt x="1114" y="51"/>
                  <a:pt x="1114" y="50"/>
                  <a:pt x="1114" y="50"/>
                </a:cubicBezTo>
                <a:close/>
                <a:moveTo>
                  <a:pt x="1142" y="51"/>
                </a:moveTo>
                <a:cubicBezTo>
                  <a:pt x="1142" y="50"/>
                  <a:pt x="1142" y="50"/>
                  <a:pt x="1142" y="50"/>
                </a:cubicBezTo>
                <a:cubicBezTo>
                  <a:pt x="1142" y="50"/>
                  <a:pt x="1142" y="51"/>
                  <a:pt x="1142" y="51"/>
                </a:cubicBezTo>
                <a:close/>
                <a:moveTo>
                  <a:pt x="1384" y="23"/>
                </a:moveTo>
                <a:cubicBezTo>
                  <a:pt x="1384" y="23"/>
                  <a:pt x="1384" y="22"/>
                  <a:pt x="1384" y="22"/>
                </a:cubicBezTo>
                <a:cubicBezTo>
                  <a:pt x="1384" y="22"/>
                  <a:pt x="1384" y="23"/>
                  <a:pt x="1384" y="23"/>
                </a:cubicBezTo>
                <a:close/>
                <a:moveTo>
                  <a:pt x="1211" y="51"/>
                </a:moveTo>
                <a:cubicBezTo>
                  <a:pt x="1211" y="51"/>
                  <a:pt x="1211" y="50"/>
                  <a:pt x="1211" y="50"/>
                </a:cubicBezTo>
                <a:cubicBezTo>
                  <a:pt x="1211" y="50"/>
                  <a:pt x="1211" y="50"/>
                  <a:pt x="1211" y="51"/>
                </a:cubicBezTo>
                <a:close/>
                <a:moveTo>
                  <a:pt x="1536" y="22"/>
                </a:moveTo>
                <a:cubicBezTo>
                  <a:pt x="1535" y="22"/>
                  <a:pt x="1535" y="22"/>
                  <a:pt x="1535" y="23"/>
                </a:cubicBezTo>
                <a:cubicBezTo>
                  <a:pt x="1535" y="22"/>
                  <a:pt x="1536" y="22"/>
                  <a:pt x="1536" y="22"/>
                </a:cubicBezTo>
                <a:close/>
                <a:moveTo>
                  <a:pt x="1704" y="22"/>
                </a:moveTo>
                <a:cubicBezTo>
                  <a:pt x="1704" y="22"/>
                  <a:pt x="1703" y="22"/>
                  <a:pt x="1703" y="23"/>
                </a:cubicBezTo>
                <a:cubicBezTo>
                  <a:pt x="1704" y="22"/>
                  <a:pt x="1704" y="22"/>
                  <a:pt x="1704" y="22"/>
                </a:cubicBezTo>
                <a:close/>
                <a:moveTo>
                  <a:pt x="872" y="55"/>
                </a:moveTo>
                <a:cubicBezTo>
                  <a:pt x="871" y="55"/>
                  <a:pt x="871" y="56"/>
                  <a:pt x="871" y="56"/>
                </a:cubicBezTo>
                <a:cubicBezTo>
                  <a:pt x="872" y="56"/>
                  <a:pt x="872" y="55"/>
                  <a:pt x="872" y="55"/>
                </a:cubicBezTo>
                <a:close/>
                <a:moveTo>
                  <a:pt x="572" y="53"/>
                </a:moveTo>
                <a:cubicBezTo>
                  <a:pt x="572" y="53"/>
                  <a:pt x="572" y="53"/>
                  <a:pt x="572" y="54"/>
                </a:cubicBezTo>
                <a:cubicBezTo>
                  <a:pt x="572" y="53"/>
                  <a:pt x="572" y="53"/>
                  <a:pt x="572" y="53"/>
                </a:cubicBezTo>
                <a:close/>
                <a:moveTo>
                  <a:pt x="977" y="22"/>
                </a:moveTo>
                <a:cubicBezTo>
                  <a:pt x="977" y="22"/>
                  <a:pt x="977" y="23"/>
                  <a:pt x="977" y="23"/>
                </a:cubicBezTo>
                <a:cubicBezTo>
                  <a:pt x="977" y="23"/>
                  <a:pt x="977" y="23"/>
                  <a:pt x="977" y="22"/>
                </a:cubicBezTo>
                <a:close/>
                <a:moveTo>
                  <a:pt x="1261" y="45"/>
                </a:moveTo>
                <a:cubicBezTo>
                  <a:pt x="1261" y="45"/>
                  <a:pt x="1261" y="45"/>
                  <a:pt x="1261" y="45"/>
                </a:cubicBezTo>
                <a:cubicBezTo>
                  <a:pt x="1261" y="45"/>
                  <a:pt x="1261" y="45"/>
                  <a:pt x="1261" y="45"/>
                </a:cubicBezTo>
                <a:close/>
                <a:moveTo>
                  <a:pt x="1415" y="23"/>
                </a:moveTo>
                <a:cubicBezTo>
                  <a:pt x="1415" y="23"/>
                  <a:pt x="1415" y="23"/>
                  <a:pt x="1415" y="23"/>
                </a:cubicBezTo>
                <a:cubicBezTo>
                  <a:pt x="1415" y="23"/>
                  <a:pt x="1415" y="23"/>
                  <a:pt x="1415" y="23"/>
                </a:cubicBezTo>
                <a:close/>
                <a:moveTo>
                  <a:pt x="1497" y="22"/>
                </a:moveTo>
                <a:cubicBezTo>
                  <a:pt x="1496" y="22"/>
                  <a:pt x="1496" y="23"/>
                  <a:pt x="1496" y="23"/>
                </a:cubicBezTo>
                <a:cubicBezTo>
                  <a:pt x="1496" y="23"/>
                  <a:pt x="1497" y="23"/>
                  <a:pt x="1497" y="22"/>
                </a:cubicBezTo>
                <a:close/>
                <a:moveTo>
                  <a:pt x="1289" y="45"/>
                </a:moveTo>
                <a:cubicBezTo>
                  <a:pt x="1289" y="45"/>
                  <a:pt x="1289" y="45"/>
                  <a:pt x="1289" y="45"/>
                </a:cubicBezTo>
                <a:cubicBezTo>
                  <a:pt x="1289" y="45"/>
                  <a:pt x="1289" y="45"/>
                  <a:pt x="1289" y="45"/>
                </a:cubicBezTo>
                <a:close/>
                <a:moveTo>
                  <a:pt x="1568" y="23"/>
                </a:moveTo>
                <a:cubicBezTo>
                  <a:pt x="1568" y="23"/>
                  <a:pt x="1568" y="23"/>
                  <a:pt x="1568" y="23"/>
                </a:cubicBezTo>
                <a:cubicBezTo>
                  <a:pt x="1568" y="23"/>
                  <a:pt x="1568" y="23"/>
                  <a:pt x="1568" y="23"/>
                </a:cubicBezTo>
                <a:close/>
                <a:moveTo>
                  <a:pt x="1683" y="23"/>
                </a:moveTo>
                <a:cubicBezTo>
                  <a:pt x="1683" y="23"/>
                  <a:pt x="1683" y="23"/>
                  <a:pt x="1683" y="23"/>
                </a:cubicBezTo>
                <a:cubicBezTo>
                  <a:pt x="1683" y="23"/>
                  <a:pt x="1683" y="23"/>
                  <a:pt x="1683" y="23"/>
                </a:cubicBezTo>
                <a:close/>
                <a:moveTo>
                  <a:pt x="1298" y="45"/>
                </a:moveTo>
                <a:cubicBezTo>
                  <a:pt x="1297" y="45"/>
                  <a:pt x="1297" y="45"/>
                  <a:pt x="1297" y="45"/>
                </a:cubicBezTo>
                <a:cubicBezTo>
                  <a:pt x="1297" y="45"/>
                  <a:pt x="1298" y="45"/>
                  <a:pt x="1298" y="45"/>
                </a:cubicBezTo>
                <a:close/>
                <a:moveTo>
                  <a:pt x="1737" y="23"/>
                </a:moveTo>
                <a:cubicBezTo>
                  <a:pt x="1737" y="23"/>
                  <a:pt x="1737" y="23"/>
                  <a:pt x="1736" y="23"/>
                </a:cubicBezTo>
                <a:cubicBezTo>
                  <a:pt x="1736" y="23"/>
                  <a:pt x="1736" y="23"/>
                  <a:pt x="1737" y="23"/>
                </a:cubicBezTo>
                <a:close/>
                <a:moveTo>
                  <a:pt x="538" y="24"/>
                </a:moveTo>
                <a:cubicBezTo>
                  <a:pt x="538" y="23"/>
                  <a:pt x="538" y="23"/>
                  <a:pt x="538" y="23"/>
                </a:cubicBezTo>
                <a:cubicBezTo>
                  <a:pt x="538" y="23"/>
                  <a:pt x="538" y="23"/>
                  <a:pt x="538" y="24"/>
                </a:cubicBezTo>
                <a:close/>
                <a:moveTo>
                  <a:pt x="551" y="23"/>
                </a:moveTo>
                <a:cubicBezTo>
                  <a:pt x="550" y="23"/>
                  <a:pt x="550" y="23"/>
                  <a:pt x="550" y="24"/>
                </a:cubicBezTo>
                <a:cubicBezTo>
                  <a:pt x="551" y="23"/>
                  <a:pt x="551" y="23"/>
                  <a:pt x="551" y="23"/>
                </a:cubicBezTo>
                <a:close/>
                <a:moveTo>
                  <a:pt x="600" y="54"/>
                </a:moveTo>
                <a:cubicBezTo>
                  <a:pt x="600" y="53"/>
                  <a:pt x="600" y="53"/>
                  <a:pt x="599" y="53"/>
                </a:cubicBezTo>
                <a:cubicBezTo>
                  <a:pt x="599" y="53"/>
                  <a:pt x="599" y="54"/>
                  <a:pt x="600" y="54"/>
                </a:cubicBezTo>
                <a:close/>
                <a:moveTo>
                  <a:pt x="648" y="53"/>
                </a:moveTo>
                <a:cubicBezTo>
                  <a:pt x="648" y="53"/>
                  <a:pt x="648" y="53"/>
                  <a:pt x="648" y="54"/>
                </a:cubicBezTo>
                <a:cubicBezTo>
                  <a:pt x="648" y="54"/>
                  <a:pt x="648" y="53"/>
                  <a:pt x="648" y="53"/>
                </a:cubicBezTo>
                <a:close/>
                <a:moveTo>
                  <a:pt x="1384" y="24"/>
                </a:moveTo>
                <a:cubicBezTo>
                  <a:pt x="1384" y="23"/>
                  <a:pt x="1384" y="23"/>
                  <a:pt x="1384" y="23"/>
                </a:cubicBezTo>
                <a:cubicBezTo>
                  <a:pt x="1384" y="23"/>
                  <a:pt x="1384" y="23"/>
                  <a:pt x="1384" y="24"/>
                </a:cubicBezTo>
                <a:close/>
                <a:moveTo>
                  <a:pt x="1579" y="45"/>
                </a:moveTo>
                <a:cubicBezTo>
                  <a:pt x="1579" y="45"/>
                  <a:pt x="1579" y="45"/>
                  <a:pt x="1579" y="45"/>
                </a:cubicBezTo>
                <a:cubicBezTo>
                  <a:pt x="1579" y="45"/>
                  <a:pt x="1579" y="45"/>
                  <a:pt x="1579" y="45"/>
                </a:cubicBezTo>
                <a:close/>
                <a:moveTo>
                  <a:pt x="1682" y="45"/>
                </a:moveTo>
                <a:cubicBezTo>
                  <a:pt x="1681" y="45"/>
                  <a:pt x="1681" y="45"/>
                  <a:pt x="1681" y="45"/>
                </a:cubicBezTo>
                <a:cubicBezTo>
                  <a:pt x="1682" y="45"/>
                  <a:pt x="1682" y="45"/>
                  <a:pt x="1682" y="45"/>
                </a:cubicBezTo>
                <a:close/>
                <a:moveTo>
                  <a:pt x="1747" y="45"/>
                </a:moveTo>
                <a:cubicBezTo>
                  <a:pt x="1747" y="45"/>
                  <a:pt x="1747" y="45"/>
                  <a:pt x="1747" y="45"/>
                </a:cubicBezTo>
                <a:cubicBezTo>
                  <a:pt x="1747" y="45"/>
                  <a:pt x="1747" y="45"/>
                  <a:pt x="1747" y="45"/>
                </a:cubicBezTo>
                <a:close/>
                <a:moveTo>
                  <a:pt x="1466" y="23"/>
                </a:moveTo>
                <a:cubicBezTo>
                  <a:pt x="1466" y="23"/>
                  <a:pt x="1466" y="24"/>
                  <a:pt x="1466" y="24"/>
                </a:cubicBezTo>
                <a:cubicBezTo>
                  <a:pt x="1466" y="24"/>
                  <a:pt x="1466" y="23"/>
                  <a:pt x="1466" y="23"/>
                </a:cubicBezTo>
                <a:close/>
                <a:moveTo>
                  <a:pt x="1496" y="23"/>
                </a:moveTo>
                <a:cubicBezTo>
                  <a:pt x="1495" y="23"/>
                  <a:pt x="1495" y="23"/>
                  <a:pt x="1495" y="24"/>
                </a:cubicBezTo>
                <a:cubicBezTo>
                  <a:pt x="1495" y="24"/>
                  <a:pt x="1496" y="23"/>
                  <a:pt x="1496" y="23"/>
                </a:cubicBezTo>
                <a:close/>
                <a:moveTo>
                  <a:pt x="597" y="46"/>
                </a:moveTo>
                <a:cubicBezTo>
                  <a:pt x="597" y="45"/>
                  <a:pt x="597" y="45"/>
                  <a:pt x="596" y="45"/>
                </a:cubicBezTo>
                <a:cubicBezTo>
                  <a:pt x="596" y="45"/>
                  <a:pt x="596" y="46"/>
                  <a:pt x="597" y="46"/>
                </a:cubicBezTo>
                <a:close/>
                <a:moveTo>
                  <a:pt x="1569" y="24"/>
                </a:moveTo>
                <a:cubicBezTo>
                  <a:pt x="1569" y="24"/>
                  <a:pt x="1569" y="23"/>
                  <a:pt x="1568" y="23"/>
                </a:cubicBezTo>
                <a:cubicBezTo>
                  <a:pt x="1568" y="23"/>
                  <a:pt x="1569" y="24"/>
                  <a:pt x="1569" y="24"/>
                </a:cubicBezTo>
                <a:close/>
                <a:moveTo>
                  <a:pt x="640" y="46"/>
                </a:moveTo>
                <a:cubicBezTo>
                  <a:pt x="640" y="46"/>
                  <a:pt x="640" y="45"/>
                  <a:pt x="640" y="45"/>
                </a:cubicBezTo>
                <a:cubicBezTo>
                  <a:pt x="640" y="45"/>
                  <a:pt x="640" y="46"/>
                  <a:pt x="640" y="46"/>
                </a:cubicBezTo>
                <a:close/>
                <a:moveTo>
                  <a:pt x="1737" y="24"/>
                </a:moveTo>
                <a:cubicBezTo>
                  <a:pt x="1737" y="24"/>
                  <a:pt x="1737" y="23"/>
                  <a:pt x="1737" y="23"/>
                </a:cubicBezTo>
                <a:cubicBezTo>
                  <a:pt x="1737" y="23"/>
                  <a:pt x="1737" y="24"/>
                  <a:pt x="1737" y="24"/>
                </a:cubicBezTo>
                <a:close/>
                <a:moveTo>
                  <a:pt x="550" y="23"/>
                </a:moveTo>
                <a:cubicBezTo>
                  <a:pt x="550" y="24"/>
                  <a:pt x="550" y="24"/>
                  <a:pt x="550" y="24"/>
                </a:cubicBezTo>
                <a:cubicBezTo>
                  <a:pt x="550" y="24"/>
                  <a:pt x="550" y="24"/>
                  <a:pt x="550" y="23"/>
                </a:cubicBezTo>
                <a:close/>
                <a:moveTo>
                  <a:pt x="652" y="45"/>
                </a:moveTo>
                <a:cubicBezTo>
                  <a:pt x="651" y="45"/>
                  <a:pt x="651" y="46"/>
                  <a:pt x="651" y="46"/>
                </a:cubicBezTo>
                <a:cubicBezTo>
                  <a:pt x="652" y="46"/>
                  <a:pt x="652" y="45"/>
                  <a:pt x="652" y="45"/>
                </a:cubicBezTo>
                <a:close/>
                <a:moveTo>
                  <a:pt x="1385" y="24"/>
                </a:moveTo>
                <a:cubicBezTo>
                  <a:pt x="1385" y="24"/>
                  <a:pt x="1385" y="24"/>
                  <a:pt x="1384" y="23"/>
                </a:cubicBezTo>
                <a:cubicBezTo>
                  <a:pt x="1384" y="24"/>
                  <a:pt x="1384" y="24"/>
                  <a:pt x="1385" y="24"/>
                </a:cubicBezTo>
                <a:close/>
                <a:moveTo>
                  <a:pt x="1415" y="24"/>
                </a:moveTo>
                <a:cubicBezTo>
                  <a:pt x="1415" y="24"/>
                  <a:pt x="1415" y="24"/>
                  <a:pt x="1415" y="24"/>
                </a:cubicBezTo>
                <a:cubicBezTo>
                  <a:pt x="1415" y="24"/>
                  <a:pt x="1415" y="24"/>
                  <a:pt x="1415" y="24"/>
                </a:cubicBezTo>
                <a:close/>
                <a:moveTo>
                  <a:pt x="694" y="45"/>
                </a:moveTo>
                <a:cubicBezTo>
                  <a:pt x="694" y="45"/>
                  <a:pt x="694" y="45"/>
                  <a:pt x="694" y="45"/>
                </a:cubicBezTo>
                <a:cubicBezTo>
                  <a:pt x="694" y="45"/>
                  <a:pt x="694" y="45"/>
                  <a:pt x="694" y="45"/>
                </a:cubicBezTo>
                <a:close/>
                <a:moveTo>
                  <a:pt x="567" y="50"/>
                </a:moveTo>
                <a:cubicBezTo>
                  <a:pt x="567" y="51"/>
                  <a:pt x="567" y="51"/>
                  <a:pt x="568" y="51"/>
                </a:cubicBezTo>
                <a:cubicBezTo>
                  <a:pt x="568" y="50"/>
                  <a:pt x="567" y="50"/>
                  <a:pt x="567" y="50"/>
                </a:cubicBezTo>
                <a:close/>
                <a:moveTo>
                  <a:pt x="599" y="51"/>
                </a:moveTo>
                <a:cubicBezTo>
                  <a:pt x="599" y="51"/>
                  <a:pt x="599" y="50"/>
                  <a:pt x="598" y="50"/>
                </a:cubicBezTo>
                <a:cubicBezTo>
                  <a:pt x="598" y="51"/>
                  <a:pt x="598" y="51"/>
                  <a:pt x="599" y="51"/>
                </a:cubicBezTo>
                <a:close/>
                <a:moveTo>
                  <a:pt x="1495" y="24"/>
                </a:moveTo>
                <a:cubicBezTo>
                  <a:pt x="1494" y="24"/>
                  <a:pt x="1494" y="24"/>
                  <a:pt x="1494" y="24"/>
                </a:cubicBezTo>
                <a:cubicBezTo>
                  <a:pt x="1494" y="24"/>
                  <a:pt x="1495" y="24"/>
                  <a:pt x="1495" y="24"/>
                </a:cubicBezTo>
                <a:close/>
                <a:moveTo>
                  <a:pt x="649" y="50"/>
                </a:moveTo>
                <a:cubicBezTo>
                  <a:pt x="649" y="50"/>
                  <a:pt x="649" y="51"/>
                  <a:pt x="649" y="51"/>
                </a:cubicBezTo>
                <a:cubicBezTo>
                  <a:pt x="649" y="51"/>
                  <a:pt x="650" y="51"/>
                  <a:pt x="649" y="50"/>
                </a:cubicBezTo>
                <a:close/>
                <a:moveTo>
                  <a:pt x="1569" y="25"/>
                </a:moveTo>
                <a:cubicBezTo>
                  <a:pt x="1569" y="24"/>
                  <a:pt x="1569" y="24"/>
                  <a:pt x="1569" y="24"/>
                </a:cubicBezTo>
                <a:cubicBezTo>
                  <a:pt x="1569" y="24"/>
                  <a:pt x="1569" y="24"/>
                  <a:pt x="1569" y="25"/>
                </a:cubicBezTo>
                <a:close/>
                <a:moveTo>
                  <a:pt x="750" y="51"/>
                </a:moveTo>
                <a:cubicBezTo>
                  <a:pt x="751" y="51"/>
                  <a:pt x="751" y="51"/>
                  <a:pt x="751" y="50"/>
                </a:cubicBezTo>
                <a:cubicBezTo>
                  <a:pt x="751" y="51"/>
                  <a:pt x="750" y="51"/>
                  <a:pt x="750" y="51"/>
                </a:cubicBezTo>
                <a:close/>
                <a:moveTo>
                  <a:pt x="1737" y="25"/>
                </a:moveTo>
                <a:cubicBezTo>
                  <a:pt x="1737" y="24"/>
                  <a:pt x="1737" y="24"/>
                  <a:pt x="1737" y="24"/>
                </a:cubicBezTo>
                <a:cubicBezTo>
                  <a:pt x="1737" y="24"/>
                  <a:pt x="1737" y="24"/>
                  <a:pt x="1737" y="25"/>
                </a:cubicBezTo>
                <a:close/>
                <a:moveTo>
                  <a:pt x="550" y="24"/>
                </a:moveTo>
                <a:cubicBezTo>
                  <a:pt x="550" y="24"/>
                  <a:pt x="550" y="25"/>
                  <a:pt x="550" y="25"/>
                </a:cubicBezTo>
                <a:cubicBezTo>
                  <a:pt x="550" y="25"/>
                  <a:pt x="550" y="24"/>
                  <a:pt x="550" y="24"/>
                </a:cubicBezTo>
                <a:close/>
                <a:moveTo>
                  <a:pt x="960" y="25"/>
                </a:moveTo>
                <a:cubicBezTo>
                  <a:pt x="960" y="25"/>
                  <a:pt x="960" y="25"/>
                  <a:pt x="960" y="24"/>
                </a:cubicBezTo>
                <a:cubicBezTo>
                  <a:pt x="960" y="24"/>
                  <a:pt x="960" y="25"/>
                  <a:pt x="960" y="25"/>
                </a:cubicBezTo>
                <a:close/>
                <a:moveTo>
                  <a:pt x="910" y="45"/>
                </a:moveTo>
                <a:cubicBezTo>
                  <a:pt x="910" y="45"/>
                  <a:pt x="910" y="46"/>
                  <a:pt x="911" y="46"/>
                </a:cubicBezTo>
                <a:cubicBezTo>
                  <a:pt x="911" y="46"/>
                  <a:pt x="911" y="45"/>
                  <a:pt x="910" y="45"/>
                </a:cubicBezTo>
                <a:close/>
                <a:moveTo>
                  <a:pt x="1385" y="25"/>
                </a:moveTo>
                <a:cubicBezTo>
                  <a:pt x="1385" y="25"/>
                  <a:pt x="1385" y="24"/>
                  <a:pt x="1385" y="24"/>
                </a:cubicBezTo>
                <a:cubicBezTo>
                  <a:pt x="1385" y="24"/>
                  <a:pt x="1385" y="25"/>
                  <a:pt x="1385" y="25"/>
                </a:cubicBezTo>
                <a:close/>
                <a:moveTo>
                  <a:pt x="1414" y="25"/>
                </a:moveTo>
                <a:cubicBezTo>
                  <a:pt x="1415" y="25"/>
                  <a:pt x="1415" y="25"/>
                  <a:pt x="1415" y="24"/>
                </a:cubicBezTo>
                <a:cubicBezTo>
                  <a:pt x="1414" y="24"/>
                  <a:pt x="1414" y="25"/>
                  <a:pt x="1414" y="25"/>
                </a:cubicBezTo>
                <a:close/>
                <a:moveTo>
                  <a:pt x="1036" y="46"/>
                </a:moveTo>
                <a:cubicBezTo>
                  <a:pt x="1036" y="46"/>
                  <a:pt x="1036" y="45"/>
                  <a:pt x="1036" y="45"/>
                </a:cubicBezTo>
                <a:cubicBezTo>
                  <a:pt x="1036" y="45"/>
                  <a:pt x="1036" y="46"/>
                  <a:pt x="1036" y="46"/>
                </a:cubicBezTo>
                <a:close/>
                <a:moveTo>
                  <a:pt x="1083" y="45"/>
                </a:moveTo>
                <a:cubicBezTo>
                  <a:pt x="1084" y="45"/>
                  <a:pt x="1084" y="46"/>
                  <a:pt x="1084" y="46"/>
                </a:cubicBezTo>
                <a:cubicBezTo>
                  <a:pt x="1084" y="46"/>
                  <a:pt x="1084" y="45"/>
                  <a:pt x="1083" y="45"/>
                </a:cubicBezTo>
                <a:close/>
                <a:moveTo>
                  <a:pt x="1494" y="24"/>
                </a:moveTo>
                <a:cubicBezTo>
                  <a:pt x="1493" y="25"/>
                  <a:pt x="1493" y="25"/>
                  <a:pt x="1493" y="25"/>
                </a:cubicBezTo>
                <a:cubicBezTo>
                  <a:pt x="1493" y="25"/>
                  <a:pt x="1493" y="25"/>
                  <a:pt x="1494" y="24"/>
                </a:cubicBezTo>
                <a:close/>
                <a:moveTo>
                  <a:pt x="1152" y="45"/>
                </a:moveTo>
                <a:cubicBezTo>
                  <a:pt x="1152" y="45"/>
                  <a:pt x="1153" y="46"/>
                  <a:pt x="1153" y="46"/>
                </a:cubicBezTo>
                <a:cubicBezTo>
                  <a:pt x="1153" y="46"/>
                  <a:pt x="1153" y="45"/>
                  <a:pt x="1152" y="45"/>
                </a:cubicBezTo>
                <a:close/>
                <a:moveTo>
                  <a:pt x="550" y="25"/>
                </a:moveTo>
                <a:cubicBezTo>
                  <a:pt x="549" y="25"/>
                  <a:pt x="549" y="25"/>
                  <a:pt x="549" y="26"/>
                </a:cubicBezTo>
                <a:cubicBezTo>
                  <a:pt x="550" y="25"/>
                  <a:pt x="550" y="25"/>
                  <a:pt x="550" y="25"/>
                </a:cubicBezTo>
                <a:close/>
                <a:moveTo>
                  <a:pt x="874" y="50"/>
                </a:moveTo>
                <a:cubicBezTo>
                  <a:pt x="873" y="50"/>
                  <a:pt x="873" y="51"/>
                  <a:pt x="873" y="51"/>
                </a:cubicBezTo>
                <a:cubicBezTo>
                  <a:pt x="874" y="51"/>
                  <a:pt x="874" y="51"/>
                  <a:pt x="874" y="50"/>
                </a:cubicBezTo>
                <a:close/>
                <a:moveTo>
                  <a:pt x="1493" y="25"/>
                </a:moveTo>
                <a:cubicBezTo>
                  <a:pt x="1493" y="25"/>
                  <a:pt x="1492" y="25"/>
                  <a:pt x="1492" y="25"/>
                </a:cubicBezTo>
                <a:cubicBezTo>
                  <a:pt x="1493" y="25"/>
                  <a:pt x="1493" y="25"/>
                  <a:pt x="1493" y="25"/>
                </a:cubicBezTo>
                <a:close/>
                <a:moveTo>
                  <a:pt x="1312" y="45"/>
                </a:moveTo>
                <a:cubicBezTo>
                  <a:pt x="1312" y="45"/>
                  <a:pt x="1312" y="45"/>
                  <a:pt x="1312" y="45"/>
                </a:cubicBezTo>
                <a:cubicBezTo>
                  <a:pt x="1312" y="46"/>
                  <a:pt x="1312" y="45"/>
                  <a:pt x="1312" y="45"/>
                </a:cubicBezTo>
                <a:close/>
                <a:moveTo>
                  <a:pt x="1570" y="26"/>
                </a:moveTo>
                <a:cubicBezTo>
                  <a:pt x="1570" y="25"/>
                  <a:pt x="1570" y="25"/>
                  <a:pt x="1569" y="25"/>
                </a:cubicBezTo>
                <a:cubicBezTo>
                  <a:pt x="1569" y="25"/>
                  <a:pt x="1569" y="25"/>
                  <a:pt x="1570" y="26"/>
                </a:cubicBezTo>
                <a:close/>
                <a:moveTo>
                  <a:pt x="1383" y="46"/>
                </a:moveTo>
                <a:cubicBezTo>
                  <a:pt x="1383" y="46"/>
                  <a:pt x="1383" y="45"/>
                  <a:pt x="1383" y="45"/>
                </a:cubicBezTo>
                <a:cubicBezTo>
                  <a:pt x="1383" y="45"/>
                  <a:pt x="1383" y="46"/>
                  <a:pt x="1383" y="46"/>
                </a:cubicBezTo>
                <a:close/>
                <a:moveTo>
                  <a:pt x="1738" y="26"/>
                </a:moveTo>
                <a:cubicBezTo>
                  <a:pt x="1738" y="25"/>
                  <a:pt x="1738" y="25"/>
                  <a:pt x="1737" y="25"/>
                </a:cubicBezTo>
                <a:cubicBezTo>
                  <a:pt x="1737" y="25"/>
                  <a:pt x="1737" y="25"/>
                  <a:pt x="1738" y="26"/>
                </a:cubicBezTo>
                <a:close/>
                <a:moveTo>
                  <a:pt x="959" y="26"/>
                </a:moveTo>
                <a:cubicBezTo>
                  <a:pt x="960" y="26"/>
                  <a:pt x="960" y="26"/>
                  <a:pt x="960" y="25"/>
                </a:cubicBezTo>
                <a:cubicBezTo>
                  <a:pt x="959" y="25"/>
                  <a:pt x="959" y="26"/>
                  <a:pt x="959" y="26"/>
                </a:cubicBezTo>
                <a:close/>
                <a:moveTo>
                  <a:pt x="1395" y="45"/>
                </a:moveTo>
                <a:cubicBezTo>
                  <a:pt x="1395" y="45"/>
                  <a:pt x="1394" y="46"/>
                  <a:pt x="1394" y="46"/>
                </a:cubicBezTo>
                <a:cubicBezTo>
                  <a:pt x="1395" y="46"/>
                  <a:pt x="1395" y="45"/>
                  <a:pt x="1395" y="45"/>
                </a:cubicBezTo>
                <a:close/>
                <a:moveTo>
                  <a:pt x="1492" y="25"/>
                </a:moveTo>
                <a:cubicBezTo>
                  <a:pt x="1492" y="25"/>
                  <a:pt x="1492" y="25"/>
                  <a:pt x="1492" y="26"/>
                </a:cubicBezTo>
                <a:cubicBezTo>
                  <a:pt x="1492" y="26"/>
                  <a:pt x="1492" y="26"/>
                  <a:pt x="1492" y="25"/>
                </a:cubicBezTo>
                <a:close/>
                <a:moveTo>
                  <a:pt x="559" y="45"/>
                </a:moveTo>
                <a:cubicBezTo>
                  <a:pt x="559" y="46"/>
                  <a:pt x="559" y="46"/>
                  <a:pt x="559" y="46"/>
                </a:cubicBezTo>
                <a:cubicBezTo>
                  <a:pt x="559" y="46"/>
                  <a:pt x="559" y="45"/>
                  <a:pt x="559" y="45"/>
                </a:cubicBezTo>
                <a:close/>
                <a:moveTo>
                  <a:pt x="659" y="46"/>
                </a:moveTo>
                <a:cubicBezTo>
                  <a:pt x="660" y="46"/>
                  <a:pt x="660" y="46"/>
                  <a:pt x="660" y="45"/>
                </a:cubicBezTo>
                <a:cubicBezTo>
                  <a:pt x="659" y="46"/>
                  <a:pt x="659" y="46"/>
                  <a:pt x="659" y="46"/>
                </a:cubicBezTo>
                <a:close/>
                <a:moveTo>
                  <a:pt x="695" y="46"/>
                </a:moveTo>
                <a:cubicBezTo>
                  <a:pt x="695" y="46"/>
                  <a:pt x="695" y="45"/>
                  <a:pt x="694" y="45"/>
                </a:cubicBezTo>
                <a:cubicBezTo>
                  <a:pt x="695" y="46"/>
                  <a:pt x="695" y="46"/>
                  <a:pt x="695" y="46"/>
                </a:cubicBezTo>
                <a:close/>
                <a:moveTo>
                  <a:pt x="802" y="46"/>
                </a:moveTo>
                <a:cubicBezTo>
                  <a:pt x="802" y="46"/>
                  <a:pt x="802" y="46"/>
                  <a:pt x="802" y="46"/>
                </a:cubicBezTo>
                <a:cubicBezTo>
                  <a:pt x="802" y="46"/>
                  <a:pt x="802" y="46"/>
                  <a:pt x="802" y="46"/>
                </a:cubicBezTo>
                <a:close/>
                <a:moveTo>
                  <a:pt x="1292" y="50"/>
                </a:moveTo>
                <a:cubicBezTo>
                  <a:pt x="1292" y="50"/>
                  <a:pt x="1292" y="51"/>
                  <a:pt x="1292" y="51"/>
                </a:cubicBezTo>
                <a:cubicBezTo>
                  <a:pt x="1292" y="51"/>
                  <a:pt x="1292" y="51"/>
                  <a:pt x="1292" y="50"/>
                </a:cubicBezTo>
                <a:close/>
                <a:moveTo>
                  <a:pt x="1414" y="27"/>
                </a:moveTo>
                <a:cubicBezTo>
                  <a:pt x="1414" y="27"/>
                  <a:pt x="1414" y="26"/>
                  <a:pt x="1414" y="26"/>
                </a:cubicBezTo>
                <a:cubicBezTo>
                  <a:pt x="1414" y="26"/>
                  <a:pt x="1414" y="26"/>
                  <a:pt x="1414" y="27"/>
                </a:cubicBezTo>
                <a:close/>
                <a:moveTo>
                  <a:pt x="872" y="53"/>
                </a:moveTo>
                <a:cubicBezTo>
                  <a:pt x="872" y="53"/>
                  <a:pt x="872" y="54"/>
                  <a:pt x="872" y="54"/>
                </a:cubicBezTo>
                <a:cubicBezTo>
                  <a:pt x="872" y="54"/>
                  <a:pt x="872" y="53"/>
                  <a:pt x="872" y="53"/>
                </a:cubicBezTo>
                <a:close/>
                <a:moveTo>
                  <a:pt x="959" y="27"/>
                </a:moveTo>
                <a:cubicBezTo>
                  <a:pt x="959" y="27"/>
                  <a:pt x="959" y="27"/>
                  <a:pt x="959" y="26"/>
                </a:cubicBezTo>
                <a:cubicBezTo>
                  <a:pt x="959" y="26"/>
                  <a:pt x="959" y="27"/>
                  <a:pt x="959" y="27"/>
                </a:cubicBezTo>
                <a:close/>
                <a:moveTo>
                  <a:pt x="1490" y="26"/>
                </a:moveTo>
                <a:cubicBezTo>
                  <a:pt x="1490" y="26"/>
                  <a:pt x="1490" y="26"/>
                  <a:pt x="1490" y="27"/>
                </a:cubicBezTo>
                <a:cubicBezTo>
                  <a:pt x="1490" y="27"/>
                  <a:pt x="1490" y="27"/>
                  <a:pt x="1490" y="26"/>
                </a:cubicBezTo>
                <a:close/>
                <a:moveTo>
                  <a:pt x="1490" y="27"/>
                </a:moveTo>
                <a:cubicBezTo>
                  <a:pt x="1489" y="27"/>
                  <a:pt x="1489" y="27"/>
                  <a:pt x="1489" y="27"/>
                </a:cubicBezTo>
                <a:cubicBezTo>
                  <a:pt x="1489" y="27"/>
                  <a:pt x="1490" y="27"/>
                  <a:pt x="1490" y="27"/>
                </a:cubicBezTo>
                <a:close/>
                <a:moveTo>
                  <a:pt x="1289" y="46"/>
                </a:moveTo>
                <a:cubicBezTo>
                  <a:pt x="1289" y="46"/>
                  <a:pt x="1289" y="46"/>
                  <a:pt x="1289" y="45"/>
                </a:cubicBezTo>
                <a:cubicBezTo>
                  <a:pt x="1289" y="46"/>
                  <a:pt x="1289" y="46"/>
                  <a:pt x="1289" y="46"/>
                </a:cubicBezTo>
                <a:close/>
                <a:moveTo>
                  <a:pt x="1413" y="28"/>
                </a:moveTo>
                <a:cubicBezTo>
                  <a:pt x="1414" y="28"/>
                  <a:pt x="1414" y="27"/>
                  <a:pt x="1414" y="27"/>
                </a:cubicBezTo>
                <a:cubicBezTo>
                  <a:pt x="1413" y="27"/>
                  <a:pt x="1413" y="28"/>
                  <a:pt x="1413" y="28"/>
                </a:cubicBezTo>
                <a:close/>
                <a:moveTo>
                  <a:pt x="1489" y="27"/>
                </a:moveTo>
                <a:cubicBezTo>
                  <a:pt x="1489" y="27"/>
                  <a:pt x="1489" y="27"/>
                  <a:pt x="1488" y="27"/>
                </a:cubicBezTo>
                <a:cubicBezTo>
                  <a:pt x="1489" y="27"/>
                  <a:pt x="1489" y="27"/>
                  <a:pt x="1489" y="27"/>
                </a:cubicBezTo>
                <a:close/>
                <a:moveTo>
                  <a:pt x="958" y="28"/>
                </a:moveTo>
                <a:cubicBezTo>
                  <a:pt x="958" y="28"/>
                  <a:pt x="958" y="28"/>
                  <a:pt x="958" y="27"/>
                </a:cubicBezTo>
                <a:cubicBezTo>
                  <a:pt x="958" y="28"/>
                  <a:pt x="958" y="28"/>
                  <a:pt x="958" y="28"/>
                </a:cubicBezTo>
                <a:close/>
                <a:moveTo>
                  <a:pt x="1488" y="27"/>
                </a:moveTo>
                <a:cubicBezTo>
                  <a:pt x="1488" y="27"/>
                  <a:pt x="1488" y="27"/>
                  <a:pt x="1488" y="28"/>
                </a:cubicBezTo>
                <a:cubicBezTo>
                  <a:pt x="1488" y="28"/>
                  <a:pt x="1488" y="28"/>
                  <a:pt x="1488" y="27"/>
                </a:cubicBezTo>
                <a:close/>
                <a:moveTo>
                  <a:pt x="1488" y="28"/>
                </a:moveTo>
                <a:cubicBezTo>
                  <a:pt x="1487" y="28"/>
                  <a:pt x="1487" y="28"/>
                  <a:pt x="1487" y="28"/>
                </a:cubicBezTo>
                <a:cubicBezTo>
                  <a:pt x="1487" y="28"/>
                  <a:pt x="1488" y="28"/>
                  <a:pt x="1488" y="28"/>
                </a:cubicBezTo>
                <a:close/>
                <a:moveTo>
                  <a:pt x="958" y="29"/>
                </a:moveTo>
                <a:cubicBezTo>
                  <a:pt x="958" y="29"/>
                  <a:pt x="958" y="28"/>
                  <a:pt x="958" y="28"/>
                </a:cubicBezTo>
                <a:cubicBezTo>
                  <a:pt x="958" y="28"/>
                  <a:pt x="958" y="28"/>
                  <a:pt x="958" y="29"/>
                </a:cubicBezTo>
                <a:close/>
                <a:moveTo>
                  <a:pt x="1576" y="50"/>
                </a:moveTo>
                <a:cubicBezTo>
                  <a:pt x="1576" y="51"/>
                  <a:pt x="1576" y="51"/>
                  <a:pt x="1576" y="51"/>
                </a:cubicBezTo>
                <a:cubicBezTo>
                  <a:pt x="1576" y="51"/>
                  <a:pt x="1576" y="51"/>
                  <a:pt x="1576" y="50"/>
                </a:cubicBezTo>
                <a:close/>
                <a:moveTo>
                  <a:pt x="1413" y="29"/>
                </a:moveTo>
                <a:cubicBezTo>
                  <a:pt x="1413" y="29"/>
                  <a:pt x="1413" y="28"/>
                  <a:pt x="1413" y="28"/>
                </a:cubicBezTo>
                <a:cubicBezTo>
                  <a:pt x="1413" y="28"/>
                  <a:pt x="1413" y="29"/>
                  <a:pt x="1413" y="29"/>
                </a:cubicBezTo>
                <a:close/>
                <a:moveTo>
                  <a:pt x="1579" y="45"/>
                </a:moveTo>
                <a:cubicBezTo>
                  <a:pt x="1579" y="46"/>
                  <a:pt x="1579" y="46"/>
                  <a:pt x="1579" y="46"/>
                </a:cubicBezTo>
                <a:cubicBezTo>
                  <a:pt x="1579" y="46"/>
                  <a:pt x="1579" y="46"/>
                  <a:pt x="1579" y="45"/>
                </a:cubicBezTo>
                <a:close/>
                <a:moveTo>
                  <a:pt x="1486" y="28"/>
                </a:moveTo>
                <a:cubicBezTo>
                  <a:pt x="1486" y="28"/>
                  <a:pt x="1485" y="29"/>
                  <a:pt x="1485" y="29"/>
                </a:cubicBezTo>
                <a:cubicBezTo>
                  <a:pt x="1486" y="29"/>
                  <a:pt x="1486" y="29"/>
                  <a:pt x="1486" y="28"/>
                </a:cubicBezTo>
                <a:close/>
                <a:moveTo>
                  <a:pt x="957" y="29"/>
                </a:moveTo>
                <a:cubicBezTo>
                  <a:pt x="957" y="29"/>
                  <a:pt x="958" y="29"/>
                  <a:pt x="958" y="29"/>
                </a:cubicBezTo>
                <a:cubicBezTo>
                  <a:pt x="957" y="29"/>
                  <a:pt x="957" y="29"/>
                  <a:pt x="957" y="29"/>
                </a:cubicBezTo>
                <a:close/>
                <a:moveTo>
                  <a:pt x="1485" y="29"/>
                </a:moveTo>
                <a:cubicBezTo>
                  <a:pt x="1485" y="29"/>
                  <a:pt x="1485" y="29"/>
                  <a:pt x="1485" y="29"/>
                </a:cubicBezTo>
                <a:cubicBezTo>
                  <a:pt x="1485" y="29"/>
                  <a:pt x="1485" y="29"/>
                  <a:pt x="1485" y="29"/>
                </a:cubicBezTo>
                <a:close/>
                <a:moveTo>
                  <a:pt x="1413" y="30"/>
                </a:moveTo>
                <a:cubicBezTo>
                  <a:pt x="1413" y="30"/>
                  <a:pt x="1413" y="29"/>
                  <a:pt x="1413" y="29"/>
                </a:cubicBezTo>
                <a:cubicBezTo>
                  <a:pt x="1413" y="29"/>
                  <a:pt x="1413" y="30"/>
                  <a:pt x="1413" y="30"/>
                </a:cubicBezTo>
                <a:close/>
                <a:moveTo>
                  <a:pt x="1485" y="29"/>
                </a:moveTo>
                <a:cubicBezTo>
                  <a:pt x="1484" y="29"/>
                  <a:pt x="1484" y="29"/>
                  <a:pt x="1484" y="29"/>
                </a:cubicBezTo>
                <a:cubicBezTo>
                  <a:pt x="1484" y="29"/>
                  <a:pt x="1484" y="29"/>
                  <a:pt x="1485" y="29"/>
                </a:cubicBezTo>
                <a:close/>
                <a:moveTo>
                  <a:pt x="1681" y="45"/>
                </a:moveTo>
                <a:cubicBezTo>
                  <a:pt x="1681" y="46"/>
                  <a:pt x="1681" y="46"/>
                  <a:pt x="1681" y="46"/>
                </a:cubicBezTo>
                <a:cubicBezTo>
                  <a:pt x="1681" y="46"/>
                  <a:pt x="1681" y="46"/>
                  <a:pt x="1681" y="45"/>
                </a:cubicBezTo>
                <a:close/>
                <a:moveTo>
                  <a:pt x="1484" y="29"/>
                </a:moveTo>
                <a:cubicBezTo>
                  <a:pt x="1483" y="29"/>
                  <a:pt x="1483" y="30"/>
                  <a:pt x="1483" y="30"/>
                </a:cubicBezTo>
                <a:cubicBezTo>
                  <a:pt x="1483" y="30"/>
                  <a:pt x="1483" y="30"/>
                  <a:pt x="1484" y="29"/>
                </a:cubicBezTo>
                <a:close/>
                <a:moveTo>
                  <a:pt x="1744" y="50"/>
                </a:moveTo>
                <a:cubicBezTo>
                  <a:pt x="1744" y="51"/>
                  <a:pt x="1744" y="51"/>
                  <a:pt x="1744" y="51"/>
                </a:cubicBezTo>
                <a:cubicBezTo>
                  <a:pt x="1744" y="51"/>
                  <a:pt x="1744" y="51"/>
                  <a:pt x="1744" y="50"/>
                </a:cubicBezTo>
                <a:close/>
                <a:moveTo>
                  <a:pt x="1747" y="45"/>
                </a:moveTo>
                <a:cubicBezTo>
                  <a:pt x="1747" y="46"/>
                  <a:pt x="1747" y="46"/>
                  <a:pt x="1747" y="46"/>
                </a:cubicBezTo>
                <a:cubicBezTo>
                  <a:pt x="1747" y="46"/>
                  <a:pt x="1747" y="46"/>
                  <a:pt x="1747" y="45"/>
                </a:cubicBezTo>
                <a:close/>
                <a:moveTo>
                  <a:pt x="970" y="30"/>
                </a:moveTo>
                <a:cubicBezTo>
                  <a:pt x="969" y="30"/>
                  <a:pt x="969" y="31"/>
                  <a:pt x="969" y="31"/>
                </a:cubicBezTo>
                <a:cubicBezTo>
                  <a:pt x="970" y="31"/>
                  <a:pt x="970" y="30"/>
                  <a:pt x="970" y="30"/>
                </a:cubicBezTo>
                <a:close/>
                <a:moveTo>
                  <a:pt x="1482" y="30"/>
                </a:moveTo>
                <a:cubicBezTo>
                  <a:pt x="1481" y="30"/>
                  <a:pt x="1481" y="30"/>
                  <a:pt x="1481" y="30"/>
                </a:cubicBezTo>
                <a:cubicBezTo>
                  <a:pt x="1481" y="30"/>
                  <a:pt x="1482" y="30"/>
                  <a:pt x="1482" y="30"/>
                </a:cubicBezTo>
                <a:close/>
                <a:moveTo>
                  <a:pt x="956" y="31"/>
                </a:moveTo>
                <a:cubicBezTo>
                  <a:pt x="957" y="31"/>
                  <a:pt x="957" y="31"/>
                  <a:pt x="957" y="31"/>
                </a:cubicBezTo>
                <a:cubicBezTo>
                  <a:pt x="956" y="31"/>
                  <a:pt x="956" y="31"/>
                  <a:pt x="956" y="31"/>
                </a:cubicBezTo>
                <a:close/>
                <a:moveTo>
                  <a:pt x="1481" y="31"/>
                </a:moveTo>
                <a:cubicBezTo>
                  <a:pt x="1480" y="30"/>
                  <a:pt x="1480" y="31"/>
                  <a:pt x="1480" y="31"/>
                </a:cubicBezTo>
                <a:cubicBezTo>
                  <a:pt x="1480" y="31"/>
                  <a:pt x="1481" y="31"/>
                  <a:pt x="1481" y="31"/>
                </a:cubicBezTo>
                <a:close/>
                <a:moveTo>
                  <a:pt x="1112" y="53"/>
                </a:moveTo>
                <a:cubicBezTo>
                  <a:pt x="1112" y="53"/>
                  <a:pt x="1112" y="54"/>
                  <a:pt x="1112" y="54"/>
                </a:cubicBezTo>
                <a:cubicBezTo>
                  <a:pt x="1112" y="54"/>
                  <a:pt x="1112" y="53"/>
                  <a:pt x="1112" y="53"/>
                </a:cubicBezTo>
                <a:close/>
                <a:moveTo>
                  <a:pt x="956" y="32"/>
                </a:moveTo>
                <a:cubicBezTo>
                  <a:pt x="956" y="32"/>
                  <a:pt x="956" y="32"/>
                  <a:pt x="956" y="31"/>
                </a:cubicBezTo>
                <a:cubicBezTo>
                  <a:pt x="956" y="31"/>
                  <a:pt x="956" y="32"/>
                  <a:pt x="956" y="32"/>
                </a:cubicBezTo>
                <a:close/>
                <a:moveTo>
                  <a:pt x="969" y="31"/>
                </a:moveTo>
                <a:cubicBezTo>
                  <a:pt x="969" y="31"/>
                  <a:pt x="969" y="32"/>
                  <a:pt x="969" y="32"/>
                </a:cubicBezTo>
                <a:cubicBezTo>
                  <a:pt x="969" y="32"/>
                  <a:pt x="969" y="31"/>
                  <a:pt x="969" y="31"/>
                </a:cubicBezTo>
                <a:close/>
                <a:moveTo>
                  <a:pt x="597" y="47"/>
                </a:moveTo>
                <a:cubicBezTo>
                  <a:pt x="597" y="46"/>
                  <a:pt x="597" y="46"/>
                  <a:pt x="597" y="46"/>
                </a:cubicBezTo>
                <a:cubicBezTo>
                  <a:pt x="597" y="46"/>
                  <a:pt x="597" y="46"/>
                  <a:pt x="597" y="47"/>
                </a:cubicBezTo>
                <a:close/>
                <a:moveTo>
                  <a:pt x="608" y="46"/>
                </a:moveTo>
                <a:cubicBezTo>
                  <a:pt x="608" y="46"/>
                  <a:pt x="608" y="46"/>
                  <a:pt x="609" y="47"/>
                </a:cubicBezTo>
                <a:cubicBezTo>
                  <a:pt x="609" y="46"/>
                  <a:pt x="609" y="46"/>
                  <a:pt x="608" y="46"/>
                </a:cubicBezTo>
                <a:close/>
                <a:moveTo>
                  <a:pt x="968" y="32"/>
                </a:moveTo>
                <a:cubicBezTo>
                  <a:pt x="968" y="32"/>
                  <a:pt x="968" y="33"/>
                  <a:pt x="968" y="33"/>
                </a:cubicBezTo>
                <a:cubicBezTo>
                  <a:pt x="968" y="33"/>
                  <a:pt x="968" y="33"/>
                  <a:pt x="968" y="32"/>
                </a:cubicBezTo>
                <a:close/>
                <a:moveTo>
                  <a:pt x="955" y="34"/>
                </a:moveTo>
                <a:cubicBezTo>
                  <a:pt x="955" y="33"/>
                  <a:pt x="955" y="33"/>
                  <a:pt x="955" y="33"/>
                </a:cubicBezTo>
                <a:cubicBezTo>
                  <a:pt x="955" y="33"/>
                  <a:pt x="955" y="33"/>
                  <a:pt x="955" y="34"/>
                </a:cubicBezTo>
                <a:close/>
                <a:moveTo>
                  <a:pt x="968" y="33"/>
                </a:moveTo>
                <a:cubicBezTo>
                  <a:pt x="968" y="33"/>
                  <a:pt x="968" y="33"/>
                  <a:pt x="968" y="34"/>
                </a:cubicBezTo>
                <a:cubicBezTo>
                  <a:pt x="968" y="33"/>
                  <a:pt x="968" y="33"/>
                  <a:pt x="968" y="33"/>
                </a:cubicBezTo>
                <a:close/>
                <a:moveTo>
                  <a:pt x="855" y="33"/>
                </a:moveTo>
                <a:cubicBezTo>
                  <a:pt x="855" y="34"/>
                  <a:pt x="855" y="34"/>
                  <a:pt x="856" y="34"/>
                </a:cubicBezTo>
                <a:cubicBezTo>
                  <a:pt x="855" y="33"/>
                  <a:pt x="855" y="33"/>
                  <a:pt x="855" y="33"/>
                </a:cubicBezTo>
                <a:close/>
                <a:moveTo>
                  <a:pt x="769" y="34"/>
                </a:moveTo>
                <a:cubicBezTo>
                  <a:pt x="769" y="34"/>
                  <a:pt x="770" y="34"/>
                  <a:pt x="770" y="34"/>
                </a:cubicBezTo>
                <a:cubicBezTo>
                  <a:pt x="769" y="34"/>
                  <a:pt x="769" y="34"/>
                  <a:pt x="769" y="34"/>
                </a:cubicBezTo>
                <a:close/>
                <a:moveTo>
                  <a:pt x="787" y="34"/>
                </a:moveTo>
                <a:cubicBezTo>
                  <a:pt x="787" y="34"/>
                  <a:pt x="787" y="34"/>
                  <a:pt x="788" y="34"/>
                </a:cubicBezTo>
                <a:cubicBezTo>
                  <a:pt x="787" y="34"/>
                  <a:pt x="787" y="34"/>
                  <a:pt x="787" y="34"/>
                </a:cubicBezTo>
                <a:close/>
                <a:moveTo>
                  <a:pt x="856" y="34"/>
                </a:moveTo>
                <a:cubicBezTo>
                  <a:pt x="856" y="34"/>
                  <a:pt x="856" y="34"/>
                  <a:pt x="857" y="34"/>
                </a:cubicBezTo>
                <a:cubicBezTo>
                  <a:pt x="856" y="34"/>
                  <a:pt x="856" y="34"/>
                  <a:pt x="856" y="34"/>
                </a:cubicBezTo>
                <a:close/>
                <a:moveTo>
                  <a:pt x="882" y="34"/>
                </a:moveTo>
                <a:cubicBezTo>
                  <a:pt x="882" y="34"/>
                  <a:pt x="882" y="34"/>
                  <a:pt x="882" y="34"/>
                </a:cubicBezTo>
                <a:cubicBezTo>
                  <a:pt x="882" y="34"/>
                  <a:pt x="882" y="34"/>
                  <a:pt x="882" y="34"/>
                </a:cubicBezTo>
                <a:close/>
                <a:moveTo>
                  <a:pt x="955" y="34"/>
                </a:moveTo>
                <a:cubicBezTo>
                  <a:pt x="955" y="34"/>
                  <a:pt x="955" y="34"/>
                  <a:pt x="955" y="34"/>
                </a:cubicBezTo>
                <a:cubicBezTo>
                  <a:pt x="955" y="34"/>
                  <a:pt x="955" y="34"/>
                  <a:pt x="955" y="34"/>
                </a:cubicBezTo>
                <a:close/>
                <a:moveTo>
                  <a:pt x="968" y="34"/>
                </a:moveTo>
                <a:cubicBezTo>
                  <a:pt x="967" y="34"/>
                  <a:pt x="967" y="34"/>
                  <a:pt x="967" y="34"/>
                </a:cubicBezTo>
                <a:cubicBezTo>
                  <a:pt x="968" y="34"/>
                  <a:pt x="968" y="34"/>
                  <a:pt x="968" y="34"/>
                </a:cubicBezTo>
                <a:close/>
                <a:moveTo>
                  <a:pt x="1300" y="34"/>
                </a:moveTo>
                <a:cubicBezTo>
                  <a:pt x="1300" y="34"/>
                  <a:pt x="1301" y="34"/>
                  <a:pt x="1301" y="34"/>
                </a:cubicBezTo>
                <a:cubicBezTo>
                  <a:pt x="1301" y="34"/>
                  <a:pt x="1300" y="34"/>
                  <a:pt x="1300" y="34"/>
                </a:cubicBezTo>
                <a:close/>
                <a:moveTo>
                  <a:pt x="1311" y="34"/>
                </a:moveTo>
                <a:cubicBezTo>
                  <a:pt x="1312" y="34"/>
                  <a:pt x="1312" y="34"/>
                  <a:pt x="1312" y="34"/>
                </a:cubicBezTo>
                <a:cubicBezTo>
                  <a:pt x="1312" y="34"/>
                  <a:pt x="1312" y="34"/>
                  <a:pt x="1311" y="34"/>
                </a:cubicBezTo>
                <a:close/>
                <a:moveTo>
                  <a:pt x="768" y="34"/>
                </a:moveTo>
                <a:cubicBezTo>
                  <a:pt x="768" y="34"/>
                  <a:pt x="768" y="34"/>
                  <a:pt x="769" y="34"/>
                </a:cubicBezTo>
                <a:cubicBezTo>
                  <a:pt x="768" y="34"/>
                  <a:pt x="768" y="34"/>
                  <a:pt x="768" y="34"/>
                </a:cubicBezTo>
                <a:close/>
                <a:moveTo>
                  <a:pt x="788" y="34"/>
                </a:moveTo>
                <a:cubicBezTo>
                  <a:pt x="788" y="34"/>
                  <a:pt x="788" y="34"/>
                  <a:pt x="789" y="34"/>
                </a:cubicBezTo>
                <a:cubicBezTo>
                  <a:pt x="789" y="34"/>
                  <a:pt x="788" y="34"/>
                  <a:pt x="788" y="34"/>
                </a:cubicBezTo>
                <a:close/>
                <a:moveTo>
                  <a:pt x="840" y="34"/>
                </a:moveTo>
                <a:cubicBezTo>
                  <a:pt x="840" y="34"/>
                  <a:pt x="840" y="34"/>
                  <a:pt x="840" y="34"/>
                </a:cubicBezTo>
                <a:cubicBezTo>
                  <a:pt x="840" y="34"/>
                  <a:pt x="840" y="34"/>
                  <a:pt x="840" y="34"/>
                </a:cubicBezTo>
                <a:close/>
                <a:moveTo>
                  <a:pt x="857" y="34"/>
                </a:moveTo>
                <a:cubicBezTo>
                  <a:pt x="857" y="34"/>
                  <a:pt x="857" y="34"/>
                  <a:pt x="858" y="34"/>
                </a:cubicBezTo>
                <a:cubicBezTo>
                  <a:pt x="857" y="34"/>
                  <a:pt x="857" y="34"/>
                  <a:pt x="857" y="34"/>
                </a:cubicBezTo>
                <a:close/>
                <a:moveTo>
                  <a:pt x="881" y="34"/>
                </a:moveTo>
                <a:cubicBezTo>
                  <a:pt x="881" y="34"/>
                  <a:pt x="881" y="34"/>
                  <a:pt x="881" y="34"/>
                </a:cubicBezTo>
                <a:cubicBezTo>
                  <a:pt x="881" y="34"/>
                  <a:pt x="881" y="34"/>
                  <a:pt x="881" y="34"/>
                </a:cubicBezTo>
                <a:close/>
                <a:moveTo>
                  <a:pt x="899" y="34"/>
                </a:moveTo>
                <a:cubicBezTo>
                  <a:pt x="900" y="34"/>
                  <a:pt x="900" y="34"/>
                  <a:pt x="900" y="34"/>
                </a:cubicBezTo>
                <a:cubicBezTo>
                  <a:pt x="900" y="34"/>
                  <a:pt x="900" y="34"/>
                  <a:pt x="899" y="34"/>
                </a:cubicBezTo>
                <a:close/>
                <a:moveTo>
                  <a:pt x="1123" y="34"/>
                </a:moveTo>
                <a:cubicBezTo>
                  <a:pt x="1123" y="34"/>
                  <a:pt x="1123" y="34"/>
                  <a:pt x="1123" y="34"/>
                </a:cubicBezTo>
                <a:cubicBezTo>
                  <a:pt x="1123" y="34"/>
                  <a:pt x="1123" y="34"/>
                  <a:pt x="1123" y="34"/>
                </a:cubicBezTo>
                <a:close/>
                <a:moveTo>
                  <a:pt x="1141" y="34"/>
                </a:moveTo>
                <a:cubicBezTo>
                  <a:pt x="1141" y="34"/>
                  <a:pt x="1142" y="34"/>
                  <a:pt x="1142" y="34"/>
                </a:cubicBezTo>
                <a:cubicBezTo>
                  <a:pt x="1142" y="34"/>
                  <a:pt x="1142" y="34"/>
                  <a:pt x="1141" y="34"/>
                </a:cubicBezTo>
                <a:close/>
                <a:moveTo>
                  <a:pt x="1228" y="34"/>
                </a:moveTo>
                <a:cubicBezTo>
                  <a:pt x="1228" y="34"/>
                  <a:pt x="1228" y="34"/>
                  <a:pt x="1229" y="34"/>
                </a:cubicBezTo>
                <a:cubicBezTo>
                  <a:pt x="1228" y="34"/>
                  <a:pt x="1228" y="34"/>
                  <a:pt x="1228" y="34"/>
                </a:cubicBezTo>
                <a:close/>
                <a:moveTo>
                  <a:pt x="1299" y="34"/>
                </a:moveTo>
                <a:cubicBezTo>
                  <a:pt x="1299" y="34"/>
                  <a:pt x="1300" y="34"/>
                  <a:pt x="1300" y="34"/>
                </a:cubicBezTo>
                <a:cubicBezTo>
                  <a:pt x="1300" y="34"/>
                  <a:pt x="1299" y="34"/>
                  <a:pt x="1299" y="34"/>
                </a:cubicBezTo>
                <a:close/>
                <a:moveTo>
                  <a:pt x="671" y="35"/>
                </a:moveTo>
                <a:cubicBezTo>
                  <a:pt x="671" y="35"/>
                  <a:pt x="671" y="35"/>
                  <a:pt x="671" y="34"/>
                </a:cubicBezTo>
                <a:cubicBezTo>
                  <a:pt x="671" y="34"/>
                  <a:pt x="671" y="34"/>
                  <a:pt x="671" y="35"/>
                </a:cubicBezTo>
                <a:close/>
                <a:moveTo>
                  <a:pt x="693" y="34"/>
                </a:moveTo>
                <a:cubicBezTo>
                  <a:pt x="694" y="35"/>
                  <a:pt x="694" y="35"/>
                  <a:pt x="694" y="35"/>
                </a:cubicBezTo>
                <a:cubicBezTo>
                  <a:pt x="694" y="34"/>
                  <a:pt x="694" y="34"/>
                  <a:pt x="693" y="34"/>
                </a:cubicBezTo>
                <a:close/>
                <a:moveTo>
                  <a:pt x="767" y="35"/>
                </a:moveTo>
                <a:cubicBezTo>
                  <a:pt x="767" y="35"/>
                  <a:pt x="767" y="35"/>
                  <a:pt x="768" y="34"/>
                </a:cubicBezTo>
                <a:cubicBezTo>
                  <a:pt x="767" y="34"/>
                  <a:pt x="767" y="34"/>
                  <a:pt x="767" y="35"/>
                </a:cubicBezTo>
                <a:close/>
                <a:moveTo>
                  <a:pt x="789" y="34"/>
                </a:moveTo>
                <a:cubicBezTo>
                  <a:pt x="789" y="35"/>
                  <a:pt x="789" y="35"/>
                  <a:pt x="790" y="35"/>
                </a:cubicBezTo>
                <a:cubicBezTo>
                  <a:pt x="790" y="34"/>
                  <a:pt x="789" y="34"/>
                  <a:pt x="789" y="34"/>
                </a:cubicBezTo>
                <a:close/>
                <a:moveTo>
                  <a:pt x="839" y="35"/>
                </a:moveTo>
                <a:cubicBezTo>
                  <a:pt x="839" y="35"/>
                  <a:pt x="839" y="35"/>
                  <a:pt x="839" y="34"/>
                </a:cubicBezTo>
                <a:cubicBezTo>
                  <a:pt x="839" y="34"/>
                  <a:pt x="839" y="34"/>
                  <a:pt x="839" y="35"/>
                </a:cubicBezTo>
                <a:close/>
                <a:moveTo>
                  <a:pt x="858" y="34"/>
                </a:moveTo>
                <a:cubicBezTo>
                  <a:pt x="858" y="35"/>
                  <a:pt x="858" y="35"/>
                  <a:pt x="858" y="35"/>
                </a:cubicBezTo>
                <a:cubicBezTo>
                  <a:pt x="858" y="34"/>
                  <a:pt x="858" y="34"/>
                  <a:pt x="858" y="34"/>
                </a:cubicBezTo>
                <a:close/>
                <a:moveTo>
                  <a:pt x="880" y="35"/>
                </a:moveTo>
                <a:cubicBezTo>
                  <a:pt x="880" y="35"/>
                  <a:pt x="880" y="35"/>
                  <a:pt x="881" y="34"/>
                </a:cubicBezTo>
                <a:cubicBezTo>
                  <a:pt x="880" y="34"/>
                  <a:pt x="880" y="34"/>
                  <a:pt x="880" y="35"/>
                </a:cubicBezTo>
                <a:close/>
                <a:moveTo>
                  <a:pt x="900" y="34"/>
                </a:moveTo>
                <a:cubicBezTo>
                  <a:pt x="901" y="35"/>
                  <a:pt x="901" y="35"/>
                  <a:pt x="901" y="35"/>
                </a:cubicBezTo>
                <a:cubicBezTo>
                  <a:pt x="901" y="34"/>
                  <a:pt x="901" y="34"/>
                  <a:pt x="900" y="34"/>
                </a:cubicBezTo>
                <a:close/>
                <a:moveTo>
                  <a:pt x="954" y="35"/>
                </a:moveTo>
                <a:cubicBezTo>
                  <a:pt x="955" y="35"/>
                  <a:pt x="955" y="35"/>
                  <a:pt x="955" y="34"/>
                </a:cubicBezTo>
                <a:cubicBezTo>
                  <a:pt x="954" y="35"/>
                  <a:pt x="954" y="35"/>
                  <a:pt x="954" y="35"/>
                </a:cubicBezTo>
                <a:close/>
                <a:moveTo>
                  <a:pt x="967" y="34"/>
                </a:moveTo>
                <a:cubicBezTo>
                  <a:pt x="967" y="34"/>
                  <a:pt x="967" y="35"/>
                  <a:pt x="967" y="35"/>
                </a:cubicBezTo>
                <a:cubicBezTo>
                  <a:pt x="967" y="35"/>
                  <a:pt x="967" y="35"/>
                  <a:pt x="967" y="34"/>
                </a:cubicBezTo>
                <a:close/>
                <a:moveTo>
                  <a:pt x="1049" y="35"/>
                </a:moveTo>
                <a:cubicBezTo>
                  <a:pt x="1049" y="35"/>
                  <a:pt x="1050" y="35"/>
                  <a:pt x="1050" y="34"/>
                </a:cubicBezTo>
                <a:cubicBezTo>
                  <a:pt x="1050" y="34"/>
                  <a:pt x="1049" y="34"/>
                  <a:pt x="1049" y="35"/>
                </a:cubicBezTo>
                <a:close/>
                <a:moveTo>
                  <a:pt x="1071" y="34"/>
                </a:moveTo>
                <a:cubicBezTo>
                  <a:pt x="1071" y="35"/>
                  <a:pt x="1071" y="35"/>
                  <a:pt x="1072" y="35"/>
                </a:cubicBezTo>
                <a:cubicBezTo>
                  <a:pt x="1072" y="34"/>
                  <a:pt x="1071" y="34"/>
                  <a:pt x="1071" y="34"/>
                </a:cubicBezTo>
                <a:close/>
                <a:moveTo>
                  <a:pt x="1122" y="35"/>
                </a:moveTo>
                <a:cubicBezTo>
                  <a:pt x="1122" y="35"/>
                  <a:pt x="1122" y="35"/>
                  <a:pt x="1122" y="34"/>
                </a:cubicBezTo>
                <a:cubicBezTo>
                  <a:pt x="1122" y="34"/>
                  <a:pt x="1122" y="34"/>
                  <a:pt x="1122" y="35"/>
                </a:cubicBezTo>
                <a:close/>
                <a:moveTo>
                  <a:pt x="1142" y="34"/>
                </a:moveTo>
                <a:cubicBezTo>
                  <a:pt x="1142" y="35"/>
                  <a:pt x="1142" y="35"/>
                  <a:pt x="1143" y="35"/>
                </a:cubicBezTo>
                <a:cubicBezTo>
                  <a:pt x="1143" y="34"/>
                  <a:pt x="1142" y="34"/>
                  <a:pt x="1142" y="34"/>
                </a:cubicBezTo>
                <a:close/>
                <a:moveTo>
                  <a:pt x="1249" y="34"/>
                </a:moveTo>
                <a:cubicBezTo>
                  <a:pt x="1249" y="35"/>
                  <a:pt x="1249" y="35"/>
                  <a:pt x="1250" y="35"/>
                </a:cubicBezTo>
                <a:cubicBezTo>
                  <a:pt x="1249" y="34"/>
                  <a:pt x="1249" y="34"/>
                  <a:pt x="1249" y="34"/>
                </a:cubicBezTo>
                <a:close/>
                <a:moveTo>
                  <a:pt x="1298" y="35"/>
                </a:moveTo>
                <a:cubicBezTo>
                  <a:pt x="1299" y="35"/>
                  <a:pt x="1299" y="35"/>
                  <a:pt x="1299" y="34"/>
                </a:cubicBezTo>
                <a:cubicBezTo>
                  <a:pt x="1299" y="34"/>
                  <a:pt x="1299" y="34"/>
                  <a:pt x="1298" y="35"/>
                </a:cubicBezTo>
                <a:close/>
                <a:moveTo>
                  <a:pt x="644" y="35"/>
                </a:moveTo>
                <a:cubicBezTo>
                  <a:pt x="644" y="35"/>
                  <a:pt x="644" y="35"/>
                  <a:pt x="644" y="35"/>
                </a:cubicBezTo>
                <a:cubicBezTo>
                  <a:pt x="644" y="35"/>
                  <a:pt x="644" y="35"/>
                  <a:pt x="644" y="35"/>
                </a:cubicBezTo>
                <a:close/>
                <a:moveTo>
                  <a:pt x="656" y="35"/>
                </a:moveTo>
                <a:cubicBezTo>
                  <a:pt x="655" y="35"/>
                  <a:pt x="655" y="35"/>
                  <a:pt x="655" y="35"/>
                </a:cubicBezTo>
                <a:cubicBezTo>
                  <a:pt x="656" y="35"/>
                  <a:pt x="656" y="35"/>
                  <a:pt x="656" y="35"/>
                </a:cubicBezTo>
                <a:close/>
                <a:moveTo>
                  <a:pt x="670" y="35"/>
                </a:moveTo>
                <a:cubicBezTo>
                  <a:pt x="670" y="35"/>
                  <a:pt x="671" y="35"/>
                  <a:pt x="671" y="35"/>
                </a:cubicBezTo>
                <a:cubicBezTo>
                  <a:pt x="670" y="35"/>
                  <a:pt x="670" y="35"/>
                  <a:pt x="670" y="35"/>
                </a:cubicBezTo>
                <a:close/>
                <a:moveTo>
                  <a:pt x="694" y="35"/>
                </a:moveTo>
                <a:cubicBezTo>
                  <a:pt x="695" y="35"/>
                  <a:pt x="695" y="35"/>
                  <a:pt x="695" y="35"/>
                </a:cubicBezTo>
                <a:cubicBezTo>
                  <a:pt x="695" y="35"/>
                  <a:pt x="695" y="35"/>
                  <a:pt x="694" y="35"/>
                </a:cubicBezTo>
                <a:close/>
                <a:moveTo>
                  <a:pt x="766" y="35"/>
                </a:moveTo>
                <a:cubicBezTo>
                  <a:pt x="766" y="35"/>
                  <a:pt x="767" y="35"/>
                  <a:pt x="767" y="35"/>
                </a:cubicBezTo>
                <a:cubicBezTo>
                  <a:pt x="767" y="35"/>
                  <a:pt x="766" y="35"/>
                  <a:pt x="766" y="35"/>
                </a:cubicBezTo>
                <a:close/>
                <a:moveTo>
                  <a:pt x="790" y="35"/>
                </a:moveTo>
                <a:cubicBezTo>
                  <a:pt x="790" y="35"/>
                  <a:pt x="790" y="35"/>
                  <a:pt x="790" y="35"/>
                </a:cubicBezTo>
                <a:cubicBezTo>
                  <a:pt x="790" y="35"/>
                  <a:pt x="790" y="35"/>
                  <a:pt x="790" y="35"/>
                </a:cubicBezTo>
                <a:close/>
                <a:moveTo>
                  <a:pt x="838" y="35"/>
                </a:moveTo>
                <a:cubicBezTo>
                  <a:pt x="838" y="35"/>
                  <a:pt x="838" y="35"/>
                  <a:pt x="839" y="35"/>
                </a:cubicBezTo>
                <a:cubicBezTo>
                  <a:pt x="838" y="35"/>
                  <a:pt x="838" y="35"/>
                  <a:pt x="838" y="35"/>
                </a:cubicBezTo>
                <a:close/>
                <a:moveTo>
                  <a:pt x="858" y="35"/>
                </a:moveTo>
                <a:cubicBezTo>
                  <a:pt x="858" y="35"/>
                  <a:pt x="859" y="35"/>
                  <a:pt x="859" y="35"/>
                </a:cubicBezTo>
                <a:cubicBezTo>
                  <a:pt x="859" y="35"/>
                  <a:pt x="859" y="35"/>
                  <a:pt x="858" y="35"/>
                </a:cubicBezTo>
                <a:close/>
                <a:moveTo>
                  <a:pt x="879" y="35"/>
                </a:moveTo>
                <a:cubicBezTo>
                  <a:pt x="879" y="35"/>
                  <a:pt x="880" y="35"/>
                  <a:pt x="880" y="35"/>
                </a:cubicBezTo>
                <a:cubicBezTo>
                  <a:pt x="879" y="35"/>
                  <a:pt x="879" y="35"/>
                  <a:pt x="879" y="35"/>
                </a:cubicBezTo>
                <a:close/>
                <a:moveTo>
                  <a:pt x="901" y="35"/>
                </a:moveTo>
                <a:cubicBezTo>
                  <a:pt x="901" y="35"/>
                  <a:pt x="902" y="35"/>
                  <a:pt x="902" y="35"/>
                </a:cubicBezTo>
                <a:cubicBezTo>
                  <a:pt x="902" y="35"/>
                  <a:pt x="901" y="35"/>
                  <a:pt x="901" y="35"/>
                </a:cubicBezTo>
                <a:close/>
                <a:moveTo>
                  <a:pt x="1048" y="35"/>
                </a:moveTo>
                <a:cubicBezTo>
                  <a:pt x="1048" y="35"/>
                  <a:pt x="1049" y="35"/>
                  <a:pt x="1049" y="35"/>
                </a:cubicBezTo>
                <a:cubicBezTo>
                  <a:pt x="1049" y="35"/>
                  <a:pt x="1048" y="35"/>
                  <a:pt x="1048" y="35"/>
                </a:cubicBezTo>
                <a:close/>
                <a:moveTo>
                  <a:pt x="1072" y="35"/>
                </a:moveTo>
                <a:cubicBezTo>
                  <a:pt x="1072" y="35"/>
                  <a:pt x="1072" y="35"/>
                  <a:pt x="1073" y="35"/>
                </a:cubicBezTo>
                <a:cubicBezTo>
                  <a:pt x="1073" y="35"/>
                  <a:pt x="1072" y="35"/>
                  <a:pt x="1072" y="35"/>
                </a:cubicBezTo>
                <a:close/>
                <a:moveTo>
                  <a:pt x="1121" y="35"/>
                </a:moveTo>
                <a:cubicBezTo>
                  <a:pt x="1121" y="35"/>
                  <a:pt x="1121" y="35"/>
                  <a:pt x="1122" y="35"/>
                </a:cubicBezTo>
                <a:cubicBezTo>
                  <a:pt x="1121" y="35"/>
                  <a:pt x="1121" y="35"/>
                  <a:pt x="1121" y="35"/>
                </a:cubicBezTo>
                <a:close/>
                <a:moveTo>
                  <a:pt x="1226" y="35"/>
                </a:moveTo>
                <a:cubicBezTo>
                  <a:pt x="1226" y="35"/>
                  <a:pt x="1227" y="35"/>
                  <a:pt x="1227" y="35"/>
                </a:cubicBezTo>
                <a:cubicBezTo>
                  <a:pt x="1226" y="35"/>
                  <a:pt x="1226" y="35"/>
                  <a:pt x="1226" y="35"/>
                </a:cubicBezTo>
                <a:close/>
                <a:moveTo>
                  <a:pt x="1250" y="35"/>
                </a:moveTo>
                <a:cubicBezTo>
                  <a:pt x="1250" y="35"/>
                  <a:pt x="1250" y="35"/>
                  <a:pt x="1250" y="35"/>
                </a:cubicBezTo>
                <a:cubicBezTo>
                  <a:pt x="1250" y="35"/>
                  <a:pt x="1250" y="35"/>
                  <a:pt x="1250" y="35"/>
                </a:cubicBezTo>
                <a:close/>
                <a:moveTo>
                  <a:pt x="1298" y="35"/>
                </a:moveTo>
                <a:cubicBezTo>
                  <a:pt x="1298" y="35"/>
                  <a:pt x="1298" y="35"/>
                  <a:pt x="1298" y="35"/>
                </a:cubicBezTo>
                <a:cubicBezTo>
                  <a:pt x="1298" y="35"/>
                  <a:pt x="1298" y="35"/>
                  <a:pt x="1298" y="35"/>
                </a:cubicBezTo>
                <a:close/>
                <a:moveTo>
                  <a:pt x="605" y="35"/>
                </a:moveTo>
                <a:cubicBezTo>
                  <a:pt x="605" y="35"/>
                  <a:pt x="605" y="36"/>
                  <a:pt x="605" y="36"/>
                </a:cubicBezTo>
                <a:cubicBezTo>
                  <a:pt x="605" y="35"/>
                  <a:pt x="605" y="35"/>
                  <a:pt x="605" y="35"/>
                </a:cubicBezTo>
                <a:close/>
                <a:moveTo>
                  <a:pt x="695" y="35"/>
                </a:moveTo>
                <a:cubicBezTo>
                  <a:pt x="695" y="35"/>
                  <a:pt x="696" y="35"/>
                  <a:pt x="696" y="35"/>
                </a:cubicBezTo>
                <a:cubicBezTo>
                  <a:pt x="696" y="35"/>
                  <a:pt x="695" y="35"/>
                  <a:pt x="695" y="35"/>
                </a:cubicBezTo>
                <a:close/>
                <a:moveTo>
                  <a:pt x="790" y="35"/>
                </a:moveTo>
                <a:cubicBezTo>
                  <a:pt x="791" y="35"/>
                  <a:pt x="791" y="35"/>
                  <a:pt x="791" y="35"/>
                </a:cubicBezTo>
                <a:cubicBezTo>
                  <a:pt x="791" y="35"/>
                  <a:pt x="791" y="35"/>
                  <a:pt x="790" y="35"/>
                </a:cubicBezTo>
                <a:close/>
                <a:moveTo>
                  <a:pt x="837" y="35"/>
                </a:moveTo>
                <a:cubicBezTo>
                  <a:pt x="837" y="35"/>
                  <a:pt x="838" y="35"/>
                  <a:pt x="838" y="35"/>
                </a:cubicBezTo>
                <a:cubicBezTo>
                  <a:pt x="838" y="35"/>
                  <a:pt x="837" y="35"/>
                  <a:pt x="837" y="35"/>
                </a:cubicBezTo>
                <a:close/>
                <a:moveTo>
                  <a:pt x="753" y="47"/>
                </a:moveTo>
                <a:cubicBezTo>
                  <a:pt x="753" y="46"/>
                  <a:pt x="753" y="46"/>
                  <a:pt x="753" y="46"/>
                </a:cubicBezTo>
                <a:cubicBezTo>
                  <a:pt x="753" y="46"/>
                  <a:pt x="753" y="46"/>
                  <a:pt x="753" y="47"/>
                </a:cubicBezTo>
                <a:close/>
                <a:moveTo>
                  <a:pt x="638" y="52"/>
                </a:moveTo>
                <a:cubicBezTo>
                  <a:pt x="638" y="51"/>
                  <a:pt x="638" y="51"/>
                  <a:pt x="638" y="51"/>
                </a:cubicBezTo>
                <a:cubicBezTo>
                  <a:pt x="638" y="51"/>
                  <a:pt x="638" y="51"/>
                  <a:pt x="638" y="52"/>
                </a:cubicBezTo>
                <a:close/>
                <a:moveTo>
                  <a:pt x="967" y="35"/>
                </a:moveTo>
                <a:cubicBezTo>
                  <a:pt x="967" y="35"/>
                  <a:pt x="967" y="35"/>
                  <a:pt x="967" y="36"/>
                </a:cubicBezTo>
                <a:cubicBezTo>
                  <a:pt x="967" y="36"/>
                  <a:pt x="967" y="35"/>
                  <a:pt x="967" y="35"/>
                </a:cubicBezTo>
                <a:close/>
                <a:moveTo>
                  <a:pt x="1047" y="35"/>
                </a:moveTo>
                <a:cubicBezTo>
                  <a:pt x="1048" y="35"/>
                  <a:pt x="1048" y="35"/>
                  <a:pt x="1048" y="35"/>
                </a:cubicBezTo>
                <a:cubicBezTo>
                  <a:pt x="1048" y="35"/>
                  <a:pt x="1048" y="35"/>
                  <a:pt x="1047" y="35"/>
                </a:cubicBezTo>
                <a:close/>
                <a:moveTo>
                  <a:pt x="1073" y="35"/>
                </a:moveTo>
                <a:cubicBezTo>
                  <a:pt x="1073" y="35"/>
                  <a:pt x="1073" y="35"/>
                  <a:pt x="1073" y="35"/>
                </a:cubicBezTo>
                <a:cubicBezTo>
                  <a:pt x="1073" y="35"/>
                  <a:pt x="1073" y="35"/>
                  <a:pt x="1073" y="35"/>
                </a:cubicBezTo>
                <a:close/>
                <a:moveTo>
                  <a:pt x="1120" y="35"/>
                </a:moveTo>
                <a:cubicBezTo>
                  <a:pt x="1120" y="35"/>
                  <a:pt x="1121" y="35"/>
                  <a:pt x="1121" y="35"/>
                </a:cubicBezTo>
                <a:cubicBezTo>
                  <a:pt x="1121" y="35"/>
                  <a:pt x="1120" y="35"/>
                  <a:pt x="1120" y="35"/>
                </a:cubicBezTo>
                <a:close/>
                <a:moveTo>
                  <a:pt x="1225" y="35"/>
                </a:moveTo>
                <a:cubicBezTo>
                  <a:pt x="1226" y="35"/>
                  <a:pt x="1226" y="35"/>
                  <a:pt x="1226" y="35"/>
                </a:cubicBezTo>
                <a:cubicBezTo>
                  <a:pt x="1226" y="35"/>
                  <a:pt x="1225" y="35"/>
                  <a:pt x="1225" y="35"/>
                </a:cubicBezTo>
                <a:close/>
                <a:moveTo>
                  <a:pt x="1251" y="35"/>
                </a:moveTo>
                <a:cubicBezTo>
                  <a:pt x="1251" y="35"/>
                  <a:pt x="1251" y="35"/>
                  <a:pt x="1251" y="35"/>
                </a:cubicBezTo>
                <a:cubicBezTo>
                  <a:pt x="1251" y="35"/>
                  <a:pt x="1251" y="35"/>
                  <a:pt x="1251" y="35"/>
                </a:cubicBezTo>
                <a:close/>
                <a:moveTo>
                  <a:pt x="549" y="35"/>
                </a:moveTo>
                <a:cubicBezTo>
                  <a:pt x="549" y="36"/>
                  <a:pt x="549" y="36"/>
                  <a:pt x="550" y="36"/>
                </a:cubicBezTo>
                <a:cubicBezTo>
                  <a:pt x="550" y="36"/>
                  <a:pt x="550" y="36"/>
                  <a:pt x="549" y="35"/>
                </a:cubicBezTo>
                <a:close/>
                <a:moveTo>
                  <a:pt x="593" y="36"/>
                </a:moveTo>
                <a:cubicBezTo>
                  <a:pt x="593" y="36"/>
                  <a:pt x="593" y="35"/>
                  <a:pt x="592" y="35"/>
                </a:cubicBezTo>
                <a:cubicBezTo>
                  <a:pt x="592" y="36"/>
                  <a:pt x="592" y="36"/>
                  <a:pt x="593" y="36"/>
                </a:cubicBezTo>
                <a:close/>
                <a:moveTo>
                  <a:pt x="655" y="35"/>
                </a:moveTo>
                <a:cubicBezTo>
                  <a:pt x="655" y="36"/>
                  <a:pt x="655" y="36"/>
                  <a:pt x="655" y="36"/>
                </a:cubicBezTo>
                <a:cubicBezTo>
                  <a:pt x="655" y="36"/>
                  <a:pt x="655" y="36"/>
                  <a:pt x="655" y="35"/>
                </a:cubicBezTo>
                <a:close/>
                <a:moveTo>
                  <a:pt x="831" y="51"/>
                </a:moveTo>
                <a:cubicBezTo>
                  <a:pt x="831" y="51"/>
                  <a:pt x="830" y="51"/>
                  <a:pt x="830" y="51"/>
                </a:cubicBezTo>
                <a:cubicBezTo>
                  <a:pt x="831" y="51"/>
                  <a:pt x="831" y="51"/>
                  <a:pt x="831" y="51"/>
                </a:cubicBezTo>
                <a:close/>
                <a:moveTo>
                  <a:pt x="696" y="35"/>
                </a:moveTo>
                <a:cubicBezTo>
                  <a:pt x="696" y="36"/>
                  <a:pt x="696" y="36"/>
                  <a:pt x="696" y="36"/>
                </a:cubicBezTo>
                <a:cubicBezTo>
                  <a:pt x="696" y="35"/>
                  <a:pt x="696" y="35"/>
                  <a:pt x="696" y="35"/>
                </a:cubicBezTo>
                <a:close/>
                <a:moveTo>
                  <a:pt x="764" y="36"/>
                </a:moveTo>
                <a:cubicBezTo>
                  <a:pt x="765" y="36"/>
                  <a:pt x="765" y="36"/>
                  <a:pt x="765" y="35"/>
                </a:cubicBezTo>
                <a:cubicBezTo>
                  <a:pt x="765" y="35"/>
                  <a:pt x="765" y="35"/>
                  <a:pt x="764" y="36"/>
                </a:cubicBezTo>
                <a:close/>
                <a:moveTo>
                  <a:pt x="791" y="35"/>
                </a:moveTo>
                <a:cubicBezTo>
                  <a:pt x="791" y="36"/>
                  <a:pt x="792" y="36"/>
                  <a:pt x="792" y="36"/>
                </a:cubicBezTo>
                <a:cubicBezTo>
                  <a:pt x="792" y="35"/>
                  <a:pt x="791" y="35"/>
                  <a:pt x="791" y="35"/>
                </a:cubicBezTo>
                <a:close/>
                <a:moveTo>
                  <a:pt x="1084" y="46"/>
                </a:moveTo>
                <a:cubicBezTo>
                  <a:pt x="1084" y="46"/>
                  <a:pt x="1084" y="46"/>
                  <a:pt x="1084" y="47"/>
                </a:cubicBezTo>
                <a:cubicBezTo>
                  <a:pt x="1084" y="46"/>
                  <a:pt x="1084" y="46"/>
                  <a:pt x="1084" y="46"/>
                </a:cubicBezTo>
                <a:close/>
                <a:moveTo>
                  <a:pt x="859" y="35"/>
                </a:moveTo>
                <a:cubicBezTo>
                  <a:pt x="860" y="36"/>
                  <a:pt x="860" y="36"/>
                  <a:pt x="860" y="36"/>
                </a:cubicBezTo>
                <a:cubicBezTo>
                  <a:pt x="860" y="35"/>
                  <a:pt x="860" y="35"/>
                  <a:pt x="859" y="35"/>
                </a:cubicBezTo>
                <a:close/>
                <a:moveTo>
                  <a:pt x="1032" y="51"/>
                </a:moveTo>
                <a:cubicBezTo>
                  <a:pt x="1033" y="51"/>
                  <a:pt x="1033" y="51"/>
                  <a:pt x="1033" y="51"/>
                </a:cubicBezTo>
                <a:cubicBezTo>
                  <a:pt x="1032" y="51"/>
                  <a:pt x="1032" y="51"/>
                  <a:pt x="1032" y="51"/>
                </a:cubicBezTo>
                <a:close/>
                <a:moveTo>
                  <a:pt x="954" y="36"/>
                </a:moveTo>
                <a:cubicBezTo>
                  <a:pt x="954" y="36"/>
                  <a:pt x="954" y="36"/>
                  <a:pt x="954" y="35"/>
                </a:cubicBezTo>
                <a:cubicBezTo>
                  <a:pt x="954" y="36"/>
                  <a:pt x="954" y="36"/>
                  <a:pt x="954" y="36"/>
                </a:cubicBezTo>
                <a:close/>
                <a:moveTo>
                  <a:pt x="1047" y="36"/>
                </a:moveTo>
                <a:cubicBezTo>
                  <a:pt x="1047" y="36"/>
                  <a:pt x="1047" y="36"/>
                  <a:pt x="1047" y="35"/>
                </a:cubicBezTo>
                <a:cubicBezTo>
                  <a:pt x="1047" y="35"/>
                  <a:pt x="1047" y="35"/>
                  <a:pt x="1047" y="36"/>
                </a:cubicBezTo>
                <a:close/>
                <a:moveTo>
                  <a:pt x="1073" y="35"/>
                </a:moveTo>
                <a:cubicBezTo>
                  <a:pt x="1074" y="36"/>
                  <a:pt x="1074" y="36"/>
                  <a:pt x="1074" y="36"/>
                </a:cubicBezTo>
                <a:cubicBezTo>
                  <a:pt x="1074" y="35"/>
                  <a:pt x="1074" y="35"/>
                  <a:pt x="1073" y="35"/>
                </a:cubicBezTo>
                <a:close/>
                <a:moveTo>
                  <a:pt x="1119" y="36"/>
                </a:moveTo>
                <a:cubicBezTo>
                  <a:pt x="1120" y="36"/>
                  <a:pt x="1120" y="36"/>
                  <a:pt x="1120" y="35"/>
                </a:cubicBezTo>
                <a:cubicBezTo>
                  <a:pt x="1120" y="35"/>
                  <a:pt x="1120" y="35"/>
                  <a:pt x="1119" y="36"/>
                </a:cubicBezTo>
                <a:close/>
                <a:moveTo>
                  <a:pt x="1144" y="35"/>
                </a:moveTo>
                <a:cubicBezTo>
                  <a:pt x="1144" y="36"/>
                  <a:pt x="1145" y="36"/>
                  <a:pt x="1145" y="36"/>
                </a:cubicBezTo>
                <a:cubicBezTo>
                  <a:pt x="1145" y="35"/>
                  <a:pt x="1144" y="35"/>
                  <a:pt x="1144" y="35"/>
                </a:cubicBezTo>
                <a:close/>
                <a:moveTo>
                  <a:pt x="1225" y="36"/>
                </a:moveTo>
                <a:cubicBezTo>
                  <a:pt x="1225" y="36"/>
                  <a:pt x="1225" y="36"/>
                  <a:pt x="1225" y="35"/>
                </a:cubicBezTo>
                <a:cubicBezTo>
                  <a:pt x="1225" y="35"/>
                  <a:pt x="1225" y="35"/>
                  <a:pt x="1225" y="36"/>
                </a:cubicBezTo>
                <a:close/>
                <a:moveTo>
                  <a:pt x="1251" y="35"/>
                </a:moveTo>
                <a:cubicBezTo>
                  <a:pt x="1251" y="36"/>
                  <a:pt x="1252" y="36"/>
                  <a:pt x="1252" y="36"/>
                </a:cubicBezTo>
                <a:cubicBezTo>
                  <a:pt x="1252" y="35"/>
                  <a:pt x="1252" y="35"/>
                  <a:pt x="1251" y="35"/>
                </a:cubicBezTo>
                <a:close/>
                <a:moveTo>
                  <a:pt x="1297" y="36"/>
                </a:moveTo>
                <a:cubicBezTo>
                  <a:pt x="1297" y="36"/>
                  <a:pt x="1297" y="36"/>
                  <a:pt x="1297" y="35"/>
                </a:cubicBezTo>
                <a:cubicBezTo>
                  <a:pt x="1297" y="35"/>
                  <a:pt x="1297" y="35"/>
                  <a:pt x="1297" y="36"/>
                </a:cubicBezTo>
                <a:close/>
                <a:moveTo>
                  <a:pt x="668" y="36"/>
                </a:moveTo>
                <a:cubicBezTo>
                  <a:pt x="668" y="36"/>
                  <a:pt x="668" y="36"/>
                  <a:pt x="669" y="36"/>
                </a:cubicBezTo>
                <a:cubicBezTo>
                  <a:pt x="668" y="36"/>
                  <a:pt x="668" y="36"/>
                  <a:pt x="668" y="36"/>
                </a:cubicBezTo>
                <a:close/>
                <a:moveTo>
                  <a:pt x="1296" y="46"/>
                </a:moveTo>
                <a:cubicBezTo>
                  <a:pt x="1296" y="46"/>
                  <a:pt x="1296" y="46"/>
                  <a:pt x="1296" y="46"/>
                </a:cubicBezTo>
                <a:cubicBezTo>
                  <a:pt x="1296" y="46"/>
                  <a:pt x="1296" y="46"/>
                  <a:pt x="1296" y="46"/>
                </a:cubicBezTo>
                <a:close/>
                <a:moveTo>
                  <a:pt x="792" y="36"/>
                </a:moveTo>
                <a:cubicBezTo>
                  <a:pt x="792" y="36"/>
                  <a:pt x="792" y="36"/>
                  <a:pt x="793" y="36"/>
                </a:cubicBezTo>
                <a:cubicBezTo>
                  <a:pt x="792" y="36"/>
                  <a:pt x="792" y="36"/>
                  <a:pt x="792" y="36"/>
                </a:cubicBezTo>
                <a:close/>
                <a:moveTo>
                  <a:pt x="836" y="36"/>
                </a:moveTo>
                <a:cubicBezTo>
                  <a:pt x="836" y="36"/>
                  <a:pt x="837" y="36"/>
                  <a:pt x="837" y="36"/>
                </a:cubicBezTo>
                <a:cubicBezTo>
                  <a:pt x="836" y="36"/>
                  <a:pt x="836" y="36"/>
                  <a:pt x="836" y="36"/>
                </a:cubicBezTo>
                <a:close/>
                <a:moveTo>
                  <a:pt x="860" y="36"/>
                </a:moveTo>
                <a:cubicBezTo>
                  <a:pt x="860" y="36"/>
                  <a:pt x="860" y="36"/>
                  <a:pt x="861" y="36"/>
                </a:cubicBezTo>
                <a:cubicBezTo>
                  <a:pt x="861" y="36"/>
                  <a:pt x="860" y="36"/>
                  <a:pt x="860" y="36"/>
                </a:cubicBezTo>
                <a:close/>
                <a:moveTo>
                  <a:pt x="877" y="36"/>
                </a:moveTo>
                <a:cubicBezTo>
                  <a:pt x="877" y="36"/>
                  <a:pt x="878" y="36"/>
                  <a:pt x="878" y="36"/>
                </a:cubicBezTo>
                <a:cubicBezTo>
                  <a:pt x="878" y="36"/>
                  <a:pt x="877" y="36"/>
                  <a:pt x="877" y="36"/>
                </a:cubicBezTo>
                <a:close/>
                <a:moveTo>
                  <a:pt x="903" y="36"/>
                </a:moveTo>
                <a:cubicBezTo>
                  <a:pt x="903" y="36"/>
                  <a:pt x="903" y="36"/>
                  <a:pt x="904" y="36"/>
                </a:cubicBezTo>
                <a:cubicBezTo>
                  <a:pt x="903" y="36"/>
                  <a:pt x="903" y="36"/>
                  <a:pt x="903" y="36"/>
                </a:cubicBezTo>
                <a:close/>
                <a:moveTo>
                  <a:pt x="967" y="36"/>
                </a:moveTo>
                <a:cubicBezTo>
                  <a:pt x="966" y="36"/>
                  <a:pt x="966" y="36"/>
                  <a:pt x="966" y="36"/>
                </a:cubicBezTo>
                <a:cubicBezTo>
                  <a:pt x="967" y="36"/>
                  <a:pt x="967" y="36"/>
                  <a:pt x="967" y="36"/>
                </a:cubicBezTo>
                <a:close/>
                <a:moveTo>
                  <a:pt x="1046" y="36"/>
                </a:moveTo>
                <a:cubicBezTo>
                  <a:pt x="1046" y="36"/>
                  <a:pt x="1047" y="36"/>
                  <a:pt x="1047" y="36"/>
                </a:cubicBezTo>
                <a:cubicBezTo>
                  <a:pt x="1046" y="36"/>
                  <a:pt x="1046" y="36"/>
                  <a:pt x="1046" y="36"/>
                </a:cubicBezTo>
                <a:close/>
                <a:moveTo>
                  <a:pt x="1142" y="51"/>
                </a:moveTo>
                <a:cubicBezTo>
                  <a:pt x="1142" y="51"/>
                  <a:pt x="1142" y="51"/>
                  <a:pt x="1142" y="51"/>
                </a:cubicBezTo>
                <a:cubicBezTo>
                  <a:pt x="1142" y="51"/>
                  <a:pt x="1142" y="51"/>
                  <a:pt x="1142" y="51"/>
                </a:cubicBezTo>
                <a:close/>
                <a:moveTo>
                  <a:pt x="1119" y="36"/>
                </a:moveTo>
                <a:cubicBezTo>
                  <a:pt x="1119" y="36"/>
                  <a:pt x="1119" y="36"/>
                  <a:pt x="1119" y="36"/>
                </a:cubicBezTo>
                <a:cubicBezTo>
                  <a:pt x="1119" y="36"/>
                  <a:pt x="1119" y="36"/>
                  <a:pt x="1119" y="36"/>
                </a:cubicBezTo>
                <a:close/>
                <a:moveTo>
                  <a:pt x="1566" y="47"/>
                </a:moveTo>
                <a:cubicBezTo>
                  <a:pt x="1567" y="46"/>
                  <a:pt x="1567" y="46"/>
                  <a:pt x="1567" y="46"/>
                </a:cubicBezTo>
                <a:cubicBezTo>
                  <a:pt x="1566" y="46"/>
                  <a:pt x="1566" y="46"/>
                  <a:pt x="1566" y="47"/>
                </a:cubicBezTo>
                <a:close/>
                <a:moveTo>
                  <a:pt x="1224" y="36"/>
                </a:moveTo>
                <a:cubicBezTo>
                  <a:pt x="1224" y="36"/>
                  <a:pt x="1224" y="36"/>
                  <a:pt x="1225" y="36"/>
                </a:cubicBezTo>
                <a:cubicBezTo>
                  <a:pt x="1224" y="36"/>
                  <a:pt x="1224" y="36"/>
                  <a:pt x="1224" y="36"/>
                </a:cubicBezTo>
                <a:close/>
                <a:moveTo>
                  <a:pt x="1735" y="47"/>
                </a:moveTo>
                <a:cubicBezTo>
                  <a:pt x="1735" y="46"/>
                  <a:pt x="1735" y="46"/>
                  <a:pt x="1735" y="46"/>
                </a:cubicBezTo>
                <a:cubicBezTo>
                  <a:pt x="1735" y="46"/>
                  <a:pt x="1735" y="46"/>
                  <a:pt x="1735" y="47"/>
                </a:cubicBezTo>
                <a:close/>
                <a:moveTo>
                  <a:pt x="593" y="37"/>
                </a:moveTo>
                <a:cubicBezTo>
                  <a:pt x="593" y="36"/>
                  <a:pt x="593" y="36"/>
                  <a:pt x="593" y="36"/>
                </a:cubicBezTo>
                <a:cubicBezTo>
                  <a:pt x="593" y="36"/>
                  <a:pt x="593" y="37"/>
                  <a:pt x="593" y="37"/>
                </a:cubicBezTo>
                <a:close/>
                <a:moveTo>
                  <a:pt x="667" y="37"/>
                </a:moveTo>
                <a:cubicBezTo>
                  <a:pt x="668" y="36"/>
                  <a:pt x="668" y="36"/>
                  <a:pt x="668" y="36"/>
                </a:cubicBezTo>
                <a:cubicBezTo>
                  <a:pt x="668" y="36"/>
                  <a:pt x="667" y="36"/>
                  <a:pt x="667" y="37"/>
                </a:cubicBezTo>
                <a:close/>
                <a:moveTo>
                  <a:pt x="560" y="46"/>
                </a:moveTo>
                <a:cubicBezTo>
                  <a:pt x="560" y="46"/>
                  <a:pt x="560" y="47"/>
                  <a:pt x="560" y="47"/>
                </a:cubicBezTo>
                <a:cubicBezTo>
                  <a:pt x="560" y="46"/>
                  <a:pt x="560" y="46"/>
                  <a:pt x="560" y="46"/>
                </a:cubicBezTo>
                <a:close/>
                <a:moveTo>
                  <a:pt x="793" y="36"/>
                </a:moveTo>
                <a:cubicBezTo>
                  <a:pt x="793" y="36"/>
                  <a:pt x="793" y="36"/>
                  <a:pt x="793" y="37"/>
                </a:cubicBezTo>
                <a:cubicBezTo>
                  <a:pt x="793" y="36"/>
                  <a:pt x="793" y="36"/>
                  <a:pt x="793" y="36"/>
                </a:cubicBezTo>
                <a:close/>
                <a:moveTo>
                  <a:pt x="1210" y="51"/>
                </a:moveTo>
                <a:cubicBezTo>
                  <a:pt x="1211" y="51"/>
                  <a:pt x="1211" y="51"/>
                  <a:pt x="1211" y="51"/>
                </a:cubicBezTo>
                <a:cubicBezTo>
                  <a:pt x="1210" y="51"/>
                  <a:pt x="1210" y="51"/>
                  <a:pt x="1210" y="51"/>
                </a:cubicBezTo>
                <a:close/>
                <a:moveTo>
                  <a:pt x="1045" y="36"/>
                </a:moveTo>
                <a:cubicBezTo>
                  <a:pt x="1046" y="36"/>
                  <a:pt x="1046" y="36"/>
                  <a:pt x="1046" y="36"/>
                </a:cubicBezTo>
                <a:cubicBezTo>
                  <a:pt x="1046" y="36"/>
                  <a:pt x="1045" y="36"/>
                  <a:pt x="1045" y="36"/>
                </a:cubicBezTo>
                <a:close/>
                <a:moveTo>
                  <a:pt x="696" y="47"/>
                </a:moveTo>
                <a:cubicBezTo>
                  <a:pt x="696" y="46"/>
                  <a:pt x="696" y="46"/>
                  <a:pt x="695" y="46"/>
                </a:cubicBezTo>
                <a:cubicBezTo>
                  <a:pt x="696" y="46"/>
                  <a:pt x="696" y="47"/>
                  <a:pt x="696" y="47"/>
                </a:cubicBezTo>
                <a:close/>
                <a:moveTo>
                  <a:pt x="802" y="46"/>
                </a:moveTo>
                <a:cubicBezTo>
                  <a:pt x="802" y="46"/>
                  <a:pt x="802" y="47"/>
                  <a:pt x="802" y="47"/>
                </a:cubicBezTo>
                <a:cubicBezTo>
                  <a:pt x="802" y="47"/>
                  <a:pt x="802" y="46"/>
                  <a:pt x="802" y="46"/>
                </a:cubicBezTo>
                <a:close/>
                <a:moveTo>
                  <a:pt x="1145" y="36"/>
                </a:moveTo>
                <a:cubicBezTo>
                  <a:pt x="1145" y="36"/>
                  <a:pt x="1146" y="36"/>
                  <a:pt x="1146" y="36"/>
                </a:cubicBezTo>
                <a:cubicBezTo>
                  <a:pt x="1146" y="36"/>
                  <a:pt x="1146" y="36"/>
                  <a:pt x="1145" y="36"/>
                </a:cubicBezTo>
                <a:close/>
                <a:moveTo>
                  <a:pt x="1223" y="36"/>
                </a:moveTo>
                <a:cubicBezTo>
                  <a:pt x="1223" y="36"/>
                  <a:pt x="1224" y="36"/>
                  <a:pt x="1224" y="36"/>
                </a:cubicBezTo>
                <a:cubicBezTo>
                  <a:pt x="1224" y="36"/>
                  <a:pt x="1223" y="36"/>
                  <a:pt x="1223" y="36"/>
                </a:cubicBezTo>
                <a:close/>
                <a:moveTo>
                  <a:pt x="1252" y="36"/>
                </a:moveTo>
                <a:cubicBezTo>
                  <a:pt x="1253" y="36"/>
                  <a:pt x="1253" y="36"/>
                  <a:pt x="1253" y="36"/>
                </a:cubicBezTo>
                <a:cubicBezTo>
                  <a:pt x="1253" y="36"/>
                  <a:pt x="1253" y="36"/>
                  <a:pt x="1252" y="36"/>
                </a:cubicBezTo>
                <a:close/>
                <a:moveTo>
                  <a:pt x="550" y="36"/>
                </a:moveTo>
                <a:cubicBezTo>
                  <a:pt x="550" y="37"/>
                  <a:pt x="550" y="37"/>
                  <a:pt x="550" y="37"/>
                </a:cubicBezTo>
                <a:cubicBezTo>
                  <a:pt x="550" y="37"/>
                  <a:pt x="550" y="37"/>
                  <a:pt x="550" y="36"/>
                </a:cubicBezTo>
                <a:close/>
                <a:moveTo>
                  <a:pt x="643" y="37"/>
                </a:moveTo>
                <a:cubicBezTo>
                  <a:pt x="644" y="37"/>
                  <a:pt x="644" y="37"/>
                  <a:pt x="644" y="36"/>
                </a:cubicBezTo>
                <a:cubicBezTo>
                  <a:pt x="643" y="37"/>
                  <a:pt x="643" y="37"/>
                  <a:pt x="643" y="37"/>
                </a:cubicBezTo>
                <a:close/>
                <a:moveTo>
                  <a:pt x="655" y="36"/>
                </a:moveTo>
                <a:cubicBezTo>
                  <a:pt x="655" y="36"/>
                  <a:pt x="655" y="37"/>
                  <a:pt x="655" y="37"/>
                </a:cubicBezTo>
                <a:cubicBezTo>
                  <a:pt x="655" y="37"/>
                  <a:pt x="655" y="37"/>
                  <a:pt x="655" y="36"/>
                </a:cubicBezTo>
                <a:close/>
                <a:moveTo>
                  <a:pt x="763" y="37"/>
                </a:moveTo>
                <a:cubicBezTo>
                  <a:pt x="763" y="37"/>
                  <a:pt x="763" y="37"/>
                  <a:pt x="763" y="36"/>
                </a:cubicBezTo>
                <a:cubicBezTo>
                  <a:pt x="763" y="36"/>
                  <a:pt x="763" y="36"/>
                  <a:pt x="763" y="37"/>
                </a:cubicBezTo>
                <a:close/>
                <a:moveTo>
                  <a:pt x="898" y="47"/>
                </a:moveTo>
                <a:cubicBezTo>
                  <a:pt x="898" y="47"/>
                  <a:pt x="898" y="46"/>
                  <a:pt x="898" y="46"/>
                </a:cubicBezTo>
                <a:cubicBezTo>
                  <a:pt x="898" y="46"/>
                  <a:pt x="898" y="47"/>
                  <a:pt x="898" y="47"/>
                </a:cubicBezTo>
                <a:close/>
                <a:moveTo>
                  <a:pt x="1035" y="47"/>
                </a:moveTo>
                <a:cubicBezTo>
                  <a:pt x="1035" y="47"/>
                  <a:pt x="1035" y="46"/>
                  <a:pt x="1035" y="46"/>
                </a:cubicBezTo>
                <a:cubicBezTo>
                  <a:pt x="1035" y="46"/>
                  <a:pt x="1035" y="47"/>
                  <a:pt x="1035" y="47"/>
                </a:cubicBezTo>
                <a:close/>
                <a:moveTo>
                  <a:pt x="1392" y="51"/>
                </a:moveTo>
                <a:cubicBezTo>
                  <a:pt x="1391" y="51"/>
                  <a:pt x="1391" y="51"/>
                  <a:pt x="1391" y="51"/>
                </a:cubicBezTo>
                <a:cubicBezTo>
                  <a:pt x="1392" y="51"/>
                  <a:pt x="1392" y="51"/>
                  <a:pt x="1392" y="51"/>
                </a:cubicBezTo>
                <a:close/>
                <a:moveTo>
                  <a:pt x="966" y="36"/>
                </a:moveTo>
                <a:cubicBezTo>
                  <a:pt x="966" y="37"/>
                  <a:pt x="966" y="37"/>
                  <a:pt x="966" y="37"/>
                </a:cubicBezTo>
                <a:cubicBezTo>
                  <a:pt x="966" y="37"/>
                  <a:pt x="966" y="37"/>
                  <a:pt x="966" y="36"/>
                </a:cubicBezTo>
                <a:close/>
                <a:moveTo>
                  <a:pt x="568" y="51"/>
                </a:moveTo>
                <a:cubicBezTo>
                  <a:pt x="568" y="51"/>
                  <a:pt x="568" y="51"/>
                  <a:pt x="569" y="51"/>
                </a:cubicBezTo>
                <a:cubicBezTo>
                  <a:pt x="569" y="51"/>
                  <a:pt x="568" y="51"/>
                  <a:pt x="568" y="51"/>
                </a:cubicBezTo>
                <a:close/>
                <a:moveTo>
                  <a:pt x="1075" y="36"/>
                </a:moveTo>
                <a:cubicBezTo>
                  <a:pt x="1075" y="37"/>
                  <a:pt x="1076" y="37"/>
                  <a:pt x="1076" y="37"/>
                </a:cubicBezTo>
                <a:cubicBezTo>
                  <a:pt x="1076" y="36"/>
                  <a:pt x="1076" y="36"/>
                  <a:pt x="1075" y="36"/>
                </a:cubicBezTo>
                <a:close/>
                <a:moveTo>
                  <a:pt x="1118" y="37"/>
                </a:moveTo>
                <a:cubicBezTo>
                  <a:pt x="1118" y="37"/>
                  <a:pt x="1118" y="37"/>
                  <a:pt x="1118" y="36"/>
                </a:cubicBezTo>
                <a:cubicBezTo>
                  <a:pt x="1118" y="36"/>
                  <a:pt x="1118" y="36"/>
                  <a:pt x="1118" y="37"/>
                </a:cubicBezTo>
                <a:close/>
                <a:moveTo>
                  <a:pt x="1153" y="46"/>
                </a:moveTo>
                <a:cubicBezTo>
                  <a:pt x="1153" y="46"/>
                  <a:pt x="1153" y="47"/>
                  <a:pt x="1153" y="47"/>
                </a:cubicBezTo>
                <a:cubicBezTo>
                  <a:pt x="1153" y="47"/>
                  <a:pt x="1153" y="46"/>
                  <a:pt x="1153" y="46"/>
                </a:cubicBezTo>
                <a:close/>
                <a:moveTo>
                  <a:pt x="1223" y="37"/>
                </a:moveTo>
                <a:cubicBezTo>
                  <a:pt x="1223" y="37"/>
                  <a:pt x="1223" y="37"/>
                  <a:pt x="1223" y="36"/>
                </a:cubicBezTo>
                <a:cubicBezTo>
                  <a:pt x="1223" y="36"/>
                  <a:pt x="1223" y="36"/>
                  <a:pt x="1223" y="37"/>
                </a:cubicBezTo>
                <a:close/>
                <a:moveTo>
                  <a:pt x="1253" y="36"/>
                </a:moveTo>
                <a:cubicBezTo>
                  <a:pt x="1253" y="37"/>
                  <a:pt x="1253" y="37"/>
                  <a:pt x="1254" y="37"/>
                </a:cubicBezTo>
                <a:cubicBezTo>
                  <a:pt x="1254" y="36"/>
                  <a:pt x="1253" y="36"/>
                  <a:pt x="1253" y="36"/>
                </a:cubicBezTo>
                <a:close/>
                <a:moveTo>
                  <a:pt x="1213" y="47"/>
                </a:moveTo>
                <a:cubicBezTo>
                  <a:pt x="1213" y="47"/>
                  <a:pt x="1213" y="46"/>
                  <a:pt x="1213" y="46"/>
                </a:cubicBezTo>
                <a:cubicBezTo>
                  <a:pt x="1213" y="46"/>
                  <a:pt x="1213" y="47"/>
                  <a:pt x="1213" y="47"/>
                </a:cubicBezTo>
                <a:close/>
                <a:moveTo>
                  <a:pt x="666" y="37"/>
                </a:moveTo>
                <a:cubicBezTo>
                  <a:pt x="667" y="37"/>
                  <a:pt x="667" y="37"/>
                  <a:pt x="667" y="37"/>
                </a:cubicBezTo>
                <a:cubicBezTo>
                  <a:pt x="667" y="37"/>
                  <a:pt x="666" y="37"/>
                  <a:pt x="666" y="37"/>
                </a:cubicBezTo>
                <a:close/>
                <a:moveTo>
                  <a:pt x="762" y="37"/>
                </a:moveTo>
                <a:cubicBezTo>
                  <a:pt x="762" y="37"/>
                  <a:pt x="763" y="37"/>
                  <a:pt x="763" y="37"/>
                </a:cubicBezTo>
                <a:cubicBezTo>
                  <a:pt x="762" y="37"/>
                  <a:pt x="762" y="37"/>
                  <a:pt x="762" y="37"/>
                </a:cubicBezTo>
                <a:close/>
                <a:moveTo>
                  <a:pt x="794" y="37"/>
                </a:moveTo>
                <a:cubicBezTo>
                  <a:pt x="794" y="37"/>
                  <a:pt x="794" y="37"/>
                  <a:pt x="794" y="37"/>
                </a:cubicBezTo>
                <a:cubicBezTo>
                  <a:pt x="794" y="37"/>
                  <a:pt x="794" y="37"/>
                  <a:pt x="794" y="37"/>
                </a:cubicBezTo>
                <a:close/>
                <a:moveTo>
                  <a:pt x="750" y="52"/>
                </a:moveTo>
                <a:cubicBezTo>
                  <a:pt x="750" y="52"/>
                  <a:pt x="750" y="51"/>
                  <a:pt x="751" y="51"/>
                </a:cubicBezTo>
                <a:cubicBezTo>
                  <a:pt x="750" y="51"/>
                  <a:pt x="750" y="52"/>
                  <a:pt x="750" y="52"/>
                </a:cubicBezTo>
                <a:close/>
                <a:moveTo>
                  <a:pt x="862" y="37"/>
                </a:moveTo>
                <a:cubicBezTo>
                  <a:pt x="862" y="37"/>
                  <a:pt x="862" y="37"/>
                  <a:pt x="862" y="37"/>
                </a:cubicBezTo>
                <a:cubicBezTo>
                  <a:pt x="862" y="37"/>
                  <a:pt x="862" y="37"/>
                  <a:pt x="862" y="37"/>
                </a:cubicBezTo>
                <a:close/>
                <a:moveTo>
                  <a:pt x="858" y="52"/>
                </a:moveTo>
                <a:cubicBezTo>
                  <a:pt x="858" y="51"/>
                  <a:pt x="858" y="51"/>
                  <a:pt x="858" y="51"/>
                </a:cubicBezTo>
                <a:cubicBezTo>
                  <a:pt x="858" y="51"/>
                  <a:pt x="858" y="52"/>
                  <a:pt x="858" y="52"/>
                </a:cubicBezTo>
                <a:close/>
                <a:moveTo>
                  <a:pt x="1044" y="37"/>
                </a:moveTo>
                <a:cubicBezTo>
                  <a:pt x="1045" y="37"/>
                  <a:pt x="1045" y="37"/>
                  <a:pt x="1045" y="37"/>
                </a:cubicBezTo>
                <a:cubicBezTo>
                  <a:pt x="1045" y="37"/>
                  <a:pt x="1044" y="37"/>
                  <a:pt x="1044" y="37"/>
                </a:cubicBezTo>
                <a:close/>
                <a:moveTo>
                  <a:pt x="1382" y="47"/>
                </a:moveTo>
                <a:cubicBezTo>
                  <a:pt x="1382" y="47"/>
                  <a:pt x="1382" y="46"/>
                  <a:pt x="1382" y="46"/>
                </a:cubicBezTo>
                <a:cubicBezTo>
                  <a:pt x="1382" y="46"/>
                  <a:pt x="1382" y="47"/>
                  <a:pt x="1382" y="47"/>
                </a:cubicBezTo>
                <a:close/>
                <a:moveTo>
                  <a:pt x="1394" y="46"/>
                </a:moveTo>
                <a:cubicBezTo>
                  <a:pt x="1394" y="46"/>
                  <a:pt x="1394" y="47"/>
                  <a:pt x="1394" y="47"/>
                </a:cubicBezTo>
                <a:cubicBezTo>
                  <a:pt x="1394" y="47"/>
                  <a:pt x="1394" y="46"/>
                  <a:pt x="1394" y="46"/>
                </a:cubicBezTo>
                <a:close/>
                <a:moveTo>
                  <a:pt x="1579" y="46"/>
                </a:moveTo>
                <a:cubicBezTo>
                  <a:pt x="1578" y="46"/>
                  <a:pt x="1578" y="47"/>
                  <a:pt x="1578" y="47"/>
                </a:cubicBezTo>
                <a:cubicBezTo>
                  <a:pt x="1579" y="47"/>
                  <a:pt x="1579" y="46"/>
                  <a:pt x="1579" y="46"/>
                </a:cubicBezTo>
                <a:close/>
                <a:moveTo>
                  <a:pt x="1681" y="46"/>
                </a:moveTo>
                <a:cubicBezTo>
                  <a:pt x="1681" y="46"/>
                  <a:pt x="1681" y="47"/>
                  <a:pt x="1680" y="47"/>
                </a:cubicBezTo>
                <a:cubicBezTo>
                  <a:pt x="1681" y="47"/>
                  <a:pt x="1681" y="46"/>
                  <a:pt x="1681" y="46"/>
                </a:cubicBezTo>
                <a:close/>
                <a:moveTo>
                  <a:pt x="1747" y="46"/>
                </a:moveTo>
                <a:cubicBezTo>
                  <a:pt x="1746" y="46"/>
                  <a:pt x="1746" y="47"/>
                  <a:pt x="1746" y="47"/>
                </a:cubicBezTo>
                <a:cubicBezTo>
                  <a:pt x="1747" y="47"/>
                  <a:pt x="1747" y="46"/>
                  <a:pt x="1747" y="46"/>
                </a:cubicBezTo>
                <a:close/>
                <a:moveTo>
                  <a:pt x="550" y="37"/>
                </a:moveTo>
                <a:cubicBezTo>
                  <a:pt x="550" y="37"/>
                  <a:pt x="550" y="38"/>
                  <a:pt x="550" y="38"/>
                </a:cubicBezTo>
                <a:cubicBezTo>
                  <a:pt x="550" y="38"/>
                  <a:pt x="550" y="37"/>
                  <a:pt x="550" y="37"/>
                </a:cubicBezTo>
                <a:close/>
                <a:moveTo>
                  <a:pt x="593" y="38"/>
                </a:moveTo>
                <a:cubicBezTo>
                  <a:pt x="593" y="37"/>
                  <a:pt x="593" y="37"/>
                  <a:pt x="593" y="37"/>
                </a:cubicBezTo>
                <a:cubicBezTo>
                  <a:pt x="593" y="37"/>
                  <a:pt x="593" y="38"/>
                  <a:pt x="593" y="38"/>
                </a:cubicBezTo>
                <a:close/>
                <a:moveTo>
                  <a:pt x="655" y="37"/>
                </a:moveTo>
                <a:cubicBezTo>
                  <a:pt x="654" y="37"/>
                  <a:pt x="654" y="38"/>
                  <a:pt x="654" y="38"/>
                </a:cubicBezTo>
                <a:cubicBezTo>
                  <a:pt x="655" y="38"/>
                  <a:pt x="655" y="37"/>
                  <a:pt x="655" y="37"/>
                </a:cubicBezTo>
                <a:close/>
                <a:moveTo>
                  <a:pt x="560" y="47"/>
                </a:moveTo>
                <a:cubicBezTo>
                  <a:pt x="560" y="47"/>
                  <a:pt x="561" y="47"/>
                  <a:pt x="561" y="47"/>
                </a:cubicBezTo>
                <a:cubicBezTo>
                  <a:pt x="561" y="47"/>
                  <a:pt x="561" y="47"/>
                  <a:pt x="560" y="47"/>
                </a:cubicBezTo>
                <a:close/>
                <a:moveTo>
                  <a:pt x="873" y="51"/>
                </a:moveTo>
                <a:cubicBezTo>
                  <a:pt x="873" y="51"/>
                  <a:pt x="873" y="51"/>
                  <a:pt x="873" y="52"/>
                </a:cubicBezTo>
                <a:cubicBezTo>
                  <a:pt x="873" y="52"/>
                  <a:pt x="873" y="51"/>
                  <a:pt x="873" y="51"/>
                </a:cubicBezTo>
                <a:close/>
                <a:moveTo>
                  <a:pt x="753" y="47"/>
                </a:moveTo>
                <a:cubicBezTo>
                  <a:pt x="753" y="47"/>
                  <a:pt x="753" y="47"/>
                  <a:pt x="753" y="47"/>
                </a:cubicBezTo>
                <a:cubicBezTo>
                  <a:pt x="753" y="47"/>
                  <a:pt x="753" y="47"/>
                  <a:pt x="753" y="47"/>
                </a:cubicBezTo>
                <a:close/>
                <a:moveTo>
                  <a:pt x="875" y="38"/>
                </a:moveTo>
                <a:cubicBezTo>
                  <a:pt x="875" y="38"/>
                  <a:pt x="876" y="37"/>
                  <a:pt x="876" y="37"/>
                </a:cubicBezTo>
                <a:cubicBezTo>
                  <a:pt x="875" y="37"/>
                  <a:pt x="875" y="37"/>
                  <a:pt x="875" y="38"/>
                </a:cubicBezTo>
                <a:close/>
                <a:moveTo>
                  <a:pt x="1044" y="38"/>
                </a:moveTo>
                <a:cubicBezTo>
                  <a:pt x="1044" y="38"/>
                  <a:pt x="1044" y="37"/>
                  <a:pt x="1044" y="37"/>
                </a:cubicBezTo>
                <a:cubicBezTo>
                  <a:pt x="1044" y="37"/>
                  <a:pt x="1044" y="37"/>
                  <a:pt x="1044" y="38"/>
                </a:cubicBezTo>
                <a:close/>
                <a:moveTo>
                  <a:pt x="1084" y="47"/>
                </a:moveTo>
                <a:cubicBezTo>
                  <a:pt x="1084" y="47"/>
                  <a:pt x="1084" y="47"/>
                  <a:pt x="1085" y="47"/>
                </a:cubicBezTo>
                <a:cubicBezTo>
                  <a:pt x="1085" y="47"/>
                  <a:pt x="1085" y="47"/>
                  <a:pt x="1084" y="47"/>
                </a:cubicBezTo>
                <a:close/>
                <a:moveTo>
                  <a:pt x="1221" y="38"/>
                </a:moveTo>
                <a:cubicBezTo>
                  <a:pt x="1222" y="38"/>
                  <a:pt x="1222" y="37"/>
                  <a:pt x="1222" y="37"/>
                </a:cubicBezTo>
                <a:cubicBezTo>
                  <a:pt x="1222" y="37"/>
                  <a:pt x="1222" y="37"/>
                  <a:pt x="1221" y="38"/>
                </a:cubicBezTo>
                <a:close/>
                <a:moveTo>
                  <a:pt x="643" y="38"/>
                </a:moveTo>
                <a:cubicBezTo>
                  <a:pt x="643" y="38"/>
                  <a:pt x="643" y="38"/>
                  <a:pt x="643" y="37"/>
                </a:cubicBezTo>
                <a:cubicBezTo>
                  <a:pt x="643" y="38"/>
                  <a:pt x="643" y="38"/>
                  <a:pt x="643" y="38"/>
                </a:cubicBezTo>
                <a:close/>
                <a:moveTo>
                  <a:pt x="1113" y="51"/>
                </a:moveTo>
                <a:cubicBezTo>
                  <a:pt x="1113" y="51"/>
                  <a:pt x="1113" y="51"/>
                  <a:pt x="1113" y="52"/>
                </a:cubicBezTo>
                <a:cubicBezTo>
                  <a:pt x="1113" y="52"/>
                  <a:pt x="1113" y="51"/>
                  <a:pt x="1113" y="51"/>
                </a:cubicBezTo>
                <a:close/>
                <a:moveTo>
                  <a:pt x="1292" y="51"/>
                </a:moveTo>
                <a:cubicBezTo>
                  <a:pt x="1291" y="51"/>
                  <a:pt x="1291" y="51"/>
                  <a:pt x="1291" y="52"/>
                </a:cubicBezTo>
                <a:cubicBezTo>
                  <a:pt x="1292" y="52"/>
                  <a:pt x="1292" y="51"/>
                  <a:pt x="1292" y="51"/>
                </a:cubicBezTo>
                <a:close/>
                <a:moveTo>
                  <a:pt x="966" y="37"/>
                </a:moveTo>
                <a:cubicBezTo>
                  <a:pt x="966" y="38"/>
                  <a:pt x="966" y="38"/>
                  <a:pt x="966" y="38"/>
                </a:cubicBezTo>
                <a:cubicBezTo>
                  <a:pt x="966" y="38"/>
                  <a:pt x="966" y="38"/>
                  <a:pt x="966" y="37"/>
                </a:cubicBezTo>
                <a:close/>
                <a:moveTo>
                  <a:pt x="597" y="48"/>
                </a:moveTo>
                <a:cubicBezTo>
                  <a:pt x="597" y="47"/>
                  <a:pt x="597" y="47"/>
                  <a:pt x="597" y="47"/>
                </a:cubicBezTo>
                <a:cubicBezTo>
                  <a:pt x="597" y="47"/>
                  <a:pt x="597" y="47"/>
                  <a:pt x="597" y="48"/>
                </a:cubicBezTo>
                <a:close/>
                <a:moveTo>
                  <a:pt x="609" y="47"/>
                </a:moveTo>
                <a:cubicBezTo>
                  <a:pt x="609" y="47"/>
                  <a:pt x="609" y="47"/>
                  <a:pt x="609" y="48"/>
                </a:cubicBezTo>
                <a:cubicBezTo>
                  <a:pt x="609" y="47"/>
                  <a:pt x="609" y="47"/>
                  <a:pt x="609" y="47"/>
                </a:cubicBezTo>
                <a:close/>
                <a:moveTo>
                  <a:pt x="639" y="48"/>
                </a:moveTo>
                <a:cubicBezTo>
                  <a:pt x="640" y="47"/>
                  <a:pt x="640" y="47"/>
                  <a:pt x="640" y="47"/>
                </a:cubicBezTo>
                <a:cubicBezTo>
                  <a:pt x="639" y="47"/>
                  <a:pt x="639" y="47"/>
                  <a:pt x="639" y="48"/>
                </a:cubicBezTo>
                <a:close/>
                <a:moveTo>
                  <a:pt x="1255" y="37"/>
                </a:moveTo>
                <a:cubicBezTo>
                  <a:pt x="1255" y="38"/>
                  <a:pt x="1255" y="38"/>
                  <a:pt x="1255" y="38"/>
                </a:cubicBezTo>
                <a:cubicBezTo>
                  <a:pt x="1255" y="38"/>
                  <a:pt x="1255" y="37"/>
                  <a:pt x="1255" y="37"/>
                </a:cubicBezTo>
                <a:close/>
                <a:moveTo>
                  <a:pt x="651" y="47"/>
                </a:moveTo>
                <a:cubicBezTo>
                  <a:pt x="651" y="47"/>
                  <a:pt x="651" y="47"/>
                  <a:pt x="651" y="48"/>
                </a:cubicBezTo>
                <a:cubicBezTo>
                  <a:pt x="651" y="47"/>
                  <a:pt x="651" y="47"/>
                  <a:pt x="651" y="47"/>
                </a:cubicBezTo>
                <a:close/>
                <a:moveTo>
                  <a:pt x="594" y="39"/>
                </a:moveTo>
                <a:cubicBezTo>
                  <a:pt x="594" y="38"/>
                  <a:pt x="594" y="38"/>
                  <a:pt x="593" y="38"/>
                </a:cubicBezTo>
                <a:cubicBezTo>
                  <a:pt x="593" y="38"/>
                  <a:pt x="594" y="38"/>
                  <a:pt x="594" y="39"/>
                </a:cubicBezTo>
                <a:close/>
                <a:moveTo>
                  <a:pt x="795" y="38"/>
                </a:moveTo>
                <a:cubicBezTo>
                  <a:pt x="795" y="38"/>
                  <a:pt x="795" y="38"/>
                  <a:pt x="796" y="38"/>
                </a:cubicBezTo>
                <a:cubicBezTo>
                  <a:pt x="796" y="38"/>
                  <a:pt x="795" y="38"/>
                  <a:pt x="795" y="38"/>
                </a:cubicBezTo>
                <a:close/>
                <a:moveTo>
                  <a:pt x="671" y="47"/>
                </a:moveTo>
                <a:cubicBezTo>
                  <a:pt x="671" y="47"/>
                  <a:pt x="670" y="47"/>
                  <a:pt x="670" y="48"/>
                </a:cubicBezTo>
                <a:cubicBezTo>
                  <a:pt x="671" y="47"/>
                  <a:pt x="671" y="47"/>
                  <a:pt x="671" y="47"/>
                </a:cubicBezTo>
                <a:close/>
                <a:moveTo>
                  <a:pt x="802" y="47"/>
                </a:moveTo>
                <a:cubicBezTo>
                  <a:pt x="802" y="47"/>
                  <a:pt x="802" y="47"/>
                  <a:pt x="803" y="48"/>
                </a:cubicBezTo>
                <a:cubicBezTo>
                  <a:pt x="803" y="47"/>
                  <a:pt x="803" y="47"/>
                  <a:pt x="802" y="47"/>
                </a:cubicBezTo>
                <a:close/>
                <a:moveTo>
                  <a:pt x="1111" y="55"/>
                </a:moveTo>
                <a:cubicBezTo>
                  <a:pt x="1111" y="55"/>
                  <a:pt x="1111" y="56"/>
                  <a:pt x="1111" y="56"/>
                </a:cubicBezTo>
                <a:cubicBezTo>
                  <a:pt x="1111" y="56"/>
                  <a:pt x="1111" y="55"/>
                  <a:pt x="1111" y="55"/>
                </a:cubicBezTo>
                <a:close/>
                <a:moveTo>
                  <a:pt x="1673" y="54"/>
                </a:moveTo>
                <a:cubicBezTo>
                  <a:pt x="1673" y="54"/>
                  <a:pt x="1673" y="55"/>
                  <a:pt x="1673" y="55"/>
                </a:cubicBezTo>
                <a:cubicBezTo>
                  <a:pt x="1673" y="55"/>
                  <a:pt x="1673" y="55"/>
                  <a:pt x="1673" y="54"/>
                </a:cubicBezTo>
                <a:close/>
                <a:moveTo>
                  <a:pt x="1140" y="47"/>
                </a:moveTo>
                <a:cubicBezTo>
                  <a:pt x="1140" y="47"/>
                  <a:pt x="1140" y="47"/>
                  <a:pt x="1140" y="47"/>
                </a:cubicBezTo>
                <a:cubicBezTo>
                  <a:pt x="1140" y="47"/>
                  <a:pt x="1140" y="47"/>
                  <a:pt x="1140" y="47"/>
                </a:cubicBezTo>
                <a:close/>
                <a:moveTo>
                  <a:pt x="551" y="38"/>
                </a:moveTo>
                <a:cubicBezTo>
                  <a:pt x="551" y="39"/>
                  <a:pt x="551" y="39"/>
                  <a:pt x="551" y="39"/>
                </a:cubicBezTo>
                <a:cubicBezTo>
                  <a:pt x="551" y="39"/>
                  <a:pt x="551" y="38"/>
                  <a:pt x="551" y="38"/>
                </a:cubicBezTo>
                <a:close/>
                <a:moveTo>
                  <a:pt x="654" y="38"/>
                </a:moveTo>
                <a:cubicBezTo>
                  <a:pt x="654" y="38"/>
                  <a:pt x="654" y="39"/>
                  <a:pt x="654" y="39"/>
                </a:cubicBezTo>
                <a:cubicBezTo>
                  <a:pt x="654" y="39"/>
                  <a:pt x="654" y="38"/>
                  <a:pt x="654" y="38"/>
                </a:cubicBezTo>
                <a:close/>
                <a:moveTo>
                  <a:pt x="569" y="51"/>
                </a:moveTo>
                <a:cubicBezTo>
                  <a:pt x="569" y="52"/>
                  <a:pt x="569" y="52"/>
                  <a:pt x="569" y="52"/>
                </a:cubicBezTo>
                <a:cubicBezTo>
                  <a:pt x="569" y="51"/>
                  <a:pt x="569" y="51"/>
                  <a:pt x="569" y="51"/>
                </a:cubicBezTo>
                <a:close/>
                <a:moveTo>
                  <a:pt x="599" y="52"/>
                </a:moveTo>
                <a:cubicBezTo>
                  <a:pt x="599" y="52"/>
                  <a:pt x="599" y="51"/>
                  <a:pt x="599" y="51"/>
                </a:cubicBezTo>
                <a:cubicBezTo>
                  <a:pt x="599" y="52"/>
                  <a:pt x="599" y="52"/>
                  <a:pt x="599" y="52"/>
                </a:cubicBezTo>
                <a:close/>
                <a:moveTo>
                  <a:pt x="649" y="51"/>
                </a:moveTo>
                <a:cubicBezTo>
                  <a:pt x="649" y="51"/>
                  <a:pt x="649" y="52"/>
                  <a:pt x="649" y="52"/>
                </a:cubicBezTo>
                <a:cubicBezTo>
                  <a:pt x="649" y="52"/>
                  <a:pt x="649" y="52"/>
                  <a:pt x="649" y="51"/>
                </a:cubicBezTo>
                <a:close/>
                <a:moveTo>
                  <a:pt x="1394" y="47"/>
                </a:moveTo>
                <a:cubicBezTo>
                  <a:pt x="1394" y="47"/>
                  <a:pt x="1394" y="47"/>
                  <a:pt x="1394" y="48"/>
                </a:cubicBezTo>
                <a:cubicBezTo>
                  <a:pt x="1394" y="47"/>
                  <a:pt x="1394" y="47"/>
                  <a:pt x="1394" y="47"/>
                </a:cubicBezTo>
                <a:close/>
                <a:moveTo>
                  <a:pt x="1566" y="48"/>
                </a:moveTo>
                <a:cubicBezTo>
                  <a:pt x="1566" y="47"/>
                  <a:pt x="1566" y="47"/>
                  <a:pt x="1566" y="47"/>
                </a:cubicBezTo>
                <a:cubicBezTo>
                  <a:pt x="1566" y="47"/>
                  <a:pt x="1566" y="47"/>
                  <a:pt x="1566" y="48"/>
                </a:cubicBezTo>
                <a:close/>
                <a:moveTo>
                  <a:pt x="966" y="38"/>
                </a:moveTo>
                <a:cubicBezTo>
                  <a:pt x="965" y="38"/>
                  <a:pt x="965" y="39"/>
                  <a:pt x="965" y="39"/>
                </a:cubicBezTo>
                <a:cubicBezTo>
                  <a:pt x="966" y="39"/>
                  <a:pt x="966" y="38"/>
                  <a:pt x="966" y="38"/>
                </a:cubicBezTo>
                <a:close/>
                <a:moveTo>
                  <a:pt x="1042" y="39"/>
                </a:moveTo>
                <a:cubicBezTo>
                  <a:pt x="1042" y="39"/>
                  <a:pt x="1043" y="38"/>
                  <a:pt x="1043" y="38"/>
                </a:cubicBezTo>
                <a:cubicBezTo>
                  <a:pt x="1043" y="38"/>
                  <a:pt x="1042" y="38"/>
                  <a:pt x="1042" y="39"/>
                </a:cubicBezTo>
                <a:close/>
                <a:moveTo>
                  <a:pt x="1578" y="47"/>
                </a:moveTo>
                <a:cubicBezTo>
                  <a:pt x="1578" y="47"/>
                  <a:pt x="1578" y="47"/>
                  <a:pt x="1578" y="48"/>
                </a:cubicBezTo>
                <a:cubicBezTo>
                  <a:pt x="1578" y="47"/>
                  <a:pt x="1578" y="47"/>
                  <a:pt x="1578" y="47"/>
                </a:cubicBezTo>
                <a:close/>
                <a:moveTo>
                  <a:pt x="830" y="51"/>
                </a:moveTo>
                <a:cubicBezTo>
                  <a:pt x="830" y="51"/>
                  <a:pt x="830" y="52"/>
                  <a:pt x="830" y="52"/>
                </a:cubicBezTo>
                <a:cubicBezTo>
                  <a:pt x="830" y="52"/>
                  <a:pt x="831" y="52"/>
                  <a:pt x="830" y="51"/>
                </a:cubicBezTo>
                <a:close/>
                <a:moveTo>
                  <a:pt x="1734" y="48"/>
                </a:moveTo>
                <a:cubicBezTo>
                  <a:pt x="1734" y="47"/>
                  <a:pt x="1734" y="47"/>
                  <a:pt x="1734" y="47"/>
                </a:cubicBezTo>
                <a:cubicBezTo>
                  <a:pt x="1734" y="47"/>
                  <a:pt x="1734" y="47"/>
                  <a:pt x="1734" y="48"/>
                </a:cubicBezTo>
                <a:close/>
                <a:moveTo>
                  <a:pt x="1746" y="47"/>
                </a:moveTo>
                <a:cubicBezTo>
                  <a:pt x="1746" y="47"/>
                  <a:pt x="1746" y="47"/>
                  <a:pt x="1746" y="48"/>
                </a:cubicBezTo>
                <a:cubicBezTo>
                  <a:pt x="1746" y="47"/>
                  <a:pt x="1746" y="47"/>
                  <a:pt x="1746" y="47"/>
                </a:cubicBezTo>
                <a:close/>
                <a:moveTo>
                  <a:pt x="643" y="39"/>
                </a:moveTo>
                <a:cubicBezTo>
                  <a:pt x="643" y="39"/>
                  <a:pt x="643" y="39"/>
                  <a:pt x="643" y="39"/>
                </a:cubicBezTo>
                <a:cubicBezTo>
                  <a:pt x="643" y="39"/>
                  <a:pt x="643" y="39"/>
                  <a:pt x="643" y="39"/>
                </a:cubicBezTo>
                <a:close/>
                <a:moveTo>
                  <a:pt x="561" y="47"/>
                </a:moveTo>
                <a:cubicBezTo>
                  <a:pt x="562" y="47"/>
                  <a:pt x="562" y="48"/>
                  <a:pt x="562" y="48"/>
                </a:cubicBezTo>
                <a:cubicBezTo>
                  <a:pt x="562" y="47"/>
                  <a:pt x="562" y="47"/>
                  <a:pt x="561" y="47"/>
                </a:cubicBezTo>
                <a:close/>
                <a:moveTo>
                  <a:pt x="1680" y="48"/>
                </a:moveTo>
                <a:cubicBezTo>
                  <a:pt x="1679" y="48"/>
                  <a:pt x="1679" y="49"/>
                  <a:pt x="1679" y="49"/>
                </a:cubicBezTo>
                <a:cubicBezTo>
                  <a:pt x="1679" y="49"/>
                  <a:pt x="1679" y="49"/>
                  <a:pt x="1680" y="48"/>
                </a:cubicBezTo>
                <a:close/>
                <a:moveTo>
                  <a:pt x="872" y="54"/>
                </a:moveTo>
                <a:cubicBezTo>
                  <a:pt x="872" y="54"/>
                  <a:pt x="872" y="55"/>
                  <a:pt x="872" y="55"/>
                </a:cubicBezTo>
                <a:cubicBezTo>
                  <a:pt x="872" y="55"/>
                  <a:pt x="872" y="54"/>
                  <a:pt x="872" y="54"/>
                </a:cubicBezTo>
                <a:close/>
                <a:moveTo>
                  <a:pt x="1211" y="49"/>
                </a:moveTo>
                <a:cubicBezTo>
                  <a:pt x="1212" y="49"/>
                  <a:pt x="1212" y="49"/>
                  <a:pt x="1212" y="49"/>
                </a:cubicBezTo>
                <a:cubicBezTo>
                  <a:pt x="1211" y="49"/>
                  <a:pt x="1211" y="49"/>
                  <a:pt x="1211" y="49"/>
                </a:cubicBezTo>
                <a:close/>
                <a:moveTo>
                  <a:pt x="681" y="63"/>
                </a:moveTo>
                <a:cubicBezTo>
                  <a:pt x="682" y="64"/>
                  <a:pt x="682" y="64"/>
                  <a:pt x="682" y="64"/>
                </a:cubicBezTo>
                <a:cubicBezTo>
                  <a:pt x="682" y="63"/>
                  <a:pt x="682" y="63"/>
                  <a:pt x="681" y="63"/>
                </a:cubicBezTo>
                <a:close/>
                <a:moveTo>
                  <a:pt x="1379" y="63"/>
                </a:moveTo>
                <a:cubicBezTo>
                  <a:pt x="1379" y="63"/>
                  <a:pt x="1379" y="63"/>
                  <a:pt x="1378" y="64"/>
                </a:cubicBezTo>
                <a:cubicBezTo>
                  <a:pt x="1379" y="64"/>
                  <a:pt x="1379" y="63"/>
                  <a:pt x="1379" y="63"/>
                </a:cubicBezTo>
                <a:close/>
                <a:moveTo>
                  <a:pt x="610" y="49"/>
                </a:moveTo>
                <a:cubicBezTo>
                  <a:pt x="609" y="49"/>
                  <a:pt x="610" y="50"/>
                  <a:pt x="610" y="50"/>
                </a:cubicBezTo>
                <a:cubicBezTo>
                  <a:pt x="610" y="49"/>
                  <a:pt x="610" y="49"/>
                  <a:pt x="610" y="49"/>
                </a:cubicBezTo>
                <a:close/>
                <a:moveTo>
                  <a:pt x="644" y="64"/>
                </a:moveTo>
                <a:cubicBezTo>
                  <a:pt x="644" y="64"/>
                  <a:pt x="644" y="64"/>
                  <a:pt x="644" y="64"/>
                </a:cubicBezTo>
                <a:cubicBezTo>
                  <a:pt x="644" y="64"/>
                  <a:pt x="644" y="64"/>
                  <a:pt x="644" y="64"/>
                </a:cubicBezTo>
                <a:close/>
                <a:moveTo>
                  <a:pt x="682" y="64"/>
                </a:moveTo>
                <a:cubicBezTo>
                  <a:pt x="682" y="64"/>
                  <a:pt x="683" y="64"/>
                  <a:pt x="683" y="64"/>
                </a:cubicBezTo>
                <a:cubicBezTo>
                  <a:pt x="683" y="64"/>
                  <a:pt x="683" y="64"/>
                  <a:pt x="682" y="64"/>
                </a:cubicBezTo>
                <a:close/>
                <a:moveTo>
                  <a:pt x="1563" y="63"/>
                </a:moveTo>
                <a:cubicBezTo>
                  <a:pt x="1563" y="64"/>
                  <a:pt x="1562" y="64"/>
                  <a:pt x="1562" y="64"/>
                </a:cubicBezTo>
                <a:cubicBezTo>
                  <a:pt x="1563" y="64"/>
                  <a:pt x="1563" y="64"/>
                  <a:pt x="1563" y="63"/>
                </a:cubicBezTo>
                <a:close/>
                <a:moveTo>
                  <a:pt x="1655" y="64"/>
                </a:moveTo>
                <a:cubicBezTo>
                  <a:pt x="1655" y="64"/>
                  <a:pt x="1655" y="64"/>
                  <a:pt x="1655" y="64"/>
                </a:cubicBezTo>
                <a:cubicBezTo>
                  <a:pt x="1655" y="64"/>
                  <a:pt x="1655" y="64"/>
                  <a:pt x="1655" y="64"/>
                </a:cubicBezTo>
                <a:close/>
                <a:moveTo>
                  <a:pt x="1731" y="63"/>
                </a:moveTo>
                <a:cubicBezTo>
                  <a:pt x="1731" y="64"/>
                  <a:pt x="1730" y="64"/>
                  <a:pt x="1730" y="64"/>
                </a:cubicBezTo>
                <a:cubicBezTo>
                  <a:pt x="1731" y="64"/>
                  <a:pt x="1731" y="64"/>
                  <a:pt x="1731" y="63"/>
                </a:cubicBezTo>
                <a:close/>
                <a:moveTo>
                  <a:pt x="1669" y="57"/>
                </a:moveTo>
                <a:cubicBezTo>
                  <a:pt x="1669" y="57"/>
                  <a:pt x="1669" y="57"/>
                  <a:pt x="1669" y="57"/>
                </a:cubicBezTo>
                <a:cubicBezTo>
                  <a:pt x="1669" y="57"/>
                  <a:pt x="1669" y="57"/>
                  <a:pt x="1669" y="57"/>
                </a:cubicBezTo>
                <a:close/>
                <a:moveTo>
                  <a:pt x="615" y="64"/>
                </a:moveTo>
                <a:cubicBezTo>
                  <a:pt x="615" y="64"/>
                  <a:pt x="615" y="64"/>
                  <a:pt x="615" y="65"/>
                </a:cubicBezTo>
                <a:cubicBezTo>
                  <a:pt x="615" y="64"/>
                  <a:pt x="615" y="64"/>
                  <a:pt x="615" y="64"/>
                </a:cubicBezTo>
                <a:close/>
                <a:moveTo>
                  <a:pt x="633" y="65"/>
                </a:moveTo>
                <a:cubicBezTo>
                  <a:pt x="633" y="65"/>
                  <a:pt x="634" y="64"/>
                  <a:pt x="634" y="64"/>
                </a:cubicBezTo>
                <a:cubicBezTo>
                  <a:pt x="633" y="64"/>
                  <a:pt x="633" y="64"/>
                  <a:pt x="633" y="65"/>
                </a:cubicBezTo>
                <a:close/>
                <a:moveTo>
                  <a:pt x="683" y="64"/>
                </a:moveTo>
                <a:cubicBezTo>
                  <a:pt x="683" y="64"/>
                  <a:pt x="684" y="64"/>
                  <a:pt x="684" y="64"/>
                </a:cubicBezTo>
                <a:cubicBezTo>
                  <a:pt x="684" y="64"/>
                  <a:pt x="683" y="64"/>
                  <a:pt x="683" y="64"/>
                </a:cubicBezTo>
                <a:close/>
                <a:moveTo>
                  <a:pt x="1670" y="64"/>
                </a:moveTo>
                <a:cubicBezTo>
                  <a:pt x="1670" y="64"/>
                  <a:pt x="1670" y="65"/>
                  <a:pt x="1670" y="65"/>
                </a:cubicBezTo>
                <a:cubicBezTo>
                  <a:pt x="1670" y="64"/>
                  <a:pt x="1670" y="64"/>
                  <a:pt x="1670" y="64"/>
                </a:cubicBezTo>
                <a:close/>
                <a:moveTo>
                  <a:pt x="684" y="64"/>
                </a:moveTo>
                <a:cubicBezTo>
                  <a:pt x="684" y="65"/>
                  <a:pt x="684" y="65"/>
                  <a:pt x="685" y="65"/>
                </a:cubicBezTo>
                <a:cubicBezTo>
                  <a:pt x="685" y="64"/>
                  <a:pt x="684" y="64"/>
                  <a:pt x="684" y="64"/>
                </a:cubicBezTo>
                <a:close/>
                <a:moveTo>
                  <a:pt x="612" y="57"/>
                </a:moveTo>
                <a:cubicBezTo>
                  <a:pt x="612" y="57"/>
                  <a:pt x="612" y="58"/>
                  <a:pt x="613" y="58"/>
                </a:cubicBezTo>
                <a:cubicBezTo>
                  <a:pt x="613" y="57"/>
                  <a:pt x="613" y="57"/>
                  <a:pt x="612" y="57"/>
                </a:cubicBezTo>
                <a:close/>
                <a:moveTo>
                  <a:pt x="1362" y="65"/>
                </a:moveTo>
                <a:cubicBezTo>
                  <a:pt x="1362" y="65"/>
                  <a:pt x="1362" y="65"/>
                  <a:pt x="1362" y="64"/>
                </a:cubicBezTo>
                <a:cubicBezTo>
                  <a:pt x="1362" y="64"/>
                  <a:pt x="1362" y="64"/>
                  <a:pt x="1362" y="65"/>
                </a:cubicBezTo>
                <a:close/>
                <a:moveTo>
                  <a:pt x="1378" y="64"/>
                </a:moveTo>
                <a:cubicBezTo>
                  <a:pt x="1377" y="64"/>
                  <a:pt x="1377" y="64"/>
                  <a:pt x="1377" y="65"/>
                </a:cubicBezTo>
                <a:cubicBezTo>
                  <a:pt x="1377" y="65"/>
                  <a:pt x="1378" y="65"/>
                  <a:pt x="1378" y="64"/>
                </a:cubicBezTo>
                <a:close/>
                <a:moveTo>
                  <a:pt x="604" y="65"/>
                </a:moveTo>
                <a:cubicBezTo>
                  <a:pt x="604" y="65"/>
                  <a:pt x="604" y="65"/>
                  <a:pt x="604" y="65"/>
                </a:cubicBezTo>
                <a:cubicBezTo>
                  <a:pt x="604" y="65"/>
                  <a:pt x="604" y="65"/>
                  <a:pt x="604" y="65"/>
                </a:cubicBezTo>
                <a:close/>
                <a:moveTo>
                  <a:pt x="685" y="65"/>
                </a:moveTo>
                <a:cubicBezTo>
                  <a:pt x="685" y="65"/>
                  <a:pt x="685" y="65"/>
                  <a:pt x="685" y="65"/>
                </a:cubicBezTo>
                <a:cubicBezTo>
                  <a:pt x="685" y="65"/>
                  <a:pt x="685" y="65"/>
                  <a:pt x="685" y="65"/>
                </a:cubicBezTo>
                <a:close/>
                <a:moveTo>
                  <a:pt x="1546" y="65"/>
                </a:moveTo>
                <a:cubicBezTo>
                  <a:pt x="1546" y="65"/>
                  <a:pt x="1546" y="65"/>
                  <a:pt x="1546" y="65"/>
                </a:cubicBezTo>
                <a:cubicBezTo>
                  <a:pt x="1546" y="65"/>
                  <a:pt x="1546" y="65"/>
                  <a:pt x="1546" y="65"/>
                </a:cubicBezTo>
                <a:close/>
                <a:moveTo>
                  <a:pt x="1561" y="65"/>
                </a:moveTo>
                <a:cubicBezTo>
                  <a:pt x="1561" y="65"/>
                  <a:pt x="1561" y="65"/>
                  <a:pt x="1561" y="65"/>
                </a:cubicBezTo>
                <a:cubicBezTo>
                  <a:pt x="1561" y="65"/>
                  <a:pt x="1561" y="65"/>
                  <a:pt x="1561" y="65"/>
                </a:cubicBezTo>
                <a:close/>
                <a:moveTo>
                  <a:pt x="1714" y="65"/>
                </a:moveTo>
                <a:cubicBezTo>
                  <a:pt x="1714" y="65"/>
                  <a:pt x="1714" y="65"/>
                  <a:pt x="1714" y="65"/>
                </a:cubicBezTo>
                <a:cubicBezTo>
                  <a:pt x="1714" y="65"/>
                  <a:pt x="1714" y="65"/>
                  <a:pt x="1714" y="65"/>
                </a:cubicBezTo>
                <a:close/>
                <a:moveTo>
                  <a:pt x="1730" y="65"/>
                </a:moveTo>
                <a:cubicBezTo>
                  <a:pt x="1729" y="65"/>
                  <a:pt x="1729" y="65"/>
                  <a:pt x="1729" y="65"/>
                </a:cubicBezTo>
                <a:cubicBezTo>
                  <a:pt x="1729" y="65"/>
                  <a:pt x="1730" y="65"/>
                  <a:pt x="1730" y="65"/>
                </a:cubicBezTo>
                <a:close/>
                <a:moveTo>
                  <a:pt x="633" y="66"/>
                </a:moveTo>
                <a:cubicBezTo>
                  <a:pt x="633" y="66"/>
                  <a:pt x="633" y="65"/>
                  <a:pt x="633" y="65"/>
                </a:cubicBezTo>
                <a:cubicBezTo>
                  <a:pt x="633" y="65"/>
                  <a:pt x="633" y="65"/>
                  <a:pt x="633" y="66"/>
                </a:cubicBezTo>
                <a:close/>
                <a:moveTo>
                  <a:pt x="685" y="65"/>
                </a:moveTo>
                <a:cubicBezTo>
                  <a:pt x="685" y="65"/>
                  <a:pt x="686" y="65"/>
                  <a:pt x="686" y="65"/>
                </a:cubicBezTo>
                <a:cubicBezTo>
                  <a:pt x="686" y="65"/>
                  <a:pt x="686" y="65"/>
                  <a:pt x="685" y="65"/>
                </a:cubicBezTo>
                <a:close/>
                <a:moveTo>
                  <a:pt x="1683" y="40"/>
                </a:moveTo>
                <a:cubicBezTo>
                  <a:pt x="1683" y="41"/>
                  <a:pt x="1683" y="41"/>
                  <a:pt x="1683" y="41"/>
                </a:cubicBezTo>
                <a:cubicBezTo>
                  <a:pt x="1683" y="41"/>
                  <a:pt x="1683" y="41"/>
                  <a:pt x="1683" y="40"/>
                </a:cubicBezTo>
                <a:close/>
                <a:moveTo>
                  <a:pt x="1670" y="65"/>
                </a:moveTo>
                <a:cubicBezTo>
                  <a:pt x="1670" y="65"/>
                  <a:pt x="1671" y="66"/>
                  <a:pt x="1671" y="66"/>
                </a:cubicBezTo>
                <a:cubicBezTo>
                  <a:pt x="1671" y="65"/>
                  <a:pt x="1671" y="65"/>
                  <a:pt x="1670" y="65"/>
                </a:cubicBezTo>
                <a:close/>
                <a:moveTo>
                  <a:pt x="586" y="65"/>
                </a:moveTo>
                <a:cubicBezTo>
                  <a:pt x="586" y="66"/>
                  <a:pt x="586" y="66"/>
                  <a:pt x="586" y="66"/>
                </a:cubicBezTo>
                <a:cubicBezTo>
                  <a:pt x="586" y="66"/>
                  <a:pt x="586" y="65"/>
                  <a:pt x="586" y="65"/>
                </a:cubicBezTo>
                <a:close/>
                <a:moveTo>
                  <a:pt x="644" y="65"/>
                </a:moveTo>
                <a:cubicBezTo>
                  <a:pt x="643" y="65"/>
                  <a:pt x="643" y="66"/>
                  <a:pt x="643" y="66"/>
                </a:cubicBezTo>
                <a:cubicBezTo>
                  <a:pt x="644" y="66"/>
                  <a:pt x="644" y="66"/>
                  <a:pt x="644" y="65"/>
                </a:cubicBezTo>
                <a:close/>
                <a:moveTo>
                  <a:pt x="686" y="65"/>
                </a:moveTo>
                <a:cubicBezTo>
                  <a:pt x="686" y="66"/>
                  <a:pt x="686" y="66"/>
                  <a:pt x="687" y="66"/>
                </a:cubicBezTo>
                <a:cubicBezTo>
                  <a:pt x="687" y="65"/>
                  <a:pt x="686" y="65"/>
                  <a:pt x="686" y="65"/>
                </a:cubicBezTo>
                <a:close/>
                <a:moveTo>
                  <a:pt x="1376" y="65"/>
                </a:moveTo>
                <a:cubicBezTo>
                  <a:pt x="1376" y="65"/>
                  <a:pt x="1376" y="65"/>
                  <a:pt x="1376" y="66"/>
                </a:cubicBezTo>
                <a:cubicBezTo>
                  <a:pt x="1376" y="66"/>
                  <a:pt x="1376" y="66"/>
                  <a:pt x="1376" y="65"/>
                </a:cubicBezTo>
                <a:close/>
                <a:moveTo>
                  <a:pt x="687" y="66"/>
                </a:moveTo>
                <a:cubicBezTo>
                  <a:pt x="687" y="66"/>
                  <a:pt x="687" y="66"/>
                  <a:pt x="687" y="66"/>
                </a:cubicBezTo>
                <a:cubicBezTo>
                  <a:pt x="687" y="66"/>
                  <a:pt x="687" y="66"/>
                  <a:pt x="687" y="66"/>
                </a:cubicBezTo>
                <a:close/>
                <a:moveTo>
                  <a:pt x="1560" y="66"/>
                </a:moveTo>
                <a:cubicBezTo>
                  <a:pt x="1560" y="66"/>
                  <a:pt x="1560" y="66"/>
                  <a:pt x="1559" y="66"/>
                </a:cubicBezTo>
                <a:cubicBezTo>
                  <a:pt x="1560" y="66"/>
                  <a:pt x="1560" y="66"/>
                  <a:pt x="1560" y="66"/>
                </a:cubicBezTo>
                <a:close/>
                <a:moveTo>
                  <a:pt x="1671" y="66"/>
                </a:moveTo>
                <a:cubicBezTo>
                  <a:pt x="1671" y="66"/>
                  <a:pt x="1671" y="66"/>
                  <a:pt x="1671" y="66"/>
                </a:cubicBezTo>
                <a:cubicBezTo>
                  <a:pt x="1671" y="66"/>
                  <a:pt x="1671" y="66"/>
                  <a:pt x="1671" y="66"/>
                </a:cubicBezTo>
                <a:close/>
                <a:moveTo>
                  <a:pt x="586" y="66"/>
                </a:moveTo>
                <a:cubicBezTo>
                  <a:pt x="586" y="66"/>
                  <a:pt x="586" y="67"/>
                  <a:pt x="587" y="67"/>
                </a:cubicBezTo>
                <a:cubicBezTo>
                  <a:pt x="587" y="66"/>
                  <a:pt x="586" y="66"/>
                  <a:pt x="586" y="66"/>
                </a:cubicBezTo>
                <a:close/>
                <a:moveTo>
                  <a:pt x="687" y="66"/>
                </a:moveTo>
                <a:cubicBezTo>
                  <a:pt x="688" y="66"/>
                  <a:pt x="688" y="66"/>
                  <a:pt x="688" y="66"/>
                </a:cubicBezTo>
                <a:cubicBezTo>
                  <a:pt x="688" y="66"/>
                  <a:pt x="688" y="66"/>
                  <a:pt x="687" y="66"/>
                </a:cubicBezTo>
                <a:close/>
                <a:moveTo>
                  <a:pt x="1375" y="66"/>
                </a:moveTo>
                <a:cubicBezTo>
                  <a:pt x="1375" y="66"/>
                  <a:pt x="1375" y="66"/>
                  <a:pt x="1375" y="66"/>
                </a:cubicBezTo>
                <a:cubicBezTo>
                  <a:pt x="1375" y="66"/>
                  <a:pt x="1375" y="66"/>
                  <a:pt x="1375" y="66"/>
                </a:cubicBezTo>
                <a:close/>
                <a:moveTo>
                  <a:pt x="1544" y="66"/>
                </a:moveTo>
                <a:cubicBezTo>
                  <a:pt x="1544" y="66"/>
                  <a:pt x="1544" y="66"/>
                  <a:pt x="1544" y="66"/>
                </a:cubicBezTo>
                <a:cubicBezTo>
                  <a:pt x="1544" y="66"/>
                  <a:pt x="1544" y="66"/>
                  <a:pt x="1544" y="66"/>
                </a:cubicBezTo>
                <a:close/>
                <a:moveTo>
                  <a:pt x="605" y="67"/>
                </a:moveTo>
                <a:cubicBezTo>
                  <a:pt x="605" y="67"/>
                  <a:pt x="605" y="66"/>
                  <a:pt x="605" y="66"/>
                </a:cubicBezTo>
                <a:cubicBezTo>
                  <a:pt x="605" y="67"/>
                  <a:pt x="605" y="67"/>
                  <a:pt x="605" y="67"/>
                </a:cubicBezTo>
                <a:close/>
                <a:moveTo>
                  <a:pt x="665" y="67"/>
                </a:moveTo>
                <a:cubicBezTo>
                  <a:pt x="665" y="66"/>
                  <a:pt x="665" y="66"/>
                  <a:pt x="665" y="66"/>
                </a:cubicBezTo>
                <a:cubicBezTo>
                  <a:pt x="665" y="67"/>
                  <a:pt x="665" y="67"/>
                  <a:pt x="665" y="67"/>
                </a:cubicBezTo>
                <a:close/>
                <a:moveTo>
                  <a:pt x="688" y="66"/>
                </a:moveTo>
                <a:cubicBezTo>
                  <a:pt x="688" y="67"/>
                  <a:pt x="689" y="67"/>
                  <a:pt x="689" y="67"/>
                </a:cubicBezTo>
                <a:cubicBezTo>
                  <a:pt x="689" y="66"/>
                  <a:pt x="688" y="66"/>
                  <a:pt x="688" y="66"/>
                </a:cubicBezTo>
                <a:close/>
                <a:moveTo>
                  <a:pt x="1578" y="48"/>
                </a:moveTo>
                <a:cubicBezTo>
                  <a:pt x="1577" y="48"/>
                  <a:pt x="1577" y="49"/>
                  <a:pt x="1577" y="49"/>
                </a:cubicBezTo>
                <a:cubicBezTo>
                  <a:pt x="1577" y="49"/>
                  <a:pt x="1578" y="49"/>
                  <a:pt x="1578" y="48"/>
                </a:cubicBezTo>
                <a:close/>
                <a:moveTo>
                  <a:pt x="1559" y="66"/>
                </a:moveTo>
                <a:cubicBezTo>
                  <a:pt x="1559" y="66"/>
                  <a:pt x="1559" y="66"/>
                  <a:pt x="1558" y="67"/>
                </a:cubicBezTo>
                <a:cubicBezTo>
                  <a:pt x="1559" y="67"/>
                  <a:pt x="1559" y="67"/>
                  <a:pt x="1559" y="66"/>
                </a:cubicBezTo>
                <a:close/>
                <a:moveTo>
                  <a:pt x="1727" y="66"/>
                </a:moveTo>
                <a:cubicBezTo>
                  <a:pt x="1727" y="66"/>
                  <a:pt x="1727" y="66"/>
                  <a:pt x="1727" y="67"/>
                </a:cubicBezTo>
                <a:cubicBezTo>
                  <a:pt x="1727" y="67"/>
                  <a:pt x="1727" y="67"/>
                  <a:pt x="1727" y="66"/>
                </a:cubicBezTo>
                <a:close/>
                <a:moveTo>
                  <a:pt x="636" y="58"/>
                </a:moveTo>
                <a:cubicBezTo>
                  <a:pt x="636" y="58"/>
                  <a:pt x="636" y="58"/>
                  <a:pt x="636" y="57"/>
                </a:cubicBezTo>
                <a:cubicBezTo>
                  <a:pt x="636" y="58"/>
                  <a:pt x="636" y="58"/>
                  <a:pt x="636" y="58"/>
                </a:cubicBezTo>
                <a:close/>
                <a:moveTo>
                  <a:pt x="1671" y="67"/>
                </a:moveTo>
                <a:cubicBezTo>
                  <a:pt x="1671" y="67"/>
                  <a:pt x="1672" y="67"/>
                  <a:pt x="1672" y="67"/>
                </a:cubicBezTo>
                <a:cubicBezTo>
                  <a:pt x="1672" y="67"/>
                  <a:pt x="1672" y="67"/>
                  <a:pt x="1671" y="67"/>
                </a:cubicBezTo>
                <a:close/>
                <a:moveTo>
                  <a:pt x="643" y="67"/>
                </a:moveTo>
                <a:cubicBezTo>
                  <a:pt x="643" y="67"/>
                  <a:pt x="643" y="67"/>
                  <a:pt x="643" y="68"/>
                </a:cubicBezTo>
                <a:cubicBezTo>
                  <a:pt x="643" y="68"/>
                  <a:pt x="643" y="67"/>
                  <a:pt x="643" y="67"/>
                </a:cubicBezTo>
                <a:close/>
                <a:moveTo>
                  <a:pt x="689" y="67"/>
                </a:moveTo>
                <a:cubicBezTo>
                  <a:pt x="689" y="67"/>
                  <a:pt x="690" y="67"/>
                  <a:pt x="690" y="67"/>
                </a:cubicBezTo>
                <a:cubicBezTo>
                  <a:pt x="690" y="67"/>
                  <a:pt x="690" y="67"/>
                  <a:pt x="689" y="67"/>
                </a:cubicBezTo>
                <a:close/>
                <a:moveTo>
                  <a:pt x="1374" y="67"/>
                </a:moveTo>
                <a:cubicBezTo>
                  <a:pt x="1374" y="67"/>
                  <a:pt x="1373" y="67"/>
                  <a:pt x="1373" y="67"/>
                </a:cubicBezTo>
                <a:cubicBezTo>
                  <a:pt x="1374" y="67"/>
                  <a:pt x="1374" y="67"/>
                  <a:pt x="1374" y="67"/>
                </a:cubicBezTo>
                <a:close/>
                <a:moveTo>
                  <a:pt x="605" y="68"/>
                </a:moveTo>
                <a:cubicBezTo>
                  <a:pt x="605" y="68"/>
                  <a:pt x="605" y="67"/>
                  <a:pt x="605" y="67"/>
                </a:cubicBezTo>
                <a:cubicBezTo>
                  <a:pt x="605" y="68"/>
                  <a:pt x="605" y="68"/>
                  <a:pt x="605" y="68"/>
                </a:cubicBezTo>
                <a:close/>
                <a:moveTo>
                  <a:pt x="667" y="68"/>
                </a:moveTo>
                <a:cubicBezTo>
                  <a:pt x="666" y="67"/>
                  <a:pt x="666" y="67"/>
                  <a:pt x="666" y="67"/>
                </a:cubicBezTo>
                <a:cubicBezTo>
                  <a:pt x="666" y="68"/>
                  <a:pt x="666" y="68"/>
                  <a:pt x="667" y="68"/>
                </a:cubicBezTo>
                <a:close/>
                <a:moveTo>
                  <a:pt x="690" y="67"/>
                </a:moveTo>
                <a:cubicBezTo>
                  <a:pt x="690" y="68"/>
                  <a:pt x="690" y="68"/>
                  <a:pt x="691" y="68"/>
                </a:cubicBezTo>
                <a:cubicBezTo>
                  <a:pt x="690" y="67"/>
                  <a:pt x="690" y="67"/>
                  <a:pt x="690" y="67"/>
                </a:cubicBezTo>
                <a:close/>
                <a:moveTo>
                  <a:pt x="647" y="57"/>
                </a:moveTo>
                <a:cubicBezTo>
                  <a:pt x="646" y="57"/>
                  <a:pt x="646" y="58"/>
                  <a:pt x="646" y="58"/>
                </a:cubicBezTo>
                <a:cubicBezTo>
                  <a:pt x="647" y="58"/>
                  <a:pt x="647" y="58"/>
                  <a:pt x="647" y="57"/>
                </a:cubicBezTo>
                <a:close/>
                <a:moveTo>
                  <a:pt x="1558" y="67"/>
                </a:moveTo>
                <a:cubicBezTo>
                  <a:pt x="1557" y="67"/>
                  <a:pt x="1557" y="67"/>
                  <a:pt x="1557" y="68"/>
                </a:cubicBezTo>
                <a:cubicBezTo>
                  <a:pt x="1557" y="68"/>
                  <a:pt x="1558" y="68"/>
                  <a:pt x="1558" y="67"/>
                </a:cubicBezTo>
                <a:close/>
                <a:moveTo>
                  <a:pt x="1672" y="67"/>
                </a:moveTo>
                <a:cubicBezTo>
                  <a:pt x="1672" y="68"/>
                  <a:pt x="1672" y="68"/>
                  <a:pt x="1672" y="68"/>
                </a:cubicBezTo>
                <a:cubicBezTo>
                  <a:pt x="1672" y="68"/>
                  <a:pt x="1672" y="68"/>
                  <a:pt x="1672" y="67"/>
                </a:cubicBezTo>
                <a:close/>
                <a:moveTo>
                  <a:pt x="1710" y="68"/>
                </a:moveTo>
                <a:cubicBezTo>
                  <a:pt x="1711" y="68"/>
                  <a:pt x="1711" y="68"/>
                  <a:pt x="1711" y="67"/>
                </a:cubicBezTo>
                <a:cubicBezTo>
                  <a:pt x="1711" y="67"/>
                  <a:pt x="1710" y="68"/>
                  <a:pt x="1710" y="68"/>
                </a:cubicBezTo>
                <a:close/>
                <a:moveTo>
                  <a:pt x="1726" y="67"/>
                </a:moveTo>
                <a:cubicBezTo>
                  <a:pt x="1725" y="67"/>
                  <a:pt x="1725" y="67"/>
                  <a:pt x="1725" y="68"/>
                </a:cubicBezTo>
                <a:cubicBezTo>
                  <a:pt x="1725" y="68"/>
                  <a:pt x="1726" y="68"/>
                  <a:pt x="1726" y="67"/>
                </a:cubicBezTo>
                <a:close/>
                <a:moveTo>
                  <a:pt x="616" y="68"/>
                </a:moveTo>
                <a:cubicBezTo>
                  <a:pt x="616" y="68"/>
                  <a:pt x="616" y="68"/>
                  <a:pt x="616" y="69"/>
                </a:cubicBezTo>
                <a:cubicBezTo>
                  <a:pt x="616" y="68"/>
                  <a:pt x="616" y="68"/>
                  <a:pt x="616" y="68"/>
                </a:cubicBezTo>
                <a:close/>
                <a:moveTo>
                  <a:pt x="632" y="69"/>
                </a:moveTo>
                <a:cubicBezTo>
                  <a:pt x="632" y="68"/>
                  <a:pt x="632" y="68"/>
                  <a:pt x="632" y="68"/>
                </a:cubicBezTo>
                <a:cubicBezTo>
                  <a:pt x="632" y="68"/>
                  <a:pt x="632" y="68"/>
                  <a:pt x="632" y="69"/>
                </a:cubicBezTo>
                <a:close/>
                <a:moveTo>
                  <a:pt x="1555" y="58"/>
                </a:moveTo>
                <a:cubicBezTo>
                  <a:pt x="1556" y="58"/>
                  <a:pt x="1556" y="58"/>
                  <a:pt x="1556" y="57"/>
                </a:cubicBezTo>
                <a:cubicBezTo>
                  <a:pt x="1556" y="57"/>
                  <a:pt x="1555" y="57"/>
                  <a:pt x="1555" y="58"/>
                </a:cubicBezTo>
                <a:close/>
                <a:moveTo>
                  <a:pt x="587" y="68"/>
                </a:moveTo>
                <a:cubicBezTo>
                  <a:pt x="587" y="68"/>
                  <a:pt x="587" y="69"/>
                  <a:pt x="588" y="69"/>
                </a:cubicBezTo>
                <a:cubicBezTo>
                  <a:pt x="588" y="69"/>
                  <a:pt x="587" y="68"/>
                  <a:pt x="587" y="68"/>
                </a:cubicBezTo>
                <a:close/>
                <a:moveTo>
                  <a:pt x="606" y="69"/>
                </a:moveTo>
                <a:cubicBezTo>
                  <a:pt x="606" y="68"/>
                  <a:pt x="606" y="68"/>
                  <a:pt x="605" y="68"/>
                </a:cubicBezTo>
                <a:cubicBezTo>
                  <a:pt x="605" y="68"/>
                  <a:pt x="605" y="69"/>
                  <a:pt x="606" y="69"/>
                </a:cubicBezTo>
                <a:close/>
                <a:moveTo>
                  <a:pt x="668" y="68"/>
                </a:moveTo>
                <a:cubicBezTo>
                  <a:pt x="668" y="68"/>
                  <a:pt x="667" y="68"/>
                  <a:pt x="667" y="68"/>
                </a:cubicBezTo>
                <a:cubicBezTo>
                  <a:pt x="667" y="68"/>
                  <a:pt x="667" y="68"/>
                  <a:pt x="668" y="68"/>
                </a:cubicBezTo>
                <a:close/>
                <a:moveTo>
                  <a:pt x="691" y="68"/>
                </a:moveTo>
                <a:cubicBezTo>
                  <a:pt x="691" y="68"/>
                  <a:pt x="691" y="68"/>
                  <a:pt x="692" y="69"/>
                </a:cubicBezTo>
                <a:cubicBezTo>
                  <a:pt x="692" y="68"/>
                  <a:pt x="691" y="68"/>
                  <a:pt x="691" y="68"/>
                </a:cubicBezTo>
                <a:close/>
                <a:moveTo>
                  <a:pt x="1668" y="57"/>
                </a:moveTo>
                <a:cubicBezTo>
                  <a:pt x="1667" y="57"/>
                  <a:pt x="1667" y="57"/>
                  <a:pt x="1667" y="58"/>
                </a:cubicBezTo>
                <a:cubicBezTo>
                  <a:pt x="1667" y="58"/>
                  <a:pt x="1667" y="58"/>
                  <a:pt x="1668" y="57"/>
                </a:cubicBezTo>
                <a:close/>
                <a:moveTo>
                  <a:pt x="1672" y="68"/>
                </a:moveTo>
                <a:cubicBezTo>
                  <a:pt x="1672" y="68"/>
                  <a:pt x="1672" y="69"/>
                  <a:pt x="1673" y="69"/>
                </a:cubicBezTo>
                <a:cubicBezTo>
                  <a:pt x="1673" y="69"/>
                  <a:pt x="1672" y="68"/>
                  <a:pt x="1672" y="68"/>
                </a:cubicBezTo>
                <a:close/>
                <a:moveTo>
                  <a:pt x="1725" y="68"/>
                </a:moveTo>
                <a:cubicBezTo>
                  <a:pt x="1724" y="68"/>
                  <a:pt x="1724" y="68"/>
                  <a:pt x="1724" y="68"/>
                </a:cubicBezTo>
                <a:cubicBezTo>
                  <a:pt x="1724" y="68"/>
                  <a:pt x="1725" y="68"/>
                  <a:pt x="1725" y="68"/>
                </a:cubicBezTo>
                <a:close/>
                <a:moveTo>
                  <a:pt x="668" y="69"/>
                </a:moveTo>
                <a:cubicBezTo>
                  <a:pt x="668" y="69"/>
                  <a:pt x="668" y="68"/>
                  <a:pt x="668" y="68"/>
                </a:cubicBezTo>
                <a:cubicBezTo>
                  <a:pt x="668" y="69"/>
                  <a:pt x="668" y="69"/>
                  <a:pt x="668" y="69"/>
                </a:cubicBezTo>
                <a:close/>
                <a:moveTo>
                  <a:pt x="1723" y="58"/>
                </a:moveTo>
                <a:cubicBezTo>
                  <a:pt x="1724" y="58"/>
                  <a:pt x="1724" y="58"/>
                  <a:pt x="1724" y="57"/>
                </a:cubicBezTo>
                <a:cubicBezTo>
                  <a:pt x="1724" y="57"/>
                  <a:pt x="1723" y="57"/>
                  <a:pt x="1723" y="58"/>
                </a:cubicBezTo>
                <a:close/>
                <a:moveTo>
                  <a:pt x="588" y="69"/>
                </a:moveTo>
                <a:cubicBezTo>
                  <a:pt x="588" y="69"/>
                  <a:pt x="588" y="69"/>
                  <a:pt x="588" y="70"/>
                </a:cubicBezTo>
                <a:cubicBezTo>
                  <a:pt x="588" y="69"/>
                  <a:pt x="588" y="69"/>
                  <a:pt x="588" y="69"/>
                </a:cubicBezTo>
                <a:close/>
                <a:moveTo>
                  <a:pt x="616" y="69"/>
                </a:moveTo>
                <a:cubicBezTo>
                  <a:pt x="616" y="69"/>
                  <a:pt x="616" y="69"/>
                  <a:pt x="617" y="70"/>
                </a:cubicBezTo>
                <a:cubicBezTo>
                  <a:pt x="617" y="69"/>
                  <a:pt x="617" y="69"/>
                  <a:pt x="616" y="69"/>
                </a:cubicBezTo>
                <a:close/>
                <a:moveTo>
                  <a:pt x="631" y="70"/>
                </a:moveTo>
                <a:cubicBezTo>
                  <a:pt x="632" y="69"/>
                  <a:pt x="632" y="69"/>
                  <a:pt x="632" y="69"/>
                </a:cubicBezTo>
                <a:cubicBezTo>
                  <a:pt x="631" y="69"/>
                  <a:pt x="631" y="69"/>
                  <a:pt x="631" y="70"/>
                </a:cubicBezTo>
                <a:close/>
                <a:moveTo>
                  <a:pt x="642" y="69"/>
                </a:moveTo>
                <a:cubicBezTo>
                  <a:pt x="642" y="69"/>
                  <a:pt x="642" y="69"/>
                  <a:pt x="642" y="69"/>
                </a:cubicBezTo>
                <a:cubicBezTo>
                  <a:pt x="642" y="69"/>
                  <a:pt x="642" y="69"/>
                  <a:pt x="642" y="69"/>
                </a:cubicBezTo>
                <a:close/>
                <a:moveTo>
                  <a:pt x="751" y="50"/>
                </a:moveTo>
                <a:cubicBezTo>
                  <a:pt x="751" y="50"/>
                  <a:pt x="752" y="49"/>
                  <a:pt x="752" y="49"/>
                </a:cubicBezTo>
                <a:cubicBezTo>
                  <a:pt x="751" y="49"/>
                  <a:pt x="751" y="49"/>
                  <a:pt x="751" y="50"/>
                </a:cubicBezTo>
                <a:close/>
                <a:moveTo>
                  <a:pt x="964" y="69"/>
                </a:moveTo>
                <a:cubicBezTo>
                  <a:pt x="964" y="69"/>
                  <a:pt x="964" y="69"/>
                  <a:pt x="964" y="70"/>
                </a:cubicBezTo>
                <a:cubicBezTo>
                  <a:pt x="965" y="69"/>
                  <a:pt x="965" y="69"/>
                  <a:pt x="964" y="69"/>
                </a:cubicBezTo>
                <a:close/>
                <a:moveTo>
                  <a:pt x="1371" y="69"/>
                </a:moveTo>
                <a:cubicBezTo>
                  <a:pt x="1371" y="69"/>
                  <a:pt x="1371" y="69"/>
                  <a:pt x="1371" y="69"/>
                </a:cubicBezTo>
                <a:cubicBezTo>
                  <a:pt x="1371" y="69"/>
                  <a:pt x="1371" y="69"/>
                  <a:pt x="1371" y="69"/>
                </a:cubicBezTo>
                <a:close/>
                <a:moveTo>
                  <a:pt x="1565" y="49"/>
                </a:moveTo>
                <a:cubicBezTo>
                  <a:pt x="1565" y="49"/>
                  <a:pt x="1565" y="49"/>
                  <a:pt x="1565" y="48"/>
                </a:cubicBezTo>
                <a:cubicBezTo>
                  <a:pt x="1565" y="48"/>
                  <a:pt x="1565" y="49"/>
                  <a:pt x="1565" y="49"/>
                </a:cubicBezTo>
                <a:close/>
                <a:moveTo>
                  <a:pt x="1660" y="69"/>
                </a:moveTo>
                <a:cubicBezTo>
                  <a:pt x="1660" y="69"/>
                  <a:pt x="1660" y="69"/>
                  <a:pt x="1660" y="69"/>
                </a:cubicBezTo>
                <a:cubicBezTo>
                  <a:pt x="1660" y="69"/>
                  <a:pt x="1660" y="69"/>
                  <a:pt x="1660" y="69"/>
                </a:cubicBezTo>
                <a:close/>
                <a:moveTo>
                  <a:pt x="1673" y="69"/>
                </a:moveTo>
                <a:cubicBezTo>
                  <a:pt x="1673" y="69"/>
                  <a:pt x="1673" y="69"/>
                  <a:pt x="1673" y="70"/>
                </a:cubicBezTo>
                <a:cubicBezTo>
                  <a:pt x="1673" y="69"/>
                  <a:pt x="1673" y="69"/>
                  <a:pt x="1673" y="69"/>
                </a:cubicBezTo>
                <a:close/>
                <a:moveTo>
                  <a:pt x="606" y="70"/>
                </a:moveTo>
                <a:cubicBezTo>
                  <a:pt x="606" y="70"/>
                  <a:pt x="606" y="69"/>
                  <a:pt x="606" y="69"/>
                </a:cubicBezTo>
                <a:cubicBezTo>
                  <a:pt x="606" y="69"/>
                  <a:pt x="606" y="70"/>
                  <a:pt x="606" y="70"/>
                </a:cubicBezTo>
                <a:close/>
                <a:moveTo>
                  <a:pt x="669" y="69"/>
                </a:moveTo>
                <a:cubicBezTo>
                  <a:pt x="669" y="69"/>
                  <a:pt x="669" y="69"/>
                  <a:pt x="669" y="69"/>
                </a:cubicBezTo>
                <a:cubicBezTo>
                  <a:pt x="669" y="69"/>
                  <a:pt x="669" y="69"/>
                  <a:pt x="669" y="69"/>
                </a:cubicBezTo>
                <a:close/>
                <a:moveTo>
                  <a:pt x="1555" y="69"/>
                </a:moveTo>
                <a:cubicBezTo>
                  <a:pt x="1555" y="69"/>
                  <a:pt x="1555" y="69"/>
                  <a:pt x="1555" y="70"/>
                </a:cubicBezTo>
                <a:cubicBezTo>
                  <a:pt x="1555" y="69"/>
                  <a:pt x="1555" y="69"/>
                  <a:pt x="1555" y="69"/>
                </a:cubicBezTo>
                <a:close/>
                <a:moveTo>
                  <a:pt x="866" y="42"/>
                </a:moveTo>
                <a:cubicBezTo>
                  <a:pt x="866" y="42"/>
                  <a:pt x="866" y="42"/>
                  <a:pt x="866" y="42"/>
                </a:cubicBezTo>
                <a:cubicBezTo>
                  <a:pt x="866" y="42"/>
                  <a:pt x="866" y="42"/>
                  <a:pt x="866" y="42"/>
                </a:cubicBezTo>
                <a:close/>
                <a:moveTo>
                  <a:pt x="1723" y="69"/>
                </a:moveTo>
                <a:cubicBezTo>
                  <a:pt x="1723" y="69"/>
                  <a:pt x="1723" y="69"/>
                  <a:pt x="1723" y="70"/>
                </a:cubicBezTo>
                <a:cubicBezTo>
                  <a:pt x="1723" y="69"/>
                  <a:pt x="1723" y="69"/>
                  <a:pt x="1723" y="69"/>
                </a:cubicBezTo>
                <a:close/>
                <a:moveTo>
                  <a:pt x="1112" y="52"/>
                </a:moveTo>
                <a:cubicBezTo>
                  <a:pt x="1112" y="53"/>
                  <a:pt x="1112" y="53"/>
                  <a:pt x="1112" y="53"/>
                </a:cubicBezTo>
                <a:cubicBezTo>
                  <a:pt x="1112" y="53"/>
                  <a:pt x="1112" y="53"/>
                  <a:pt x="1112" y="52"/>
                </a:cubicBezTo>
                <a:close/>
                <a:moveTo>
                  <a:pt x="1504" y="7"/>
                </a:moveTo>
                <a:cubicBezTo>
                  <a:pt x="1504" y="7"/>
                  <a:pt x="1505" y="6"/>
                  <a:pt x="1505" y="6"/>
                </a:cubicBezTo>
                <a:cubicBezTo>
                  <a:pt x="1504" y="6"/>
                  <a:pt x="1504" y="6"/>
                  <a:pt x="1504" y="7"/>
                </a:cubicBezTo>
                <a:close/>
                <a:moveTo>
                  <a:pt x="670" y="70"/>
                </a:moveTo>
                <a:cubicBezTo>
                  <a:pt x="670" y="70"/>
                  <a:pt x="670" y="69"/>
                  <a:pt x="669" y="69"/>
                </a:cubicBezTo>
                <a:cubicBezTo>
                  <a:pt x="669" y="70"/>
                  <a:pt x="670" y="70"/>
                  <a:pt x="670" y="70"/>
                </a:cubicBezTo>
                <a:close/>
                <a:moveTo>
                  <a:pt x="1150" y="41"/>
                </a:moveTo>
                <a:cubicBezTo>
                  <a:pt x="1150" y="41"/>
                  <a:pt x="1150" y="41"/>
                  <a:pt x="1150" y="41"/>
                </a:cubicBezTo>
                <a:cubicBezTo>
                  <a:pt x="1150" y="41"/>
                  <a:pt x="1150" y="41"/>
                  <a:pt x="1150" y="41"/>
                </a:cubicBezTo>
                <a:close/>
                <a:moveTo>
                  <a:pt x="1085" y="49"/>
                </a:moveTo>
                <a:cubicBezTo>
                  <a:pt x="1085" y="49"/>
                  <a:pt x="1085" y="50"/>
                  <a:pt x="1086" y="50"/>
                </a:cubicBezTo>
                <a:cubicBezTo>
                  <a:pt x="1086" y="49"/>
                  <a:pt x="1086" y="49"/>
                  <a:pt x="1085" y="49"/>
                </a:cubicBezTo>
                <a:close/>
                <a:moveTo>
                  <a:pt x="749" y="56"/>
                </a:moveTo>
                <a:cubicBezTo>
                  <a:pt x="749" y="55"/>
                  <a:pt x="749" y="55"/>
                  <a:pt x="749" y="55"/>
                </a:cubicBezTo>
                <a:cubicBezTo>
                  <a:pt x="749" y="55"/>
                  <a:pt x="749" y="55"/>
                  <a:pt x="749" y="56"/>
                </a:cubicBezTo>
                <a:close/>
                <a:moveTo>
                  <a:pt x="1661" y="70"/>
                </a:moveTo>
                <a:cubicBezTo>
                  <a:pt x="1661" y="70"/>
                  <a:pt x="1661" y="70"/>
                  <a:pt x="1660" y="69"/>
                </a:cubicBezTo>
                <a:cubicBezTo>
                  <a:pt x="1660" y="70"/>
                  <a:pt x="1660" y="70"/>
                  <a:pt x="1661" y="70"/>
                </a:cubicBezTo>
                <a:close/>
                <a:moveTo>
                  <a:pt x="1673" y="69"/>
                </a:moveTo>
                <a:cubicBezTo>
                  <a:pt x="1673" y="70"/>
                  <a:pt x="1673" y="70"/>
                  <a:pt x="1673" y="70"/>
                </a:cubicBezTo>
                <a:cubicBezTo>
                  <a:pt x="1673" y="70"/>
                  <a:pt x="1673" y="70"/>
                  <a:pt x="1673" y="69"/>
                </a:cubicBezTo>
                <a:close/>
                <a:moveTo>
                  <a:pt x="606" y="71"/>
                </a:moveTo>
                <a:cubicBezTo>
                  <a:pt x="606" y="70"/>
                  <a:pt x="606" y="70"/>
                  <a:pt x="606" y="70"/>
                </a:cubicBezTo>
                <a:cubicBezTo>
                  <a:pt x="606" y="70"/>
                  <a:pt x="606" y="70"/>
                  <a:pt x="606" y="71"/>
                </a:cubicBezTo>
                <a:close/>
                <a:moveTo>
                  <a:pt x="617" y="70"/>
                </a:moveTo>
                <a:cubicBezTo>
                  <a:pt x="617" y="70"/>
                  <a:pt x="617" y="70"/>
                  <a:pt x="617" y="71"/>
                </a:cubicBezTo>
                <a:cubicBezTo>
                  <a:pt x="617" y="70"/>
                  <a:pt x="617" y="70"/>
                  <a:pt x="617" y="70"/>
                </a:cubicBezTo>
                <a:close/>
                <a:moveTo>
                  <a:pt x="642" y="70"/>
                </a:moveTo>
                <a:cubicBezTo>
                  <a:pt x="642" y="70"/>
                  <a:pt x="641" y="70"/>
                  <a:pt x="641" y="71"/>
                </a:cubicBezTo>
                <a:cubicBezTo>
                  <a:pt x="642" y="70"/>
                  <a:pt x="642" y="70"/>
                  <a:pt x="642" y="70"/>
                </a:cubicBezTo>
                <a:close/>
                <a:moveTo>
                  <a:pt x="671" y="70"/>
                </a:moveTo>
                <a:cubicBezTo>
                  <a:pt x="671" y="70"/>
                  <a:pt x="670" y="70"/>
                  <a:pt x="670" y="70"/>
                </a:cubicBezTo>
                <a:cubicBezTo>
                  <a:pt x="670" y="70"/>
                  <a:pt x="670" y="70"/>
                  <a:pt x="671" y="70"/>
                </a:cubicBezTo>
                <a:close/>
                <a:moveTo>
                  <a:pt x="965" y="70"/>
                </a:moveTo>
                <a:cubicBezTo>
                  <a:pt x="965" y="70"/>
                  <a:pt x="965" y="70"/>
                  <a:pt x="965" y="71"/>
                </a:cubicBezTo>
                <a:cubicBezTo>
                  <a:pt x="965" y="70"/>
                  <a:pt x="965" y="70"/>
                  <a:pt x="965" y="70"/>
                </a:cubicBezTo>
                <a:close/>
                <a:moveTo>
                  <a:pt x="1370" y="70"/>
                </a:moveTo>
                <a:cubicBezTo>
                  <a:pt x="1370" y="70"/>
                  <a:pt x="1370" y="70"/>
                  <a:pt x="1369" y="70"/>
                </a:cubicBezTo>
                <a:cubicBezTo>
                  <a:pt x="1370" y="70"/>
                  <a:pt x="1370" y="70"/>
                  <a:pt x="1370" y="70"/>
                </a:cubicBezTo>
                <a:close/>
                <a:moveTo>
                  <a:pt x="671" y="71"/>
                </a:moveTo>
                <a:cubicBezTo>
                  <a:pt x="671" y="70"/>
                  <a:pt x="671" y="70"/>
                  <a:pt x="671" y="70"/>
                </a:cubicBezTo>
                <a:cubicBezTo>
                  <a:pt x="671" y="70"/>
                  <a:pt x="671" y="71"/>
                  <a:pt x="671" y="71"/>
                </a:cubicBezTo>
                <a:close/>
                <a:moveTo>
                  <a:pt x="1263" y="48"/>
                </a:moveTo>
                <a:cubicBezTo>
                  <a:pt x="1263" y="49"/>
                  <a:pt x="1263" y="49"/>
                  <a:pt x="1263" y="49"/>
                </a:cubicBezTo>
                <a:cubicBezTo>
                  <a:pt x="1263" y="49"/>
                  <a:pt x="1263" y="48"/>
                  <a:pt x="1263" y="48"/>
                </a:cubicBezTo>
                <a:close/>
                <a:moveTo>
                  <a:pt x="1554" y="70"/>
                </a:moveTo>
                <a:cubicBezTo>
                  <a:pt x="1554" y="70"/>
                  <a:pt x="1553" y="70"/>
                  <a:pt x="1553" y="71"/>
                </a:cubicBezTo>
                <a:cubicBezTo>
                  <a:pt x="1553" y="71"/>
                  <a:pt x="1554" y="70"/>
                  <a:pt x="1554" y="70"/>
                </a:cubicBezTo>
                <a:close/>
                <a:moveTo>
                  <a:pt x="1673" y="70"/>
                </a:moveTo>
                <a:cubicBezTo>
                  <a:pt x="1673" y="70"/>
                  <a:pt x="1673" y="71"/>
                  <a:pt x="1674" y="71"/>
                </a:cubicBezTo>
                <a:cubicBezTo>
                  <a:pt x="1674" y="71"/>
                  <a:pt x="1674" y="70"/>
                  <a:pt x="1673" y="70"/>
                </a:cubicBezTo>
                <a:close/>
                <a:moveTo>
                  <a:pt x="1722" y="70"/>
                </a:moveTo>
                <a:cubicBezTo>
                  <a:pt x="1722" y="70"/>
                  <a:pt x="1721" y="70"/>
                  <a:pt x="1721" y="71"/>
                </a:cubicBezTo>
                <a:cubicBezTo>
                  <a:pt x="1722" y="71"/>
                  <a:pt x="1722" y="70"/>
                  <a:pt x="1722" y="70"/>
                </a:cubicBezTo>
                <a:close/>
                <a:moveTo>
                  <a:pt x="1432" y="7"/>
                </a:moveTo>
                <a:cubicBezTo>
                  <a:pt x="1432" y="7"/>
                  <a:pt x="1432" y="7"/>
                  <a:pt x="1433" y="7"/>
                </a:cubicBezTo>
                <a:cubicBezTo>
                  <a:pt x="1432" y="7"/>
                  <a:pt x="1432" y="7"/>
                  <a:pt x="1432" y="7"/>
                </a:cubicBezTo>
                <a:close/>
                <a:moveTo>
                  <a:pt x="631" y="71"/>
                </a:moveTo>
                <a:cubicBezTo>
                  <a:pt x="631" y="71"/>
                  <a:pt x="631" y="71"/>
                  <a:pt x="631" y="71"/>
                </a:cubicBezTo>
                <a:cubicBezTo>
                  <a:pt x="631" y="71"/>
                  <a:pt x="631" y="71"/>
                  <a:pt x="631" y="71"/>
                </a:cubicBezTo>
                <a:close/>
                <a:moveTo>
                  <a:pt x="641" y="70"/>
                </a:moveTo>
                <a:cubicBezTo>
                  <a:pt x="641" y="71"/>
                  <a:pt x="641" y="71"/>
                  <a:pt x="641" y="71"/>
                </a:cubicBezTo>
                <a:cubicBezTo>
                  <a:pt x="641" y="71"/>
                  <a:pt x="642" y="71"/>
                  <a:pt x="641" y="70"/>
                </a:cubicBezTo>
                <a:close/>
                <a:moveTo>
                  <a:pt x="672" y="71"/>
                </a:moveTo>
                <a:cubicBezTo>
                  <a:pt x="672" y="71"/>
                  <a:pt x="672" y="71"/>
                  <a:pt x="671" y="71"/>
                </a:cubicBezTo>
                <a:cubicBezTo>
                  <a:pt x="672" y="71"/>
                  <a:pt x="672" y="71"/>
                  <a:pt x="672" y="71"/>
                </a:cubicBezTo>
                <a:close/>
                <a:moveTo>
                  <a:pt x="573" y="54"/>
                </a:moveTo>
                <a:cubicBezTo>
                  <a:pt x="573" y="54"/>
                  <a:pt x="574" y="55"/>
                  <a:pt x="574" y="55"/>
                </a:cubicBezTo>
                <a:cubicBezTo>
                  <a:pt x="574" y="54"/>
                  <a:pt x="574" y="54"/>
                  <a:pt x="573" y="54"/>
                </a:cubicBezTo>
                <a:close/>
                <a:moveTo>
                  <a:pt x="607" y="72"/>
                </a:moveTo>
                <a:cubicBezTo>
                  <a:pt x="607" y="71"/>
                  <a:pt x="607" y="71"/>
                  <a:pt x="606" y="71"/>
                </a:cubicBezTo>
                <a:cubicBezTo>
                  <a:pt x="606" y="71"/>
                  <a:pt x="606" y="71"/>
                  <a:pt x="607" y="72"/>
                </a:cubicBezTo>
                <a:close/>
                <a:moveTo>
                  <a:pt x="617" y="71"/>
                </a:moveTo>
                <a:cubicBezTo>
                  <a:pt x="617" y="71"/>
                  <a:pt x="617" y="71"/>
                  <a:pt x="617" y="72"/>
                </a:cubicBezTo>
                <a:cubicBezTo>
                  <a:pt x="617" y="71"/>
                  <a:pt x="617" y="71"/>
                  <a:pt x="617" y="71"/>
                </a:cubicBezTo>
                <a:close/>
                <a:moveTo>
                  <a:pt x="673" y="71"/>
                </a:moveTo>
                <a:cubicBezTo>
                  <a:pt x="673" y="71"/>
                  <a:pt x="672" y="71"/>
                  <a:pt x="672" y="71"/>
                </a:cubicBezTo>
                <a:cubicBezTo>
                  <a:pt x="672" y="71"/>
                  <a:pt x="673" y="71"/>
                  <a:pt x="673" y="71"/>
                </a:cubicBezTo>
                <a:close/>
                <a:moveTo>
                  <a:pt x="1450" y="7"/>
                </a:moveTo>
                <a:cubicBezTo>
                  <a:pt x="1450" y="7"/>
                  <a:pt x="1450" y="7"/>
                  <a:pt x="1450" y="7"/>
                </a:cubicBezTo>
                <a:cubicBezTo>
                  <a:pt x="1450" y="7"/>
                  <a:pt x="1450" y="7"/>
                  <a:pt x="1450" y="7"/>
                </a:cubicBezTo>
                <a:close/>
                <a:moveTo>
                  <a:pt x="965" y="71"/>
                </a:moveTo>
                <a:cubicBezTo>
                  <a:pt x="965" y="71"/>
                  <a:pt x="965" y="71"/>
                  <a:pt x="965" y="72"/>
                </a:cubicBezTo>
                <a:cubicBezTo>
                  <a:pt x="965" y="71"/>
                  <a:pt x="965" y="71"/>
                  <a:pt x="965" y="71"/>
                </a:cubicBezTo>
                <a:close/>
                <a:moveTo>
                  <a:pt x="1151" y="42"/>
                </a:moveTo>
                <a:cubicBezTo>
                  <a:pt x="1151" y="42"/>
                  <a:pt x="1151" y="42"/>
                  <a:pt x="1151" y="42"/>
                </a:cubicBezTo>
                <a:cubicBezTo>
                  <a:pt x="1151" y="42"/>
                  <a:pt x="1151" y="42"/>
                  <a:pt x="1151" y="42"/>
                </a:cubicBezTo>
                <a:close/>
                <a:moveTo>
                  <a:pt x="1369" y="71"/>
                </a:moveTo>
                <a:cubicBezTo>
                  <a:pt x="1368" y="71"/>
                  <a:pt x="1368" y="71"/>
                  <a:pt x="1368" y="71"/>
                </a:cubicBezTo>
                <a:cubicBezTo>
                  <a:pt x="1368" y="71"/>
                  <a:pt x="1369" y="71"/>
                  <a:pt x="1369" y="71"/>
                </a:cubicBezTo>
                <a:close/>
                <a:moveTo>
                  <a:pt x="1154" y="48"/>
                </a:moveTo>
                <a:cubicBezTo>
                  <a:pt x="1154" y="49"/>
                  <a:pt x="1154" y="49"/>
                  <a:pt x="1154" y="49"/>
                </a:cubicBezTo>
                <a:cubicBezTo>
                  <a:pt x="1154" y="49"/>
                  <a:pt x="1154" y="48"/>
                  <a:pt x="1154" y="48"/>
                </a:cubicBezTo>
                <a:close/>
                <a:moveTo>
                  <a:pt x="1674" y="71"/>
                </a:moveTo>
                <a:cubicBezTo>
                  <a:pt x="1674" y="71"/>
                  <a:pt x="1674" y="71"/>
                  <a:pt x="1674" y="72"/>
                </a:cubicBezTo>
                <a:cubicBezTo>
                  <a:pt x="1674" y="71"/>
                  <a:pt x="1674" y="71"/>
                  <a:pt x="1674" y="71"/>
                </a:cubicBezTo>
                <a:close/>
                <a:moveTo>
                  <a:pt x="674" y="72"/>
                </a:moveTo>
                <a:cubicBezTo>
                  <a:pt x="673" y="71"/>
                  <a:pt x="673" y="71"/>
                  <a:pt x="673" y="71"/>
                </a:cubicBezTo>
                <a:cubicBezTo>
                  <a:pt x="673" y="72"/>
                  <a:pt x="673" y="72"/>
                  <a:pt x="674" y="72"/>
                </a:cubicBezTo>
                <a:close/>
                <a:moveTo>
                  <a:pt x="1552" y="71"/>
                </a:moveTo>
                <a:cubicBezTo>
                  <a:pt x="1552" y="71"/>
                  <a:pt x="1552" y="71"/>
                  <a:pt x="1552" y="72"/>
                </a:cubicBezTo>
                <a:cubicBezTo>
                  <a:pt x="1552" y="72"/>
                  <a:pt x="1552" y="71"/>
                  <a:pt x="1552" y="71"/>
                </a:cubicBezTo>
                <a:close/>
                <a:moveTo>
                  <a:pt x="1662" y="72"/>
                </a:moveTo>
                <a:cubicBezTo>
                  <a:pt x="1662" y="72"/>
                  <a:pt x="1662" y="71"/>
                  <a:pt x="1661" y="71"/>
                </a:cubicBezTo>
                <a:cubicBezTo>
                  <a:pt x="1661" y="72"/>
                  <a:pt x="1661" y="72"/>
                  <a:pt x="1662" y="72"/>
                </a:cubicBezTo>
                <a:close/>
                <a:moveTo>
                  <a:pt x="1721" y="71"/>
                </a:moveTo>
                <a:cubicBezTo>
                  <a:pt x="1720" y="71"/>
                  <a:pt x="1720" y="71"/>
                  <a:pt x="1720" y="72"/>
                </a:cubicBezTo>
                <a:cubicBezTo>
                  <a:pt x="1720" y="72"/>
                  <a:pt x="1720" y="71"/>
                  <a:pt x="1721" y="71"/>
                </a:cubicBezTo>
                <a:close/>
                <a:moveTo>
                  <a:pt x="1564" y="7"/>
                </a:moveTo>
                <a:cubicBezTo>
                  <a:pt x="1564" y="7"/>
                  <a:pt x="1564" y="7"/>
                  <a:pt x="1565" y="7"/>
                </a:cubicBezTo>
                <a:cubicBezTo>
                  <a:pt x="1564" y="7"/>
                  <a:pt x="1564" y="7"/>
                  <a:pt x="1564" y="7"/>
                </a:cubicBezTo>
                <a:close/>
                <a:moveTo>
                  <a:pt x="1732" y="7"/>
                </a:moveTo>
                <a:cubicBezTo>
                  <a:pt x="1732" y="7"/>
                  <a:pt x="1732" y="7"/>
                  <a:pt x="1733" y="7"/>
                </a:cubicBezTo>
                <a:cubicBezTo>
                  <a:pt x="1733" y="7"/>
                  <a:pt x="1732" y="7"/>
                  <a:pt x="1732" y="7"/>
                </a:cubicBezTo>
                <a:close/>
                <a:moveTo>
                  <a:pt x="630" y="72"/>
                </a:moveTo>
                <a:cubicBezTo>
                  <a:pt x="631" y="72"/>
                  <a:pt x="631" y="72"/>
                  <a:pt x="631" y="72"/>
                </a:cubicBezTo>
                <a:cubicBezTo>
                  <a:pt x="630" y="72"/>
                  <a:pt x="630" y="72"/>
                  <a:pt x="630" y="72"/>
                </a:cubicBezTo>
                <a:close/>
                <a:moveTo>
                  <a:pt x="641" y="71"/>
                </a:moveTo>
                <a:cubicBezTo>
                  <a:pt x="641" y="72"/>
                  <a:pt x="641" y="72"/>
                  <a:pt x="641" y="72"/>
                </a:cubicBezTo>
                <a:cubicBezTo>
                  <a:pt x="641" y="72"/>
                  <a:pt x="641" y="72"/>
                  <a:pt x="641" y="71"/>
                </a:cubicBezTo>
                <a:close/>
                <a:moveTo>
                  <a:pt x="674" y="72"/>
                </a:moveTo>
                <a:cubicBezTo>
                  <a:pt x="674" y="72"/>
                  <a:pt x="674" y="72"/>
                  <a:pt x="674" y="72"/>
                </a:cubicBezTo>
                <a:cubicBezTo>
                  <a:pt x="674" y="72"/>
                  <a:pt x="674" y="72"/>
                  <a:pt x="674" y="72"/>
                </a:cubicBezTo>
                <a:close/>
                <a:moveTo>
                  <a:pt x="1674" y="72"/>
                </a:moveTo>
                <a:cubicBezTo>
                  <a:pt x="1674" y="72"/>
                  <a:pt x="1674" y="72"/>
                  <a:pt x="1674" y="72"/>
                </a:cubicBezTo>
                <a:cubicBezTo>
                  <a:pt x="1674" y="72"/>
                  <a:pt x="1674" y="72"/>
                  <a:pt x="1674" y="72"/>
                </a:cubicBezTo>
                <a:close/>
                <a:moveTo>
                  <a:pt x="1358" y="7"/>
                </a:moveTo>
                <a:cubicBezTo>
                  <a:pt x="1359" y="8"/>
                  <a:pt x="1359" y="7"/>
                  <a:pt x="1359" y="7"/>
                </a:cubicBezTo>
                <a:cubicBezTo>
                  <a:pt x="1359" y="7"/>
                  <a:pt x="1358" y="7"/>
                  <a:pt x="1358" y="7"/>
                </a:cubicBezTo>
                <a:close/>
                <a:moveTo>
                  <a:pt x="675" y="72"/>
                </a:moveTo>
                <a:cubicBezTo>
                  <a:pt x="675" y="72"/>
                  <a:pt x="675" y="72"/>
                  <a:pt x="675" y="72"/>
                </a:cubicBezTo>
                <a:cubicBezTo>
                  <a:pt x="675" y="72"/>
                  <a:pt x="675" y="72"/>
                  <a:pt x="675" y="72"/>
                </a:cubicBezTo>
                <a:close/>
                <a:moveTo>
                  <a:pt x="1381" y="7"/>
                </a:moveTo>
                <a:cubicBezTo>
                  <a:pt x="1381" y="8"/>
                  <a:pt x="1381" y="8"/>
                  <a:pt x="1382" y="8"/>
                </a:cubicBezTo>
                <a:cubicBezTo>
                  <a:pt x="1381" y="7"/>
                  <a:pt x="1381" y="7"/>
                  <a:pt x="1381" y="7"/>
                </a:cubicBezTo>
                <a:close/>
                <a:moveTo>
                  <a:pt x="965" y="72"/>
                </a:moveTo>
                <a:cubicBezTo>
                  <a:pt x="965" y="72"/>
                  <a:pt x="965" y="72"/>
                  <a:pt x="966" y="73"/>
                </a:cubicBezTo>
                <a:cubicBezTo>
                  <a:pt x="966" y="72"/>
                  <a:pt x="966" y="72"/>
                  <a:pt x="965" y="72"/>
                </a:cubicBezTo>
                <a:close/>
                <a:moveTo>
                  <a:pt x="908" y="41"/>
                </a:moveTo>
                <a:cubicBezTo>
                  <a:pt x="908" y="42"/>
                  <a:pt x="909" y="42"/>
                  <a:pt x="909" y="42"/>
                </a:cubicBezTo>
                <a:cubicBezTo>
                  <a:pt x="909" y="42"/>
                  <a:pt x="909" y="41"/>
                  <a:pt x="908" y="41"/>
                </a:cubicBezTo>
                <a:close/>
                <a:moveTo>
                  <a:pt x="865" y="41"/>
                </a:moveTo>
                <a:cubicBezTo>
                  <a:pt x="865" y="41"/>
                  <a:pt x="865" y="41"/>
                  <a:pt x="866" y="41"/>
                </a:cubicBezTo>
                <a:cubicBezTo>
                  <a:pt x="866" y="41"/>
                  <a:pt x="866" y="41"/>
                  <a:pt x="865" y="41"/>
                </a:cubicBezTo>
                <a:close/>
                <a:moveTo>
                  <a:pt x="1662" y="73"/>
                </a:moveTo>
                <a:cubicBezTo>
                  <a:pt x="1662" y="72"/>
                  <a:pt x="1662" y="72"/>
                  <a:pt x="1662" y="72"/>
                </a:cubicBezTo>
                <a:cubicBezTo>
                  <a:pt x="1662" y="72"/>
                  <a:pt x="1662" y="72"/>
                  <a:pt x="1662" y="73"/>
                </a:cubicBezTo>
                <a:close/>
                <a:moveTo>
                  <a:pt x="641" y="72"/>
                </a:moveTo>
                <a:cubicBezTo>
                  <a:pt x="641" y="72"/>
                  <a:pt x="640" y="73"/>
                  <a:pt x="640" y="73"/>
                </a:cubicBezTo>
                <a:cubicBezTo>
                  <a:pt x="641" y="73"/>
                  <a:pt x="641" y="73"/>
                  <a:pt x="641" y="72"/>
                </a:cubicBezTo>
                <a:close/>
                <a:moveTo>
                  <a:pt x="676" y="73"/>
                </a:moveTo>
                <a:cubicBezTo>
                  <a:pt x="676" y="72"/>
                  <a:pt x="676" y="72"/>
                  <a:pt x="675" y="72"/>
                </a:cubicBezTo>
                <a:cubicBezTo>
                  <a:pt x="675" y="73"/>
                  <a:pt x="676" y="73"/>
                  <a:pt x="676" y="73"/>
                </a:cubicBezTo>
                <a:close/>
                <a:moveTo>
                  <a:pt x="648" y="55"/>
                </a:moveTo>
                <a:cubicBezTo>
                  <a:pt x="647" y="55"/>
                  <a:pt x="647" y="55"/>
                  <a:pt x="647" y="56"/>
                </a:cubicBezTo>
                <a:cubicBezTo>
                  <a:pt x="648" y="55"/>
                  <a:pt x="648" y="55"/>
                  <a:pt x="648" y="55"/>
                </a:cubicBezTo>
                <a:close/>
                <a:moveTo>
                  <a:pt x="871" y="42"/>
                </a:moveTo>
                <a:cubicBezTo>
                  <a:pt x="871" y="42"/>
                  <a:pt x="871" y="42"/>
                  <a:pt x="871" y="41"/>
                </a:cubicBezTo>
                <a:cubicBezTo>
                  <a:pt x="871" y="41"/>
                  <a:pt x="871" y="42"/>
                  <a:pt x="871" y="42"/>
                </a:cubicBezTo>
                <a:close/>
                <a:moveTo>
                  <a:pt x="1674" y="72"/>
                </a:moveTo>
                <a:cubicBezTo>
                  <a:pt x="1674" y="73"/>
                  <a:pt x="1674" y="73"/>
                  <a:pt x="1675" y="73"/>
                </a:cubicBezTo>
                <a:cubicBezTo>
                  <a:pt x="1675" y="73"/>
                  <a:pt x="1675" y="72"/>
                  <a:pt x="1674" y="72"/>
                </a:cubicBezTo>
                <a:close/>
                <a:moveTo>
                  <a:pt x="1032" y="53"/>
                </a:moveTo>
                <a:cubicBezTo>
                  <a:pt x="1032" y="53"/>
                  <a:pt x="1032" y="53"/>
                  <a:pt x="1032" y="52"/>
                </a:cubicBezTo>
                <a:cubicBezTo>
                  <a:pt x="1032" y="53"/>
                  <a:pt x="1032" y="53"/>
                  <a:pt x="1032" y="53"/>
                </a:cubicBezTo>
                <a:close/>
                <a:moveTo>
                  <a:pt x="607" y="73"/>
                </a:moveTo>
                <a:cubicBezTo>
                  <a:pt x="607" y="73"/>
                  <a:pt x="607" y="73"/>
                  <a:pt x="607" y="73"/>
                </a:cubicBezTo>
                <a:cubicBezTo>
                  <a:pt x="607" y="73"/>
                  <a:pt x="607" y="73"/>
                  <a:pt x="607" y="73"/>
                </a:cubicBezTo>
                <a:close/>
                <a:moveTo>
                  <a:pt x="1431" y="8"/>
                </a:moveTo>
                <a:cubicBezTo>
                  <a:pt x="1431" y="8"/>
                  <a:pt x="1431" y="8"/>
                  <a:pt x="1431" y="7"/>
                </a:cubicBezTo>
                <a:cubicBezTo>
                  <a:pt x="1431" y="7"/>
                  <a:pt x="1431" y="7"/>
                  <a:pt x="1431" y="8"/>
                </a:cubicBezTo>
                <a:close/>
                <a:moveTo>
                  <a:pt x="630" y="73"/>
                </a:moveTo>
                <a:cubicBezTo>
                  <a:pt x="630" y="73"/>
                  <a:pt x="630" y="73"/>
                  <a:pt x="630" y="73"/>
                </a:cubicBezTo>
                <a:cubicBezTo>
                  <a:pt x="630" y="73"/>
                  <a:pt x="630" y="73"/>
                  <a:pt x="630" y="73"/>
                </a:cubicBezTo>
                <a:close/>
                <a:moveTo>
                  <a:pt x="677" y="73"/>
                </a:moveTo>
                <a:cubicBezTo>
                  <a:pt x="677" y="73"/>
                  <a:pt x="676" y="73"/>
                  <a:pt x="676" y="73"/>
                </a:cubicBezTo>
                <a:cubicBezTo>
                  <a:pt x="676" y="73"/>
                  <a:pt x="676" y="73"/>
                  <a:pt x="677" y="73"/>
                </a:cubicBezTo>
                <a:close/>
                <a:moveTo>
                  <a:pt x="966" y="73"/>
                </a:moveTo>
                <a:cubicBezTo>
                  <a:pt x="966" y="73"/>
                  <a:pt x="966" y="73"/>
                  <a:pt x="966" y="73"/>
                </a:cubicBezTo>
                <a:cubicBezTo>
                  <a:pt x="966" y="73"/>
                  <a:pt x="966" y="73"/>
                  <a:pt x="966" y="73"/>
                </a:cubicBezTo>
                <a:close/>
                <a:moveTo>
                  <a:pt x="677" y="73"/>
                </a:moveTo>
                <a:cubicBezTo>
                  <a:pt x="677" y="73"/>
                  <a:pt x="677" y="73"/>
                  <a:pt x="677" y="73"/>
                </a:cubicBezTo>
                <a:cubicBezTo>
                  <a:pt x="677" y="73"/>
                  <a:pt x="677" y="73"/>
                  <a:pt x="677" y="73"/>
                </a:cubicBezTo>
                <a:close/>
                <a:moveTo>
                  <a:pt x="1451" y="7"/>
                </a:moveTo>
                <a:cubicBezTo>
                  <a:pt x="1451" y="8"/>
                  <a:pt x="1451" y="8"/>
                  <a:pt x="1452" y="8"/>
                </a:cubicBezTo>
                <a:cubicBezTo>
                  <a:pt x="1451" y="7"/>
                  <a:pt x="1451" y="7"/>
                  <a:pt x="1451" y="7"/>
                </a:cubicBezTo>
                <a:close/>
                <a:moveTo>
                  <a:pt x="1663" y="74"/>
                </a:moveTo>
                <a:cubicBezTo>
                  <a:pt x="1663" y="73"/>
                  <a:pt x="1662" y="73"/>
                  <a:pt x="1662" y="73"/>
                </a:cubicBezTo>
                <a:cubicBezTo>
                  <a:pt x="1662" y="73"/>
                  <a:pt x="1662" y="73"/>
                  <a:pt x="1663" y="74"/>
                </a:cubicBezTo>
                <a:close/>
                <a:moveTo>
                  <a:pt x="1085" y="48"/>
                </a:moveTo>
                <a:cubicBezTo>
                  <a:pt x="1085" y="49"/>
                  <a:pt x="1085" y="49"/>
                  <a:pt x="1085" y="49"/>
                </a:cubicBezTo>
                <a:cubicBezTo>
                  <a:pt x="1085" y="49"/>
                  <a:pt x="1085" y="48"/>
                  <a:pt x="1085" y="48"/>
                </a:cubicBezTo>
                <a:close/>
                <a:moveTo>
                  <a:pt x="1542" y="8"/>
                </a:moveTo>
                <a:cubicBezTo>
                  <a:pt x="1543" y="8"/>
                  <a:pt x="1543" y="8"/>
                  <a:pt x="1543" y="7"/>
                </a:cubicBezTo>
                <a:cubicBezTo>
                  <a:pt x="1543" y="7"/>
                  <a:pt x="1543" y="7"/>
                  <a:pt x="1542" y="8"/>
                </a:cubicBezTo>
                <a:close/>
                <a:moveTo>
                  <a:pt x="1565" y="7"/>
                </a:moveTo>
                <a:cubicBezTo>
                  <a:pt x="1565" y="7"/>
                  <a:pt x="1565" y="8"/>
                  <a:pt x="1566" y="7"/>
                </a:cubicBezTo>
                <a:cubicBezTo>
                  <a:pt x="1565" y="7"/>
                  <a:pt x="1565" y="7"/>
                  <a:pt x="1565" y="7"/>
                </a:cubicBezTo>
                <a:close/>
                <a:moveTo>
                  <a:pt x="640" y="73"/>
                </a:moveTo>
                <a:cubicBezTo>
                  <a:pt x="640" y="73"/>
                  <a:pt x="640" y="74"/>
                  <a:pt x="640" y="74"/>
                </a:cubicBezTo>
                <a:cubicBezTo>
                  <a:pt x="640" y="74"/>
                  <a:pt x="640" y="74"/>
                  <a:pt x="640" y="73"/>
                </a:cubicBezTo>
                <a:close/>
                <a:moveTo>
                  <a:pt x="678" y="74"/>
                </a:moveTo>
                <a:cubicBezTo>
                  <a:pt x="678" y="73"/>
                  <a:pt x="678" y="73"/>
                  <a:pt x="677" y="73"/>
                </a:cubicBezTo>
                <a:cubicBezTo>
                  <a:pt x="678" y="74"/>
                  <a:pt x="678" y="74"/>
                  <a:pt x="678" y="74"/>
                </a:cubicBezTo>
                <a:close/>
                <a:moveTo>
                  <a:pt x="697" y="73"/>
                </a:moveTo>
                <a:cubicBezTo>
                  <a:pt x="697" y="74"/>
                  <a:pt x="697" y="74"/>
                  <a:pt x="697" y="74"/>
                </a:cubicBezTo>
                <a:cubicBezTo>
                  <a:pt x="697" y="74"/>
                  <a:pt x="697" y="73"/>
                  <a:pt x="697" y="73"/>
                </a:cubicBezTo>
                <a:close/>
                <a:moveTo>
                  <a:pt x="953" y="74"/>
                </a:moveTo>
                <a:cubicBezTo>
                  <a:pt x="953" y="74"/>
                  <a:pt x="953" y="73"/>
                  <a:pt x="953" y="73"/>
                </a:cubicBezTo>
                <a:cubicBezTo>
                  <a:pt x="953" y="74"/>
                  <a:pt x="953" y="74"/>
                  <a:pt x="953" y="74"/>
                </a:cubicBezTo>
                <a:close/>
                <a:moveTo>
                  <a:pt x="966" y="73"/>
                </a:moveTo>
                <a:cubicBezTo>
                  <a:pt x="966" y="74"/>
                  <a:pt x="966" y="74"/>
                  <a:pt x="966" y="74"/>
                </a:cubicBezTo>
                <a:cubicBezTo>
                  <a:pt x="966" y="74"/>
                  <a:pt x="966" y="74"/>
                  <a:pt x="966" y="73"/>
                </a:cubicBezTo>
                <a:close/>
                <a:moveTo>
                  <a:pt x="662" y="41"/>
                </a:moveTo>
                <a:cubicBezTo>
                  <a:pt x="662" y="41"/>
                  <a:pt x="662" y="41"/>
                  <a:pt x="663" y="41"/>
                </a:cubicBezTo>
                <a:cubicBezTo>
                  <a:pt x="662" y="41"/>
                  <a:pt x="662" y="41"/>
                  <a:pt x="662" y="41"/>
                </a:cubicBezTo>
                <a:close/>
                <a:moveTo>
                  <a:pt x="1365" y="73"/>
                </a:moveTo>
                <a:cubicBezTo>
                  <a:pt x="1365" y="73"/>
                  <a:pt x="1365" y="73"/>
                  <a:pt x="1365" y="74"/>
                </a:cubicBezTo>
                <a:cubicBezTo>
                  <a:pt x="1365" y="74"/>
                  <a:pt x="1365" y="74"/>
                  <a:pt x="1365" y="73"/>
                </a:cubicBezTo>
                <a:close/>
                <a:moveTo>
                  <a:pt x="1710" y="8"/>
                </a:moveTo>
                <a:cubicBezTo>
                  <a:pt x="1711" y="8"/>
                  <a:pt x="1711" y="8"/>
                  <a:pt x="1711" y="7"/>
                </a:cubicBezTo>
                <a:cubicBezTo>
                  <a:pt x="1711" y="7"/>
                  <a:pt x="1711" y="7"/>
                  <a:pt x="1710" y="8"/>
                </a:cubicBezTo>
                <a:close/>
                <a:moveTo>
                  <a:pt x="679" y="74"/>
                </a:moveTo>
                <a:cubicBezTo>
                  <a:pt x="679" y="74"/>
                  <a:pt x="678" y="74"/>
                  <a:pt x="678" y="74"/>
                </a:cubicBezTo>
                <a:cubicBezTo>
                  <a:pt x="678" y="74"/>
                  <a:pt x="678" y="74"/>
                  <a:pt x="679" y="74"/>
                </a:cubicBezTo>
                <a:close/>
                <a:moveTo>
                  <a:pt x="1733" y="7"/>
                </a:moveTo>
                <a:cubicBezTo>
                  <a:pt x="1733" y="7"/>
                  <a:pt x="1734" y="8"/>
                  <a:pt x="1734" y="7"/>
                </a:cubicBezTo>
                <a:cubicBezTo>
                  <a:pt x="1734" y="7"/>
                  <a:pt x="1733" y="7"/>
                  <a:pt x="1733" y="7"/>
                </a:cubicBezTo>
                <a:close/>
                <a:moveTo>
                  <a:pt x="1667" y="58"/>
                </a:moveTo>
                <a:cubicBezTo>
                  <a:pt x="1666" y="58"/>
                  <a:pt x="1666" y="58"/>
                  <a:pt x="1666" y="58"/>
                </a:cubicBezTo>
                <a:cubicBezTo>
                  <a:pt x="1666" y="58"/>
                  <a:pt x="1666" y="58"/>
                  <a:pt x="1667" y="58"/>
                </a:cubicBezTo>
                <a:close/>
                <a:moveTo>
                  <a:pt x="1663" y="74"/>
                </a:moveTo>
                <a:cubicBezTo>
                  <a:pt x="1663" y="74"/>
                  <a:pt x="1663" y="74"/>
                  <a:pt x="1662" y="74"/>
                </a:cubicBezTo>
                <a:cubicBezTo>
                  <a:pt x="1662" y="74"/>
                  <a:pt x="1663" y="74"/>
                  <a:pt x="1663" y="74"/>
                </a:cubicBezTo>
                <a:close/>
                <a:moveTo>
                  <a:pt x="1717" y="74"/>
                </a:moveTo>
                <a:cubicBezTo>
                  <a:pt x="1717" y="74"/>
                  <a:pt x="1717" y="74"/>
                  <a:pt x="1717" y="74"/>
                </a:cubicBezTo>
                <a:cubicBezTo>
                  <a:pt x="1717" y="74"/>
                  <a:pt x="1717" y="74"/>
                  <a:pt x="1717" y="74"/>
                </a:cubicBezTo>
                <a:close/>
                <a:moveTo>
                  <a:pt x="640" y="74"/>
                </a:moveTo>
                <a:cubicBezTo>
                  <a:pt x="640" y="74"/>
                  <a:pt x="640" y="74"/>
                  <a:pt x="640" y="75"/>
                </a:cubicBezTo>
                <a:cubicBezTo>
                  <a:pt x="640" y="75"/>
                  <a:pt x="640" y="74"/>
                  <a:pt x="640" y="74"/>
                </a:cubicBezTo>
                <a:close/>
                <a:moveTo>
                  <a:pt x="679" y="74"/>
                </a:moveTo>
                <a:cubicBezTo>
                  <a:pt x="679" y="74"/>
                  <a:pt x="679" y="74"/>
                  <a:pt x="679" y="74"/>
                </a:cubicBezTo>
                <a:cubicBezTo>
                  <a:pt x="679" y="74"/>
                  <a:pt x="679" y="74"/>
                  <a:pt x="679" y="74"/>
                </a:cubicBezTo>
                <a:close/>
                <a:moveTo>
                  <a:pt x="697" y="74"/>
                </a:moveTo>
                <a:cubicBezTo>
                  <a:pt x="697" y="74"/>
                  <a:pt x="697" y="75"/>
                  <a:pt x="698" y="75"/>
                </a:cubicBezTo>
                <a:cubicBezTo>
                  <a:pt x="698" y="74"/>
                  <a:pt x="697" y="74"/>
                  <a:pt x="697" y="74"/>
                </a:cubicBezTo>
                <a:close/>
                <a:moveTo>
                  <a:pt x="582" y="8"/>
                </a:moveTo>
                <a:cubicBezTo>
                  <a:pt x="582" y="8"/>
                  <a:pt x="582" y="8"/>
                  <a:pt x="583" y="8"/>
                </a:cubicBezTo>
                <a:cubicBezTo>
                  <a:pt x="582" y="8"/>
                  <a:pt x="582" y="8"/>
                  <a:pt x="582" y="8"/>
                </a:cubicBezTo>
                <a:close/>
                <a:moveTo>
                  <a:pt x="1675" y="74"/>
                </a:moveTo>
                <a:cubicBezTo>
                  <a:pt x="1675" y="74"/>
                  <a:pt x="1675" y="75"/>
                  <a:pt x="1675" y="75"/>
                </a:cubicBezTo>
                <a:cubicBezTo>
                  <a:pt x="1675" y="74"/>
                  <a:pt x="1675" y="74"/>
                  <a:pt x="1675" y="74"/>
                </a:cubicBezTo>
                <a:close/>
                <a:moveTo>
                  <a:pt x="608" y="75"/>
                </a:moveTo>
                <a:cubicBezTo>
                  <a:pt x="608" y="75"/>
                  <a:pt x="608" y="74"/>
                  <a:pt x="608" y="74"/>
                </a:cubicBezTo>
                <a:cubicBezTo>
                  <a:pt x="608" y="75"/>
                  <a:pt x="608" y="75"/>
                  <a:pt x="608" y="75"/>
                </a:cubicBezTo>
                <a:close/>
                <a:moveTo>
                  <a:pt x="629" y="75"/>
                </a:moveTo>
                <a:cubicBezTo>
                  <a:pt x="630" y="75"/>
                  <a:pt x="630" y="75"/>
                  <a:pt x="630" y="74"/>
                </a:cubicBezTo>
                <a:cubicBezTo>
                  <a:pt x="629" y="75"/>
                  <a:pt x="629" y="75"/>
                  <a:pt x="629" y="75"/>
                </a:cubicBezTo>
                <a:close/>
                <a:moveTo>
                  <a:pt x="680" y="75"/>
                </a:moveTo>
                <a:cubicBezTo>
                  <a:pt x="680" y="74"/>
                  <a:pt x="680" y="74"/>
                  <a:pt x="679" y="74"/>
                </a:cubicBezTo>
                <a:cubicBezTo>
                  <a:pt x="680" y="75"/>
                  <a:pt x="680" y="75"/>
                  <a:pt x="680" y="75"/>
                </a:cubicBezTo>
                <a:close/>
                <a:moveTo>
                  <a:pt x="954" y="75"/>
                </a:moveTo>
                <a:cubicBezTo>
                  <a:pt x="954" y="75"/>
                  <a:pt x="954" y="74"/>
                  <a:pt x="953" y="74"/>
                </a:cubicBezTo>
                <a:cubicBezTo>
                  <a:pt x="953" y="75"/>
                  <a:pt x="953" y="75"/>
                  <a:pt x="954" y="75"/>
                </a:cubicBezTo>
                <a:close/>
                <a:moveTo>
                  <a:pt x="966" y="74"/>
                </a:moveTo>
                <a:cubicBezTo>
                  <a:pt x="966" y="75"/>
                  <a:pt x="966" y="75"/>
                  <a:pt x="967" y="75"/>
                </a:cubicBezTo>
                <a:cubicBezTo>
                  <a:pt x="967" y="75"/>
                  <a:pt x="967" y="75"/>
                  <a:pt x="966" y="74"/>
                </a:cubicBezTo>
                <a:close/>
                <a:moveTo>
                  <a:pt x="595" y="41"/>
                </a:moveTo>
                <a:cubicBezTo>
                  <a:pt x="595" y="41"/>
                  <a:pt x="595" y="41"/>
                  <a:pt x="595" y="41"/>
                </a:cubicBezTo>
                <a:cubicBezTo>
                  <a:pt x="595" y="41"/>
                  <a:pt x="595" y="41"/>
                  <a:pt x="595" y="41"/>
                </a:cubicBezTo>
                <a:close/>
                <a:moveTo>
                  <a:pt x="1663" y="75"/>
                </a:moveTo>
                <a:cubicBezTo>
                  <a:pt x="1663" y="75"/>
                  <a:pt x="1663" y="75"/>
                  <a:pt x="1663" y="74"/>
                </a:cubicBezTo>
                <a:cubicBezTo>
                  <a:pt x="1663" y="75"/>
                  <a:pt x="1663" y="75"/>
                  <a:pt x="1663" y="75"/>
                </a:cubicBezTo>
                <a:close/>
                <a:moveTo>
                  <a:pt x="619" y="75"/>
                </a:moveTo>
                <a:cubicBezTo>
                  <a:pt x="619" y="75"/>
                  <a:pt x="619" y="75"/>
                  <a:pt x="619" y="76"/>
                </a:cubicBezTo>
                <a:cubicBezTo>
                  <a:pt x="619" y="75"/>
                  <a:pt x="619" y="75"/>
                  <a:pt x="619" y="75"/>
                </a:cubicBezTo>
                <a:close/>
                <a:moveTo>
                  <a:pt x="681" y="75"/>
                </a:moveTo>
                <a:cubicBezTo>
                  <a:pt x="681" y="75"/>
                  <a:pt x="680" y="75"/>
                  <a:pt x="680" y="75"/>
                </a:cubicBezTo>
                <a:cubicBezTo>
                  <a:pt x="680" y="75"/>
                  <a:pt x="681" y="75"/>
                  <a:pt x="681" y="75"/>
                </a:cubicBezTo>
                <a:close/>
                <a:moveTo>
                  <a:pt x="1357" y="8"/>
                </a:moveTo>
                <a:cubicBezTo>
                  <a:pt x="1357" y="8"/>
                  <a:pt x="1358" y="8"/>
                  <a:pt x="1358" y="8"/>
                </a:cubicBezTo>
                <a:cubicBezTo>
                  <a:pt x="1358" y="8"/>
                  <a:pt x="1357" y="8"/>
                  <a:pt x="1357" y="8"/>
                </a:cubicBezTo>
                <a:close/>
                <a:moveTo>
                  <a:pt x="799" y="41"/>
                </a:moveTo>
                <a:cubicBezTo>
                  <a:pt x="799" y="42"/>
                  <a:pt x="799" y="42"/>
                  <a:pt x="799" y="42"/>
                </a:cubicBezTo>
                <a:cubicBezTo>
                  <a:pt x="799" y="42"/>
                  <a:pt x="799" y="41"/>
                  <a:pt x="799" y="41"/>
                </a:cubicBezTo>
                <a:close/>
                <a:moveTo>
                  <a:pt x="1382" y="8"/>
                </a:moveTo>
                <a:cubicBezTo>
                  <a:pt x="1382" y="8"/>
                  <a:pt x="1382" y="8"/>
                  <a:pt x="1383" y="8"/>
                </a:cubicBezTo>
                <a:cubicBezTo>
                  <a:pt x="1382" y="8"/>
                  <a:pt x="1382" y="8"/>
                  <a:pt x="1382" y="8"/>
                </a:cubicBezTo>
                <a:close/>
                <a:moveTo>
                  <a:pt x="1675" y="75"/>
                </a:moveTo>
                <a:cubicBezTo>
                  <a:pt x="1675" y="75"/>
                  <a:pt x="1675" y="75"/>
                  <a:pt x="1676" y="75"/>
                </a:cubicBezTo>
                <a:cubicBezTo>
                  <a:pt x="1676" y="75"/>
                  <a:pt x="1676" y="75"/>
                  <a:pt x="1675" y="75"/>
                </a:cubicBezTo>
                <a:close/>
                <a:moveTo>
                  <a:pt x="640" y="75"/>
                </a:moveTo>
                <a:cubicBezTo>
                  <a:pt x="639" y="75"/>
                  <a:pt x="639" y="75"/>
                  <a:pt x="639" y="76"/>
                </a:cubicBezTo>
                <a:cubicBezTo>
                  <a:pt x="640" y="76"/>
                  <a:pt x="640" y="75"/>
                  <a:pt x="640" y="75"/>
                </a:cubicBezTo>
                <a:close/>
                <a:moveTo>
                  <a:pt x="682" y="75"/>
                </a:moveTo>
                <a:cubicBezTo>
                  <a:pt x="681" y="75"/>
                  <a:pt x="681" y="75"/>
                  <a:pt x="681" y="75"/>
                </a:cubicBezTo>
                <a:cubicBezTo>
                  <a:pt x="681" y="75"/>
                  <a:pt x="681" y="75"/>
                  <a:pt x="682" y="75"/>
                </a:cubicBezTo>
                <a:close/>
                <a:moveTo>
                  <a:pt x="1502" y="8"/>
                </a:moveTo>
                <a:cubicBezTo>
                  <a:pt x="1503" y="8"/>
                  <a:pt x="1503" y="8"/>
                  <a:pt x="1503" y="8"/>
                </a:cubicBezTo>
                <a:cubicBezTo>
                  <a:pt x="1503" y="8"/>
                  <a:pt x="1502" y="8"/>
                  <a:pt x="1502" y="8"/>
                </a:cubicBezTo>
                <a:close/>
                <a:moveTo>
                  <a:pt x="967" y="75"/>
                </a:moveTo>
                <a:cubicBezTo>
                  <a:pt x="967" y="75"/>
                  <a:pt x="967" y="76"/>
                  <a:pt x="967" y="76"/>
                </a:cubicBezTo>
                <a:cubicBezTo>
                  <a:pt x="967" y="75"/>
                  <a:pt x="967" y="75"/>
                  <a:pt x="967" y="75"/>
                </a:cubicBezTo>
                <a:close/>
                <a:moveTo>
                  <a:pt x="1370" y="58"/>
                </a:moveTo>
                <a:cubicBezTo>
                  <a:pt x="1370" y="58"/>
                  <a:pt x="1371" y="58"/>
                  <a:pt x="1371" y="58"/>
                </a:cubicBezTo>
                <a:cubicBezTo>
                  <a:pt x="1370" y="58"/>
                  <a:pt x="1370" y="58"/>
                  <a:pt x="1370" y="58"/>
                </a:cubicBezTo>
                <a:close/>
                <a:moveTo>
                  <a:pt x="875" y="48"/>
                </a:moveTo>
                <a:cubicBezTo>
                  <a:pt x="875" y="48"/>
                  <a:pt x="875" y="49"/>
                  <a:pt x="875" y="49"/>
                </a:cubicBezTo>
                <a:cubicBezTo>
                  <a:pt x="875" y="49"/>
                  <a:pt x="875" y="49"/>
                  <a:pt x="875" y="48"/>
                </a:cubicBezTo>
                <a:close/>
                <a:moveTo>
                  <a:pt x="1033" y="49"/>
                </a:moveTo>
                <a:cubicBezTo>
                  <a:pt x="1034" y="49"/>
                  <a:pt x="1034" y="49"/>
                  <a:pt x="1034" y="49"/>
                </a:cubicBezTo>
                <a:cubicBezTo>
                  <a:pt x="1034" y="49"/>
                  <a:pt x="1033" y="49"/>
                  <a:pt x="1033" y="49"/>
                </a:cubicBezTo>
                <a:close/>
                <a:moveTo>
                  <a:pt x="832" y="48"/>
                </a:moveTo>
                <a:cubicBezTo>
                  <a:pt x="832" y="48"/>
                  <a:pt x="832" y="49"/>
                  <a:pt x="832" y="49"/>
                </a:cubicBezTo>
                <a:cubicBezTo>
                  <a:pt x="832" y="49"/>
                  <a:pt x="832" y="49"/>
                  <a:pt x="832" y="48"/>
                </a:cubicBezTo>
                <a:close/>
                <a:moveTo>
                  <a:pt x="608" y="76"/>
                </a:moveTo>
                <a:cubicBezTo>
                  <a:pt x="608" y="76"/>
                  <a:pt x="608" y="75"/>
                  <a:pt x="608" y="75"/>
                </a:cubicBezTo>
                <a:cubicBezTo>
                  <a:pt x="608" y="76"/>
                  <a:pt x="608" y="76"/>
                  <a:pt x="608" y="76"/>
                </a:cubicBezTo>
                <a:close/>
                <a:moveTo>
                  <a:pt x="629" y="76"/>
                </a:moveTo>
                <a:cubicBezTo>
                  <a:pt x="629" y="76"/>
                  <a:pt x="629" y="76"/>
                  <a:pt x="629" y="75"/>
                </a:cubicBezTo>
                <a:cubicBezTo>
                  <a:pt x="629" y="76"/>
                  <a:pt x="629" y="76"/>
                  <a:pt x="629" y="76"/>
                </a:cubicBezTo>
                <a:close/>
                <a:moveTo>
                  <a:pt x="752" y="49"/>
                </a:moveTo>
                <a:cubicBezTo>
                  <a:pt x="752" y="49"/>
                  <a:pt x="752" y="49"/>
                  <a:pt x="752" y="48"/>
                </a:cubicBezTo>
                <a:cubicBezTo>
                  <a:pt x="752" y="48"/>
                  <a:pt x="752" y="49"/>
                  <a:pt x="752" y="49"/>
                </a:cubicBezTo>
                <a:close/>
                <a:moveTo>
                  <a:pt x="954" y="76"/>
                </a:moveTo>
                <a:cubicBezTo>
                  <a:pt x="954" y="76"/>
                  <a:pt x="954" y="75"/>
                  <a:pt x="954" y="75"/>
                </a:cubicBezTo>
                <a:cubicBezTo>
                  <a:pt x="954" y="76"/>
                  <a:pt x="954" y="76"/>
                  <a:pt x="954" y="76"/>
                </a:cubicBezTo>
                <a:close/>
                <a:moveTo>
                  <a:pt x="1664" y="76"/>
                </a:moveTo>
                <a:cubicBezTo>
                  <a:pt x="1664" y="76"/>
                  <a:pt x="1664" y="75"/>
                  <a:pt x="1663" y="75"/>
                </a:cubicBezTo>
                <a:cubicBezTo>
                  <a:pt x="1663" y="76"/>
                  <a:pt x="1663" y="76"/>
                  <a:pt x="1664" y="76"/>
                </a:cubicBezTo>
                <a:close/>
                <a:moveTo>
                  <a:pt x="1676" y="75"/>
                </a:moveTo>
                <a:cubicBezTo>
                  <a:pt x="1676" y="76"/>
                  <a:pt x="1676" y="76"/>
                  <a:pt x="1676" y="76"/>
                </a:cubicBezTo>
                <a:cubicBezTo>
                  <a:pt x="1676" y="76"/>
                  <a:pt x="1676" y="76"/>
                  <a:pt x="1676" y="75"/>
                </a:cubicBezTo>
                <a:close/>
                <a:moveTo>
                  <a:pt x="619" y="76"/>
                </a:moveTo>
                <a:cubicBezTo>
                  <a:pt x="619" y="76"/>
                  <a:pt x="619" y="76"/>
                  <a:pt x="619" y="77"/>
                </a:cubicBezTo>
                <a:cubicBezTo>
                  <a:pt x="619" y="76"/>
                  <a:pt x="619" y="76"/>
                  <a:pt x="619" y="76"/>
                </a:cubicBezTo>
                <a:close/>
                <a:moveTo>
                  <a:pt x="639" y="76"/>
                </a:moveTo>
                <a:cubicBezTo>
                  <a:pt x="639" y="76"/>
                  <a:pt x="639" y="76"/>
                  <a:pt x="639" y="76"/>
                </a:cubicBezTo>
                <a:cubicBezTo>
                  <a:pt x="639" y="76"/>
                  <a:pt x="639" y="76"/>
                  <a:pt x="639" y="76"/>
                </a:cubicBezTo>
                <a:close/>
                <a:moveTo>
                  <a:pt x="683" y="76"/>
                </a:moveTo>
                <a:cubicBezTo>
                  <a:pt x="682" y="76"/>
                  <a:pt x="682" y="76"/>
                  <a:pt x="682" y="76"/>
                </a:cubicBezTo>
                <a:cubicBezTo>
                  <a:pt x="682" y="76"/>
                  <a:pt x="682" y="76"/>
                  <a:pt x="683" y="76"/>
                </a:cubicBezTo>
                <a:close/>
                <a:moveTo>
                  <a:pt x="967" y="76"/>
                </a:moveTo>
                <a:cubicBezTo>
                  <a:pt x="967" y="76"/>
                  <a:pt x="967" y="76"/>
                  <a:pt x="967" y="76"/>
                </a:cubicBezTo>
                <a:cubicBezTo>
                  <a:pt x="967" y="76"/>
                  <a:pt x="967" y="76"/>
                  <a:pt x="967" y="76"/>
                </a:cubicBezTo>
                <a:close/>
                <a:moveTo>
                  <a:pt x="1349" y="76"/>
                </a:moveTo>
                <a:cubicBezTo>
                  <a:pt x="1349" y="76"/>
                  <a:pt x="1350" y="76"/>
                  <a:pt x="1350" y="76"/>
                </a:cubicBezTo>
                <a:cubicBezTo>
                  <a:pt x="1349" y="76"/>
                  <a:pt x="1349" y="76"/>
                  <a:pt x="1349" y="76"/>
                </a:cubicBezTo>
                <a:close/>
                <a:moveTo>
                  <a:pt x="1541" y="8"/>
                </a:moveTo>
                <a:cubicBezTo>
                  <a:pt x="1542" y="8"/>
                  <a:pt x="1542" y="8"/>
                  <a:pt x="1542" y="8"/>
                </a:cubicBezTo>
                <a:cubicBezTo>
                  <a:pt x="1542" y="8"/>
                  <a:pt x="1542" y="8"/>
                  <a:pt x="1541" y="8"/>
                </a:cubicBezTo>
                <a:close/>
                <a:moveTo>
                  <a:pt x="609" y="77"/>
                </a:moveTo>
                <a:cubicBezTo>
                  <a:pt x="609" y="77"/>
                  <a:pt x="609" y="76"/>
                  <a:pt x="608" y="76"/>
                </a:cubicBezTo>
                <a:cubicBezTo>
                  <a:pt x="608" y="76"/>
                  <a:pt x="608" y="77"/>
                  <a:pt x="609" y="77"/>
                </a:cubicBezTo>
                <a:close/>
                <a:moveTo>
                  <a:pt x="1566" y="8"/>
                </a:moveTo>
                <a:cubicBezTo>
                  <a:pt x="1566" y="8"/>
                  <a:pt x="1566" y="8"/>
                  <a:pt x="1567" y="8"/>
                </a:cubicBezTo>
                <a:cubicBezTo>
                  <a:pt x="1567" y="8"/>
                  <a:pt x="1566" y="8"/>
                  <a:pt x="1566" y="8"/>
                </a:cubicBezTo>
                <a:close/>
                <a:moveTo>
                  <a:pt x="683" y="76"/>
                </a:moveTo>
                <a:cubicBezTo>
                  <a:pt x="683" y="76"/>
                  <a:pt x="683" y="76"/>
                  <a:pt x="683" y="76"/>
                </a:cubicBezTo>
                <a:cubicBezTo>
                  <a:pt x="683" y="76"/>
                  <a:pt x="683" y="76"/>
                  <a:pt x="683" y="76"/>
                </a:cubicBezTo>
                <a:close/>
                <a:moveTo>
                  <a:pt x="698" y="76"/>
                </a:moveTo>
                <a:cubicBezTo>
                  <a:pt x="698" y="76"/>
                  <a:pt x="698" y="77"/>
                  <a:pt x="699" y="77"/>
                </a:cubicBezTo>
                <a:cubicBezTo>
                  <a:pt x="699" y="77"/>
                  <a:pt x="699" y="76"/>
                  <a:pt x="698" y="76"/>
                </a:cubicBezTo>
                <a:close/>
                <a:moveTo>
                  <a:pt x="1709" y="8"/>
                </a:moveTo>
                <a:cubicBezTo>
                  <a:pt x="1710" y="8"/>
                  <a:pt x="1710" y="8"/>
                  <a:pt x="1710" y="8"/>
                </a:cubicBezTo>
                <a:cubicBezTo>
                  <a:pt x="1710" y="8"/>
                  <a:pt x="1710" y="8"/>
                  <a:pt x="1709" y="8"/>
                </a:cubicBezTo>
                <a:close/>
                <a:moveTo>
                  <a:pt x="563" y="48"/>
                </a:moveTo>
                <a:cubicBezTo>
                  <a:pt x="563" y="49"/>
                  <a:pt x="564" y="49"/>
                  <a:pt x="564" y="49"/>
                </a:cubicBezTo>
                <a:cubicBezTo>
                  <a:pt x="564" y="48"/>
                  <a:pt x="563" y="48"/>
                  <a:pt x="563" y="48"/>
                </a:cubicBezTo>
                <a:close/>
                <a:moveTo>
                  <a:pt x="1734" y="8"/>
                </a:moveTo>
                <a:cubicBezTo>
                  <a:pt x="1734" y="8"/>
                  <a:pt x="1735" y="8"/>
                  <a:pt x="1735" y="8"/>
                </a:cubicBezTo>
                <a:cubicBezTo>
                  <a:pt x="1735" y="8"/>
                  <a:pt x="1734" y="8"/>
                  <a:pt x="1734" y="8"/>
                </a:cubicBezTo>
                <a:close/>
                <a:moveTo>
                  <a:pt x="1664" y="77"/>
                </a:moveTo>
                <a:cubicBezTo>
                  <a:pt x="1664" y="76"/>
                  <a:pt x="1664" y="76"/>
                  <a:pt x="1664" y="76"/>
                </a:cubicBezTo>
                <a:cubicBezTo>
                  <a:pt x="1664" y="76"/>
                  <a:pt x="1664" y="77"/>
                  <a:pt x="1664" y="77"/>
                </a:cubicBezTo>
                <a:close/>
                <a:moveTo>
                  <a:pt x="1676" y="76"/>
                </a:moveTo>
                <a:cubicBezTo>
                  <a:pt x="1676" y="76"/>
                  <a:pt x="1676" y="77"/>
                  <a:pt x="1676" y="77"/>
                </a:cubicBezTo>
                <a:cubicBezTo>
                  <a:pt x="1676" y="77"/>
                  <a:pt x="1676" y="76"/>
                  <a:pt x="1676" y="76"/>
                </a:cubicBezTo>
                <a:close/>
                <a:moveTo>
                  <a:pt x="602" y="59"/>
                </a:moveTo>
                <a:cubicBezTo>
                  <a:pt x="602" y="59"/>
                  <a:pt x="602" y="58"/>
                  <a:pt x="602" y="58"/>
                </a:cubicBezTo>
                <a:cubicBezTo>
                  <a:pt x="601" y="59"/>
                  <a:pt x="602" y="59"/>
                  <a:pt x="602" y="59"/>
                </a:cubicBezTo>
                <a:close/>
                <a:moveTo>
                  <a:pt x="965" y="40"/>
                </a:moveTo>
                <a:cubicBezTo>
                  <a:pt x="965" y="40"/>
                  <a:pt x="965" y="41"/>
                  <a:pt x="965" y="41"/>
                </a:cubicBezTo>
                <a:cubicBezTo>
                  <a:pt x="965" y="41"/>
                  <a:pt x="965" y="40"/>
                  <a:pt x="965" y="40"/>
                </a:cubicBezTo>
                <a:close/>
                <a:moveTo>
                  <a:pt x="619" y="77"/>
                </a:moveTo>
                <a:cubicBezTo>
                  <a:pt x="619" y="77"/>
                  <a:pt x="619" y="77"/>
                  <a:pt x="620" y="78"/>
                </a:cubicBezTo>
                <a:cubicBezTo>
                  <a:pt x="620" y="77"/>
                  <a:pt x="620" y="77"/>
                  <a:pt x="619" y="77"/>
                </a:cubicBezTo>
                <a:close/>
                <a:moveTo>
                  <a:pt x="639" y="77"/>
                </a:moveTo>
                <a:cubicBezTo>
                  <a:pt x="639" y="77"/>
                  <a:pt x="639" y="77"/>
                  <a:pt x="639" y="77"/>
                </a:cubicBezTo>
                <a:cubicBezTo>
                  <a:pt x="639" y="77"/>
                  <a:pt x="639" y="77"/>
                  <a:pt x="639" y="77"/>
                </a:cubicBezTo>
                <a:close/>
                <a:moveTo>
                  <a:pt x="684" y="77"/>
                </a:moveTo>
                <a:cubicBezTo>
                  <a:pt x="684" y="77"/>
                  <a:pt x="684" y="77"/>
                  <a:pt x="684" y="77"/>
                </a:cubicBezTo>
                <a:cubicBezTo>
                  <a:pt x="684" y="77"/>
                  <a:pt x="684" y="77"/>
                  <a:pt x="684" y="77"/>
                </a:cubicBezTo>
                <a:close/>
                <a:moveTo>
                  <a:pt x="553" y="8"/>
                </a:moveTo>
                <a:cubicBezTo>
                  <a:pt x="553" y="8"/>
                  <a:pt x="553" y="8"/>
                  <a:pt x="553" y="8"/>
                </a:cubicBezTo>
                <a:cubicBezTo>
                  <a:pt x="553" y="8"/>
                  <a:pt x="553" y="8"/>
                  <a:pt x="553" y="8"/>
                </a:cubicBezTo>
                <a:close/>
                <a:moveTo>
                  <a:pt x="968" y="77"/>
                </a:moveTo>
                <a:cubicBezTo>
                  <a:pt x="968" y="77"/>
                  <a:pt x="968" y="77"/>
                  <a:pt x="968" y="78"/>
                </a:cubicBezTo>
                <a:cubicBezTo>
                  <a:pt x="968" y="77"/>
                  <a:pt x="968" y="77"/>
                  <a:pt x="968" y="77"/>
                </a:cubicBezTo>
                <a:close/>
                <a:moveTo>
                  <a:pt x="635" y="59"/>
                </a:moveTo>
                <a:cubicBezTo>
                  <a:pt x="636" y="59"/>
                  <a:pt x="636" y="59"/>
                  <a:pt x="636" y="58"/>
                </a:cubicBezTo>
                <a:cubicBezTo>
                  <a:pt x="635" y="59"/>
                  <a:pt x="635" y="59"/>
                  <a:pt x="635" y="59"/>
                </a:cubicBezTo>
                <a:close/>
                <a:moveTo>
                  <a:pt x="1533" y="77"/>
                </a:moveTo>
                <a:cubicBezTo>
                  <a:pt x="1533" y="77"/>
                  <a:pt x="1533" y="77"/>
                  <a:pt x="1533" y="77"/>
                </a:cubicBezTo>
                <a:cubicBezTo>
                  <a:pt x="1533" y="77"/>
                  <a:pt x="1533" y="77"/>
                  <a:pt x="1533" y="77"/>
                </a:cubicBezTo>
                <a:close/>
                <a:moveTo>
                  <a:pt x="1664" y="77"/>
                </a:moveTo>
                <a:cubicBezTo>
                  <a:pt x="1664" y="77"/>
                  <a:pt x="1664" y="77"/>
                  <a:pt x="1664" y="77"/>
                </a:cubicBezTo>
                <a:cubicBezTo>
                  <a:pt x="1664" y="77"/>
                  <a:pt x="1664" y="77"/>
                  <a:pt x="1664" y="77"/>
                </a:cubicBezTo>
                <a:close/>
                <a:moveTo>
                  <a:pt x="1676" y="77"/>
                </a:moveTo>
                <a:cubicBezTo>
                  <a:pt x="1676" y="77"/>
                  <a:pt x="1676" y="77"/>
                  <a:pt x="1677" y="78"/>
                </a:cubicBezTo>
                <a:cubicBezTo>
                  <a:pt x="1677" y="77"/>
                  <a:pt x="1677" y="77"/>
                  <a:pt x="1676" y="77"/>
                </a:cubicBezTo>
                <a:close/>
                <a:moveTo>
                  <a:pt x="1701" y="77"/>
                </a:moveTo>
                <a:cubicBezTo>
                  <a:pt x="1701" y="77"/>
                  <a:pt x="1701" y="77"/>
                  <a:pt x="1701" y="77"/>
                </a:cubicBezTo>
                <a:cubicBezTo>
                  <a:pt x="1701" y="77"/>
                  <a:pt x="1701" y="77"/>
                  <a:pt x="1701" y="77"/>
                </a:cubicBezTo>
                <a:close/>
                <a:moveTo>
                  <a:pt x="609" y="78"/>
                </a:moveTo>
                <a:cubicBezTo>
                  <a:pt x="609" y="78"/>
                  <a:pt x="609" y="77"/>
                  <a:pt x="609" y="77"/>
                </a:cubicBezTo>
                <a:cubicBezTo>
                  <a:pt x="609" y="77"/>
                  <a:pt x="609" y="78"/>
                  <a:pt x="609" y="78"/>
                </a:cubicBezTo>
                <a:close/>
                <a:moveTo>
                  <a:pt x="628" y="78"/>
                </a:moveTo>
                <a:cubicBezTo>
                  <a:pt x="629" y="78"/>
                  <a:pt x="629" y="77"/>
                  <a:pt x="629" y="77"/>
                </a:cubicBezTo>
                <a:cubicBezTo>
                  <a:pt x="628" y="77"/>
                  <a:pt x="628" y="78"/>
                  <a:pt x="628" y="78"/>
                </a:cubicBezTo>
                <a:close/>
                <a:moveTo>
                  <a:pt x="955" y="78"/>
                </a:moveTo>
                <a:cubicBezTo>
                  <a:pt x="955" y="78"/>
                  <a:pt x="955" y="77"/>
                  <a:pt x="954" y="77"/>
                </a:cubicBezTo>
                <a:cubicBezTo>
                  <a:pt x="954" y="77"/>
                  <a:pt x="954" y="78"/>
                  <a:pt x="955" y="78"/>
                </a:cubicBezTo>
                <a:close/>
                <a:moveTo>
                  <a:pt x="1348" y="78"/>
                </a:moveTo>
                <a:cubicBezTo>
                  <a:pt x="1348" y="78"/>
                  <a:pt x="1349" y="77"/>
                  <a:pt x="1349" y="77"/>
                </a:cubicBezTo>
                <a:cubicBezTo>
                  <a:pt x="1348" y="77"/>
                  <a:pt x="1348" y="78"/>
                  <a:pt x="1348" y="78"/>
                </a:cubicBezTo>
                <a:close/>
                <a:moveTo>
                  <a:pt x="646" y="58"/>
                </a:moveTo>
                <a:cubicBezTo>
                  <a:pt x="646" y="58"/>
                  <a:pt x="646" y="59"/>
                  <a:pt x="646" y="59"/>
                </a:cubicBezTo>
                <a:cubicBezTo>
                  <a:pt x="646" y="59"/>
                  <a:pt x="646" y="59"/>
                  <a:pt x="646" y="58"/>
                </a:cubicBezTo>
                <a:close/>
                <a:moveTo>
                  <a:pt x="639" y="77"/>
                </a:moveTo>
                <a:cubicBezTo>
                  <a:pt x="638" y="78"/>
                  <a:pt x="638" y="78"/>
                  <a:pt x="638" y="78"/>
                </a:cubicBezTo>
                <a:cubicBezTo>
                  <a:pt x="639" y="78"/>
                  <a:pt x="639" y="78"/>
                  <a:pt x="639" y="77"/>
                </a:cubicBezTo>
                <a:close/>
                <a:moveTo>
                  <a:pt x="570" y="52"/>
                </a:moveTo>
                <a:cubicBezTo>
                  <a:pt x="571" y="53"/>
                  <a:pt x="571" y="53"/>
                  <a:pt x="571" y="53"/>
                </a:cubicBezTo>
                <a:cubicBezTo>
                  <a:pt x="571" y="53"/>
                  <a:pt x="571" y="52"/>
                  <a:pt x="570" y="52"/>
                </a:cubicBezTo>
                <a:close/>
                <a:moveTo>
                  <a:pt x="1671" y="55"/>
                </a:moveTo>
                <a:cubicBezTo>
                  <a:pt x="1671" y="56"/>
                  <a:pt x="1671" y="56"/>
                  <a:pt x="1671" y="56"/>
                </a:cubicBezTo>
                <a:cubicBezTo>
                  <a:pt x="1671" y="56"/>
                  <a:pt x="1671" y="56"/>
                  <a:pt x="1671" y="55"/>
                </a:cubicBezTo>
                <a:close/>
                <a:moveTo>
                  <a:pt x="583" y="8"/>
                </a:moveTo>
                <a:cubicBezTo>
                  <a:pt x="583" y="8"/>
                  <a:pt x="583" y="8"/>
                  <a:pt x="584" y="8"/>
                </a:cubicBezTo>
                <a:cubicBezTo>
                  <a:pt x="584" y="8"/>
                  <a:pt x="583" y="8"/>
                  <a:pt x="583" y="8"/>
                </a:cubicBezTo>
                <a:close/>
                <a:moveTo>
                  <a:pt x="968" y="78"/>
                </a:moveTo>
                <a:cubicBezTo>
                  <a:pt x="968" y="78"/>
                  <a:pt x="968" y="78"/>
                  <a:pt x="968" y="78"/>
                </a:cubicBezTo>
                <a:cubicBezTo>
                  <a:pt x="968" y="78"/>
                  <a:pt x="968" y="78"/>
                  <a:pt x="968" y="78"/>
                </a:cubicBezTo>
                <a:close/>
                <a:moveTo>
                  <a:pt x="1016" y="8"/>
                </a:moveTo>
                <a:cubicBezTo>
                  <a:pt x="1016" y="8"/>
                  <a:pt x="1017" y="8"/>
                  <a:pt x="1017" y="8"/>
                </a:cubicBezTo>
                <a:cubicBezTo>
                  <a:pt x="1017" y="8"/>
                  <a:pt x="1017" y="8"/>
                  <a:pt x="1016" y="8"/>
                </a:cubicBezTo>
                <a:close/>
                <a:moveTo>
                  <a:pt x="1665" y="78"/>
                </a:moveTo>
                <a:cubicBezTo>
                  <a:pt x="1665" y="78"/>
                  <a:pt x="1664" y="78"/>
                  <a:pt x="1664" y="77"/>
                </a:cubicBezTo>
                <a:cubicBezTo>
                  <a:pt x="1664" y="78"/>
                  <a:pt x="1664" y="78"/>
                  <a:pt x="1665" y="78"/>
                </a:cubicBezTo>
                <a:close/>
                <a:moveTo>
                  <a:pt x="1677" y="78"/>
                </a:moveTo>
                <a:cubicBezTo>
                  <a:pt x="1677" y="78"/>
                  <a:pt x="1677" y="78"/>
                  <a:pt x="1677" y="78"/>
                </a:cubicBezTo>
                <a:cubicBezTo>
                  <a:pt x="1677" y="78"/>
                  <a:pt x="1677" y="78"/>
                  <a:pt x="1677" y="78"/>
                </a:cubicBezTo>
                <a:close/>
                <a:moveTo>
                  <a:pt x="609" y="79"/>
                </a:moveTo>
                <a:cubicBezTo>
                  <a:pt x="609" y="78"/>
                  <a:pt x="609" y="78"/>
                  <a:pt x="609" y="78"/>
                </a:cubicBezTo>
                <a:cubicBezTo>
                  <a:pt x="609" y="78"/>
                  <a:pt x="609" y="78"/>
                  <a:pt x="609" y="79"/>
                </a:cubicBezTo>
                <a:close/>
                <a:moveTo>
                  <a:pt x="620" y="78"/>
                </a:moveTo>
                <a:cubicBezTo>
                  <a:pt x="620" y="78"/>
                  <a:pt x="620" y="78"/>
                  <a:pt x="620" y="79"/>
                </a:cubicBezTo>
                <a:cubicBezTo>
                  <a:pt x="620" y="78"/>
                  <a:pt x="620" y="78"/>
                  <a:pt x="620" y="78"/>
                </a:cubicBezTo>
                <a:close/>
                <a:moveTo>
                  <a:pt x="1356" y="8"/>
                </a:moveTo>
                <a:cubicBezTo>
                  <a:pt x="1356" y="8"/>
                  <a:pt x="1357" y="8"/>
                  <a:pt x="1357" y="8"/>
                </a:cubicBezTo>
                <a:cubicBezTo>
                  <a:pt x="1357" y="8"/>
                  <a:pt x="1356" y="8"/>
                  <a:pt x="1356" y="8"/>
                </a:cubicBezTo>
                <a:close/>
                <a:moveTo>
                  <a:pt x="955" y="79"/>
                </a:moveTo>
                <a:cubicBezTo>
                  <a:pt x="955" y="78"/>
                  <a:pt x="955" y="78"/>
                  <a:pt x="955" y="78"/>
                </a:cubicBezTo>
                <a:cubicBezTo>
                  <a:pt x="955" y="78"/>
                  <a:pt x="955" y="78"/>
                  <a:pt x="955" y="79"/>
                </a:cubicBezTo>
                <a:close/>
                <a:moveTo>
                  <a:pt x="1532" y="79"/>
                </a:moveTo>
                <a:cubicBezTo>
                  <a:pt x="1532" y="78"/>
                  <a:pt x="1532" y="78"/>
                  <a:pt x="1532" y="78"/>
                </a:cubicBezTo>
                <a:cubicBezTo>
                  <a:pt x="1532" y="78"/>
                  <a:pt x="1532" y="78"/>
                  <a:pt x="1532" y="79"/>
                </a:cubicBezTo>
                <a:close/>
                <a:moveTo>
                  <a:pt x="1700" y="79"/>
                </a:moveTo>
                <a:cubicBezTo>
                  <a:pt x="1700" y="78"/>
                  <a:pt x="1700" y="78"/>
                  <a:pt x="1700" y="78"/>
                </a:cubicBezTo>
                <a:cubicBezTo>
                  <a:pt x="1700" y="78"/>
                  <a:pt x="1700" y="78"/>
                  <a:pt x="1700" y="79"/>
                </a:cubicBezTo>
                <a:close/>
                <a:moveTo>
                  <a:pt x="628" y="79"/>
                </a:moveTo>
                <a:cubicBezTo>
                  <a:pt x="628" y="79"/>
                  <a:pt x="628" y="79"/>
                  <a:pt x="628" y="78"/>
                </a:cubicBezTo>
                <a:cubicBezTo>
                  <a:pt x="628" y="78"/>
                  <a:pt x="628" y="79"/>
                  <a:pt x="628" y="79"/>
                </a:cubicBezTo>
                <a:close/>
                <a:moveTo>
                  <a:pt x="1554" y="59"/>
                </a:moveTo>
                <a:cubicBezTo>
                  <a:pt x="1554" y="59"/>
                  <a:pt x="1554" y="59"/>
                  <a:pt x="1555" y="58"/>
                </a:cubicBezTo>
                <a:cubicBezTo>
                  <a:pt x="1554" y="58"/>
                  <a:pt x="1554" y="58"/>
                  <a:pt x="1554" y="59"/>
                </a:cubicBezTo>
                <a:close/>
                <a:moveTo>
                  <a:pt x="1383" y="8"/>
                </a:moveTo>
                <a:cubicBezTo>
                  <a:pt x="1383" y="8"/>
                  <a:pt x="1383" y="8"/>
                  <a:pt x="1383" y="8"/>
                </a:cubicBezTo>
                <a:cubicBezTo>
                  <a:pt x="1383" y="8"/>
                  <a:pt x="1383" y="8"/>
                  <a:pt x="1383" y="8"/>
                </a:cubicBezTo>
                <a:close/>
                <a:moveTo>
                  <a:pt x="1429" y="8"/>
                </a:moveTo>
                <a:cubicBezTo>
                  <a:pt x="1429" y="8"/>
                  <a:pt x="1429" y="8"/>
                  <a:pt x="1430" y="8"/>
                </a:cubicBezTo>
                <a:cubicBezTo>
                  <a:pt x="1429" y="8"/>
                  <a:pt x="1429" y="8"/>
                  <a:pt x="1429" y="8"/>
                </a:cubicBezTo>
                <a:close/>
                <a:moveTo>
                  <a:pt x="1347" y="79"/>
                </a:moveTo>
                <a:cubicBezTo>
                  <a:pt x="1348" y="79"/>
                  <a:pt x="1348" y="79"/>
                  <a:pt x="1348" y="78"/>
                </a:cubicBezTo>
                <a:cubicBezTo>
                  <a:pt x="1348" y="78"/>
                  <a:pt x="1347" y="79"/>
                  <a:pt x="1347" y="79"/>
                </a:cubicBezTo>
                <a:close/>
                <a:moveTo>
                  <a:pt x="1677" y="78"/>
                </a:moveTo>
                <a:cubicBezTo>
                  <a:pt x="1677" y="79"/>
                  <a:pt x="1677" y="79"/>
                  <a:pt x="1677" y="79"/>
                </a:cubicBezTo>
                <a:cubicBezTo>
                  <a:pt x="1677" y="79"/>
                  <a:pt x="1677" y="78"/>
                  <a:pt x="1677" y="78"/>
                </a:cubicBezTo>
                <a:close/>
                <a:moveTo>
                  <a:pt x="1452" y="8"/>
                </a:moveTo>
                <a:cubicBezTo>
                  <a:pt x="1453" y="8"/>
                  <a:pt x="1453" y="8"/>
                  <a:pt x="1453" y="8"/>
                </a:cubicBezTo>
                <a:cubicBezTo>
                  <a:pt x="1453" y="8"/>
                  <a:pt x="1453" y="8"/>
                  <a:pt x="1452" y="8"/>
                </a:cubicBezTo>
                <a:close/>
                <a:moveTo>
                  <a:pt x="638" y="78"/>
                </a:moveTo>
                <a:cubicBezTo>
                  <a:pt x="638" y="79"/>
                  <a:pt x="638" y="79"/>
                  <a:pt x="638" y="79"/>
                </a:cubicBezTo>
                <a:cubicBezTo>
                  <a:pt x="638" y="79"/>
                  <a:pt x="638" y="79"/>
                  <a:pt x="638" y="78"/>
                </a:cubicBezTo>
                <a:close/>
                <a:moveTo>
                  <a:pt x="969" y="79"/>
                </a:moveTo>
                <a:cubicBezTo>
                  <a:pt x="969" y="79"/>
                  <a:pt x="969" y="79"/>
                  <a:pt x="969" y="79"/>
                </a:cubicBezTo>
                <a:cubicBezTo>
                  <a:pt x="969" y="79"/>
                  <a:pt x="969" y="79"/>
                  <a:pt x="969" y="79"/>
                </a:cubicBezTo>
                <a:close/>
                <a:moveTo>
                  <a:pt x="642" y="42"/>
                </a:moveTo>
                <a:cubicBezTo>
                  <a:pt x="642" y="42"/>
                  <a:pt x="642" y="42"/>
                  <a:pt x="642" y="41"/>
                </a:cubicBezTo>
                <a:cubicBezTo>
                  <a:pt x="642" y="41"/>
                  <a:pt x="642" y="42"/>
                  <a:pt x="642" y="42"/>
                </a:cubicBezTo>
                <a:close/>
                <a:moveTo>
                  <a:pt x="1541" y="8"/>
                </a:moveTo>
                <a:cubicBezTo>
                  <a:pt x="1541" y="8"/>
                  <a:pt x="1541" y="8"/>
                  <a:pt x="1541" y="8"/>
                </a:cubicBezTo>
                <a:cubicBezTo>
                  <a:pt x="1541" y="8"/>
                  <a:pt x="1541" y="8"/>
                  <a:pt x="1541" y="8"/>
                </a:cubicBezTo>
                <a:close/>
                <a:moveTo>
                  <a:pt x="1709" y="8"/>
                </a:moveTo>
                <a:cubicBezTo>
                  <a:pt x="1709" y="8"/>
                  <a:pt x="1709" y="8"/>
                  <a:pt x="1709" y="8"/>
                </a:cubicBezTo>
                <a:cubicBezTo>
                  <a:pt x="1709" y="8"/>
                  <a:pt x="1709" y="8"/>
                  <a:pt x="1709" y="8"/>
                </a:cubicBezTo>
                <a:close/>
                <a:moveTo>
                  <a:pt x="1665" y="79"/>
                </a:moveTo>
                <a:cubicBezTo>
                  <a:pt x="1665" y="79"/>
                  <a:pt x="1665" y="79"/>
                  <a:pt x="1665" y="78"/>
                </a:cubicBezTo>
                <a:cubicBezTo>
                  <a:pt x="1665" y="79"/>
                  <a:pt x="1665" y="79"/>
                  <a:pt x="1665" y="79"/>
                </a:cubicBezTo>
                <a:close/>
                <a:moveTo>
                  <a:pt x="610" y="80"/>
                </a:moveTo>
                <a:cubicBezTo>
                  <a:pt x="610" y="79"/>
                  <a:pt x="610" y="79"/>
                  <a:pt x="610" y="79"/>
                </a:cubicBezTo>
                <a:cubicBezTo>
                  <a:pt x="609" y="79"/>
                  <a:pt x="610" y="79"/>
                  <a:pt x="610" y="80"/>
                </a:cubicBezTo>
                <a:close/>
                <a:moveTo>
                  <a:pt x="584" y="8"/>
                </a:moveTo>
                <a:cubicBezTo>
                  <a:pt x="584" y="9"/>
                  <a:pt x="584" y="9"/>
                  <a:pt x="584" y="9"/>
                </a:cubicBezTo>
                <a:cubicBezTo>
                  <a:pt x="584" y="8"/>
                  <a:pt x="584" y="8"/>
                  <a:pt x="584" y="8"/>
                </a:cubicBezTo>
                <a:close/>
                <a:moveTo>
                  <a:pt x="956" y="80"/>
                </a:moveTo>
                <a:cubicBezTo>
                  <a:pt x="956" y="79"/>
                  <a:pt x="955" y="79"/>
                  <a:pt x="955" y="79"/>
                </a:cubicBezTo>
                <a:cubicBezTo>
                  <a:pt x="955" y="79"/>
                  <a:pt x="955" y="79"/>
                  <a:pt x="956" y="80"/>
                </a:cubicBezTo>
                <a:close/>
                <a:moveTo>
                  <a:pt x="1531" y="80"/>
                </a:moveTo>
                <a:cubicBezTo>
                  <a:pt x="1532" y="79"/>
                  <a:pt x="1532" y="79"/>
                  <a:pt x="1532" y="79"/>
                </a:cubicBezTo>
                <a:cubicBezTo>
                  <a:pt x="1531" y="79"/>
                  <a:pt x="1531" y="79"/>
                  <a:pt x="1531" y="80"/>
                </a:cubicBezTo>
                <a:close/>
                <a:moveTo>
                  <a:pt x="1677" y="79"/>
                </a:moveTo>
                <a:cubicBezTo>
                  <a:pt x="1677" y="79"/>
                  <a:pt x="1677" y="79"/>
                  <a:pt x="1678" y="80"/>
                </a:cubicBezTo>
                <a:cubicBezTo>
                  <a:pt x="1678" y="79"/>
                  <a:pt x="1678" y="79"/>
                  <a:pt x="1677" y="79"/>
                </a:cubicBezTo>
                <a:close/>
                <a:moveTo>
                  <a:pt x="1699" y="80"/>
                </a:moveTo>
                <a:cubicBezTo>
                  <a:pt x="1700" y="79"/>
                  <a:pt x="1700" y="79"/>
                  <a:pt x="1700" y="79"/>
                </a:cubicBezTo>
                <a:cubicBezTo>
                  <a:pt x="1699" y="79"/>
                  <a:pt x="1699" y="79"/>
                  <a:pt x="1699" y="80"/>
                </a:cubicBezTo>
                <a:close/>
                <a:moveTo>
                  <a:pt x="628" y="80"/>
                </a:moveTo>
                <a:cubicBezTo>
                  <a:pt x="628" y="80"/>
                  <a:pt x="628" y="80"/>
                  <a:pt x="628" y="79"/>
                </a:cubicBezTo>
                <a:cubicBezTo>
                  <a:pt x="628" y="79"/>
                  <a:pt x="628" y="80"/>
                  <a:pt x="628" y="80"/>
                </a:cubicBezTo>
                <a:close/>
                <a:moveTo>
                  <a:pt x="638" y="79"/>
                </a:moveTo>
                <a:cubicBezTo>
                  <a:pt x="638" y="79"/>
                  <a:pt x="638" y="80"/>
                  <a:pt x="638" y="80"/>
                </a:cubicBezTo>
                <a:cubicBezTo>
                  <a:pt x="638" y="80"/>
                  <a:pt x="638" y="80"/>
                  <a:pt x="638" y="79"/>
                </a:cubicBezTo>
                <a:close/>
                <a:moveTo>
                  <a:pt x="687" y="80"/>
                </a:moveTo>
                <a:cubicBezTo>
                  <a:pt x="687" y="80"/>
                  <a:pt x="687" y="79"/>
                  <a:pt x="687" y="79"/>
                </a:cubicBezTo>
                <a:cubicBezTo>
                  <a:pt x="687" y="80"/>
                  <a:pt x="687" y="80"/>
                  <a:pt x="687" y="80"/>
                </a:cubicBezTo>
                <a:close/>
                <a:moveTo>
                  <a:pt x="908" y="40"/>
                </a:moveTo>
                <a:cubicBezTo>
                  <a:pt x="908" y="41"/>
                  <a:pt x="908" y="41"/>
                  <a:pt x="908" y="41"/>
                </a:cubicBezTo>
                <a:cubicBezTo>
                  <a:pt x="908" y="41"/>
                  <a:pt x="908" y="40"/>
                  <a:pt x="908" y="40"/>
                </a:cubicBezTo>
                <a:close/>
                <a:moveTo>
                  <a:pt x="1355" y="9"/>
                </a:moveTo>
                <a:cubicBezTo>
                  <a:pt x="1356" y="9"/>
                  <a:pt x="1356" y="9"/>
                  <a:pt x="1356" y="8"/>
                </a:cubicBezTo>
                <a:cubicBezTo>
                  <a:pt x="1356" y="8"/>
                  <a:pt x="1356" y="8"/>
                  <a:pt x="1355" y="9"/>
                </a:cubicBezTo>
                <a:close/>
                <a:moveTo>
                  <a:pt x="1383" y="8"/>
                </a:moveTo>
                <a:cubicBezTo>
                  <a:pt x="1383" y="8"/>
                  <a:pt x="1384" y="9"/>
                  <a:pt x="1384" y="9"/>
                </a:cubicBezTo>
                <a:cubicBezTo>
                  <a:pt x="1384" y="8"/>
                  <a:pt x="1384" y="8"/>
                  <a:pt x="1383" y="8"/>
                </a:cubicBezTo>
                <a:close/>
                <a:moveTo>
                  <a:pt x="1347" y="80"/>
                </a:moveTo>
                <a:cubicBezTo>
                  <a:pt x="1347" y="80"/>
                  <a:pt x="1347" y="80"/>
                  <a:pt x="1347" y="79"/>
                </a:cubicBezTo>
                <a:cubicBezTo>
                  <a:pt x="1347" y="79"/>
                  <a:pt x="1347" y="80"/>
                  <a:pt x="1347" y="80"/>
                </a:cubicBezTo>
                <a:close/>
                <a:moveTo>
                  <a:pt x="1722" y="59"/>
                </a:moveTo>
                <a:cubicBezTo>
                  <a:pt x="1722" y="59"/>
                  <a:pt x="1723" y="59"/>
                  <a:pt x="1723" y="58"/>
                </a:cubicBezTo>
                <a:cubicBezTo>
                  <a:pt x="1722" y="58"/>
                  <a:pt x="1722" y="58"/>
                  <a:pt x="1722" y="59"/>
                </a:cubicBezTo>
                <a:close/>
                <a:moveTo>
                  <a:pt x="1665" y="80"/>
                </a:moveTo>
                <a:cubicBezTo>
                  <a:pt x="1665" y="80"/>
                  <a:pt x="1665" y="79"/>
                  <a:pt x="1665" y="79"/>
                </a:cubicBezTo>
                <a:cubicBezTo>
                  <a:pt x="1665" y="79"/>
                  <a:pt x="1665" y="80"/>
                  <a:pt x="1665" y="80"/>
                </a:cubicBezTo>
                <a:close/>
                <a:moveTo>
                  <a:pt x="1428" y="9"/>
                </a:moveTo>
                <a:cubicBezTo>
                  <a:pt x="1428" y="9"/>
                  <a:pt x="1429" y="9"/>
                  <a:pt x="1429" y="8"/>
                </a:cubicBezTo>
                <a:cubicBezTo>
                  <a:pt x="1429" y="8"/>
                  <a:pt x="1428" y="8"/>
                  <a:pt x="1428" y="9"/>
                </a:cubicBezTo>
                <a:close/>
                <a:moveTo>
                  <a:pt x="1453" y="8"/>
                </a:moveTo>
                <a:cubicBezTo>
                  <a:pt x="1453" y="9"/>
                  <a:pt x="1454" y="9"/>
                  <a:pt x="1454" y="9"/>
                </a:cubicBezTo>
                <a:cubicBezTo>
                  <a:pt x="1454" y="8"/>
                  <a:pt x="1454" y="8"/>
                  <a:pt x="1453" y="8"/>
                </a:cubicBezTo>
                <a:close/>
                <a:moveTo>
                  <a:pt x="1501" y="9"/>
                </a:moveTo>
                <a:cubicBezTo>
                  <a:pt x="1502" y="9"/>
                  <a:pt x="1502" y="9"/>
                  <a:pt x="1502" y="8"/>
                </a:cubicBezTo>
                <a:cubicBezTo>
                  <a:pt x="1502" y="8"/>
                  <a:pt x="1501" y="8"/>
                  <a:pt x="1501" y="9"/>
                </a:cubicBezTo>
                <a:close/>
                <a:moveTo>
                  <a:pt x="956" y="80"/>
                </a:moveTo>
                <a:cubicBezTo>
                  <a:pt x="956" y="80"/>
                  <a:pt x="956" y="80"/>
                  <a:pt x="956" y="80"/>
                </a:cubicBezTo>
                <a:cubicBezTo>
                  <a:pt x="956" y="80"/>
                  <a:pt x="956" y="80"/>
                  <a:pt x="956" y="80"/>
                </a:cubicBezTo>
                <a:close/>
                <a:moveTo>
                  <a:pt x="969" y="80"/>
                </a:moveTo>
                <a:cubicBezTo>
                  <a:pt x="969" y="80"/>
                  <a:pt x="969" y="80"/>
                  <a:pt x="970" y="80"/>
                </a:cubicBezTo>
                <a:cubicBezTo>
                  <a:pt x="970" y="80"/>
                  <a:pt x="970" y="80"/>
                  <a:pt x="969" y="80"/>
                </a:cubicBezTo>
                <a:close/>
                <a:moveTo>
                  <a:pt x="1220" y="80"/>
                </a:moveTo>
                <a:cubicBezTo>
                  <a:pt x="1220" y="80"/>
                  <a:pt x="1220" y="80"/>
                  <a:pt x="1220" y="80"/>
                </a:cubicBezTo>
                <a:cubicBezTo>
                  <a:pt x="1220" y="80"/>
                  <a:pt x="1220" y="80"/>
                  <a:pt x="1220" y="80"/>
                </a:cubicBezTo>
                <a:close/>
                <a:moveTo>
                  <a:pt x="1678" y="80"/>
                </a:moveTo>
                <a:cubicBezTo>
                  <a:pt x="1678" y="80"/>
                  <a:pt x="1678" y="80"/>
                  <a:pt x="1678" y="80"/>
                </a:cubicBezTo>
                <a:cubicBezTo>
                  <a:pt x="1678" y="80"/>
                  <a:pt x="1678" y="80"/>
                  <a:pt x="1678" y="80"/>
                </a:cubicBezTo>
                <a:close/>
                <a:moveTo>
                  <a:pt x="1540" y="9"/>
                </a:moveTo>
                <a:cubicBezTo>
                  <a:pt x="1540" y="9"/>
                  <a:pt x="1540" y="9"/>
                  <a:pt x="1540" y="8"/>
                </a:cubicBezTo>
                <a:cubicBezTo>
                  <a:pt x="1540" y="8"/>
                  <a:pt x="1540" y="8"/>
                  <a:pt x="1540" y="9"/>
                </a:cubicBezTo>
                <a:close/>
                <a:moveTo>
                  <a:pt x="1568" y="8"/>
                </a:moveTo>
                <a:cubicBezTo>
                  <a:pt x="1568" y="9"/>
                  <a:pt x="1568" y="9"/>
                  <a:pt x="1568" y="9"/>
                </a:cubicBezTo>
                <a:cubicBezTo>
                  <a:pt x="1568" y="8"/>
                  <a:pt x="1568" y="8"/>
                  <a:pt x="1568" y="8"/>
                </a:cubicBezTo>
                <a:close/>
                <a:moveTo>
                  <a:pt x="1708" y="9"/>
                </a:moveTo>
                <a:cubicBezTo>
                  <a:pt x="1708" y="9"/>
                  <a:pt x="1708" y="9"/>
                  <a:pt x="1709" y="8"/>
                </a:cubicBezTo>
                <a:cubicBezTo>
                  <a:pt x="1708" y="8"/>
                  <a:pt x="1708" y="8"/>
                  <a:pt x="1708" y="9"/>
                </a:cubicBezTo>
                <a:close/>
                <a:moveTo>
                  <a:pt x="1346" y="81"/>
                </a:moveTo>
                <a:cubicBezTo>
                  <a:pt x="1347" y="80"/>
                  <a:pt x="1347" y="80"/>
                  <a:pt x="1347" y="80"/>
                </a:cubicBezTo>
                <a:cubicBezTo>
                  <a:pt x="1346" y="80"/>
                  <a:pt x="1346" y="80"/>
                  <a:pt x="1346" y="81"/>
                </a:cubicBezTo>
                <a:close/>
                <a:moveTo>
                  <a:pt x="1358" y="80"/>
                </a:moveTo>
                <a:cubicBezTo>
                  <a:pt x="1358" y="80"/>
                  <a:pt x="1358" y="80"/>
                  <a:pt x="1358" y="81"/>
                </a:cubicBezTo>
                <a:cubicBezTo>
                  <a:pt x="1358" y="81"/>
                  <a:pt x="1358" y="80"/>
                  <a:pt x="1358" y="80"/>
                </a:cubicBezTo>
                <a:close/>
                <a:moveTo>
                  <a:pt x="1736" y="8"/>
                </a:moveTo>
                <a:cubicBezTo>
                  <a:pt x="1736" y="9"/>
                  <a:pt x="1736" y="9"/>
                  <a:pt x="1737" y="9"/>
                </a:cubicBezTo>
                <a:cubicBezTo>
                  <a:pt x="1736" y="8"/>
                  <a:pt x="1736" y="8"/>
                  <a:pt x="1736" y="8"/>
                </a:cubicBezTo>
                <a:close/>
                <a:moveTo>
                  <a:pt x="1467" y="80"/>
                </a:moveTo>
                <a:cubicBezTo>
                  <a:pt x="1467" y="80"/>
                  <a:pt x="1467" y="80"/>
                  <a:pt x="1467" y="81"/>
                </a:cubicBezTo>
                <a:cubicBezTo>
                  <a:pt x="1468" y="80"/>
                  <a:pt x="1468" y="80"/>
                  <a:pt x="1467" y="80"/>
                </a:cubicBezTo>
                <a:close/>
                <a:moveTo>
                  <a:pt x="1666" y="81"/>
                </a:moveTo>
                <a:cubicBezTo>
                  <a:pt x="1666" y="80"/>
                  <a:pt x="1665" y="80"/>
                  <a:pt x="1665" y="80"/>
                </a:cubicBezTo>
                <a:cubicBezTo>
                  <a:pt x="1665" y="80"/>
                  <a:pt x="1665" y="80"/>
                  <a:pt x="1666" y="81"/>
                </a:cubicBezTo>
                <a:close/>
                <a:moveTo>
                  <a:pt x="551" y="9"/>
                </a:moveTo>
                <a:cubicBezTo>
                  <a:pt x="551" y="9"/>
                  <a:pt x="552" y="9"/>
                  <a:pt x="552" y="9"/>
                </a:cubicBezTo>
                <a:cubicBezTo>
                  <a:pt x="551" y="9"/>
                  <a:pt x="551" y="9"/>
                  <a:pt x="551" y="9"/>
                </a:cubicBezTo>
                <a:close/>
                <a:moveTo>
                  <a:pt x="638" y="80"/>
                </a:moveTo>
                <a:cubicBezTo>
                  <a:pt x="637" y="80"/>
                  <a:pt x="637" y="81"/>
                  <a:pt x="637" y="81"/>
                </a:cubicBezTo>
                <a:cubicBezTo>
                  <a:pt x="638" y="81"/>
                  <a:pt x="638" y="80"/>
                  <a:pt x="638" y="80"/>
                </a:cubicBezTo>
                <a:close/>
                <a:moveTo>
                  <a:pt x="956" y="81"/>
                </a:moveTo>
                <a:cubicBezTo>
                  <a:pt x="956" y="81"/>
                  <a:pt x="956" y="80"/>
                  <a:pt x="956" y="80"/>
                </a:cubicBezTo>
                <a:cubicBezTo>
                  <a:pt x="956" y="81"/>
                  <a:pt x="956" y="81"/>
                  <a:pt x="956" y="81"/>
                </a:cubicBezTo>
                <a:close/>
                <a:moveTo>
                  <a:pt x="584" y="9"/>
                </a:moveTo>
                <a:cubicBezTo>
                  <a:pt x="585" y="9"/>
                  <a:pt x="585" y="9"/>
                  <a:pt x="585" y="9"/>
                </a:cubicBezTo>
                <a:cubicBezTo>
                  <a:pt x="585" y="9"/>
                  <a:pt x="585" y="9"/>
                  <a:pt x="584" y="9"/>
                </a:cubicBezTo>
                <a:close/>
                <a:moveTo>
                  <a:pt x="611" y="81"/>
                </a:moveTo>
                <a:cubicBezTo>
                  <a:pt x="611" y="81"/>
                  <a:pt x="611" y="81"/>
                  <a:pt x="610" y="81"/>
                </a:cubicBezTo>
                <a:cubicBezTo>
                  <a:pt x="610" y="81"/>
                  <a:pt x="610" y="81"/>
                  <a:pt x="611" y="81"/>
                </a:cubicBezTo>
                <a:close/>
                <a:moveTo>
                  <a:pt x="1018" y="9"/>
                </a:moveTo>
                <a:cubicBezTo>
                  <a:pt x="1019" y="9"/>
                  <a:pt x="1019" y="9"/>
                  <a:pt x="1019" y="9"/>
                </a:cubicBezTo>
                <a:cubicBezTo>
                  <a:pt x="1019" y="9"/>
                  <a:pt x="1019" y="9"/>
                  <a:pt x="1018" y="9"/>
                </a:cubicBezTo>
                <a:close/>
                <a:moveTo>
                  <a:pt x="1355" y="9"/>
                </a:moveTo>
                <a:cubicBezTo>
                  <a:pt x="1355" y="9"/>
                  <a:pt x="1355" y="9"/>
                  <a:pt x="1355" y="9"/>
                </a:cubicBezTo>
                <a:cubicBezTo>
                  <a:pt x="1355" y="9"/>
                  <a:pt x="1355" y="9"/>
                  <a:pt x="1355" y="9"/>
                </a:cubicBezTo>
                <a:close/>
                <a:moveTo>
                  <a:pt x="1042" y="81"/>
                </a:moveTo>
                <a:cubicBezTo>
                  <a:pt x="1042" y="81"/>
                  <a:pt x="1042" y="81"/>
                  <a:pt x="1042" y="81"/>
                </a:cubicBezTo>
                <a:cubicBezTo>
                  <a:pt x="1043" y="81"/>
                  <a:pt x="1042" y="81"/>
                  <a:pt x="1042" y="81"/>
                </a:cubicBezTo>
                <a:close/>
                <a:moveTo>
                  <a:pt x="1220" y="81"/>
                </a:moveTo>
                <a:cubicBezTo>
                  <a:pt x="1220" y="81"/>
                  <a:pt x="1220" y="81"/>
                  <a:pt x="1220" y="81"/>
                </a:cubicBezTo>
                <a:cubicBezTo>
                  <a:pt x="1220" y="81"/>
                  <a:pt x="1220" y="81"/>
                  <a:pt x="1220" y="81"/>
                </a:cubicBezTo>
                <a:close/>
                <a:moveTo>
                  <a:pt x="1346" y="81"/>
                </a:moveTo>
                <a:cubicBezTo>
                  <a:pt x="1346" y="81"/>
                  <a:pt x="1346" y="81"/>
                  <a:pt x="1346" y="81"/>
                </a:cubicBezTo>
                <a:cubicBezTo>
                  <a:pt x="1346" y="81"/>
                  <a:pt x="1346" y="81"/>
                  <a:pt x="1346" y="81"/>
                </a:cubicBezTo>
                <a:close/>
                <a:moveTo>
                  <a:pt x="1530" y="81"/>
                </a:moveTo>
                <a:cubicBezTo>
                  <a:pt x="1531" y="81"/>
                  <a:pt x="1531" y="81"/>
                  <a:pt x="1531" y="81"/>
                </a:cubicBezTo>
                <a:cubicBezTo>
                  <a:pt x="1530" y="81"/>
                  <a:pt x="1530" y="81"/>
                  <a:pt x="1530" y="81"/>
                </a:cubicBezTo>
                <a:close/>
                <a:moveTo>
                  <a:pt x="1698" y="81"/>
                </a:moveTo>
                <a:cubicBezTo>
                  <a:pt x="1699" y="81"/>
                  <a:pt x="1699" y="81"/>
                  <a:pt x="1699" y="81"/>
                </a:cubicBezTo>
                <a:cubicBezTo>
                  <a:pt x="1698" y="81"/>
                  <a:pt x="1698" y="81"/>
                  <a:pt x="1698" y="81"/>
                </a:cubicBezTo>
                <a:close/>
                <a:moveTo>
                  <a:pt x="627" y="82"/>
                </a:moveTo>
                <a:cubicBezTo>
                  <a:pt x="627" y="82"/>
                  <a:pt x="627" y="81"/>
                  <a:pt x="627" y="81"/>
                </a:cubicBezTo>
                <a:cubicBezTo>
                  <a:pt x="627" y="81"/>
                  <a:pt x="627" y="81"/>
                  <a:pt x="627" y="82"/>
                </a:cubicBezTo>
                <a:close/>
                <a:moveTo>
                  <a:pt x="1210" y="53"/>
                </a:moveTo>
                <a:cubicBezTo>
                  <a:pt x="1210" y="53"/>
                  <a:pt x="1210" y="53"/>
                  <a:pt x="1210" y="52"/>
                </a:cubicBezTo>
                <a:cubicBezTo>
                  <a:pt x="1210" y="53"/>
                  <a:pt x="1210" y="53"/>
                  <a:pt x="1210" y="53"/>
                </a:cubicBezTo>
                <a:close/>
                <a:moveTo>
                  <a:pt x="760" y="81"/>
                </a:moveTo>
                <a:cubicBezTo>
                  <a:pt x="760" y="81"/>
                  <a:pt x="760" y="82"/>
                  <a:pt x="761" y="82"/>
                </a:cubicBezTo>
                <a:cubicBezTo>
                  <a:pt x="761" y="81"/>
                  <a:pt x="761" y="81"/>
                  <a:pt x="760" y="81"/>
                </a:cubicBezTo>
                <a:close/>
                <a:moveTo>
                  <a:pt x="957" y="82"/>
                </a:moveTo>
                <a:cubicBezTo>
                  <a:pt x="957" y="81"/>
                  <a:pt x="957" y="81"/>
                  <a:pt x="956" y="81"/>
                </a:cubicBezTo>
                <a:cubicBezTo>
                  <a:pt x="956" y="81"/>
                  <a:pt x="956" y="82"/>
                  <a:pt x="957" y="82"/>
                </a:cubicBezTo>
                <a:close/>
                <a:moveTo>
                  <a:pt x="673" y="59"/>
                </a:moveTo>
                <a:cubicBezTo>
                  <a:pt x="673" y="59"/>
                  <a:pt x="673" y="59"/>
                  <a:pt x="673" y="59"/>
                </a:cubicBezTo>
                <a:cubicBezTo>
                  <a:pt x="673" y="59"/>
                  <a:pt x="673" y="59"/>
                  <a:pt x="673" y="59"/>
                </a:cubicBezTo>
                <a:close/>
                <a:moveTo>
                  <a:pt x="1428" y="9"/>
                </a:moveTo>
                <a:cubicBezTo>
                  <a:pt x="1428" y="9"/>
                  <a:pt x="1428" y="9"/>
                  <a:pt x="1428" y="9"/>
                </a:cubicBezTo>
                <a:cubicBezTo>
                  <a:pt x="1428" y="9"/>
                  <a:pt x="1428" y="9"/>
                  <a:pt x="1428" y="9"/>
                </a:cubicBezTo>
                <a:close/>
                <a:moveTo>
                  <a:pt x="1467" y="81"/>
                </a:moveTo>
                <a:cubicBezTo>
                  <a:pt x="1467" y="81"/>
                  <a:pt x="1467" y="81"/>
                  <a:pt x="1467" y="82"/>
                </a:cubicBezTo>
                <a:cubicBezTo>
                  <a:pt x="1467" y="81"/>
                  <a:pt x="1467" y="81"/>
                  <a:pt x="1467" y="81"/>
                </a:cubicBezTo>
                <a:close/>
                <a:moveTo>
                  <a:pt x="1542" y="81"/>
                </a:moveTo>
                <a:cubicBezTo>
                  <a:pt x="1541" y="81"/>
                  <a:pt x="1541" y="81"/>
                  <a:pt x="1541" y="82"/>
                </a:cubicBezTo>
                <a:cubicBezTo>
                  <a:pt x="1542" y="82"/>
                  <a:pt x="1542" y="81"/>
                  <a:pt x="1542" y="81"/>
                </a:cubicBezTo>
                <a:close/>
                <a:moveTo>
                  <a:pt x="1666" y="82"/>
                </a:moveTo>
                <a:cubicBezTo>
                  <a:pt x="1666" y="81"/>
                  <a:pt x="1666" y="81"/>
                  <a:pt x="1666" y="81"/>
                </a:cubicBezTo>
                <a:cubicBezTo>
                  <a:pt x="1666" y="81"/>
                  <a:pt x="1666" y="81"/>
                  <a:pt x="1666" y="82"/>
                </a:cubicBezTo>
                <a:close/>
                <a:moveTo>
                  <a:pt x="1710" y="81"/>
                </a:moveTo>
                <a:cubicBezTo>
                  <a:pt x="1710" y="81"/>
                  <a:pt x="1709" y="81"/>
                  <a:pt x="1709" y="82"/>
                </a:cubicBezTo>
                <a:cubicBezTo>
                  <a:pt x="1710" y="82"/>
                  <a:pt x="1710" y="81"/>
                  <a:pt x="1710" y="81"/>
                </a:cubicBezTo>
                <a:close/>
                <a:moveTo>
                  <a:pt x="1454" y="9"/>
                </a:moveTo>
                <a:cubicBezTo>
                  <a:pt x="1454" y="9"/>
                  <a:pt x="1454" y="9"/>
                  <a:pt x="1455" y="9"/>
                </a:cubicBezTo>
                <a:cubicBezTo>
                  <a:pt x="1455" y="9"/>
                  <a:pt x="1454" y="9"/>
                  <a:pt x="1454" y="9"/>
                </a:cubicBezTo>
                <a:close/>
                <a:moveTo>
                  <a:pt x="688" y="82"/>
                </a:moveTo>
                <a:cubicBezTo>
                  <a:pt x="688" y="82"/>
                  <a:pt x="688" y="81"/>
                  <a:pt x="688" y="81"/>
                </a:cubicBezTo>
                <a:cubicBezTo>
                  <a:pt x="688" y="82"/>
                  <a:pt x="688" y="82"/>
                  <a:pt x="688" y="82"/>
                </a:cubicBezTo>
                <a:close/>
                <a:moveTo>
                  <a:pt x="1569" y="42"/>
                </a:moveTo>
                <a:cubicBezTo>
                  <a:pt x="1569" y="42"/>
                  <a:pt x="1569" y="42"/>
                  <a:pt x="1569" y="42"/>
                </a:cubicBezTo>
                <a:cubicBezTo>
                  <a:pt x="1569" y="42"/>
                  <a:pt x="1568" y="42"/>
                  <a:pt x="1569" y="42"/>
                </a:cubicBezTo>
                <a:close/>
                <a:moveTo>
                  <a:pt x="1042" y="81"/>
                </a:moveTo>
                <a:cubicBezTo>
                  <a:pt x="1042" y="82"/>
                  <a:pt x="1043" y="82"/>
                  <a:pt x="1043" y="82"/>
                </a:cubicBezTo>
                <a:cubicBezTo>
                  <a:pt x="1043" y="82"/>
                  <a:pt x="1043" y="82"/>
                  <a:pt x="1042" y="81"/>
                </a:cubicBezTo>
                <a:close/>
                <a:moveTo>
                  <a:pt x="1357" y="81"/>
                </a:moveTo>
                <a:cubicBezTo>
                  <a:pt x="1357" y="81"/>
                  <a:pt x="1357" y="82"/>
                  <a:pt x="1357" y="82"/>
                </a:cubicBezTo>
                <a:cubicBezTo>
                  <a:pt x="1357" y="82"/>
                  <a:pt x="1357" y="82"/>
                  <a:pt x="1357" y="81"/>
                </a:cubicBezTo>
                <a:close/>
                <a:moveTo>
                  <a:pt x="1530" y="82"/>
                </a:moveTo>
                <a:cubicBezTo>
                  <a:pt x="1530" y="82"/>
                  <a:pt x="1530" y="82"/>
                  <a:pt x="1530" y="81"/>
                </a:cubicBezTo>
                <a:cubicBezTo>
                  <a:pt x="1530" y="81"/>
                  <a:pt x="1530" y="82"/>
                  <a:pt x="1530" y="82"/>
                </a:cubicBezTo>
                <a:close/>
                <a:moveTo>
                  <a:pt x="1679" y="81"/>
                </a:moveTo>
                <a:cubicBezTo>
                  <a:pt x="1678" y="82"/>
                  <a:pt x="1679" y="82"/>
                  <a:pt x="1679" y="82"/>
                </a:cubicBezTo>
                <a:cubicBezTo>
                  <a:pt x="1679" y="82"/>
                  <a:pt x="1679" y="81"/>
                  <a:pt x="1679" y="81"/>
                </a:cubicBezTo>
                <a:close/>
                <a:moveTo>
                  <a:pt x="1698" y="82"/>
                </a:moveTo>
                <a:cubicBezTo>
                  <a:pt x="1698" y="82"/>
                  <a:pt x="1698" y="82"/>
                  <a:pt x="1698" y="81"/>
                </a:cubicBezTo>
                <a:cubicBezTo>
                  <a:pt x="1698" y="81"/>
                  <a:pt x="1698" y="82"/>
                  <a:pt x="1698" y="82"/>
                </a:cubicBezTo>
                <a:close/>
                <a:moveTo>
                  <a:pt x="621" y="82"/>
                </a:moveTo>
                <a:cubicBezTo>
                  <a:pt x="621" y="82"/>
                  <a:pt x="621" y="82"/>
                  <a:pt x="621" y="83"/>
                </a:cubicBezTo>
                <a:cubicBezTo>
                  <a:pt x="621" y="82"/>
                  <a:pt x="621" y="82"/>
                  <a:pt x="621" y="82"/>
                </a:cubicBezTo>
                <a:close/>
                <a:moveTo>
                  <a:pt x="760" y="82"/>
                </a:moveTo>
                <a:cubicBezTo>
                  <a:pt x="760" y="82"/>
                  <a:pt x="761" y="82"/>
                  <a:pt x="761" y="83"/>
                </a:cubicBezTo>
                <a:cubicBezTo>
                  <a:pt x="761" y="82"/>
                  <a:pt x="761" y="82"/>
                  <a:pt x="760" y="82"/>
                </a:cubicBezTo>
                <a:close/>
                <a:moveTo>
                  <a:pt x="1209" y="82"/>
                </a:moveTo>
                <a:cubicBezTo>
                  <a:pt x="1209" y="82"/>
                  <a:pt x="1209" y="82"/>
                  <a:pt x="1209" y="82"/>
                </a:cubicBezTo>
                <a:cubicBezTo>
                  <a:pt x="1209" y="82"/>
                  <a:pt x="1209" y="82"/>
                  <a:pt x="1209" y="82"/>
                </a:cubicBezTo>
                <a:close/>
                <a:moveTo>
                  <a:pt x="1220" y="82"/>
                </a:moveTo>
                <a:cubicBezTo>
                  <a:pt x="1220" y="82"/>
                  <a:pt x="1220" y="82"/>
                  <a:pt x="1221" y="82"/>
                </a:cubicBezTo>
                <a:cubicBezTo>
                  <a:pt x="1221" y="82"/>
                  <a:pt x="1221" y="82"/>
                  <a:pt x="1220" y="82"/>
                </a:cubicBezTo>
                <a:close/>
                <a:moveTo>
                  <a:pt x="1539" y="9"/>
                </a:moveTo>
                <a:cubicBezTo>
                  <a:pt x="1539" y="9"/>
                  <a:pt x="1539" y="9"/>
                  <a:pt x="1540" y="9"/>
                </a:cubicBezTo>
                <a:cubicBezTo>
                  <a:pt x="1539" y="9"/>
                  <a:pt x="1539" y="9"/>
                  <a:pt x="1539" y="9"/>
                </a:cubicBezTo>
                <a:close/>
                <a:moveTo>
                  <a:pt x="1666" y="82"/>
                </a:moveTo>
                <a:cubicBezTo>
                  <a:pt x="1666" y="82"/>
                  <a:pt x="1666" y="82"/>
                  <a:pt x="1666" y="82"/>
                </a:cubicBezTo>
                <a:cubicBezTo>
                  <a:pt x="1666" y="82"/>
                  <a:pt x="1666" y="82"/>
                  <a:pt x="1666" y="82"/>
                </a:cubicBezTo>
                <a:close/>
                <a:moveTo>
                  <a:pt x="627" y="83"/>
                </a:moveTo>
                <a:cubicBezTo>
                  <a:pt x="627" y="83"/>
                  <a:pt x="627" y="82"/>
                  <a:pt x="627" y="82"/>
                </a:cubicBezTo>
                <a:cubicBezTo>
                  <a:pt x="627" y="82"/>
                  <a:pt x="627" y="82"/>
                  <a:pt x="627" y="83"/>
                </a:cubicBezTo>
                <a:close/>
                <a:moveTo>
                  <a:pt x="637" y="82"/>
                </a:moveTo>
                <a:cubicBezTo>
                  <a:pt x="637" y="82"/>
                  <a:pt x="637" y="82"/>
                  <a:pt x="637" y="83"/>
                </a:cubicBezTo>
                <a:cubicBezTo>
                  <a:pt x="637" y="83"/>
                  <a:pt x="637" y="82"/>
                  <a:pt x="637" y="82"/>
                </a:cubicBezTo>
                <a:close/>
                <a:moveTo>
                  <a:pt x="1568" y="9"/>
                </a:moveTo>
                <a:cubicBezTo>
                  <a:pt x="1569" y="9"/>
                  <a:pt x="1569" y="9"/>
                  <a:pt x="1569" y="9"/>
                </a:cubicBezTo>
                <a:cubicBezTo>
                  <a:pt x="1569" y="9"/>
                  <a:pt x="1569" y="9"/>
                  <a:pt x="1568" y="9"/>
                </a:cubicBezTo>
                <a:close/>
                <a:moveTo>
                  <a:pt x="1707" y="9"/>
                </a:moveTo>
                <a:cubicBezTo>
                  <a:pt x="1707" y="9"/>
                  <a:pt x="1708" y="9"/>
                  <a:pt x="1708" y="9"/>
                </a:cubicBezTo>
                <a:cubicBezTo>
                  <a:pt x="1707" y="9"/>
                  <a:pt x="1707" y="9"/>
                  <a:pt x="1707" y="9"/>
                </a:cubicBezTo>
                <a:close/>
                <a:moveTo>
                  <a:pt x="1345" y="83"/>
                </a:moveTo>
                <a:cubicBezTo>
                  <a:pt x="1346" y="83"/>
                  <a:pt x="1346" y="82"/>
                  <a:pt x="1346" y="82"/>
                </a:cubicBezTo>
                <a:cubicBezTo>
                  <a:pt x="1345" y="82"/>
                  <a:pt x="1345" y="82"/>
                  <a:pt x="1345" y="83"/>
                </a:cubicBezTo>
                <a:close/>
                <a:moveTo>
                  <a:pt x="1737" y="9"/>
                </a:moveTo>
                <a:cubicBezTo>
                  <a:pt x="1737" y="9"/>
                  <a:pt x="1737" y="9"/>
                  <a:pt x="1737" y="9"/>
                </a:cubicBezTo>
                <a:cubicBezTo>
                  <a:pt x="1737" y="9"/>
                  <a:pt x="1737" y="9"/>
                  <a:pt x="1737" y="9"/>
                </a:cubicBezTo>
                <a:close/>
                <a:moveTo>
                  <a:pt x="1530" y="83"/>
                </a:moveTo>
                <a:cubicBezTo>
                  <a:pt x="1530" y="83"/>
                  <a:pt x="1530" y="82"/>
                  <a:pt x="1530" y="82"/>
                </a:cubicBezTo>
                <a:cubicBezTo>
                  <a:pt x="1530" y="82"/>
                  <a:pt x="1530" y="83"/>
                  <a:pt x="1530" y="83"/>
                </a:cubicBezTo>
                <a:close/>
                <a:moveTo>
                  <a:pt x="1541" y="82"/>
                </a:moveTo>
                <a:cubicBezTo>
                  <a:pt x="1541" y="82"/>
                  <a:pt x="1541" y="82"/>
                  <a:pt x="1541" y="83"/>
                </a:cubicBezTo>
                <a:cubicBezTo>
                  <a:pt x="1541" y="83"/>
                  <a:pt x="1541" y="82"/>
                  <a:pt x="1541" y="82"/>
                </a:cubicBezTo>
                <a:close/>
                <a:moveTo>
                  <a:pt x="1679" y="82"/>
                </a:moveTo>
                <a:cubicBezTo>
                  <a:pt x="1679" y="82"/>
                  <a:pt x="1679" y="83"/>
                  <a:pt x="1679" y="83"/>
                </a:cubicBezTo>
                <a:cubicBezTo>
                  <a:pt x="1679" y="82"/>
                  <a:pt x="1679" y="82"/>
                  <a:pt x="1679" y="82"/>
                </a:cubicBezTo>
                <a:close/>
                <a:moveTo>
                  <a:pt x="1698" y="83"/>
                </a:moveTo>
                <a:cubicBezTo>
                  <a:pt x="1698" y="83"/>
                  <a:pt x="1698" y="82"/>
                  <a:pt x="1698" y="82"/>
                </a:cubicBezTo>
                <a:cubicBezTo>
                  <a:pt x="1698" y="82"/>
                  <a:pt x="1698" y="82"/>
                  <a:pt x="1698" y="83"/>
                </a:cubicBezTo>
                <a:close/>
                <a:moveTo>
                  <a:pt x="1709" y="82"/>
                </a:moveTo>
                <a:cubicBezTo>
                  <a:pt x="1709" y="82"/>
                  <a:pt x="1709" y="82"/>
                  <a:pt x="1709" y="83"/>
                </a:cubicBezTo>
                <a:cubicBezTo>
                  <a:pt x="1709" y="83"/>
                  <a:pt x="1709" y="82"/>
                  <a:pt x="1709" y="82"/>
                </a:cubicBezTo>
                <a:close/>
                <a:moveTo>
                  <a:pt x="611" y="83"/>
                </a:moveTo>
                <a:cubicBezTo>
                  <a:pt x="611" y="83"/>
                  <a:pt x="611" y="83"/>
                  <a:pt x="611" y="82"/>
                </a:cubicBezTo>
                <a:cubicBezTo>
                  <a:pt x="611" y="83"/>
                  <a:pt x="611" y="83"/>
                  <a:pt x="611" y="83"/>
                </a:cubicBezTo>
                <a:close/>
                <a:moveTo>
                  <a:pt x="830" y="52"/>
                </a:moveTo>
                <a:cubicBezTo>
                  <a:pt x="830" y="52"/>
                  <a:pt x="830" y="52"/>
                  <a:pt x="830" y="53"/>
                </a:cubicBezTo>
                <a:cubicBezTo>
                  <a:pt x="830" y="53"/>
                  <a:pt x="830" y="52"/>
                  <a:pt x="830" y="52"/>
                </a:cubicBezTo>
                <a:close/>
                <a:moveTo>
                  <a:pt x="1043" y="82"/>
                </a:moveTo>
                <a:cubicBezTo>
                  <a:pt x="1043" y="83"/>
                  <a:pt x="1043" y="83"/>
                  <a:pt x="1043" y="83"/>
                </a:cubicBezTo>
                <a:cubicBezTo>
                  <a:pt x="1043" y="83"/>
                  <a:pt x="1043" y="83"/>
                  <a:pt x="1043" y="82"/>
                </a:cubicBezTo>
                <a:close/>
                <a:moveTo>
                  <a:pt x="1221" y="82"/>
                </a:moveTo>
                <a:cubicBezTo>
                  <a:pt x="1221" y="83"/>
                  <a:pt x="1221" y="83"/>
                  <a:pt x="1221" y="83"/>
                </a:cubicBezTo>
                <a:cubicBezTo>
                  <a:pt x="1221" y="83"/>
                  <a:pt x="1221" y="83"/>
                  <a:pt x="1221" y="82"/>
                </a:cubicBezTo>
                <a:close/>
                <a:moveTo>
                  <a:pt x="1667" y="83"/>
                </a:moveTo>
                <a:cubicBezTo>
                  <a:pt x="1667" y="83"/>
                  <a:pt x="1667" y="83"/>
                  <a:pt x="1666" y="82"/>
                </a:cubicBezTo>
                <a:cubicBezTo>
                  <a:pt x="1666" y="83"/>
                  <a:pt x="1666" y="83"/>
                  <a:pt x="1667" y="83"/>
                </a:cubicBezTo>
                <a:close/>
                <a:moveTo>
                  <a:pt x="621" y="83"/>
                </a:moveTo>
                <a:cubicBezTo>
                  <a:pt x="621" y="83"/>
                  <a:pt x="621" y="83"/>
                  <a:pt x="622" y="84"/>
                </a:cubicBezTo>
                <a:cubicBezTo>
                  <a:pt x="622" y="83"/>
                  <a:pt x="622" y="83"/>
                  <a:pt x="621" y="83"/>
                </a:cubicBezTo>
                <a:close/>
                <a:moveTo>
                  <a:pt x="550" y="9"/>
                </a:moveTo>
                <a:cubicBezTo>
                  <a:pt x="551" y="9"/>
                  <a:pt x="551" y="9"/>
                  <a:pt x="551" y="9"/>
                </a:cubicBezTo>
                <a:cubicBezTo>
                  <a:pt x="551" y="9"/>
                  <a:pt x="550" y="9"/>
                  <a:pt x="550" y="9"/>
                </a:cubicBezTo>
                <a:close/>
                <a:moveTo>
                  <a:pt x="761" y="83"/>
                </a:moveTo>
                <a:cubicBezTo>
                  <a:pt x="761" y="83"/>
                  <a:pt x="761" y="83"/>
                  <a:pt x="761" y="83"/>
                </a:cubicBezTo>
                <a:cubicBezTo>
                  <a:pt x="761" y="83"/>
                  <a:pt x="761" y="83"/>
                  <a:pt x="761" y="83"/>
                </a:cubicBezTo>
                <a:close/>
                <a:moveTo>
                  <a:pt x="958" y="83"/>
                </a:moveTo>
                <a:cubicBezTo>
                  <a:pt x="958" y="83"/>
                  <a:pt x="957" y="83"/>
                  <a:pt x="957" y="83"/>
                </a:cubicBezTo>
                <a:cubicBezTo>
                  <a:pt x="957" y="83"/>
                  <a:pt x="957" y="83"/>
                  <a:pt x="958" y="83"/>
                </a:cubicBezTo>
                <a:close/>
                <a:moveTo>
                  <a:pt x="1031" y="83"/>
                </a:moveTo>
                <a:cubicBezTo>
                  <a:pt x="1031" y="83"/>
                  <a:pt x="1031" y="83"/>
                  <a:pt x="1031" y="83"/>
                </a:cubicBezTo>
                <a:cubicBezTo>
                  <a:pt x="1031" y="83"/>
                  <a:pt x="1031" y="83"/>
                  <a:pt x="1031" y="83"/>
                </a:cubicBezTo>
                <a:close/>
                <a:moveTo>
                  <a:pt x="980" y="9"/>
                </a:moveTo>
                <a:cubicBezTo>
                  <a:pt x="980" y="9"/>
                  <a:pt x="980" y="9"/>
                  <a:pt x="981" y="9"/>
                </a:cubicBezTo>
                <a:cubicBezTo>
                  <a:pt x="980" y="9"/>
                  <a:pt x="980" y="9"/>
                  <a:pt x="980" y="9"/>
                </a:cubicBezTo>
                <a:close/>
                <a:moveTo>
                  <a:pt x="1345" y="83"/>
                </a:moveTo>
                <a:cubicBezTo>
                  <a:pt x="1345" y="83"/>
                  <a:pt x="1345" y="83"/>
                  <a:pt x="1345" y="83"/>
                </a:cubicBezTo>
                <a:cubicBezTo>
                  <a:pt x="1345" y="83"/>
                  <a:pt x="1345" y="83"/>
                  <a:pt x="1345" y="83"/>
                </a:cubicBezTo>
                <a:close/>
                <a:moveTo>
                  <a:pt x="1466" y="83"/>
                </a:moveTo>
                <a:cubicBezTo>
                  <a:pt x="1466" y="83"/>
                  <a:pt x="1466" y="83"/>
                  <a:pt x="1466" y="83"/>
                </a:cubicBezTo>
                <a:cubicBezTo>
                  <a:pt x="1466" y="83"/>
                  <a:pt x="1466" y="83"/>
                  <a:pt x="1466" y="83"/>
                </a:cubicBezTo>
                <a:close/>
                <a:moveTo>
                  <a:pt x="1541" y="83"/>
                </a:moveTo>
                <a:cubicBezTo>
                  <a:pt x="1540" y="83"/>
                  <a:pt x="1540" y="83"/>
                  <a:pt x="1540" y="83"/>
                </a:cubicBezTo>
                <a:cubicBezTo>
                  <a:pt x="1541" y="83"/>
                  <a:pt x="1541" y="83"/>
                  <a:pt x="1541" y="83"/>
                </a:cubicBezTo>
                <a:close/>
                <a:moveTo>
                  <a:pt x="1679" y="83"/>
                </a:moveTo>
                <a:cubicBezTo>
                  <a:pt x="1679" y="83"/>
                  <a:pt x="1679" y="83"/>
                  <a:pt x="1680" y="83"/>
                </a:cubicBezTo>
                <a:cubicBezTo>
                  <a:pt x="1680" y="83"/>
                  <a:pt x="1679" y="83"/>
                  <a:pt x="1679" y="83"/>
                </a:cubicBezTo>
                <a:close/>
                <a:moveTo>
                  <a:pt x="1709" y="83"/>
                </a:moveTo>
                <a:cubicBezTo>
                  <a:pt x="1708" y="83"/>
                  <a:pt x="1708" y="83"/>
                  <a:pt x="1708" y="83"/>
                </a:cubicBezTo>
                <a:cubicBezTo>
                  <a:pt x="1709" y="83"/>
                  <a:pt x="1709" y="83"/>
                  <a:pt x="1709" y="83"/>
                </a:cubicBezTo>
                <a:close/>
                <a:moveTo>
                  <a:pt x="1019" y="9"/>
                </a:moveTo>
                <a:cubicBezTo>
                  <a:pt x="1020" y="9"/>
                  <a:pt x="1020" y="9"/>
                  <a:pt x="1020" y="9"/>
                </a:cubicBezTo>
                <a:cubicBezTo>
                  <a:pt x="1020" y="9"/>
                  <a:pt x="1020" y="9"/>
                  <a:pt x="1019" y="9"/>
                </a:cubicBezTo>
                <a:close/>
                <a:moveTo>
                  <a:pt x="626" y="84"/>
                </a:moveTo>
                <a:cubicBezTo>
                  <a:pt x="626" y="84"/>
                  <a:pt x="627" y="83"/>
                  <a:pt x="626" y="83"/>
                </a:cubicBezTo>
                <a:cubicBezTo>
                  <a:pt x="626" y="83"/>
                  <a:pt x="626" y="84"/>
                  <a:pt x="626" y="84"/>
                </a:cubicBezTo>
                <a:close/>
                <a:moveTo>
                  <a:pt x="750" y="53"/>
                </a:moveTo>
                <a:cubicBezTo>
                  <a:pt x="750" y="53"/>
                  <a:pt x="750" y="52"/>
                  <a:pt x="750" y="52"/>
                </a:cubicBezTo>
                <a:cubicBezTo>
                  <a:pt x="750" y="52"/>
                  <a:pt x="750" y="53"/>
                  <a:pt x="750" y="53"/>
                </a:cubicBezTo>
                <a:close/>
                <a:moveTo>
                  <a:pt x="1354" y="9"/>
                </a:moveTo>
                <a:cubicBezTo>
                  <a:pt x="1354" y="9"/>
                  <a:pt x="1355" y="9"/>
                  <a:pt x="1355" y="9"/>
                </a:cubicBezTo>
                <a:cubicBezTo>
                  <a:pt x="1354" y="9"/>
                  <a:pt x="1354" y="9"/>
                  <a:pt x="1354" y="9"/>
                </a:cubicBezTo>
                <a:close/>
                <a:moveTo>
                  <a:pt x="1043" y="83"/>
                </a:moveTo>
                <a:cubicBezTo>
                  <a:pt x="1043" y="83"/>
                  <a:pt x="1043" y="84"/>
                  <a:pt x="1044" y="84"/>
                </a:cubicBezTo>
                <a:cubicBezTo>
                  <a:pt x="1044" y="83"/>
                  <a:pt x="1043" y="83"/>
                  <a:pt x="1043" y="83"/>
                </a:cubicBezTo>
                <a:close/>
                <a:moveTo>
                  <a:pt x="1221" y="83"/>
                </a:moveTo>
                <a:cubicBezTo>
                  <a:pt x="1221" y="83"/>
                  <a:pt x="1221" y="84"/>
                  <a:pt x="1221" y="84"/>
                </a:cubicBezTo>
                <a:cubicBezTo>
                  <a:pt x="1221" y="83"/>
                  <a:pt x="1221" y="83"/>
                  <a:pt x="1221" y="83"/>
                </a:cubicBezTo>
                <a:close/>
                <a:moveTo>
                  <a:pt x="1356" y="83"/>
                </a:moveTo>
                <a:cubicBezTo>
                  <a:pt x="1356" y="83"/>
                  <a:pt x="1356" y="83"/>
                  <a:pt x="1356" y="84"/>
                </a:cubicBezTo>
                <a:cubicBezTo>
                  <a:pt x="1356" y="84"/>
                  <a:pt x="1356" y="83"/>
                  <a:pt x="1356" y="83"/>
                </a:cubicBezTo>
                <a:close/>
                <a:moveTo>
                  <a:pt x="1414" y="84"/>
                </a:moveTo>
                <a:cubicBezTo>
                  <a:pt x="1414" y="83"/>
                  <a:pt x="1414" y="83"/>
                  <a:pt x="1413" y="83"/>
                </a:cubicBezTo>
                <a:cubicBezTo>
                  <a:pt x="1413" y="83"/>
                  <a:pt x="1413" y="84"/>
                  <a:pt x="1414" y="84"/>
                </a:cubicBezTo>
                <a:close/>
                <a:moveTo>
                  <a:pt x="1529" y="84"/>
                </a:moveTo>
                <a:cubicBezTo>
                  <a:pt x="1529" y="84"/>
                  <a:pt x="1529" y="83"/>
                  <a:pt x="1529" y="83"/>
                </a:cubicBezTo>
                <a:cubicBezTo>
                  <a:pt x="1529" y="83"/>
                  <a:pt x="1529" y="83"/>
                  <a:pt x="1529" y="84"/>
                </a:cubicBezTo>
                <a:close/>
                <a:moveTo>
                  <a:pt x="1385" y="9"/>
                </a:moveTo>
                <a:cubicBezTo>
                  <a:pt x="1385" y="9"/>
                  <a:pt x="1385" y="9"/>
                  <a:pt x="1385" y="9"/>
                </a:cubicBezTo>
                <a:cubicBezTo>
                  <a:pt x="1385" y="9"/>
                  <a:pt x="1385" y="9"/>
                  <a:pt x="1385" y="9"/>
                </a:cubicBezTo>
                <a:close/>
                <a:moveTo>
                  <a:pt x="1697" y="84"/>
                </a:moveTo>
                <a:cubicBezTo>
                  <a:pt x="1697" y="84"/>
                  <a:pt x="1698" y="83"/>
                  <a:pt x="1698" y="83"/>
                </a:cubicBezTo>
                <a:cubicBezTo>
                  <a:pt x="1697" y="83"/>
                  <a:pt x="1697" y="83"/>
                  <a:pt x="1697" y="84"/>
                </a:cubicBezTo>
                <a:close/>
                <a:moveTo>
                  <a:pt x="612" y="84"/>
                </a:moveTo>
                <a:cubicBezTo>
                  <a:pt x="612" y="84"/>
                  <a:pt x="612" y="83"/>
                  <a:pt x="611" y="83"/>
                </a:cubicBezTo>
                <a:cubicBezTo>
                  <a:pt x="611" y="84"/>
                  <a:pt x="611" y="84"/>
                  <a:pt x="612" y="84"/>
                </a:cubicBezTo>
                <a:close/>
                <a:moveTo>
                  <a:pt x="958" y="84"/>
                </a:moveTo>
                <a:cubicBezTo>
                  <a:pt x="958" y="84"/>
                  <a:pt x="958" y="84"/>
                  <a:pt x="958" y="83"/>
                </a:cubicBezTo>
                <a:cubicBezTo>
                  <a:pt x="958" y="84"/>
                  <a:pt x="958" y="84"/>
                  <a:pt x="958" y="84"/>
                </a:cubicBezTo>
                <a:close/>
                <a:moveTo>
                  <a:pt x="1345" y="84"/>
                </a:moveTo>
                <a:cubicBezTo>
                  <a:pt x="1345" y="84"/>
                  <a:pt x="1345" y="84"/>
                  <a:pt x="1345" y="83"/>
                </a:cubicBezTo>
                <a:cubicBezTo>
                  <a:pt x="1345" y="84"/>
                  <a:pt x="1345" y="84"/>
                  <a:pt x="1345" y="84"/>
                </a:cubicBezTo>
                <a:close/>
                <a:moveTo>
                  <a:pt x="1540" y="83"/>
                </a:moveTo>
                <a:cubicBezTo>
                  <a:pt x="1540" y="84"/>
                  <a:pt x="1540" y="84"/>
                  <a:pt x="1540" y="84"/>
                </a:cubicBezTo>
                <a:cubicBezTo>
                  <a:pt x="1540" y="84"/>
                  <a:pt x="1540" y="84"/>
                  <a:pt x="1540" y="83"/>
                </a:cubicBezTo>
                <a:close/>
                <a:moveTo>
                  <a:pt x="1680" y="83"/>
                </a:moveTo>
                <a:cubicBezTo>
                  <a:pt x="1679" y="84"/>
                  <a:pt x="1680" y="84"/>
                  <a:pt x="1680" y="84"/>
                </a:cubicBezTo>
                <a:cubicBezTo>
                  <a:pt x="1680" y="84"/>
                  <a:pt x="1680" y="84"/>
                  <a:pt x="1680" y="83"/>
                </a:cubicBezTo>
                <a:close/>
                <a:moveTo>
                  <a:pt x="1708" y="83"/>
                </a:moveTo>
                <a:cubicBezTo>
                  <a:pt x="1708" y="84"/>
                  <a:pt x="1708" y="84"/>
                  <a:pt x="1708" y="84"/>
                </a:cubicBezTo>
                <a:cubicBezTo>
                  <a:pt x="1708" y="84"/>
                  <a:pt x="1708" y="84"/>
                  <a:pt x="1708" y="83"/>
                </a:cubicBezTo>
                <a:close/>
                <a:moveTo>
                  <a:pt x="622" y="84"/>
                </a:moveTo>
                <a:cubicBezTo>
                  <a:pt x="622" y="84"/>
                  <a:pt x="622" y="84"/>
                  <a:pt x="622" y="85"/>
                </a:cubicBezTo>
                <a:cubicBezTo>
                  <a:pt x="622" y="84"/>
                  <a:pt x="622" y="84"/>
                  <a:pt x="622" y="84"/>
                </a:cubicBezTo>
                <a:close/>
                <a:moveTo>
                  <a:pt x="1427" y="9"/>
                </a:moveTo>
                <a:cubicBezTo>
                  <a:pt x="1427" y="9"/>
                  <a:pt x="1427" y="9"/>
                  <a:pt x="1428" y="9"/>
                </a:cubicBezTo>
                <a:cubicBezTo>
                  <a:pt x="1427" y="9"/>
                  <a:pt x="1427" y="9"/>
                  <a:pt x="1427" y="9"/>
                </a:cubicBezTo>
                <a:close/>
                <a:moveTo>
                  <a:pt x="636" y="84"/>
                </a:moveTo>
                <a:cubicBezTo>
                  <a:pt x="636" y="84"/>
                  <a:pt x="636" y="84"/>
                  <a:pt x="636" y="84"/>
                </a:cubicBezTo>
                <a:cubicBezTo>
                  <a:pt x="636" y="84"/>
                  <a:pt x="636" y="84"/>
                  <a:pt x="636" y="84"/>
                </a:cubicBezTo>
                <a:close/>
                <a:moveTo>
                  <a:pt x="1032" y="84"/>
                </a:moveTo>
                <a:cubicBezTo>
                  <a:pt x="1032" y="84"/>
                  <a:pt x="1032" y="84"/>
                  <a:pt x="1031" y="84"/>
                </a:cubicBezTo>
                <a:cubicBezTo>
                  <a:pt x="1031" y="84"/>
                  <a:pt x="1031" y="84"/>
                  <a:pt x="1032" y="84"/>
                </a:cubicBezTo>
                <a:close/>
                <a:moveTo>
                  <a:pt x="637" y="55"/>
                </a:moveTo>
                <a:cubicBezTo>
                  <a:pt x="637" y="55"/>
                  <a:pt x="637" y="55"/>
                  <a:pt x="637" y="55"/>
                </a:cubicBezTo>
                <a:cubicBezTo>
                  <a:pt x="637" y="55"/>
                  <a:pt x="637" y="55"/>
                  <a:pt x="637" y="55"/>
                </a:cubicBezTo>
                <a:close/>
                <a:moveTo>
                  <a:pt x="1210" y="84"/>
                </a:moveTo>
                <a:cubicBezTo>
                  <a:pt x="1210" y="84"/>
                  <a:pt x="1210" y="84"/>
                  <a:pt x="1209" y="84"/>
                </a:cubicBezTo>
                <a:cubicBezTo>
                  <a:pt x="1209" y="84"/>
                  <a:pt x="1209" y="84"/>
                  <a:pt x="1210" y="84"/>
                </a:cubicBezTo>
                <a:close/>
                <a:moveTo>
                  <a:pt x="1221" y="84"/>
                </a:moveTo>
                <a:cubicBezTo>
                  <a:pt x="1221" y="84"/>
                  <a:pt x="1222" y="84"/>
                  <a:pt x="1222" y="84"/>
                </a:cubicBezTo>
                <a:cubicBezTo>
                  <a:pt x="1222" y="84"/>
                  <a:pt x="1222" y="84"/>
                  <a:pt x="1221" y="84"/>
                </a:cubicBezTo>
                <a:close/>
                <a:moveTo>
                  <a:pt x="1356" y="84"/>
                </a:moveTo>
                <a:cubicBezTo>
                  <a:pt x="1356" y="84"/>
                  <a:pt x="1355" y="84"/>
                  <a:pt x="1355" y="84"/>
                </a:cubicBezTo>
                <a:cubicBezTo>
                  <a:pt x="1356" y="84"/>
                  <a:pt x="1356" y="84"/>
                  <a:pt x="1356" y="84"/>
                </a:cubicBezTo>
                <a:close/>
                <a:moveTo>
                  <a:pt x="1466" y="84"/>
                </a:moveTo>
                <a:cubicBezTo>
                  <a:pt x="1466" y="84"/>
                  <a:pt x="1466" y="84"/>
                  <a:pt x="1466" y="84"/>
                </a:cubicBezTo>
                <a:cubicBezTo>
                  <a:pt x="1466" y="84"/>
                  <a:pt x="1466" y="84"/>
                  <a:pt x="1466" y="84"/>
                </a:cubicBezTo>
                <a:close/>
                <a:moveTo>
                  <a:pt x="1529" y="85"/>
                </a:moveTo>
                <a:cubicBezTo>
                  <a:pt x="1529" y="84"/>
                  <a:pt x="1529" y="84"/>
                  <a:pt x="1529" y="84"/>
                </a:cubicBezTo>
                <a:cubicBezTo>
                  <a:pt x="1529" y="84"/>
                  <a:pt x="1529" y="84"/>
                  <a:pt x="1529" y="85"/>
                </a:cubicBezTo>
                <a:close/>
                <a:moveTo>
                  <a:pt x="1697" y="85"/>
                </a:moveTo>
                <a:cubicBezTo>
                  <a:pt x="1697" y="84"/>
                  <a:pt x="1697" y="84"/>
                  <a:pt x="1697" y="84"/>
                </a:cubicBezTo>
                <a:cubicBezTo>
                  <a:pt x="1697" y="84"/>
                  <a:pt x="1697" y="84"/>
                  <a:pt x="1697" y="85"/>
                </a:cubicBezTo>
                <a:close/>
                <a:moveTo>
                  <a:pt x="612" y="85"/>
                </a:moveTo>
                <a:cubicBezTo>
                  <a:pt x="612" y="85"/>
                  <a:pt x="612" y="84"/>
                  <a:pt x="612" y="84"/>
                </a:cubicBezTo>
                <a:cubicBezTo>
                  <a:pt x="612" y="84"/>
                  <a:pt x="612" y="85"/>
                  <a:pt x="612" y="85"/>
                </a:cubicBezTo>
                <a:close/>
                <a:moveTo>
                  <a:pt x="750" y="85"/>
                </a:moveTo>
                <a:cubicBezTo>
                  <a:pt x="750" y="85"/>
                  <a:pt x="750" y="84"/>
                  <a:pt x="749" y="84"/>
                </a:cubicBezTo>
                <a:cubicBezTo>
                  <a:pt x="749" y="84"/>
                  <a:pt x="749" y="85"/>
                  <a:pt x="750" y="85"/>
                </a:cubicBezTo>
                <a:close/>
                <a:moveTo>
                  <a:pt x="1044" y="84"/>
                </a:moveTo>
                <a:cubicBezTo>
                  <a:pt x="1044" y="84"/>
                  <a:pt x="1044" y="85"/>
                  <a:pt x="1044" y="85"/>
                </a:cubicBezTo>
                <a:cubicBezTo>
                  <a:pt x="1044" y="85"/>
                  <a:pt x="1044" y="84"/>
                  <a:pt x="1044" y="84"/>
                </a:cubicBezTo>
                <a:close/>
                <a:moveTo>
                  <a:pt x="1414" y="85"/>
                </a:moveTo>
                <a:cubicBezTo>
                  <a:pt x="1414" y="84"/>
                  <a:pt x="1414" y="84"/>
                  <a:pt x="1414" y="84"/>
                </a:cubicBezTo>
                <a:cubicBezTo>
                  <a:pt x="1414" y="84"/>
                  <a:pt x="1414" y="85"/>
                  <a:pt x="1414" y="85"/>
                </a:cubicBezTo>
                <a:close/>
                <a:moveTo>
                  <a:pt x="1540" y="84"/>
                </a:moveTo>
                <a:cubicBezTo>
                  <a:pt x="1540" y="84"/>
                  <a:pt x="1540" y="85"/>
                  <a:pt x="1540" y="85"/>
                </a:cubicBezTo>
                <a:cubicBezTo>
                  <a:pt x="1540" y="85"/>
                  <a:pt x="1540" y="84"/>
                  <a:pt x="1540" y="84"/>
                </a:cubicBezTo>
                <a:close/>
                <a:moveTo>
                  <a:pt x="1667" y="85"/>
                </a:moveTo>
                <a:cubicBezTo>
                  <a:pt x="1667" y="84"/>
                  <a:pt x="1667" y="84"/>
                  <a:pt x="1667" y="84"/>
                </a:cubicBezTo>
                <a:cubicBezTo>
                  <a:pt x="1667" y="84"/>
                  <a:pt x="1667" y="85"/>
                  <a:pt x="1667" y="85"/>
                </a:cubicBezTo>
                <a:close/>
                <a:moveTo>
                  <a:pt x="1680" y="84"/>
                </a:moveTo>
                <a:cubicBezTo>
                  <a:pt x="1680" y="84"/>
                  <a:pt x="1680" y="85"/>
                  <a:pt x="1680" y="85"/>
                </a:cubicBezTo>
                <a:cubicBezTo>
                  <a:pt x="1680" y="85"/>
                  <a:pt x="1680" y="84"/>
                  <a:pt x="1680" y="84"/>
                </a:cubicBezTo>
                <a:close/>
                <a:moveTo>
                  <a:pt x="1708" y="84"/>
                </a:moveTo>
                <a:cubicBezTo>
                  <a:pt x="1708" y="84"/>
                  <a:pt x="1708" y="85"/>
                  <a:pt x="1708" y="85"/>
                </a:cubicBezTo>
                <a:cubicBezTo>
                  <a:pt x="1708" y="85"/>
                  <a:pt x="1708" y="84"/>
                  <a:pt x="1708" y="84"/>
                </a:cubicBezTo>
                <a:close/>
                <a:moveTo>
                  <a:pt x="1683" y="42"/>
                </a:moveTo>
                <a:cubicBezTo>
                  <a:pt x="1683" y="42"/>
                  <a:pt x="1683" y="42"/>
                  <a:pt x="1683" y="42"/>
                </a:cubicBezTo>
                <a:cubicBezTo>
                  <a:pt x="1683" y="42"/>
                  <a:pt x="1683" y="42"/>
                  <a:pt x="1683" y="42"/>
                </a:cubicBezTo>
                <a:close/>
                <a:moveTo>
                  <a:pt x="1538" y="9"/>
                </a:moveTo>
                <a:cubicBezTo>
                  <a:pt x="1539" y="9"/>
                  <a:pt x="1539" y="9"/>
                  <a:pt x="1539" y="9"/>
                </a:cubicBezTo>
                <a:cubicBezTo>
                  <a:pt x="1539" y="9"/>
                  <a:pt x="1538" y="9"/>
                  <a:pt x="1538" y="9"/>
                </a:cubicBezTo>
                <a:close/>
                <a:moveTo>
                  <a:pt x="762" y="84"/>
                </a:moveTo>
                <a:cubicBezTo>
                  <a:pt x="762" y="85"/>
                  <a:pt x="762" y="85"/>
                  <a:pt x="762" y="85"/>
                </a:cubicBezTo>
                <a:cubicBezTo>
                  <a:pt x="762" y="85"/>
                  <a:pt x="762" y="85"/>
                  <a:pt x="762" y="84"/>
                </a:cubicBezTo>
                <a:close/>
                <a:moveTo>
                  <a:pt x="959" y="85"/>
                </a:moveTo>
                <a:cubicBezTo>
                  <a:pt x="959" y="85"/>
                  <a:pt x="959" y="85"/>
                  <a:pt x="958" y="84"/>
                </a:cubicBezTo>
                <a:cubicBezTo>
                  <a:pt x="958" y="85"/>
                  <a:pt x="958" y="85"/>
                  <a:pt x="959" y="85"/>
                </a:cubicBezTo>
                <a:close/>
                <a:moveTo>
                  <a:pt x="1569" y="9"/>
                </a:moveTo>
                <a:cubicBezTo>
                  <a:pt x="1569" y="9"/>
                  <a:pt x="1570" y="9"/>
                  <a:pt x="1570" y="9"/>
                </a:cubicBezTo>
                <a:cubicBezTo>
                  <a:pt x="1570" y="9"/>
                  <a:pt x="1569" y="9"/>
                  <a:pt x="1569" y="9"/>
                </a:cubicBezTo>
                <a:close/>
                <a:moveTo>
                  <a:pt x="1344" y="85"/>
                </a:moveTo>
                <a:cubicBezTo>
                  <a:pt x="1345" y="85"/>
                  <a:pt x="1345" y="85"/>
                  <a:pt x="1345" y="84"/>
                </a:cubicBezTo>
                <a:cubicBezTo>
                  <a:pt x="1344" y="85"/>
                  <a:pt x="1344" y="85"/>
                  <a:pt x="1344" y="85"/>
                </a:cubicBezTo>
                <a:close/>
                <a:moveTo>
                  <a:pt x="1466" y="84"/>
                </a:moveTo>
                <a:cubicBezTo>
                  <a:pt x="1465" y="85"/>
                  <a:pt x="1465" y="85"/>
                  <a:pt x="1465" y="85"/>
                </a:cubicBezTo>
                <a:cubicBezTo>
                  <a:pt x="1466" y="85"/>
                  <a:pt x="1466" y="85"/>
                  <a:pt x="1466" y="84"/>
                </a:cubicBezTo>
                <a:close/>
                <a:moveTo>
                  <a:pt x="622" y="85"/>
                </a:moveTo>
                <a:cubicBezTo>
                  <a:pt x="622" y="85"/>
                  <a:pt x="622" y="85"/>
                  <a:pt x="622" y="86"/>
                </a:cubicBezTo>
                <a:cubicBezTo>
                  <a:pt x="622" y="85"/>
                  <a:pt x="622" y="85"/>
                  <a:pt x="622" y="85"/>
                </a:cubicBezTo>
                <a:close/>
                <a:moveTo>
                  <a:pt x="626" y="86"/>
                </a:moveTo>
                <a:cubicBezTo>
                  <a:pt x="626" y="85"/>
                  <a:pt x="626" y="85"/>
                  <a:pt x="626" y="85"/>
                </a:cubicBezTo>
                <a:cubicBezTo>
                  <a:pt x="626" y="85"/>
                  <a:pt x="626" y="85"/>
                  <a:pt x="626" y="86"/>
                </a:cubicBezTo>
                <a:close/>
                <a:moveTo>
                  <a:pt x="1044" y="85"/>
                </a:moveTo>
                <a:cubicBezTo>
                  <a:pt x="1044" y="85"/>
                  <a:pt x="1044" y="85"/>
                  <a:pt x="1045" y="85"/>
                </a:cubicBezTo>
                <a:cubicBezTo>
                  <a:pt x="1045" y="85"/>
                  <a:pt x="1045" y="85"/>
                  <a:pt x="1044" y="85"/>
                </a:cubicBezTo>
                <a:close/>
                <a:moveTo>
                  <a:pt x="1210" y="85"/>
                </a:moveTo>
                <a:cubicBezTo>
                  <a:pt x="1210" y="85"/>
                  <a:pt x="1210" y="85"/>
                  <a:pt x="1210" y="85"/>
                </a:cubicBezTo>
                <a:cubicBezTo>
                  <a:pt x="1210" y="85"/>
                  <a:pt x="1210" y="85"/>
                  <a:pt x="1210" y="85"/>
                </a:cubicBezTo>
                <a:close/>
                <a:moveTo>
                  <a:pt x="1222" y="85"/>
                </a:moveTo>
                <a:cubicBezTo>
                  <a:pt x="1222" y="85"/>
                  <a:pt x="1222" y="85"/>
                  <a:pt x="1222" y="86"/>
                </a:cubicBezTo>
                <a:cubicBezTo>
                  <a:pt x="1222" y="85"/>
                  <a:pt x="1222" y="85"/>
                  <a:pt x="1222" y="85"/>
                </a:cubicBezTo>
                <a:close/>
                <a:moveTo>
                  <a:pt x="1355" y="85"/>
                </a:moveTo>
                <a:cubicBezTo>
                  <a:pt x="1355" y="85"/>
                  <a:pt x="1355" y="85"/>
                  <a:pt x="1355" y="85"/>
                </a:cubicBezTo>
                <a:cubicBezTo>
                  <a:pt x="1355" y="85"/>
                  <a:pt x="1355" y="85"/>
                  <a:pt x="1355" y="85"/>
                </a:cubicBezTo>
                <a:close/>
                <a:moveTo>
                  <a:pt x="1414" y="85"/>
                </a:moveTo>
                <a:cubicBezTo>
                  <a:pt x="1414" y="85"/>
                  <a:pt x="1414" y="85"/>
                  <a:pt x="1414" y="85"/>
                </a:cubicBezTo>
                <a:cubicBezTo>
                  <a:pt x="1414" y="85"/>
                  <a:pt x="1414" y="85"/>
                  <a:pt x="1414" y="85"/>
                </a:cubicBezTo>
                <a:close/>
                <a:moveTo>
                  <a:pt x="1528" y="86"/>
                </a:moveTo>
                <a:cubicBezTo>
                  <a:pt x="1529" y="85"/>
                  <a:pt x="1529" y="85"/>
                  <a:pt x="1529" y="85"/>
                </a:cubicBezTo>
                <a:cubicBezTo>
                  <a:pt x="1528" y="85"/>
                  <a:pt x="1528" y="85"/>
                  <a:pt x="1528" y="86"/>
                </a:cubicBezTo>
                <a:close/>
                <a:moveTo>
                  <a:pt x="1668" y="86"/>
                </a:moveTo>
                <a:cubicBezTo>
                  <a:pt x="1668" y="85"/>
                  <a:pt x="1668" y="85"/>
                  <a:pt x="1667" y="85"/>
                </a:cubicBezTo>
                <a:cubicBezTo>
                  <a:pt x="1667" y="85"/>
                  <a:pt x="1667" y="85"/>
                  <a:pt x="1668" y="86"/>
                </a:cubicBezTo>
                <a:close/>
                <a:moveTo>
                  <a:pt x="1680" y="85"/>
                </a:moveTo>
                <a:cubicBezTo>
                  <a:pt x="1680" y="85"/>
                  <a:pt x="1680" y="85"/>
                  <a:pt x="1681" y="86"/>
                </a:cubicBezTo>
                <a:cubicBezTo>
                  <a:pt x="1681" y="85"/>
                  <a:pt x="1681" y="85"/>
                  <a:pt x="1680" y="85"/>
                </a:cubicBezTo>
                <a:close/>
                <a:moveTo>
                  <a:pt x="1697" y="86"/>
                </a:moveTo>
                <a:cubicBezTo>
                  <a:pt x="1697" y="85"/>
                  <a:pt x="1697" y="85"/>
                  <a:pt x="1697" y="85"/>
                </a:cubicBezTo>
                <a:cubicBezTo>
                  <a:pt x="1697" y="85"/>
                  <a:pt x="1697" y="85"/>
                  <a:pt x="1697" y="86"/>
                </a:cubicBezTo>
                <a:close/>
                <a:moveTo>
                  <a:pt x="612" y="86"/>
                </a:moveTo>
                <a:cubicBezTo>
                  <a:pt x="612" y="86"/>
                  <a:pt x="612" y="85"/>
                  <a:pt x="612" y="85"/>
                </a:cubicBezTo>
                <a:cubicBezTo>
                  <a:pt x="612" y="85"/>
                  <a:pt x="612" y="86"/>
                  <a:pt x="612" y="86"/>
                </a:cubicBezTo>
                <a:close/>
                <a:moveTo>
                  <a:pt x="750" y="86"/>
                </a:moveTo>
                <a:cubicBezTo>
                  <a:pt x="750" y="86"/>
                  <a:pt x="750" y="85"/>
                  <a:pt x="750" y="85"/>
                </a:cubicBezTo>
                <a:cubicBezTo>
                  <a:pt x="750" y="85"/>
                  <a:pt x="750" y="86"/>
                  <a:pt x="750" y="86"/>
                </a:cubicBezTo>
                <a:close/>
                <a:moveTo>
                  <a:pt x="1294" y="48"/>
                </a:moveTo>
                <a:cubicBezTo>
                  <a:pt x="1294" y="48"/>
                  <a:pt x="1293" y="48"/>
                  <a:pt x="1293" y="49"/>
                </a:cubicBezTo>
                <a:cubicBezTo>
                  <a:pt x="1294" y="48"/>
                  <a:pt x="1294" y="48"/>
                  <a:pt x="1294" y="48"/>
                </a:cubicBezTo>
                <a:close/>
                <a:moveTo>
                  <a:pt x="1465" y="85"/>
                </a:moveTo>
                <a:cubicBezTo>
                  <a:pt x="1465" y="85"/>
                  <a:pt x="1465" y="86"/>
                  <a:pt x="1465" y="86"/>
                </a:cubicBezTo>
                <a:cubicBezTo>
                  <a:pt x="1465" y="86"/>
                  <a:pt x="1465" y="85"/>
                  <a:pt x="1465" y="85"/>
                </a:cubicBezTo>
                <a:close/>
                <a:moveTo>
                  <a:pt x="1540" y="85"/>
                </a:moveTo>
                <a:cubicBezTo>
                  <a:pt x="1539" y="85"/>
                  <a:pt x="1539" y="86"/>
                  <a:pt x="1539" y="86"/>
                </a:cubicBezTo>
                <a:cubicBezTo>
                  <a:pt x="1540" y="86"/>
                  <a:pt x="1540" y="85"/>
                  <a:pt x="1540" y="85"/>
                </a:cubicBezTo>
                <a:close/>
                <a:moveTo>
                  <a:pt x="1708" y="85"/>
                </a:moveTo>
                <a:cubicBezTo>
                  <a:pt x="1707" y="85"/>
                  <a:pt x="1707" y="86"/>
                  <a:pt x="1707" y="86"/>
                </a:cubicBezTo>
                <a:cubicBezTo>
                  <a:pt x="1708" y="86"/>
                  <a:pt x="1708" y="85"/>
                  <a:pt x="1708" y="85"/>
                </a:cubicBezTo>
                <a:close/>
                <a:moveTo>
                  <a:pt x="636" y="85"/>
                </a:moveTo>
                <a:cubicBezTo>
                  <a:pt x="635" y="86"/>
                  <a:pt x="635" y="86"/>
                  <a:pt x="635" y="86"/>
                </a:cubicBezTo>
                <a:cubicBezTo>
                  <a:pt x="636" y="86"/>
                  <a:pt x="636" y="86"/>
                  <a:pt x="636" y="85"/>
                </a:cubicBezTo>
                <a:close/>
                <a:moveTo>
                  <a:pt x="763" y="86"/>
                </a:moveTo>
                <a:cubicBezTo>
                  <a:pt x="763" y="86"/>
                  <a:pt x="763" y="86"/>
                  <a:pt x="763" y="86"/>
                </a:cubicBezTo>
                <a:cubicBezTo>
                  <a:pt x="763" y="86"/>
                  <a:pt x="763" y="86"/>
                  <a:pt x="763" y="86"/>
                </a:cubicBezTo>
                <a:close/>
                <a:moveTo>
                  <a:pt x="959" y="86"/>
                </a:moveTo>
                <a:cubicBezTo>
                  <a:pt x="959" y="86"/>
                  <a:pt x="959" y="86"/>
                  <a:pt x="959" y="86"/>
                </a:cubicBezTo>
                <a:cubicBezTo>
                  <a:pt x="959" y="86"/>
                  <a:pt x="959" y="86"/>
                  <a:pt x="959" y="86"/>
                </a:cubicBezTo>
                <a:close/>
                <a:moveTo>
                  <a:pt x="1668" y="9"/>
                </a:moveTo>
                <a:cubicBezTo>
                  <a:pt x="1668" y="9"/>
                  <a:pt x="1668" y="9"/>
                  <a:pt x="1668" y="9"/>
                </a:cubicBezTo>
                <a:cubicBezTo>
                  <a:pt x="1668" y="9"/>
                  <a:pt x="1668" y="9"/>
                  <a:pt x="1668" y="9"/>
                </a:cubicBezTo>
                <a:close/>
                <a:moveTo>
                  <a:pt x="1032" y="86"/>
                </a:moveTo>
                <a:cubicBezTo>
                  <a:pt x="1032" y="86"/>
                  <a:pt x="1032" y="86"/>
                  <a:pt x="1032" y="85"/>
                </a:cubicBezTo>
                <a:cubicBezTo>
                  <a:pt x="1032" y="86"/>
                  <a:pt x="1032" y="86"/>
                  <a:pt x="1032" y="86"/>
                </a:cubicBezTo>
                <a:close/>
                <a:moveTo>
                  <a:pt x="1210" y="86"/>
                </a:moveTo>
                <a:cubicBezTo>
                  <a:pt x="1210" y="86"/>
                  <a:pt x="1210" y="86"/>
                  <a:pt x="1210" y="85"/>
                </a:cubicBezTo>
                <a:cubicBezTo>
                  <a:pt x="1210" y="86"/>
                  <a:pt x="1210" y="86"/>
                  <a:pt x="1210" y="86"/>
                </a:cubicBezTo>
                <a:close/>
                <a:moveTo>
                  <a:pt x="1706" y="9"/>
                </a:moveTo>
                <a:cubicBezTo>
                  <a:pt x="1707" y="9"/>
                  <a:pt x="1707" y="9"/>
                  <a:pt x="1707" y="9"/>
                </a:cubicBezTo>
                <a:cubicBezTo>
                  <a:pt x="1707" y="9"/>
                  <a:pt x="1706" y="9"/>
                  <a:pt x="1706" y="9"/>
                </a:cubicBezTo>
                <a:close/>
                <a:moveTo>
                  <a:pt x="1668" y="86"/>
                </a:moveTo>
                <a:cubicBezTo>
                  <a:pt x="1668" y="86"/>
                  <a:pt x="1668" y="86"/>
                  <a:pt x="1668" y="85"/>
                </a:cubicBezTo>
                <a:cubicBezTo>
                  <a:pt x="1668" y="86"/>
                  <a:pt x="1668" y="86"/>
                  <a:pt x="1668" y="86"/>
                </a:cubicBezTo>
                <a:close/>
                <a:moveTo>
                  <a:pt x="1681" y="86"/>
                </a:moveTo>
                <a:cubicBezTo>
                  <a:pt x="1681" y="86"/>
                  <a:pt x="1681" y="86"/>
                  <a:pt x="1681" y="86"/>
                </a:cubicBezTo>
                <a:cubicBezTo>
                  <a:pt x="1681" y="86"/>
                  <a:pt x="1681" y="86"/>
                  <a:pt x="1681" y="86"/>
                </a:cubicBezTo>
                <a:close/>
                <a:moveTo>
                  <a:pt x="588" y="86"/>
                </a:moveTo>
                <a:cubicBezTo>
                  <a:pt x="588" y="86"/>
                  <a:pt x="588" y="86"/>
                  <a:pt x="588" y="87"/>
                </a:cubicBezTo>
                <a:cubicBezTo>
                  <a:pt x="588" y="86"/>
                  <a:pt x="588" y="86"/>
                  <a:pt x="588" y="86"/>
                </a:cubicBezTo>
                <a:close/>
                <a:moveTo>
                  <a:pt x="613" y="87"/>
                </a:moveTo>
                <a:cubicBezTo>
                  <a:pt x="613" y="86"/>
                  <a:pt x="613" y="86"/>
                  <a:pt x="612" y="86"/>
                </a:cubicBezTo>
                <a:cubicBezTo>
                  <a:pt x="612" y="86"/>
                  <a:pt x="612" y="86"/>
                  <a:pt x="613" y="87"/>
                </a:cubicBezTo>
                <a:close/>
                <a:moveTo>
                  <a:pt x="622" y="86"/>
                </a:moveTo>
                <a:cubicBezTo>
                  <a:pt x="622" y="86"/>
                  <a:pt x="622" y="86"/>
                  <a:pt x="623" y="87"/>
                </a:cubicBezTo>
                <a:cubicBezTo>
                  <a:pt x="623" y="86"/>
                  <a:pt x="623" y="86"/>
                  <a:pt x="622" y="86"/>
                </a:cubicBezTo>
                <a:close/>
                <a:moveTo>
                  <a:pt x="625" y="87"/>
                </a:moveTo>
                <a:cubicBezTo>
                  <a:pt x="625" y="86"/>
                  <a:pt x="625" y="86"/>
                  <a:pt x="625" y="86"/>
                </a:cubicBezTo>
                <a:cubicBezTo>
                  <a:pt x="625" y="86"/>
                  <a:pt x="625" y="86"/>
                  <a:pt x="625" y="87"/>
                </a:cubicBezTo>
                <a:close/>
                <a:moveTo>
                  <a:pt x="642" y="41"/>
                </a:moveTo>
                <a:cubicBezTo>
                  <a:pt x="642" y="41"/>
                  <a:pt x="642" y="41"/>
                  <a:pt x="642" y="40"/>
                </a:cubicBezTo>
                <a:cubicBezTo>
                  <a:pt x="642" y="40"/>
                  <a:pt x="642" y="41"/>
                  <a:pt x="642" y="41"/>
                </a:cubicBezTo>
                <a:close/>
                <a:moveTo>
                  <a:pt x="750" y="87"/>
                </a:moveTo>
                <a:cubicBezTo>
                  <a:pt x="750" y="86"/>
                  <a:pt x="750" y="86"/>
                  <a:pt x="750" y="86"/>
                </a:cubicBezTo>
                <a:cubicBezTo>
                  <a:pt x="750" y="86"/>
                  <a:pt x="750" y="86"/>
                  <a:pt x="750" y="87"/>
                </a:cubicBezTo>
                <a:close/>
                <a:moveTo>
                  <a:pt x="1737" y="9"/>
                </a:moveTo>
                <a:cubicBezTo>
                  <a:pt x="1737" y="9"/>
                  <a:pt x="1738" y="9"/>
                  <a:pt x="1738" y="9"/>
                </a:cubicBezTo>
                <a:cubicBezTo>
                  <a:pt x="1738" y="9"/>
                  <a:pt x="1738" y="9"/>
                  <a:pt x="1737" y="9"/>
                </a:cubicBezTo>
                <a:close/>
                <a:moveTo>
                  <a:pt x="550" y="10"/>
                </a:moveTo>
                <a:cubicBezTo>
                  <a:pt x="550" y="10"/>
                  <a:pt x="550" y="10"/>
                  <a:pt x="550" y="9"/>
                </a:cubicBezTo>
                <a:cubicBezTo>
                  <a:pt x="550" y="9"/>
                  <a:pt x="550" y="9"/>
                  <a:pt x="550" y="10"/>
                </a:cubicBezTo>
                <a:close/>
                <a:moveTo>
                  <a:pt x="1415" y="87"/>
                </a:moveTo>
                <a:cubicBezTo>
                  <a:pt x="1415" y="86"/>
                  <a:pt x="1415" y="86"/>
                  <a:pt x="1414" y="86"/>
                </a:cubicBezTo>
                <a:cubicBezTo>
                  <a:pt x="1414" y="86"/>
                  <a:pt x="1414" y="86"/>
                  <a:pt x="1415" y="87"/>
                </a:cubicBezTo>
                <a:close/>
                <a:moveTo>
                  <a:pt x="1465" y="86"/>
                </a:moveTo>
                <a:cubicBezTo>
                  <a:pt x="1465" y="86"/>
                  <a:pt x="1465" y="86"/>
                  <a:pt x="1465" y="87"/>
                </a:cubicBezTo>
                <a:cubicBezTo>
                  <a:pt x="1465" y="86"/>
                  <a:pt x="1465" y="86"/>
                  <a:pt x="1465" y="86"/>
                </a:cubicBezTo>
                <a:close/>
                <a:moveTo>
                  <a:pt x="979" y="10"/>
                </a:moveTo>
                <a:cubicBezTo>
                  <a:pt x="979" y="10"/>
                  <a:pt x="980" y="9"/>
                  <a:pt x="980" y="9"/>
                </a:cubicBezTo>
                <a:cubicBezTo>
                  <a:pt x="980" y="9"/>
                  <a:pt x="979" y="9"/>
                  <a:pt x="979" y="10"/>
                </a:cubicBezTo>
                <a:close/>
                <a:moveTo>
                  <a:pt x="1020" y="9"/>
                </a:moveTo>
                <a:cubicBezTo>
                  <a:pt x="1020" y="10"/>
                  <a:pt x="1021" y="10"/>
                  <a:pt x="1021" y="10"/>
                </a:cubicBezTo>
                <a:cubicBezTo>
                  <a:pt x="1021" y="9"/>
                  <a:pt x="1021" y="9"/>
                  <a:pt x="1020" y="9"/>
                </a:cubicBezTo>
                <a:close/>
                <a:moveTo>
                  <a:pt x="1353" y="10"/>
                </a:moveTo>
                <a:cubicBezTo>
                  <a:pt x="1354" y="10"/>
                  <a:pt x="1354" y="10"/>
                  <a:pt x="1354" y="9"/>
                </a:cubicBezTo>
                <a:cubicBezTo>
                  <a:pt x="1354" y="9"/>
                  <a:pt x="1354" y="9"/>
                  <a:pt x="1353" y="10"/>
                </a:cubicBezTo>
                <a:close/>
                <a:moveTo>
                  <a:pt x="1385" y="9"/>
                </a:moveTo>
                <a:cubicBezTo>
                  <a:pt x="1386" y="10"/>
                  <a:pt x="1386" y="10"/>
                  <a:pt x="1386" y="10"/>
                </a:cubicBezTo>
                <a:cubicBezTo>
                  <a:pt x="1386" y="9"/>
                  <a:pt x="1386" y="9"/>
                  <a:pt x="1385" y="9"/>
                </a:cubicBezTo>
                <a:close/>
                <a:moveTo>
                  <a:pt x="1292" y="41"/>
                </a:moveTo>
                <a:cubicBezTo>
                  <a:pt x="1292" y="40"/>
                  <a:pt x="1292" y="40"/>
                  <a:pt x="1292" y="40"/>
                </a:cubicBezTo>
                <a:cubicBezTo>
                  <a:pt x="1292" y="40"/>
                  <a:pt x="1292" y="40"/>
                  <a:pt x="1292" y="41"/>
                </a:cubicBezTo>
                <a:close/>
                <a:moveTo>
                  <a:pt x="1033" y="87"/>
                </a:moveTo>
                <a:cubicBezTo>
                  <a:pt x="1033" y="87"/>
                  <a:pt x="1033" y="86"/>
                  <a:pt x="1032" y="86"/>
                </a:cubicBezTo>
                <a:cubicBezTo>
                  <a:pt x="1032" y="86"/>
                  <a:pt x="1032" y="87"/>
                  <a:pt x="1033" y="87"/>
                </a:cubicBezTo>
                <a:close/>
                <a:moveTo>
                  <a:pt x="1045" y="86"/>
                </a:moveTo>
                <a:cubicBezTo>
                  <a:pt x="1045" y="87"/>
                  <a:pt x="1045" y="87"/>
                  <a:pt x="1046" y="87"/>
                </a:cubicBezTo>
                <a:cubicBezTo>
                  <a:pt x="1046" y="87"/>
                  <a:pt x="1046" y="86"/>
                  <a:pt x="1045" y="86"/>
                </a:cubicBezTo>
                <a:close/>
                <a:moveTo>
                  <a:pt x="1737" y="42"/>
                </a:moveTo>
                <a:cubicBezTo>
                  <a:pt x="1737" y="42"/>
                  <a:pt x="1737" y="42"/>
                  <a:pt x="1737" y="42"/>
                </a:cubicBezTo>
                <a:cubicBezTo>
                  <a:pt x="1737" y="42"/>
                  <a:pt x="1737" y="42"/>
                  <a:pt x="1737" y="42"/>
                </a:cubicBezTo>
                <a:close/>
                <a:moveTo>
                  <a:pt x="1681" y="86"/>
                </a:moveTo>
                <a:cubicBezTo>
                  <a:pt x="1681" y="87"/>
                  <a:pt x="1681" y="87"/>
                  <a:pt x="1681" y="87"/>
                </a:cubicBezTo>
                <a:cubicBezTo>
                  <a:pt x="1681" y="87"/>
                  <a:pt x="1681" y="86"/>
                  <a:pt x="1681" y="86"/>
                </a:cubicBezTo>
                <a:close/>
                <a:moveTo>
                  <a:pt x="1455" y="9"/>
                </a:moveTo>
                <a:cubicBezTo>
                  <a:pt x="1455" y="10"/>
                  <a:pt x="1455" y="10"/>
                  <a:pt x="1456" y="10"/>
                </a:cubicBezTo>
                <a:cubicBezTo>
                  <a:pt x="1456" y="9"/>
                  <a:pt x="1455" y="9"/>
                  <a:pt x="1455" y="9"/>
                </a:cubicBezTo>
                <a:close/>
                <a:moveTo>
                  <a:pt x="1500" y="10"/>
                </a:moveTo>
                <a:cubicBezTo>
                  <a:pt x="1500" y="10"/>
                  <a:pt x="1500" y="10"/>
                  <a:pt x="1501" y="9"/>
                </a:cubicBezTo>
                <a:cubicBezTo>
                  <a:pt x="1500" y="9"/>
                  <a:pt x="1500" y="9"/>
                  <a:pt x="1500" y="10"/>
                </a:cubicBezTo>
                <a:close/>
                <a:moveTo>
                  <a:pt x="1538" y="10"/>
                </a:moveTo>
                <a:cubicBezTo>
                  <a:pt x="1538" y="10"/>
                  <a:pt x="1538" y="10"/>
                  <a:pt x="1538" y="9"/>
                </a:cubicBezTo>
                <a:cubicBezTo>
                  <a:pt x="1538" y="9"/>
                  <a:pt x="1538" y="9"/>
                  <a:pt x="1538" y="10"/>
                </a:cubicBezTo>
                <a:close/>
                <a:moveTo>
                  <a:pt x="646" y="59"/>
                </a:moveTo>
                <a:cubicBezTo>
                  <a:pt x="646" y="59"/>
                  <a:pt x="646" y="59"/>
                  <a:pt x="646" y="60"/>
                </a:cubicBezTo>
                <a:cubicBezTo>
                  <a:pt x="646" y="60"/>
                  <a:pt x="646" y="59"/>
                  <a:pt x="646" y="59"/>
                </a:cubicBezTo>
                <a:close/>
                <a:moveTo>
                  <a:pt x="1290" y="54"/>
                </a:moveTo>
                <a:cubicBezTo>
                  <a:pt x="1290" y="54"/>
                  <a:pt x="1290" y="54"/>
                  <a:pt x="1290" y="55"/>
                </a:cubicBezTo>
                <a:cubicBezTo>
                  <a:pt x="1290" y="54"/>
                  <a:pt x="1290" y="54"/>
                  <a:pt x="1290" y="54"/>
                </a:cubicBezTo>
                <a:close/>
                <a:moveTo>
                  <a:pt x="1669" y="9"/>
                </a:moveTo>
                <a:cubicBezTo>
                  <a:pt x="1669" y="10"/>
                  <a:pt x="1669" y="10"/>
                  <a:pt x="1669" y="10"/>
                </a:cubicBezTo>
                <a:cubicBezTo>
                  <a:pt x="1669" y="9"/>
                  <a:pt x="1669" y="9"/>
                  <a:pt x="1669" y="9"/>
                </a:cubicBezTo>
                <a:close/>
                <a:moveTo>
                  <a:pt x="660" y="60"/>
                </a:moveTo>
                <a:cubicBezTo>
                  <a:pt x="660" y="59"/>
                  <a:pt x="660" y="59"/>
                  <a:pt x="659" y="59"/>
                </a:cubicBezTo>
                <a:cubicBezTo>
                  <a:pt x="659" y="59"/>
                  <a:pt x="659" y="60"/>
                  <a:pt x="660" y="60"/>
                </a:cubicBezTo>
                <a:close/>
                <a:moveTo>
                  <a:pt x="1211" y="87"/>
                </a:moveTo>
                <a:cubicBezTo>
                  <a:pt x="1211" y="87"/>
                  <a:pt x="1211" y="87"/>
                  <a:pt x="1210" y="86"/>
                </a:cubicBezTo>
                <a:cubicBezTo>
                  <a:pt x="1210" y="87"/>
                  <a:pt x="1210" y="87"/>
                  <a:pt x="1211" y="87"/>
                </a:cubicBezTo>
                <a:close/>
                <a:moveTo>
                  <a:pt x="1369" y="59"/>
                </a:moveTo>
                <a:cubicBezTo>
                  <a:pt x="1369" y="59"/>
                  <a:pt x="1369" y="59"/>
                  <a:pt x="1369" y="59"/>
                </a:cubicBezTo>
                <a:cubicBezTo>
                  <a:pt x="1369" y="59"/>
                  <a:pt x="1369" y="59"/>
                  <a:pt x="1369" y="59"/>
                </a:cubicBezTo>
                <a:close/>
                <a:moveTo>
                  <a:pt x="1415" y="87"/>
                </a:moveTo>
                <a:cubicBezTo>
                  <a:pt x="1415" y="87"/>
                  <a:pt x="1415" y="87"/>
                  <a:pt x="1415" y="86"/>
                </a:cubicBezTo>
                <a:cubicBezTo>
                  <a:pt x="1415" y="87"/>
                  <a:pt x="1415" y="87"/>
                  <a:pt x="1415" y="87"/>
                </a:cubicBezTo>
                <a:close/>
                <a:moveTo>
                  <a:pt x="1465" y="87"/>
                </a:moveTo>
                <a:cubicBezTo>
                  <a:pt x="1464" y="87"/>
                  <a:pt x="1464" y="87"/>
                  <a:pt x="1464" y="87"/>
                </a:cubicBezTo>
                <a:cubicBezTo>
                  <a:pt x="1465" y="87"/>
                  <a:pt x="1465" y="87"/>
                  <a:pt x="1465" y="87"/>
                </a:cubicBezTo>
                <a:close/>
                <a:moveTo>
                  <a:pt x="1668" y="87"/>
                </a:moveTo>
                <a:cubicBezTo>
                  <a:pt x="1668" y="87"/>
                  <a:pt x="1668" y="87"/>
                  <a:pt x="1668" y="86"/>
                </a:cubicBezTo>
                <a:cubicBezTo>
                  <a:pt x="1668" y="87"/>
                  <a:pt x="1668" y="87"/>
                  <a:pt x="1668" y="87"/>
                </a:cubicBezTo>
                <a:close/>
                <a:moveTo>
                  <a:pt x="588" y="87"/>
                </a:moveTo>
                <a:cubicBezTo>
                  <a:pt x="588" y="87"/>
                  <a:pt x="588" y="87"/>
                  <a:pt x="588" y="88"/>
                </a:cubicBezTo>
                <a:cubicBezTo>
                  <a:pt x="588" y="87"/>
                  <a:pt x="588" y="87"/>
                  <a:pt x="588" y="87"/>
                </a:cubicBezTo>
                <a:close/>
                <a:moveTo>
                  <a:pt x="613" y="88"/>
                </a:moveTo>
                <a:cubicBezTo>
                  <a:pt x="613" y="87"/>
                  <a:pt x="613" y="87"/>
                  <a:pt x="613" y="87"/>
                </a:cubicBezTo>
                <a:cubicBezTo>
                  <a:pt x="613" y="87"/>
                  <a:pt x="613" y="87"/>
                  <a:pt x="613" y="88"/>
                </a:cubicBezTo>
                <a:close/>
                <a:moveTo>
                  <a:pt x="960" y="88"/>
                </a:moveTo>
                <a:cubicBezTo>
                  <a:pt x="960" y="87"/>
                  <a:pt x="960" y="87"/>
                  <a:pt x="960" y="87"/>
                </a:cubicBezTo>
                <a:cubicBezTo>
                  <a:pt x="960" y="87"/>
                  <a:pt x="960" y="87"/>
                  <a:pt x="960" y="88"/>
                </a:cubicBezTo>
                <a:close/>
                <a:moveTo>
                  <a:pt x="976" y="87"/>
                </a:moveTo>
                <a:cubicBezTo>
                  <a:pt x="977" y="87"/>
                  <a:pt x="977" y="87"/>
                  <a:pt x="977" y="87"/>
                </a:cubicBezTo>
                <a:cubicBezTo>
                  <a:pt x="977" y="87"/>
                  <a:pt x="977" y="87"/>
                  <a:pt x="976" y="87"/>
                </a:cubicBezTo>
                <a:close/>
                <a:moveTo>
                  <a:pt x="1020" y="87"/>
                </a:moveTo>
                <a:cubicBezTo>
                  <a:pt x="1020" y="87"/>
                  <a:pt x="1020" y="87"/>
                  <a:pt x="1021" y="87"/>
                </a:cubicBezTo>
                <a:cubicBezTo>
                  <a:pt x="1020" y="87"/>
                  <a:pt x="1020" y="87"/>
                  <a:pt x="1020" y="87"/>
                </a:cubicBezTo>
                <a:close/>
                <a:moveTo>
                  <a:pt x="1706" y="10"/>
                </a:moveTo>
                <a:cubicBezTo>
                  <a:pt x="1706" y="10"/>
                  <a:pt x="1706" y="10"/>
                  <a:pt x="1706" y="9"/>
                </a:cubicBezTo>
                <a:cubicBezTo>
                  <a:pt x="1706" y="9"/>
                  <a:pt x="1706" y="9"/>
                  <a:pt x="1706" y="10"/>
                </a:cubicBezTo>
                <a:close/>
                <a:moveTo>
                  <a:pt x="1082" y="87"/>
                </a:moveTo>
                <a:cubicBezTo>
                  <a:pt x="1082" y="87"/>
                  <a:pt x="1082" y="87"/>
                  <a:pt x="1083" y="87"/>
                </a:cubicBezTo>
                <a:cubicBezTo>
                  <a:pt x="1082" y="87"/>
                  <a:pt x="1082" y="87"/>
                  <a:pt x="1082" y="87"/>
                </a:cubicBezTo>
                <a:close/>
                <a:moveTo>
                  <a:pt x="1212" y="49"/>
                </a:moveTo>
                <a:cubicBezTo>
                  <a:pt x="1212" y="48"/>
                  <a:pt x="1212" y="48"/>
                  <a:pt x="1212" y="48"/>
                </a:cubicBezTo>
                <a:cubicBezTo>
                  <a:pt x="1212" y="48"/>
                  <a:pt x="1212" y="48"/>
                  <a:pt x="1212" y="49"/>
                </a:cubicBezTo>
                <a:close/>
                <a:moveTo>
                  <a:pt x="749" y="55"/>
                </a:moveTo>
                <a:cubicBezTo>
                  <a:pt x="749" y="54"/>
                  <a:pt x="749" y="54"/>
                  <a:pt x="749" y="54"/>
                </a:cubicBezTo>
                <a:cubicBezTo>
                  <a:pt x="749" y="54"/>
                  <a:pt x="749" y="54"/>
                  <a:pt x="749" y="55"/>
                </a:cubicBezTo>
                <a:close/>
                <a:moveTo>
                  <a:pt x="1681" y="87"/>
                </a:moveTo>
                <a:cubicBezTo>
                  <a:pt x="1681" y="87"/>
                  <a:pt x="1681" y="88"/>
                  <a:pt x="1682" y="88"/>
                </a:cubicBezTo>
                <a:cubicBezTo>
                  <a:pt x="1682" y="87"/>
                  <a:pt x="1682" y="87"/>
                  <a:pt x="1681" y="87"/>
                </a:cubicBezTo>
                <a:close/>
                <a:moveTo>
                  <a:pt x="635" y="87"/>
                </a:moveTo>
                <a:cubicBezTo>
                  <a:pt x="635" y="87"/>
                  <a:pt x="635" y="88"/>
                  <a:pt x="635" y="88"/>
                </a:cubicBezTo>
                <a:cubicBezTo>
                  <a:pt x="635" y="88"/>
                  <a:pt x="635" y="87"/>
                  <a:pt x="635" y="87"/>
                </a:cubicBezTo>
                <a:close/>
                <a:moveTo>
                  <a:pt x="857" y="49"/>
                </a:moveTo>
                <a:cubicBezTo>
                  <a:pt x="857" y="49"/>
                  <a:pt x="857" y="49"/>
                  <a:pt x="857" y="49"/>
                </a:cubicBezTo>
                <a:cubicBezTo>
                  <a:pt x="857" y="49"/>
                  <a:pt x="857" y="49"/>
                  <a:pt x="857" y="49"/>
                </a:cubicBezTo>
                <a:close/>
                <a:moveTo>
                  <a:pt x="688" y="88"/>
                </a:moveTo>
                <a:cubicBezTo>
                  <a:pt x="688" y="88"/>
                  <a:pt x="688" y="88"/>
                  <a:pt x="688" y="87"/>
                </a:cubicBezTo>
                <a:cubicBezTo>
                  <a:pt x="688" y="87"/>
                  <a:pt x="688" y="88"/>
                  <a:pt x="688" y="88"/>
                </a:cubicBezTo>
                <a:close/>
                <a:moveTo>
                  <a:pt x="1141" y="49"/>
                </a:moveTo>
                <a:cubicBezTo>
                  <a:pt x="1141" y="48"/>
                  <a:pt x="1141" y="48"/>
                  <a:pt x="1141" y="48"/>
                </a:cubicBezTo>
                <a:cubicBezTo>
                  <a:pt x="1141" y="48"/>
                  <a:pt x="1141" y="48"/>
                  <a:pt x="1141" y="49"/>
                </a:cubicBezTo>
                <a:close/>
                <a:moveTo>
                  <a:pt x="799" y="88"/>
                </a:moveTo>
                <a:cubicBezTo>
                  <a:pt x="800" y="88"/>
                  <a:pt x="800" y="88"/>
                  <a:pt x="800" y="87"/>
                </a:cubicBezTo>
                <a:cubicBezTo>
                  <a:pt x="800" y="87"/>
                  <a:pt x="799" y="87"/>
                  <a:pt x="799" y="88"/>
                </a:cubicBezTo>
                <a:close/>
                <a:moveTo>
                  <a:pt x="1019" y="88"/>
                </a:moveTo>
                <a:cubicBezTo>
                  <a:pt x="1020" y="88"/>
                  <a:pt x="1020" y="88"/>
                  <a:pt x="1020" y="87"/>
                </a:cubicBezTo>
                <a:cubicBezTo>
                  <a:pt x="1020" y="87"/>
                  <a:pt x="1019" y="87"/>
                  <a:pt x="1019" y="88"/>
                </a:cubicBezTo>
                <a:close/>
                <a:moveTo>
                  <a:pt x="1186" y="87"/>
                </a:moveTo>
                <a:cubicBezTo>
                  <a:pt x="1186" y="88"/>
                  <a:pt x="1186" y="88"/>
                  <a:pt x="1186" y="88"/>
                </a:cubicBezTo>
                <a:cubicBezTo>
                  <a:pt x="1186" y="88"/>
                  <a:pt x="1186" y="87"/>
                  <a:pt x="1186" y="87"/>
                </a:cubicBezTo>
                <a:close/>
                <a:moveTo>
                  <a:pt x="1211" y="88"/>
                </a:moveTo>
                <a:cubicBezTo>
                  <a:pt x="1211" y="88"/>
                  <a:pt x="1211" y="87"/>
                  <a:pt x="1211" y="87"/>
                </a:cubicBezTo>
                <a:cubicBezTo>
                  <a:pt x="1211" y="87"/>
                  <a:pt x="1211" y="88"/>
                  <a:pt x="1211" y="88"/>
                </a:cubicBezTo>
                <a:close/>
                <a:moveTo>
                  <a:pt x="1664" y="59"/>
                </a:moveTo>
                <a:cubicBezTo>
                  <a:pt x="1664" y="59"/>
                  <a:pt x="1665" y="59"/>
                  <a:pt x="1665" y="59"/>
                </a:cubicBezTo>
                <a:cubicBezTo>
                  <a:pt x="1665" y="59"/>
                  <a:pt x="1664" y="59"/>
                  <a:pt x="1664" y="59"/>
                </a:cubicBezTo>
                <a:close/>
                <a:moveTo>
                  <a:pt x="1415" y="88"/>
                </a:moveTo>
                <a:cubicBezTo>
                  <a:pt x="1415" y="88"/>
                  <a:pt x="1415" y="87"/>
                  <a:pt x="1415" y="87"/>
                </a:cubicBezTo>
                <a:cubicBezTo>
                  <a:pt x="1415" y="88"/>
                  <a:pt x="1415" y="88"/>
                  <a:pt x="1415" y="88"/>
                </a:cubicBezTo>
                <a:close/>
                <a:moveTo>
                  <a:pt x="1464" y="87"/>
                </a:moveTo>
                <a:cubicBezTo>
                  <a:pt x="1464" y="87"/>
                  <a:pt x="1464" y="88"/>
                  <a:pt x="1464" y="88"/>
                </a:cubicBezTo>
                <a:cubicBezTo>
                  <a:pt x="1464" y="88"/>
                  <a:pt x="1464" y="88"/>
                  <a:pt x="1464" y="87"/>
                </a:cubicBezTo>
                <a:close/>
                <a:moveTo>
                  <a:pt x="607" y="42"/>
                </a:moveTo>
                <a:cubicBezTo>
                  <a:pt x="607" y="42"/>
                  <a:pt x="607" y="43"/>
                  <a:pt x="607" y="43"/>
                </a:cubicBezTo>
                <a:cubicBezTo>
                  <a:pt x="607" y="42"/>
                  <a:pt x="607" y="42"/>
                  <a:pt x="607" y="42"/>
                </a:cubicBezTo>
                <a:close/>
                <a:moveTo>
                  <a:pt x="1669" y="88"/>
                </a:moveTo>
                <a:cubicBezTo>
                  <a:pt x="1669" y="88"/>
                  <a:pt x="1669" y="87"/>
                  <a:pt x="1668" y="87"/>
                </a:cubicBezTo>
                <a:cubicBezTo>
                  <a:pt x="1668" y="87"/>
                  <a:pt x="1668" y="88"/>
                  <a:pt x="1669" y="88"/>
                </a:cubicBezTo>
                <a:close/>
                <a:moveTo>
                  <a:pt x="978" y="10"/>
                </a:moveTo>
                <a:cubicBezTo>
                  <a:pt x="978" y="10"/>
                  <a:pt x="979" y="10"/>
                  <a:pt x="979" y="10"/>
                </a:cubicBezTo>
                <a:cubicBezTo>
                  <a:pt x="979" y="10"/>
                  <a:pt x="978" y="10"/>
                  <a:pt x="978" y="10"/>
                </a:cubicBezTo>
                <a:close/>
                <a:moveTo>
                  <a:pt x="1353" y="10"/>
                </a:moveTo>
                <a:cubicBezTo>
                  <a:pt x="1353" y="10"/>
                  <a:pt x="1353" y="10"/>
                  <a:pt x="1353" y="10"/>
                </a:cubicBezTo>
                <a:cubicBezTo>
                  <a:pt x="1353" y="10"/>
                  <a:pt x="1353" y="10"/>
                  <a:pt x="1353" y="10"/>
                </a:cubicBezTo>
                <a:close/>
                <a:moveTo>
                  <a:pt x="1386" y="10"/>
                </a:moveTo>
                <a:cubicBezTo>
                  <a:pt x="1386" y="10"/>
                  <a:pt x="1386" y="10"/>
                  <a:pt x="1387" y="10"/>
                </a:cubicBezTo>
                <a:cubicBezTo>
                  <a:pt x="1387" y="10"/>
                  <a:pt x="1386" y="10"/>
                  <a:pt x="1386" y="10"/>
                </a:cubicBezTo>
                <a:close/>
                <a:moveTo>
                  <a:pt x="1426" y="10"/>
                </a:moveTo>
                <a:cubicBezTo>
                  <a:pt x="1426" y="10"/>
                  <a:pt x="1426" y="10"/>
                  <a:pt x="1426" y="10"/>
                </a:cubicBezTo>
                <a:cubicBezTo>
                  <a:pt x="1426" y="10"/>
                  <a:pt x="1426" y="10"/>
                  <a:pt x="1426" y="10"/>
                </a:cubicBezTo>
                <a:close/>
                <a:moveTo>
                  <a:pt x="625" y="88"/>
                </a:moveTo>
                <a:cubicBezTo>
                  <a:pt x="625" y="88"/>
                  <a:pt x="625" y="88"/>
                  <a:pt x="625" y="88"/>
                </a:cubicBezTo>
                <a:cubicBezTo>
                  <a:pt x="624" y="88"/>
                  <a:pt x="624" y="88"/>
                  <a:pt x="625" y="88"/>
                </a:cubicBezTo>
                <a:close/>
                <a:moveTo>
                  <a:pt x="661" y="43"/>
                </a:moveTo>
                <a:cubicBezTo>
                  <a:pt x="661" y="43"/>
                  <a:pt x="661" y="42"/>
                  <a:pt x="661" y="42"/>
                </a:cubicBezTo>
                <a:cubicBezTo>
                  <a:pt x="661" y="42"/>
                  <a:pt x="661" y="42"/>
                  <a:pt x="661" y="43"/>
                </a:cubicBezTo>
                <a:close/>
                <a:moveTo>
                  <a:pt x="977" y="88"/>
                </a:moveTo>
                <a:cubicBezTo>
                  <a:pt x="978" y="88"/>
                  <a:pt x="978" y="88"/>
                  <a:pt x="978" y="88"/>
                </a:cubicBezTo>
                <a:cubicBezTo>
                  <a:pt x="978" y="88"/>
                  <a:pt x="978" y="88"/>
                  <a:pt x="977" y="88"/>
                </a:cubicBezTo>
                <a:close/>
                <a:moveTo>
                  <a:pt x="1019" y="88"/>
                </a:moveTo>
                <a:cubicBezTo>
                  <a:pt x="1019" y="88"/>
                  <a:pt x="1019" y="88"/>
                  <a:pt x="1019" y="88"/>
                </a:cubicBezTo>
                <a:cubicBezTo>
                  <a:pt x="1019" y="88"/>
                  <a:pt x="1019" y="88"/>
                  <a:pt x="1019" y="88"/>
                </a:cubicBezTo>
                <a:close/>
                <a:moveTo>
                  <a:pt x="1081" y="88"/>
                </a:moveTo>
                <a:cubicBezTo>
                  <a:pt x="1081" y="88"/>
                  <a:pt x="1081" y="88"/>
                  <a:pt x="1082" y="88"/>
                </a:cubicBezTo>
                <a:cubicBezTo>
                  <a:pt x="1081" y="88"/>
                  <a:pt x="1081" y="88"/>
                  <a:pt x="1081" y="88"/>
                </a:cubicBezTo>
                <a:close/>
                <a:moveTo>
                  <a:pt x="1259" y="88"/>
                </a:moveTo>
                <a:cubicBezTo>
                  <a:pt x="1259" y="88"/>
                  <a:pt x="1259" y="88"/>
                  <a:pt x="1259" y="88"/>
                </a:cubicBezTo>
                <a:cubicBezTo>
                  <a:pt x="1259" y="88"/>
                  <a:pt x="1259" y="88"/>
                  <a:pt x="1259" y="88"/>
                </a:cubicBezTo>
                <a:close/>
                <a:moveTo>
                  <a:pt x="649" y="52"/>
                </a:moveTo>
                <a:cubicBezTo>
                  <a:pt x="649" y="52"/>
                  <a:pt x="648" y="52"/>
                  <a:pt x="648" y="53"/>
                </a:cubicBezTo>
                <a:cubicBezTo>
                  <a:pt x="649" y="53"/>
                  <a:pt x="649" y="52"/>
                  <a:pt x="649" y="52"/>
                </a:cubicBezTo>
                <a:close/>
                <a:moveTo>
                  <a:pt x="1570" y="10"/>
                </a:moveTo>
                <a:cubicBezTo>
                  <a:pt x="1570" y="10"/>
                  <a:pt x="1571" y="10"/>
                  <a:pt x="1571" y="10"/>
                </a:cubicBezTo>
                <a:cubicBezTo>
                  <a:pt x="1571" y="10"/>
                  <a:pt x="1571" y="10"/>
                  <a:pt x="1570" y="10"/>
                </a:cubicBezTo>
                <a:close/>
                <a:moveTo>
                  <a:pt x="1034" y="49"/>
                </a:moveTo>
                <a:cubicBezTo>
                  <a:pt x="1034" y="48"/>
                  <a:pt x="1034" y="48"/>
                  <a:pt x="1034" y="48"/>
                </a:cubicBezTo>
                <a:cubicBezTo>
                  <a:pt x="1034" y="48"/>
                  <a:pt x="1034" y="48"/>
                  <a:pt x="1034" y="49"/>
                </a:cubicBezTo>
                <a:close/>
                <a:moveTo>
                  <a:pt x="798" y="88"/>
                </a:moveTo>
                <a:cubicBezTo>
                  <a:pt x="798" y="88"/>
                  <a:pt x="799" y="88"/>
                  <a:pt x="799" y="88"/>
                </a:cubicBezTo>
                <a:cubicBezTo>
                  <a:pt x="799" y="88"/>
                  <a:pt x="798" y="88"/>
                  <a:pt x="798" y="88"/>
                </a:cubicBezTo>
                <a:close/>
                <a:moveTo>
                  <a:pt x="1211" y="89"/>
                </a:moveTo>
                <a:cubicBezTo>
                  <a:pt x="1211" y="88"/>
                  <a:pt x="1211" y="88"/>
                  <a:pt x="1211" y="88"/>
                </a:cubicBezTo>
                <a:cubicBezTo>
                  <a:pt x="1211" y="88"/>
                  <a:pt x="1211" y="88"/>
                  <a:pt x="1211" y="89"/>
                </a:cubicBezTo>
                <a:close/>
                <a:moveTo>
                  <a:pt x="1416" y="89"/>
                </a:moveTo>
                <a:cubicBezTo>
                  <a:pt x="1416" y="88"/>
                  <a:pt x="1416" y="88"/>
                  <a:pt x="1415" y="88"/>
                </a:cubicBezTo>
                <a:cubicBezTo>
                  <a:pt x="1415" y="88"/>
                  <a:pt x="1415" y="88"/>
                  <a:pt x="1416" y="89"/>
                </a:cubicBezTo>
                <a:close/>
                <a:moveTo>
                  <a:pt x="1464" y="88"/>
                </a:moveTo>
                <a:cubicBezTo>
                  <a:pt x="1464" y="88"/>
                  <a:pt x="1464" y="88"/>
                  <a:pt x="1464" y="89"/>
                </a:cubicBezTo>
                <a:cubicBezTo>
                  <a:pt x="1464" y="88"/>
                  <a:pt x="1464" y="88"/>
                  <a:pt x="1464" y="88"/>
                </a:cubicBezTo>
                <a:close/>
                <a:moveTo>
                  <a:pt x="599" y="53"/>
                </a:moveTo>
                <a:cubicBezTo>
                  <a:pt x="599" y="52"/>
                  <a:pt x="599" y="52"/>
                  <a:pt x="599" y="52"/>
                </a:cubicBezTo>
                <a:cubicBezTo>
                  <a:pt x="599" y="52"/>
                  <a:pt x="599" y="53"/>
                  <a:pt x="599" y="53"/>
                </a:cubicBezTo>
                <a:close/>
                <a:moveTo>
                  <a:pt x="1669" y="89"/>
                </a:moveTo>
                <a:cubicBezTo>
                  <a:pt x="1669" y="88"/>
                  <a:pt x="1669" y="88"/>
                  <a:pt x="1669" y="88"/>
                </a:cubicBezTo>
                <a:cubicBezTo>
                  <a:pt x="1669" y="88"/>
                  <a:pt x="1669" y="88"/>
                  <a:pt x="1669" y="89"/>
                </a:cubicBezTo>
                <a:close/>
                <a:moveTo>
                  <a:pt x="648" y="54"/>
                </a:moveTo>
                <a:cubicBezTo>
                  <a:pt x="648" y="54"/>
                  <a:pt x="648" y="54"/>
                  <a:pt x="648" y="55"/>
                </a:cubicBezTo>
                <a:cubicBezTo>
                  <a:pt x="648" y="54"/>
                  <a:pt x="648" y="54"/>
                  <a:pt x="648" y="54"/>
                </a:cubicBezTo>
                <a:close/>
                <a:moveTo>
                  <a:pt x="634" y="88"/>
                </a:moveTo>
                <a:cubicBezTo>
                  <a:pt x="634" y="88"/>
                  <a:pt x="634" y="89"/>
                  <a:pt x="634" y="89"/>
                </a:cubicBezTo>
                <a:cubicBezTo>
                  <a:pt x="635" y="89"/>
                  <a:pt x="635" y="88"/>
                  <a:pt x="634" y="88"/>
                </a:cubicBezTo>
                <a:close/>
                <a:moveTo>
                  <a:pt x="612" y="56"/>
                </a:moveTo>
                <a:cubicBezTo>
                  <a:pt x="612" y="56"/>
                  <a:pt x="612" y="57"/>
                  <a:pt x="612" y="57"/>
                </a:cubicBezTo>
                <a:cubicBezTo>
                  <a:pt x="612" y="56"/>
                  <a:pt x="612" y="56"/>
                  <a:pt x="612" y="56"/>
                </a:cubicBezTo>
                <a:close/>
                <a:moveTo>
                  <a:pt x="687" y="89"/>
                </a:moveTo>
                <a:cubicBezTo>
                  <a:pt x="688" y="89"/>
                  <a:pt x="688" y="89"/>
                  <a:pt x="688" y="88"/>
                </a:cubicBezTo>
                <a:cubicBezTo>
                  <a:pt x="688" y="88"/>
                  <a:pt x="687" y="89"/>
                  <a:pt x="687" y="89"/>
                </a:cubicBezTo>
                <a:close/>
                <a:moveTo>
                  <a:pt x="1669" y="10"/>
                </a:moveTo>
                <a:cubicBezTo>
                  <a:pt x="1670" y="10"/>
                  <a:pt x="1670" y="10"/>
                  <a:pt x="1670" y="10"/>
                </a:cubicBezTo>
                <a:cubicBezTo>
                  <a:pt x="1670" y="10"/>
                  <a:pt x="1670" y="10"/>
                  <a:pt x="1669" y="10"/>
                </a:cubicBezTo>
                <a:close/>
                <a:moveTo>
                  <a:pt x="1080" y="89"/>
                </a:moveTo>
                <a:cubicBezTo>
                  <a:pt x="1080" y="89"/>
                  <a:pt x="1080" y="89"/>
                  <a:pt x="1080" y="88"/>
                </a:cubicBezTo>
                <a:cubicBezTo>
                  <a:pt x="1080" y="88"/>
                  <a:pt x="1080" y="88"/>
                  <a:pt x="1080" y="89"/>
                </a:cubicBezTo>
                <a:close/>
                <a:moveTo>
                  <a:pt x="1186" y="88"/>
                </a:moveTo>
                <a:cubicBezTo>
                  <a:pt x="1186" y="89"/>
                  <a:pt x="1186" y="89"/>
                  <a:pt x="1187" y="89"/>
                </a:cubicBezTo>
                <a:cubicBezTo>
                  <a:pt x="1187" y="89"/>
                  <a:pt x="1187" y="88"/>
                  <a:pt x="1186" y="88"/>
                </a:cubicBezTo>
                <a:close/>
                <a:moveTo>
                  <a:pt x="1258" y="89"/>
                </a:moveTo>
                <a:cubicBezTo>
                  <a:pt x="1258" y="89"/>
                  <a:pt x="1258" y="89"/>
                  <a:pt x="1258" y="88"/>
                </a:cubicBezTo>
                <a:cubicBezTo>
                  <a:pt x="1258" y="88"/>
                  <a:pt x="1258" y="88"/>
                  <a:pt x="1258" y="89"/>
                </a:cubicBezTo>
                <a:close/>
                <a:moveTo>
                  <a:pt x="602" y="60"/>
                </a:moveTo>
                <a:cubicBezTo>
                  <a:pt x="602" y="60"/>
                  <a:pt x="602" y="59"/>
                  <a:pt x="602" y="59"/>
                </a:cubicBezTo>
                <a:cubicBezTo>
                  <a:pt x="602" y="60"/>
                  <a:pt x="602" y="60"/>
                  <a:pt x="602" y="60"/>
                </a:cubicBezTo>
                <a:close/>
                <a:moveTo>
                  <a:pt x="587" y="89"/>
                </a:moveTo>
                <a:cubicBezTo>
                  <a:pt x="587" y="89"/>
                  <a:pt x="587" y="89"/>
                  <a:pt x="587" y="89"/>
                </a:cubicBezTo>
                <a:cubicBezTo>
                  <a:pt x="587" y="89"/>
                  <a:pt x="587" y="89"/>
                  <a:pt x="587" y="89"/>
                </a:cubicBezTo>
                <a:close/>
                <a:moveTo>
                  <a:pt x="614" y="89"/>
                </a:moveTo>
                <a:cubicBezTo>
                  <a:pt x="614" y="89"/>
                  <a:pt x="614" y="89"/>
                  <a:pt x="613" y="89"/>
                </a:cubicBezTo>
                <a:cubicBezTo>
                  <a:pt x="613" y="89"/>
                  <a:pt x="613" y="89"/>
                  <a:pt x="614" y="89"/>
                </a:cubicBezTo>
                <a:close/>
                <a:moveTo>
                  <a:pt x="674" y="59"/>
                </a:moveTo>
                <a:cubicBezTo>
                  <a:pt x="674" y="60"/>
                  <a:pt x="674" y="60"/>
                  <a:pt x="675" y="60"/>
                </a:cubicBezTo>
                <a:cubicBezTo>
                  <a:pt x="674" y="59"/>
                  <a:pt x="674" y="59"/>
                  <a:pt x="674" y="59"/>
                </a:cubicBezTo>
                <a:close/>
                <a:moveTo>
                  <a:pt x="624" y="89"/>
                </a:moveTo>
                <a:cubicBezTo>
                  <a:pt x="624" y="89"/>
                  <a:pt x="624" y="89"/>
                  <a:pt x="624" y="89"/>
                </a:cubicBezTo>
                <a:cubicBezTo>
                  <a:pt x="624" y="89"/>
                  <a:pt x="624" y="89"/>
                  <a:pt x="624" y="89"/>
                </a:cubicBezTo>
                <a:close/>
                <a:moveTo>
                  <a:pt x="726" y="89"/>
                </a:moveTo>
                <a:cubicBezTo>
                  <a:pt x="726" y="89"/>
                  <a:pt x="726" y="89"/>
                  <a:pt x="727" y="89"/>
                </a:cubicBezTo>
                <a:cubicBezTo>
                  <a:pt x="727" y="89"/>
                  <a:pt x="727" y="89"/>
                  <a:pt x="726" y="89"/>
                </a:cubicBezTo>
                <a:close/>
                <a:moveTo>
                  <a:pt x="752" y="89"/>
                </a:moveTo>
                <a:cubicBezTo>
                  <a:pt x="752" y="89"/>
                  <a:pt x="752" y="89"/>
                  <a:pt x="751" y="89"/>
                </a:cubicBezTo>
                <a:cubicBezTo>
                  <a:pt x="752" y="89"/>
                  <a:pt x="752" y="89"/>
                  <a:pt x="752" y="89"/>
                </a:cubicBezTo>
                <a:close/>
                <a:moveTo>
                  <a:pt x="797" y="89"/>
                </a:moveTo>
                <a:cubicBezTo>
                  <a:pt x="797" y="89"/>
                  <a:pt x="798" y="89"/>
                  <a:pt x="798" y="89"/>
                </a:cubicBezTo>
                <a:cubicBezTo>
                  <a:pt x="798" y="89"/>
                  <a:pt x="797" y="89"/>
                  <a:pt x="797" y="89"/>
                </a:cubicBezTo>
                <a:close/>
                <a:moveTo>
                  <a:pt x="979" y="89"/>
                </a:moveTo>
                <a:cubicBezTo>
                  <a:pt x="979" y="89"/>
                  <a:pt x="980" y="89"/>
                  <a:pt x="980" y="89"/>
                </a:cubicBezTo>
                <a:cubicBezTo>
                  <a:pt x="980" y="89"/>
                  <a:pt x="979" y="89"/>
                  <a:pt x="979" y="89"/>
                </a:cubicBezTo>
                <a:close/>
                <a:moveTo>
                  <a:pt x="1016" y="89"/>
                </a:moveTo>
                <a:cubicBezTo>
                  <a:pt x="1017" y="89"/>
                  <a:pt x="1017" y="89"/>
                  <a:pt x="1017" y="89"/>
                </a:cubicBezTo>
                <a:cubicBezTo>
                  <a:pt x="1017" y="89"/>
                  <a:pt x="1017" y="89"/>
                  <a:pt x="1016" y="89"/>
                </a:cubicBezTo>
                <a:close/>
                <a:moveTo>
                  <a:pt x="1212" y="89"/>
                </a:moveTo>
                <a:cubicBezTo>
                  <a:pt x="1212" y="89"/>
                  <a:pt x="1212" y="89"/>
                  <a:pt x="1211" y="89"/>
                </a:cubicBezTo>
                <a:cubicBezTo>
                  <a:pt x="1211" y="89"/>
                  <a:pt x="1211" y="89"/>
                  <a:pt x="1212" y="89"/>
                </a:cubicBezTo>
                <a:close/>
                <a:moveTo>
                  <a:pt x="1416" y="89"/>
                </a:moveTo>
                <a:cubicBezTo>
                  <a:pt x="1416" y="89"/>
                  <a:pt x="1416" y="89"/>
                  <a:pt x="1416" y="89"/>
                </a:cubicBezTo>
                <a:cubicBezTo>
                  <a:pt x="1416" y="89"/>
                  <a:pt x="1416" y="89"/>
                  <a:pt x="1416" y="89"/>
                </a:cubicBezTo>
                <a:close/>
                <a:moveTo>
                  <a:pt x="1464" y="89"/>
                </a:moveTo>
                <a:cubicBezTo>
                  <a:pt x="1463" y="89"/>
                  <a:pt x="1463" y="89"/>
                  <a:pt x="1463" y="89"/>
                </a:cubicBezTo>
                <a:cubicBezTo>
                  <a:pt x="1464" y="89"/>
                  <a:pt x="1464" y="89"/>
                  <a:pt x="1464" y="89"/>
                </a:cubicBezTo>
                <a:close/>
                <a:moveTo>
                  <a:pt x="612" y="55"/>
                </a:moveTo>
                <a:cubicBezTo>
                  <a:pt x="612" y="55"/>
                  <a:pt x="612" y="55"/>
                  <a:pt x="612" y="56"/>
                </a:cubicBezTo>
                <a:cubicBezTo>
                  <a:pt x="612" y="55"/>
                  <a:pt x="612" y="55"/>
                  <a:pt x="612" y="55"/>
                </a:cubicBezTo>
                <a:close/>
                <a:moveTo>
                  <a:pt x="1682" y="89"/>
                </a:moveTo>
                <a:cubicBezTo>
                  <a:pt x="1682" y="89"/>
                  <a:pt x="1682" y="89"/>
                  <a:pt x="1682" y="89"/>
                </a:cubicBezTo>
                <a:cubicBezTo>
                  <a:pt x="1682" y="89"/>
                  <a:pt x="1682" y="89"/>
                  <a:pt x="1682" y="89"/>
                </a:cubicBezTo>
                <a:close/>
                <a:moveTo>
                  <a:pt x="857" y="49"/>
                </a:moveTo>
                <a:cubicBezTo>
                  <a:pt x="857" y="48"/>
                  <a:pt x="857" y="48"/>
                  <a:pt x="856" y="48"/>
                </a:cubicBezTo>
                <a:cubicBezTo>
                  <a:pt x="856" y="48"/>
                  <a:pt x="856" y="48"/>
                  <a:pt x="857" y="49"/>
                </a:cubicBezTo>
                <a:close/>
                <a:moveTo>
                  <a:pt x="634" y="89"/>
                </a:moveTo>
                <a:cubicBezTo>
                  <a:pt x="634" y="89"/>
                  <a:pt x="634" y="89"/>
                  <a:pt x="634" y="90"/>
                </a:cubicBezTo>
                <a:cubicBezTo>
                  <a:pt x="634" y="90"/>
                  <a:pt x="634" y="89"/>
                  <a:pt x="634" y="89"/>
                </a:cubicBezTo>
                <a:close/>
                <a:moveTo>
                  <a:pt x="980" y="89"/>
                </a:moveTo>
                <a:cubicBezTo>
                  <a:pt x="980" y="89"/>
                  <a:pt x="980" y="89"/>
                  <a:pt x="981" y="89"/>
                </a:cubicBezTo>
                <a:cubicBezTo>
                  <a:pt x="980" y="89"/>
                  <a:pt x="980" y="89"/>
                  <a:pt x="980" y="89"/>
                </a:cubicBezTo>
                <a:close/>
                <a:moveTo>
                  <a:pt x="1016" y="89"/>
                </a:moveTo>
                <a:cubicBezTo>
                  <a:pt x="1016" y="89"/>
                  <a:pt x="1016" y="89"/>
                  <a:pt x="1016" y="89"/>
                </a:cubicBezTo>
                <a:cubicBezTo>
                  <a:pt x="1016" y="89"/>
                  <a:pt x="1016" y="89"/>
                  <a:pt x="1016" y="89"/>
                </a:cubicBezTo>
                <a:close/>
                <a:moveTo>
                  <a:pt x="1034" y="90"/>
                </a:moveTo>
                <a:cubicBezTo>
                  <a:pt x="1034" y="89"/>
                  <a:pt x="1034" y="89"/>
                  <a:pt x="1034" y="89"/>
                </a:cubicBezTo>
                <a:cubicBezTo>
                  <a:pt x="1034" y="89"/>
                  <a:pt x="1034" y="90"/>
                  <a:pt x="1034" y="90"/>
                </a:cubicBezTo>
                <a:close/>
                <a:moveTo>
                  <a:pt x="1079" y="89"/>
                </a:moveTo>
                <a:cubicBezTo>
                  <a:pt x="1079" y="89"/>
                  <a:pt x="1079" y="89"/>
                  <a:pt x="1079" y="89"/>
                </a:cubicBezTo>
                <a:cubicBezTo>
                  <a:pt x="1079" y="89"/>
                  <a:pt x="1079" y="89"/>
                  <a:pt x="1079" y="89"/>
                </a:cubicBezTo>
                <a:close/>
                <a:moveTo>
                  <a:pt x="1187" y="89"/>
                </a:moveTo>
                <a:cubicBezTo>
                  <a:pt x="1187" y="89"/>
                  <a:pt x="1187" y="90"/>
                  <a:pt x="1187" y="90"/>
                </a:cubicBezTo>
                <a:cubicBezTo>
                  <a:pt x="1187" y="89"/>
                  <a:pt x="1187" y="89"/>
                  <a:pt x="1187" y="89"/>
                </a:cubicBezTo>
                <a:close/>
                <a:moveTo>
                  <a:pt x="1257" y="89"/>
                </a:moveTo>
                <a:cubicBezTo>
                  <a:pt x="1257" y="89"/>
                  <a:pt x="1257" y="89"/>
                  <a:pt x="1257" y="89"/>
                </a:cubicBezTo>
                <a:cubicBezTo>
                  <a:pt x="1257" y="89"/>
                  <a:pt x="1257" y="89"/>
                  <a:pt x="1257" y="89"/>
                </a:cubicBezTo>
                <a:close/>
                <a:moveTo>
                  <a:pt x="1669" y="90"/>
                </a:moveTo>
                <a:cubicBezTo>
                  <a:pt x="1669" y="89"/>
                  <a:pt x="1669" y="89"/>
                  <a:pt x="1669" y="89"/>
                </a:cubicBezTo>
                <a:cubicBezTo>
                  <a:pt x="1669" y="89"/>
                  <a:pt x="1669" y="89"/>
                  <a:pt x="1669" y="90"/>
                </a:cubicBezTo>
                <a:close/>
                <a:moveTo>
                  <a:pt x="587" y="89"/>
                </a:moveTo>
                <a:cubicBezTo>
                  <a:pt x="587" y="89"/>
                  <a:pt x="586" y="90"/>
                  <a:pt x="586" y="90"/>
                </a:cubicBezTo>
                <a:cubicBezTo>
                  <a:pt x="587" y="90"/>
                  <a:pt x="587" y="90"/>
                  <a:pt x="587" y="89"/>
                </a:cubicBezTo>
                <a:close/>
                <a:moveTo>
                  <a:pt x="1738" y="10"/>
                </a:moveTo>
                <a:cubicBezTo>
                  <a:pt x="1738" y="10"/>
                  <a:pt x="1739" y="10"/>
                  <a:pt x="1739" y="10"/>
                </a:cubicBezTo>
                <a:cubicBezTo>
                  <a:pt x="1739" y="10"/>
                  <a:pt x="1739" y="10"/>
                  <a:pt x="1738" y="10"/>
                </a:cubicBezTo>
                <a:close/>
                <a:moveTo>
                  <a:pt x="661" y="89"/>
                </a:moveTo>
                <a:cubicBezTo>
                  <a:pt x="661" y="90"/>
                  <a:pt x="661" y="90"/>
                  <a:pt x="662" y="90"/>
                </a:cubicBezTo>
                <a:cubicBezTo>
                  <a:pt x="662" y="89"/>
                  <a:pt x="661" y="89"/>
                  <a:pt x="661" y="89"/>
                </a:cubicBezTo>
                <a:close/>
                <a:moveTo>
                  <a:pt x="687" y="90"/>
                </a:moveTo>
                <a:cubicBezTo>
                  <a:pt x="687" y="90"/>
                  <a:pt x="687" y="90"/>
                  <a:pt x="687" y="89"/>
                </a:cubicBezTo>
                <a:cubicBezTo>
                  <a:pt x="687" y="89"/>
                  <a:pt x="687" y="90"/>
                  <a:pt x="687" y="90"/>
                </a:cubicBezTo>
                <a:close/>
                <a:moveTo>
                  <a:pt x="699" y="89"/>
                </a:moveTo>
                <a:cubicBezTo>
                  <a:pt x="699" y="89"/>
                  <a:pt x="699" y="90"/>
                  <a:pt x="699" y="90"/>
                </a:cubicBezTo>
                <a:cubicBezTo>
                  <a:pt x="699" y="90"/>
                  <a:pt x="699" y="90"/>
                  <a:pt x="699" y="89"/>
                </a:cubicBezTo>
                <a:close/>
                <a:moveTo>
                  <a:pt x="727" y="89"/>
                </a:moveTo>
                <a:cubicBezTo>
                  <a:pt x="727" y="90"/>
                  <a:pt x="727" y="90"/>
                  <a:pt x="727" y="90"/>
                </a:cubicBezTo>
                <a:cubicBezTo>
                  <a:pt x="727" y="90"/>
                  <a:pt x="727" y="89"/>
                  <a:pt x="727" y="89"/>
                </a:cubicBezTo>
                <a:close/>
                <a:moveTo>
                  <a:pt x="752" y="90"/>
                </a:moveTo>
                <a:cubicBezTo>
                  <a:pt x="752" y="90"/>
                  <a:pt x="752" y="89"/>
                  <a:pt x="752" y="89"/>
                </a:cubicBezTo>
                <a:cubicBezTo>
                  <a:pt x="752" y="90"/>
                  <a:pt x="752" y="90"/>
                  <a:pt x="752" y="90"/>
                </a:cubicBezTo>
                <a:close/>
                <a:moveTo>
                  <a:pt x="796" y="90"/>
                </a:moveTo>
                <a:cubicBezTo>
                  <a:pt x="796" y="90"/>
                  <a:pt x="797" y="90"/>
                  <a:pt x="797" y="89"/>
                </a:cubicBezTo>
                <a:cubicBezTo>
                  <a:pt x="796" y="89"/>
                  <a:pt x="796" y="89"/>
                  <a:pt x="796" y="90"/>
                </a:cubicBezTo>
                <a:close/>
                <a:moveTo>
                  <a:pt x="981" y="89"/>
                </a:moveTo>
                <a:cubicBezTo>
                  <a:pt x="981" y="90"/>
                  <a:pt x="981" y="90"/>
                  <a:pt x="981" y="90"/>
                </a:cubicBezTo>
                <a:cubicBezTo>
                  <a:pt x="981" y="89"/>
                  <a:pt x="981" y="89"/>
                  <a:pt x="981" y="89"/>
                </a:cubicBezTo>
                <a:close/>
                <a:moveTo>
                  <a:pt x="1015" y="90"/>
                </a:moveTo>
                <a:cubicBezTo>
                  <a:pt x="1015" y="90"/>
                  <a:pt x="1016" y="90"/>
                  <a:pt x="1016" y="89"/>
                </a:cubicBezTo>
                <a:cubicBezTo>
                  <a:pt x="1015" y="89"/>
                  <a:pt x="1015" y="89"/>
                  <a:pt x="1015" y="90"/>
                </a:cubicBezTo>
                <a:close/>
                <a:moveTo>
                  <a:pt x="1048" y="89"/>
                </a:moveTo>
                <a:cubicBezTo>
                  <a:pt x="1048" y="90"/>
                  <a:pt x="1048" y="90"/>
                  <a:pt x="1049" y="90"/>
                </a:cubicBezTo>
                <a:cubicBezTo>
                  <a:pt x="1049" y="89"/>
                  <a:pt x="1048" y="89"/>
                  <a:pt x="1048" y="89"/>
                </a:cubicBezTo>
                <a:close/>
                <a:moveTo>
                  <a:pt x="1078" y="90"/>
                </a:moveTo>
                <a:cubicBezTo>
                  <a:pt x="1078" y="90"/>
                  <a:pt x="1079" y="90"/>
                  <a:pt x="1079" y="89"/>
                </a:cubicBezTo>
                <a:cubicBezTo>
                  <a:pt x="1078" y="89"/>
                  <a:pt x="1078" y="89"/>
                  <a:pt x="1078" y="90"/>
                </a:cubicBezTo>
                <a:close/>
                <a:moveTo>
                  <a:pt x="1291" y="42"/>
                </a:moveTo>
                <a:cubicBezTo>
                  <a:pt x="1291" y="41"/>
                  <a:pt x="1291" y="41"/>
                  <a:pt x="1291" y="41"/>
                </a:cubicBezTo>
                <a:cubicBezTo>
                  <a:pt x="1291" y="41"/>
                  <a:pt x="1291" y="41"/>
                  <a:pt x="1291" y="42"/>
                </a:cubicBezTo>
                <a:close/>
                <a:moveTo>
                  <a:pt x="977" y="10"/>
                </a:moveTo>
                <a:cubicBezTo>
                  <a:pt x="978" y="10"/>
                  <a:pt x="978" y="10"/>
                  <a:pt x="978" y="10"/>
                </a:cubicBezTo>
                <a:cubicBezTo>
                  <a:pt x="978" y="10"/>
                  <a:pt x="978" y="10"/>
                  <a:pt x="977" y="10"/>
                </a:cubicBezTo>
                <a:close/>
                <a:moveTo>
                  <a:pt x="1256" y="90"/>
                </a:moveTo>
                <a:cubicBezTo>
                  <a:pt x="1256" y="90"/>
                  <a:pt x="1256" y="90"/>
                  <a:pt x="1257" y="89"/>
                </a:cubicBezTo>
                <a:cubicBezTo>
                  <a:pt x="1256" y="89"/>
                  <a:pt x="1256" y="89"/>
                  <a:pt x="1256" y="90"/>
                </a:cubicBezTo>
                <a:close/>
                <a:moveTo>
                  <a:pt x="1682" y="89"/>
                </a:moveTo>
                <a:cubicBezTo>
                  <a:pt x="1682" y="90"/>
                  <a:pt x="1682" y="90"/>
                  <a:pt x="1683" y="90"/>
                </a:cubicBezTo>
                <a:cubicBezTo>
                  <a:pt x="1683" y="90"/>
                  <a:pt x="1683" y="89"/>
                  <a:pt x="1682" y="89"/>
                </a:cubicBezTo>
                <a:close/>
                <a:moveTo>
                  <a:pt x="662" y="90"/>
                </a:moveTo>
                <a:cubicBezTo>
                  <a:pt x="662" y="90"/>
                  <a:pt x="662" y="90"/>
                  <a:pt x="662" y="90"/>
                </a:cubicBezTo>
                <a:cubicBezTo>
                  <a:pt x="662" y="90"/>
                  <a:pt x="662" y="90"/>
                  <a:pt x="662" y="90"/>
                </a:cubicBezTo>
                <a:close/>
                <a:moveTo>
                  <a:pt x="1553" y="60"/>
                </a:moveTo>
                <a:cubicBezTo>
                  <a:pt x="1553" y="60"/>
                  <a:pt x="1553" y="60"/>
                  <a:pt x="1553" y="59"/>
                </a:cubicBezTo>
                <a:cubicBezTo>
                  <a:pt x="1553" y="59"/>
                  <a:pt x="1553" y="59"/>
                  <a:pt x="1553" y="60"/>
                </a:cubicBezTo>
                <a:close/>
                <a:moveTo>
                  <a:pt x="795" y="90"/>
                </a:moveTo>
                <a:cubicBezTo>
                  <a:pt x="796" y="90"/>
                  <a:pt x="796" y="90"/>
                  <a:pt x="796" y="90"/>
                </a:cubicBezTo>
                <a:cubicBezTo>
                  <a:pt x="796" y="90"/>
                  <a:pt x="796" y="90"/>
                  <a:pt x="795" y="90"/>
                </a:cubicBezTo>
                <a:close/>
                <a:moveTo>
                  <a:pt x="981" y="90"/>
                </a:moveTo>
                <a:cubicBezTo>
                  <a:pt x="981" y="90"/>
                  <a:pt x="982" y="90"/>
                  <a:pt x="982" y="90"/>
                </a:cubicBezTo>
                <a:cubicBezTo>
                  <a:pt x="982" y="90"/>
                  <a:pt x="982" y="90"/>
                  <a:pt x="981" y="90"/>
                </a:cubicBezTo>
                <a:close/>
                <a:moveTo>
                  <a:pt x="1291" y="52"/>
                </a:moveTo>
                <a:cubicBezTo>
                  <a:pt x="1291" y="53"/>
                  <a:pt x="1291" y="53"/>
                  <a:pt x="1291" y="53"/>
                </a:cubicBezTo>
                <a:cubicBezTo>
                  <a:pt x="1291" y="53"/>
                  <a:pt x="1291" y="53"/>
                  <a:pt x="1291" y="52"/>
                </a:cubicBezTo>
                <a:close/>
                <a:moveTo>
                  <a:pt x="1035" y="90"/>
                </a:moveTo>
                <a:cubicBezTo>
                  <a:pt x="1035" y="90"/>
                  <a:pt x="1034" y="90"/>
                  <a:pt x="1034" y="90"/>
                </a:cubicBezTo>
                <a:cubicBezTo>
                  <a:pt x="1034" y="90"/>
                  <a:pt x="1034" y="90"/>
                  <a:pt x="1035" y="90"/>
                </a:cubicBezTo>
                <a:close/>
                <a:moveTo>
                  <a:pt x="1187" y="90"/>
                </a:moveTo>
                <a:cubicBezTo>
                  <a:pt x="1187" y="90"/>
                  <a:pt x="1187" y="90"/>
                  <a:pt x="1187" y="90"/>
                </a:cubicBezTo>
                <a:cubicBezTo>
                  <a:pt x="1187" y="90"/>
                  <a:pt x="1187" y="90"/>
                  <a:pt x="1187" y="90"/>
                </a:cubicBezTo>
                <a:close/>
                <a:moveTo>
                  <a:pt x="1212" y="90"/>
                </a:moveTo>
                <a:cubicBezTo>
                  <a:pt x="1212" y="90"/>
                  <a:pt x="1212" y="90"/>
                  <a:pt x="1212" y="90"/>
                </a:cubicBezTo>
                <a:cubicBezTo>
                  <a:pt x="1212" y="90"/>
                  <a:pt x="1212" y="90"/>
                  <a:pt x="1212" y="90"/>
                </a:cubicBezTo>
                <a:close/>
                <a:moveTo>
                  <a:pt x="1255" y="90"/>
                </a:moveTo>
                <a:cubicBezTo>
                  <a:pt x="1256" y="90"/>
                  <a:pt x="1256" y="90"/>
                  <a:pt x="1256" y="90"/>
                </a:cubicBezTo>
                <a:cubicBezTo>
                  <a:pt x="1256" y="90"/>
                  <a:pt x="1255" y="90"/>
                  <a:pt x="1255" y="90"/>
                </a:cubicBezTo>
                <a:close/>
                <a:moveTo>
                  <a:pt x="611" y="54"/>
                </a:moveTo>
                <a:cubicBezTo>
                  <a:pt x="611" y="54"/>
                  <a:pt x="611" y="54"/>
                  <a:pt x="612" y="55"/>
                </a:cubicBezTo>
                <a:cubicBezTo>
                  <a:pt x="612" y="54"/>
                  <a:pt x="612" y="54"/>
                  <a:pt x="611" y="54"/>
                </a:cubicBezTo>
                <a:close/>
                <a:moveTo>
                  <a:pt x="1417" y="90"/>
                </a:moveTo>
                <a:cubicBezTo>
                  <a:pt x="1417" y="90"/>
                  <a:pt x="1417" y="90"/>
                  <a:pt x="1416" y="90"/>
                </a:cubicBezTo>
                <a:cubicBezTo>
                  <a:pt x="1416" y="90"/>
                  <a:pt x="1416" y="90"/>
                  <a:pt x="1417" y="90"/>
                </a:cubicBezTo>
                <a:close/>
                <a:moveTo>
                  <a:pt x="1463" y="90"/>
                </a:moveTo>
                <a:cubicBezTo>
                  <a:pt x="1463" y="90"/>
                  <a:pt x="1463" y="90"/>
                  <a:pt x="1463" y="90"/>
                </a:cubicBezTo>
                <a:cubicBezTo>
                  <a:pt x="1463" y="90"/>
                  <a:pt x="1463" y="90"/>
                  <a:pt x="1463" y="90"/>
                </a:cubicBezTo>
                <a:close/>
                <a:moveTo>
                  <a:pt x="1670" y="90"/>
                </a:moveTo>
                <a:cubicBezTo>
                  <a:pt x="1670" y="90"/>
                  <a:pt x="1670" y="90"/>
                  <a:pt x="1669" y="90"/>
                </a:cubicBezTo>
                <a:cubicBezTo>
                  <a:pt x="1669" y="90"/>
                  <a:pt x="1669" y="90"/>
                  <a:pt x="1670" y="90"/>
                </a:cubicBezTo>
                <a:close/>
                <a:moveTo>
                  <a:pt x="634" y="90"/>
                </a:moveTo>
                <a:cubicBezTo>
                  <a:pt x="634" y="90"/>
                  <a:pt x="633" y="90"/>
                  <a:pt x="633" y="91"/>
                </a:cubicBezTo>
                <a:cubicBezTo>
                  <a:pt x="634" y="91"/>
                  <a:pt x="634" y="90"/>
                  <a:pt x="634" y="90"/>
                </a:cubicBezTo>
                <a:close/>
                <a:moveTo>
                  <a:pt x="829" y="43"/>
                </a:moveTo>
                <a:cubicBezTo>
                  <a:pt x="830" y="43"/>
                  <a:pt x="830" y="42"/>
                  <a:pt x="830" y="42"/>
                </a:cubicBezTo>
                <a:cubicBezTo>
                  <a:pt x="830" y="42"/>
                  <a:pt x="829" y="42"/>
                  <a:pt x="829" y="43"/>
                </a:cubicBezTo>
                <a:close/>
                <a:moveTo>
                  <a:pt x="1665" y="59"/>
                </a:moveTo>
                <a:cubicBezTo>
                  <a:pt x="1665" y="60"/>
                  <a:pt x="1665" y="60"/>
                  <a:pt x="1666" y="60"/>
                </a:cubicBezTo>
                <a:cubicBezTo>
                  <a:pt x="1665" y="59"/>
                  <a:pt x="1665" y="59"/>
                  <a:pt x="1665" y="59"/>
                </a:cubicBezTo>
                <a:close/>
                <a:moveTo>
                  <a:pt x="1721" y="60"/>
                </a:moveTo>
                <a:cubicBezTo>
                  <a:pt x="1721" y="60"/>
                  <a:pt x="1721" y="60"/>
                  <a:pt x="1721" y="59"/>
                </a:cubicBezTo>
                <a:cubicBezTo>
                  <a:pt x="1721" y="59"/>
                  <a:pt x="1721" y="59"/>
                  <a:pt x="1721" y="60"/>
                </a:cubicBezTo>
                <a:close/>
                <a:moveTo>
                  <a:pt x="795" y="90"/>
                </a:moveTo>
                <a:cubicBezTo>
                  <a:pt x="795" y="90"/>
                  <a:pt x="795" y="90"/>
                  <a:pt x="795" y="90"/>
                </a:cubicBezTo>
                <a:cubicBezTo>
                  <a:pt x="795" y="90"/>
                  <a:pt x="795" y="90"/>
                  <a:pt x="795" y="90"/>
                </a:cubicBezTo>
                <a:close/>
                <a:moveTo>
                  <a:pt x="982" y="90"/>
                </a:moveTo>
                <a:cubicBezTo>
                  <a:pt x="982" y="90"/>
                  <a:pt x="982" y="90"/>
                  <a:pt x="983" y="90"/>
                </a:cubicBezTo>
                <a:cubicBezTo>
                  <a:pt x="982" y="90"/>
                  <a:pt x="982" y="90"/>
                  <a:pt x="982" y="90"/>
                </a:cubicBezTo>
                <a:close/>
                <a:moveTo>
                  <a:pt x="1013" y="90"/>
                </a:moveTo>
                <a:cubicBezTo>
                  <a:pt x="1014" y="90"/>
                  <a:pt x="1014" y="90"/>
                  <a:pt x="1014" y="90"/>
                </a:cubicBezTo>
                <a:cubicBezTo>
                  <a:pt x="1014" y="90"/>
                  <a:pt x="1013" y="90"/>
                  <a:pt x="1013" y="90"/>
                </a:cubicBezTo>
                <a:close/>
                <a:moveTo>
                  <a:pt x="639" y="49"/>
                </a:moveTo>
                <a:cubicBezTo>
                  <a:pt x="639" y="48"/>
                  <a:pt x="639" y="48"/>
                  <a:pt x="639" y="48"/>
                </a:cubicBezTo>
                <a:cubicBezTo>
                  <a:pt x="639" y="48"/>
                  <a:pt x="639" y="48"/>
                  <a:pt x="639" y="49"/>
                </a:cubicBezTo>
                <a:close/>
                <a:moveTo>
                  <a:pt x="1683" y="90"/>
                </a:moveTo>
                <a:cubicBezTo>
                  <a:pt x="1683" y="90"/>
                  <a:pt x="1683" y="91"/>
                  <a:pt x="1683" y="91"/>
                </a:cubicBezTo>
                <a:cubicBezTo>
                  <a:pt x="1683" y="90"/>
                  <a:pt x="1683" y="90"/>
                  <a:pt x="1683" y="90"/>
                </a:cubicBezTo>
                <a:close/>
                <a:moveTo>
                  <a:pt x="586" y="90"/>
                </a:moveTo>
                <a:cubicBezTo>
                  <a:pt x="586" y="91"/>
                  <a:pt x="586" y="91"/>
                  <a:pt x="586" y="91"/>
                </a:cubicBezTo>
                <a:cubicBezTo>
                  <a:pt x="586" y="91"/>
                  <a:pt x="586" y="91"/>
                  <a:pt x="586" y="90"/>
                </a:cubicBezTo>
                <a:close/>
                <a:moveTo>
                  <a:pt x="614" y="91"/>
                </a:moveTo>
                <a:cubicBezTo>
                  <a:pt x="614" y="91"/>
                  <a:pt x="614" y="91"/>
                  <a:pt x="614" y="90"/>
                </a:cubicBezTo>
                <a:cubicBezTo>
                  <a:pt x="614" y="91"/>
                  <a:pt x="614" y="91"/>
                  <a:pt x="614" y="91"/>
                </a:cubicBezTo>
                <a:close/>
                <a:moveTo>
                  <a:pt x="663" y="90"/>
                </a:moveTo>
                <a:cubicBezTo>
                  <a:pt x="663" y="91"/>
                  <a:pt x="663" y="91"/>
                  <a:pt x="663" y="91"/>
                </a:cubicBezTo>
                <a:cubicBezTo>
                  <a:pt x="663" y="90"/>
                  <a:pt x="663" y="90"/>
                  <a:pt x="663" y="90"/>
                </a:cubicBezTo>
                <a:close/>
                <a:moveTo>
                  <a:pt x="699" y="90"/>
                </a:moveTo>
                <a:cubicBezTo>
                  <a:pt x="698" y="90"/>
                  <a:pt x="698" y="91"/>
                  <a:pt x="698" y="91"/>
                </a:cubicBezTo>
                <a:cubicBezTo>
                  <a:pt x="699" y="91"/>
                  <a:pt x="699" y="91"/>
                  <a:pt x="699" y="90"/>
                </a:cubicBezTo>
                <a:close/>
                <a:moveTo>
                  <a:pt x="767" y="90"/>
                </a:moveTo>
                <a:cubicBezTo>
                  <a:pt x="768" y="91"/>
                  <a:pt x="768" y="91"/>
                  <a:pt x="768" y="91"/>
                </a:cubicBezTo>
                <a:cubicBezTo>
                  <a:pt x="768" y="90"/>
                  <a:pt x="768" y="90"/>
                  <a:pt x="767" y="90"/>
                </a:cubicBezTo>
                <a:close/>
                <a:moveTo>
                  <a:pt x="794" y="91"/>
                </a:moveTo>
                <a:cubicBezTo>
                  <a:pt x="794" y="91"/>
                  <a:pt x="795" y="91"/>
                  <a:pt x="795" y="90"/>
                </a:cubicBezTo>
                <a:cubicBezTo>
                  <a:pt x="794" y="90"/>
                  <a:pt x="794" y="90"/>
                  <a:pt x="794" y="91"/>
                </a:cubicBezTo>
                <a:close/>
                <a:moveTo>
                  <a:pt x="983" y="90"/>
                </a:moveTo>
                <a:cubicBezTo>
                  <a:pt x="983" y="91"/>
                  <a:pt x="983" y="91"/>
                  <a:pt x="984" y="91"/>
                </a:cubicBezTo>
                <a:cubicBezTo>
                  <a:pt x="983" y="90"/>
                  <a:pt x="983" y="90"/>
                  <a:pt x="983" y="90"/>
                </a:cubicBezTo>
                <a:close/>
                <a:moveTo>
                  <a:pt x="1012" y="91"/>
                </a:moveTo>
                <a:cubicBezTo>
                  <a:pt x="1013" y="91"/>
                  <a:pt x="1013" y="91"/>
                  <a:pt x="1013" y="90"/>
                </a:cubicBezTo>
                <a:cubicBezTo>
                  <a:pt x="1013" y="90"/>
                  <a:pt x="1012" y="90"/>
                  <a:pt x="1012" y="91"/>
                </a:cubicBezTo>
                <a:close/>
                <a:moveTo>
                  <a:pt x="1050" y="90"/>
                </a:moveTo>
                <a:cubicBezTo>
                  <a:pt x="1050" y="91"/>
                  <a:pt x="1050" y="91"/>
                  <a:pt x="1050" y="91"/>
                </a:cubicBezTo>
                <a:cubicBezTo>
                  <a:pt x="1050" y="90"/>
                  <a:pt x="1050" y="90"/>
                  <a:pt x="1050" y="90"/>
                </a:cubicBezTo>
                <a:close/>
                <a:moveTo>
                  <a:pt x="1076" y="91"/>
                </a:moveTo>
                <a:cubicBezTo>
                  <a:pt x="1077" y="91"/>
                  <a:pt x="1077" y="91"/>
                  <a:pt x="1077" y="90"/>
                </a:cubicBezTo>
                <a:cubicBezTo>
                  <a:pt x="1077" y="90"/>
                  <a:pt x="1076" y="90"/>
                  <a:pt x="1076" y="91"/>
                </a:cubicBezTo>
                <a:close/>
                <a:moveTo>
                  <a:pt x="1425" y="10"/>
                </a:moveTo>
                <a:cubicBezTo>
                  <a:pt x="1425" y="10"/>
                  <a:pt x="1426" y="10"/>
                  <a:pt x="1426" y="10"/>
                </a:cubicBezTo>
                <a:cubicBezTo>
                  <a:pt x="1425" y="10"/>
                  <a:pt x="1425" y="10"/>
                  <a:pt x="1425" y="10"/>
                </a:cubicBezTo>
                <a:close/>
                <a:moveTo>
                  <a:pt x="1227" y="90"/>
                </a:moveTo>
                <a:cubicBezTo>
                  <a:pt x="1227" y="91"/>
                  <a:pt x="1228" y="91"/>
                  <a:pt x="1228" y="91"/>
                </a:cubicBezTo>
                <a:cubicBezTo>
                  <a:pt x="1228" y="90"/>
                  <a:pt x="1228" y="90"/>
                  <a:pt x="1227" y="90"/>
                </a:cubicBezTo>
                <a:close/>
                <a:moveTo>
                  <a:pt x="1254" y="91"/>
                </a:moveTo>
                <a:cubicBezTo>
                  <a:pt x="1254" y="91"/>
                  <a:pt x="1254" y="91"/>
                  <a:pt x="1255" y="90"/>
                </a:cubicBezTo>
                <a:cubicBezTo>
                  <a:pt x="1254" y="90"/>
                  <a:pt x="1254" y="90"/>
                  <a:pt x="1254" y="91"/>
                </a:cubicBezTo>
                <a:close/>
                <a:moveTo>
                  <a:pt x="1417" y="91"/>
                </a:moveTo>
                <a:cubicBezTo>
                  <a:pt x="1417" y="91"/>
                  <a:pt x="1417" y="90"/>
                  <a:pt x="1417" y="90"/>
                </a:cubicBezTo>
                <a:cubicBezTo>
                  <a:pt x="1417" y="91"/>
                  <a:pt x="1417" y="91"/>
                  <a:pt x="1417" y="91"/>
                </a:cubicBezTo>
                <a:close/>
                <a:moveTo>
                  <a:pt x="660" y="60"/>
                </a:moveTo>
                <a:cubicBezTo>
                  <a:pt x="660" y="60"/>
                  <a:pt x="660" y="60"/>
                  <a:pt x="660" y="60"/>
                </a:cubicBezTo>
                <a:cubicBezTo>
                  <a:pt x="660" y="60"/>
                  <a:pt x="660" y="60"/>
                  <a:pt x="660" y="60"/>
                </a:cubicBezTo>
                <a:close/>
                <a:moveTo>
                  <a:pt x="1670" y="91"/>
                </a:moveTo>
                <a:cubicBezTo>
                  <a:pt x="1670" y="91"/>
                  <a:pt x="1670" y="91"/>
                  <a:pt x="1670" y="90"/>
                </a:cubicBezTo>
                <a:cubicBezTo>
                  <a:pt x="1670" y="91"/>
                  <a:pt x="1670" y="91"/>
                  <a:pt x="1670" y="91"/>
                </a:cubicBezTo>
                <a:close/>
                <a:moveTo>
                  <a:pt x="633" y="91"/>
                </a:moveTo>
                <a:cubicBezTo>
                  <a:pt x="633" y="91"/>
                  <a:pt x="633" y="91"/>
                  <a:pt x="633" y="91"/>
                </a:cubicBezTo>
                <a:cubicBezTo>
                  <a:pt x="633" y="91"/>
                  <a:pt x="633" y="91"/>
                  <a:pt x="633" y="91"/>
                </a:cubicBezTo>
                <a:close/>
                <a:moveTo>
                  <a:pt x="663" y="91"/>
                </a:moveTo>
                <a:cubicBezTo>
                  <a:pt x="664" y="91"/>
                  <a:pt x="664" y="91"/>
                  <a:pt x="664" y="91"/>
                </a:cubicBezTo>
                <a:cubicBezTo>
                  <a:pt x="664" y="91"/>
                  <a:pt x="664" y="91"/>
                  <a:pt x="663" y="91"/>
                </a:cubicBezTo>
                <a:close/>
                <a:moveTo>
                  <a:pt x="793" y="91"/>
                </a:moveTo>
                <a:cubicBezTo>
                  <a:pt x="794" y="91"/>
                  <a:pt x="794" y="91"/>
                  <a:pt x="794" y="91"/>
                </a:cubicBezTo>
                <a:cubicBezTo>
                  <a:pt x="794" y="91"/>
                  <a:pt x="793" y="91"/>
                  <a:pt x="793" y="91"/>
                </a:cubicBezTo>
                <a:close/>
                <a:moveTo>
                  <a:pt x="984" y="91"/>
                </a:moveTo>
                <a:cubicBezTo>
                  <a:pt x="984" y="91"/>
                  <a:pt x="984" y="91"/>
                  <a:pt x="984" y="91"/>
                </a:cubicBezTo>
                <a:cubicBezTo>
                  <a:pt x="984" y="91"/>
                  <a:pt x="984" y="91"/>
                  <a:pt x="984" y="91"/>
                </a:cubicBezTo>
                <a:close/>
                <a:moveTo>
                  <a:pt x="1499" y="10"/>
                </a:moveTo>
                <a:cubicBezTo>
                  <a:pt x="1499" y="10"/>
                  <a:pt x="1499" y="10"/>
                  <a:pt x="1500" y="10"/>
                </a:cubicBezTo>
                <a:cubicBezTo>
                  <a:pt x="1499" y="10"/>
                  <a:pt x="1499" y="10"/>
                  <a:pt x="1499" y="10"/>
                </a:cubicBezTo>
                <a:close/>
                <a:moveTo>
                  <a:pt x="1035" y="91"/>
                </a:moveTo>
                <a:cubicBezTo>
                  <a:pt x="1035" y="91"/>
                  <a:pt x="1035" y="91"/>
                  <a:pt x="1035" y="91"/>
                </a:cubicBezTo>
                <a:cubicBezTo>
                  <a:pt x="1035" y="91"/>
                  <a:pt x="1035" y="91"/>
                  <a:pt x="1035" y="91"/>
                </a:cubicBezTo>
                <a:close/>
                <a:moveTo>
                  <a:pt x="1050" y="91"/>
                </a:moveTo>
                <a:cubicBezTo>
                  <a:pt x="1050" y="91"/>
                  <a:pt x="1051" y="91"/>
                  <a:pt x="1051" y="91"/>
                </a:cubicBezTo>
                <a:cubicBezTo>
                  <a:pt x="1051" y="91"/>
                  <a:pt x="1050" y="91"/>
                  <a:pt x="1050" y="91"/>
                </a:cubicBezTo>
                <a:close/>
                <a:moveTo>
                  <a:pt x="1075" y="91"/>
                </a:moveTo>
                <a:cubicBezTo>
                  <a:pt x="1076" y="91"/>
                  <a:pt x="1076" y="91"/>
                  <a:pt x="1076" y="91"/>
                </a:cubicBezTo>
                <a:cubicBezTo>
                  <a:pt x="1076" y="91"/>
                  <a:pt x="1075" y="91"/>
                  <a:pt x="1075" y="91"/>
                </a:cubicBezTo>
                <a:close/>
                <a:moveTo>
                  <a:pt x="654" y="40"/>
                </a:moveTo>
                <a:cubicBezTo>
                  <a:pt x="653" y="40"/>
                  <a:pt x="653" y="40"/>
                  <a:pt x="653" y="41"/>
                </a:cubicBezTo>
                <a:cubicBezTo>
                  <a:pt x="654" y="40"/>
                  <a:pt x="654" y="40"/>
                  <a:pt x="654" y="40"/>
                </a:cubicBezTo>
                <a:close/>
                <a:moveTo>
                  <a:pt x="1228" y="91"/>
                </a:moveTo>
                <a:cubicBezTo>
                  <a:pt x="1228" y="91"/>
                  <a:pt x="1228" y="91"/>
                  <a:pt x="1229" y="91"/>
                </a:cubicBezTo>
                <a:cubicBezTo>
                  <a:pt x="1229" y="91"/>
                  <a:pt x="1228" y="91"/>
                  <a:pt x="1228" y="91"/>
                </a:cubicBezTo>
                <a:close/>
                <a:moveTo>
                  <a:pt x="1253" y="91"/>
                </a:moveTo>
                <a:cubicBezTo>
                  <a:pt x="1253" y="91"/>
                  <a:pt x="1254" y="91"/>
                  <a:pt x="1254" y="91"/>
                </a:cubicBezTo>
                <a:cubicBezTo>
                  <a:pt x="1254" y="91"/>
                  <a:pt x="1253" y="91"/>
                  <a:pt x="1253" y="91"/>
                </a:cubicBezTo>
                <a:close/>
                <a:moveTo>
                  <a:pt x="1683" y="91"/>
                </a:moveTo>
                <a:cubicBezTo>
                  <a:pt x="1683" y="91"/>
                  <a:pt x="1683" y="91"/>
                  <a:pt x="1683" y="91"/>
                </a:cubicBezTo>
                <a:cubicBezTo>
                  <a:pt x="1683" y="91"/>
                  <a:pt x="1683" y="91"/>
                  <a:pt x="1683" y="91"/>
                </a:cubicBezTo>
                <a:close/>
                <a:moveTo>
                  <a:pt x="606" y="40"/>
                </a:moveTo>
                <a:cubicBezTo>
                  <a:pt x="606" y="40"/>
                  <a:pt x="606" y="41"/>
                  <a:pt x="607" y="41"/>
                </a:cubicBezTo>
                <a:cubicBezTo>
                  <a:pt x="607" y="40"/>
                  <a:pt x="607" y="40"/>
                  <a:pt x="606" y="40"/>
                </a:cubicBezTo>
                <a:close/>
                <a:moveTo>
                  <a:pt x="586" y="91"/>
                </a:moveTo>
                <a:cubicBezTo>
                  <a:pt x="586" y="91"/>
                  <a:pt x="585" y="91"/>
                  <a:pt x="585" y="92"/>
                </a:cubicBezTo>
                <a:cubicBezTo>
                  <a:pt x="586" y="92"/>
                  <a:pt x="586" y="91"/>
                  <a:pt x="586" y="91"/>
                </a:cubicBezTo>
                <a:close/>
                <a:moveTo>
                  <a:pt x="664" y="91"/>
                </a:moveTo>
                <a:cubicBezTo>
                  <a:pt x="664" y="91"/>
                  <a:pt x="665" y="91"/>
                  <a:pt x="665" y="91"/>
                </a:cubicBezTo>
                <a:cubicBezTo>
                  <a:pt x="665" y="91"/>
                  <a:pt x="664" y="91"/>
                  <a:pt x="664" y="91"/>
                </a:cubicBezTo>
                <a:close/>
                <a:moveTo>
                  <a:pt x="698" y="91"/>
                </a:moveTo>
                <a:cubicBezTo>
                  <a:pt x="698" y="91"/>
                  <a:pt x="698" y="91"/>
                  <a:pt x="698" y="92"/>
                </a:cubicBezTo>
                <a:cubicBezTo>
                  <a:pt x="698" y="92"/>
                  <a:pt x="698" y="91"/>
                  <a:pt x="698" y="91"/>
                </a:cubicBezTo>
                <a:close/>
                <a:moveTo>
                  <a:pt x="602" y="61"/>
                </a:moveTo>
                <a:cubicBezTo>
                  <a:pt x="603" y="60"/>
                  <a:pt x="602" y="60"/>
                  <a:pt x="602" y="60"/>
                </a:cubicBezTo>
                <a:cubicBezTo>
                  <a:pt x="602" y="60"/>
                  <a:pt x="602" y="61"/>
                  <a:pt x="602" y="61"/>
                </a:cubicBezTo>
                <a:close/>
                <a:moveTo>
                  <a:pt x="769" y="91"/>
                </a:moveTo>
                <a:cubicBezTo>
                  <a:pt x="769" y="91"/>
                  <a:pt x="769" y="91"/>
                  <a:pt x="769" y="91"/>
                </a:cubicBezTo>
                <a:cubicBezTo>
                  <a:pt x="769" y="91"/>
                  <a:pt x="769" y="91"/>
                  <a:pt x="769" y="91"/>
                </a:cubicBezTo>
                <a:close/>
                <a:moveTo>
                  <a:pt x="793" y="91"/>
                </a:moveTo>
                <a:cubicBezTo>
                  <a:pt x="793" y="91"/>
                  <a:pt x="793" y="91"/>
                  <a:pt x="793" y="91"/>
                </a:cubicBezTo>
                <a:cubicBezTo>
                  <a:pt x="793" y="91"/>
                  <a:pt x="793" y="91"/>
                  <a:pt x="793" y="91"/>
                </a:cubicBezTo>
                <a:close/>
                <a:moveTo>
                  <a:pt x="985" y="91"/>
                </a:moveTo>
                <a:cubicBezTo>
                  <a:pt x="985" y="91"/>
                  <a:pt x="985" y="91"/>
                  <a:pt x="985" y="91"/>
                </a:cubicBezTo>
                <a:cubicBezTo>
                  <a:pt x="985" y="91"/>
                  <a:pt x="985" y="91"/>
                  <a:pt x="985" y="91"/>
                </a:cubicBezTo>
                <a:close/>
                <a:moveTo>
                  <a:pt x="1536" y="10"/>
                </a:moveTo>
                <a:cubicBezTo>
                  <a:pt x="1537" y="10"/>
                  <a:pt x="1537" y="10"/>
                  <a:pt x="1537" y="10"/>
                </a:cubicBezTo>
                <a:cubicBezTo>
                  <a:pt x="1537" y="10"/>
                  <a:pt x="1537" y="10"/>
                  <a:pt x="1536" y="10"/>
                </a:cubicBezTo>
                <a:close/>
                <a:moveTo>
                  <a:pt x="1075" y="91"/>
                </a:moveTo>
                <a:cubicBezTo>
                  <a:pt x="1075" y="91"/>
                  <a:pt x="1075" y="91"/>
                  <a:pt x="1075" y="91"/>
                </a:cubicBezTo>
                <a:cubicBezTo>
                  <a:pt x="1075" y="91"/>
                  <a:pt x="1075" y="91"/>
                  <a:pt x="1075" y="91"/>
                </a:cubicBezTo>
                <a:close/>
                <a:moveTo>
                  <a:pt x="1670" y="10"/>
                </a:moveTo>
                <a:cubicBezTo>
                  <a:pt x="1671" y="10"/>
                  <a:pt x="1671" y="10"/>
                  <a:pt x="1671" y="10"/>
                </a:cubicBezTo>
                <a:cubicBezTo>
                  <a:pt x="1671" y="10"/>
                  <a:pt x="1671" y="10"/>
                  <a:pt x="1670" y="10"/>
                </a:cubicBezTo>
                <a:close/>
                <a:moveTo>
                  <a:pt x="1252" y="91"/>
                </a:moveTo>
                <a:cubicBezTo>
                  <a:pt x="1253" y="91"/>
                  <a:pt x="1253" y="91"/>
                  <a:pt x="1253" y="91"/>
                </a:cubicBezTo>
                <a:cubicBezTo>
                  <a:pt x="1253" y="91"/>
                  <a:pt x="1253" y="91"/>
                  <a:pt x="1252" y="91"/>
                </a:cubicBezTo>
                <a:close/>
                <a:moveTo>
                  <a:pt x="1705" y="10"/>
                </a:moveTo>
                <a:cubicBezTo>
                  <a:pt x="1705" y="10"/>
                  <a:pt x="1705" y="10"/>
                  <a:pt x="1705" y="10"/>
                </a:cubicBezTo>
                <a:cubicBezTo>
                  <a:pt x="1705" y="10"/>
                  <a:pt x="1705" y="10"/>
                  <a:pt x="1705" y="10"/>
                </a:cubicBezTo>
                <a:close/>
                <a:moveTo>
                  <a:pt x="1670" y="92"/>
                </a:moveTo>
                <a:cubicBezTo>
                  <a:pt x="1670" y="91"/>
                  <a:pt x="1670" y="91"/>
                  <a:pt x="1670" y="91"/>
                </a:cubicBezTo>
                <a:cubicBezTo>
                  <a:pt x="1670" y="91"/>
                  <a:pt x="1670" y="92"/>
                  <a:pt x="1670" y="92"/>
                </a:cubicBezTo>
                <a:close/>
                <a:moveTo>
                  <a:pt x="615" y="92"/>
                </a:moveTo>
                <a:cubicBezTo>
                  <a:pt x="615" y="92"/>
                  <a:pt x="615" y="91"/>
                  <a:pt x="614" y="91"/>
                </a:cubicBezTo>
                <a:cubicBezTo>
                  <a:pt x="614" y="92"/>
                  <a:pt x="614" y="92"/>
                  <a:pt x="615" y="92"/>
                </a:cubicBezTo>
                <a:close/>
                <a:moveTo>
                  <a:pt x="665" y="91"/>
                </a:moveTo>
                <a:cubicBezTo>
                  <a:pt x="665" y="92"/>
                  <a:pt x="665" y="92"/>
                  <a:pt x="666" y="92"/>
                </a:cubicBezTo>
                <a:cubicBezTo>
                  <a:pt x="665" y="91"/>
                  <a:pt x="665" y="91"/>
                  <a:pt x="665" y="91"/>
                </a:cubicBezTo>
                <a:close/>
                <a:moveTo>
                  <a:pt x="685" y="92"/>
                </a:moveTo>
                <a:cubicBezTo>
                  <a:pt x="685" y="92"/>
                  <a:pt x="685" y="92"/>
                  <a:pt x="685" y="91"/>
                </a:cubicBezTo>
                <a:cubicBezTo>
                  <a:pt x="685" y="91"/>
                  <a:pt x="685" y="92"/>
                  <a:pt x="685" y="92"/>
                </a:cubicBezTo>
                <a:close/>
                <a:moveTo>
                  <a:pt x="548" y="11"/>
                </a:moveTo>
                <a:cubicBezTo>
                  <a:pt x="548" y="11"/>
                  <a:pt x="548" y="11"/>
                  <a:pt x="549" y="10"/>
                </a:cubicBezTo>
                <a:cubicBezTo>
                  <a:pt x="548" y="10"/>
                  <a:pt x="548" y="10"/>
                  <a:pt x="548" y="11"/>
                </a:cubicBezTo>
                <a:close/>
                <a:moveTo>
                  <a:pt x="600" y="55"/>
                </a:moveTo>
                <a:cubicBezTo>
                  <a:pt x="600" y="54"/>
                  <a:pt x="600" y="54"/>
                  <a:pt x="600" y="54"/>
                </a:cubicBezTo>
                <a:cubicBezTo>
                  <a:pt x="600" y="54"/>
                  <a:pt x="600" y="54"/>
                  <a:pt x="600" y="55"/>
                </a:cubicBezTo>
                <a:close/>
                <a:moveTo>
                  <a:pt x="769" y="91"/>
                </a:moveTo>
                <a:cubicBezTo>
                  <a:pt x="769" y="92"/>
                  <a:pt x="770" y="92"/>
                  <a:pt x="770" y="92"/>
                </a:cubicBezTo>
                <a:cubicBezTo>
                  <a:pt x="770" y="91"/>
                  <a:pt x="770" y="91"/>
                  <a:pt x="769" y="91"/>
                </a:cubicBezTo>
                <a:close/>
                <a:moveTo>
                  <a:pt x="792" y="92"/>
                </a:moveTo>
                <a:cubicBezTo>
                  <a:pt x="792" y="92"/>
                  <a:pt x="792" y="92"/>
                  <a:pt x="792" y="91"/>
                </a:cubicBezTo>
                <a:cubicBezTo>
                  <a:pt x="792" y="91"/>
                  <a:pt x="792" y="91"/>
                  <a:pt x="792" y="92"/>
                </a:cubicBezTo>
                <a:close/>
                <a:moveTo>
                  <a:pt x="977" y="11"/>
                </a:moveTo>
                <a:cubicBezTo>
                  <a:pt x="977" y="11"/>
                  <a:pt x="977" y="11"/>
                  <a:pt x="977" y="10"/>
                </a:cubicBezTo>
                <a:cubicBezTo>
                  <a:pt x="977" y="10"/>
                  <a:pt x="977" y="10"/>
                  <a:pt x="977" y="11"/>
                </a:cubicBezTo>
                <a:close/>
                <a:moveTo>
                  <a:pt x="1352" y="11"/>
                </a:moveTo>
                <a:cubicBezTo>
                  <a:pt x="1352" y="11"/>
                  <a:pt x="1352" y="11"/>
                  <a:pt x="1352" y="10"/>
                </a:cubicBezTo>
                <a:cubicBezTo>
                  <a:pt x="1352" y="10"/>
                  <a:pt x="1352" y="10"/>
                  <a:pt x="1352" y="11"/>
                </a:cubicBezTo>
                <a:close/>
                <a:moveTo>
                  <a:pt x="1051" y="91"/>
                </a:moveTo>
                <a:cubicBezTo>
                  <a:pt x="1052" y="92"/>
                  <a:pt x="1052" y="92"/>
                  <a:pt x="1052" y="92"/>
                </a:cubicBezTo>
                <a:cubicBezTo>
                  <a:pt x="1052" y="91"/>
                  <a:pt x="1052" y="91"/>
                  <a:pt x="1051" y="91"/>
                </a:cubicBezTo>
                <a:close/>
                <a:moveTo>
                  <a:pt x="1074" y="92"/>
                </a:moveTo>
                <a:cubicBezTo>
                  <a:pt x="1074" y="92"/>
                  <a:pt x="1074" y="92"/>
                  <a:pt x="1075" y="91"/>
                </a:cubicBezTo>
                <a:cubicBezTo>
                  <a:pt x="1074" y="91"/>
                  <a:pt x="1074" y="91"/>
                  <a:pt x="1074" y="92"/>
                </a:cubicBezTo>
                <a:close/>
                <a:moveTo>
                  <a:pt x="1202" y="92"/>
                </a:moveTo>
                <a:cubicBezTo>
                  <a:pt x="1202" y="92"/>
                  <a:pt x="1202" y="92"/>
                  <a:pt x="1202" y="92"/>
                </a:cubicBezTo>
                <a:cubicBezTo>
                  <a:pt x="1202" y="91"/>
                  <a:pt x="1202" y="91"/>
                  <a:pt x="1202" y="92"/>
                </a:cubicBezTo>
                <a:close/>
                <a:moveTo>
                  <a:pt x="1229" y="91"/>
                </a:moveTo>
                <a:cubicBezTo>
                  <a:pt x="1229" y="92"/>
                  <a:pt x="1229" y="92"/>
                  <a:pt x="1230" y="92"/>
                </a:cubicBezTo>
                <a:cubicBezTo>
                  <a:pt x="1230" y="91"/>
                  <a:pt x="1229" y="91"/>
                  <a:pt x="1229" y="91"/>
                </a:cubicBezTo>
                <a:close/>
                <a:moveTo>
                  <a:pt x="1387" y="10"/>
                </a:moveTo>
                <a:cubicBezTo>
                  <a:pt x="1387" y="11"/>
                  <a:pt x="1387" y="11"/>
                  <a:pt x="1388" y="11"/>
                </a:cubicBezTo>
                <a:cubicBezTo>
                  <a:pt x="1388" y="10"/>
                  <a:pt x="1387" y="10"/>
                  <a:pt x="1387" y="10"/>
                </a:cubicBezTo>
                <a:close/>
                <a:moveTo>
                  <a:pt x="1418" y="92"/>
                </a:moveTo>
                <a:cubicBezTo>
                  <a:pt x="1418" y="92"/>
                  <a:pt x="1418" y="92"/>
                  <a:pt x="1417" y="91"/>
                </a:cubicBezTo>
                <a:cubicBezTo>
                  <a:pt x="1417" y="92"/>
                  <a:pt x="1417" y="92"/>
                  <a:pt x="1418" y="92"/>
                </a:cubicBezTo>
                <a:close/>
                <a:moveTo>
                  <a:pt x="1683" y="91"/>
                </a:moveTo>
                <a:cubicBezTo>
                  <a:pt x="1683" y="92"/>
                  <a:pt x="1683" y="92"/>
                  <a:pt x="1684" y="92"/>
                </a:cubicBezTo>
                <a:cubicBezTo>
                  <a:pt x="1684" y="92"/>
                  <a:pt x="1684" y="92"/>
                  <a:pt x="1683" y="91"/>
                </a:cubicBezTo>
                <a:close/>
                <a:moveTo>
                  <a:pt x="635" y="61"/>
                </a:moveTo>
                <a:cubicBezTo>
                  <a:pt x="635" y="61"/>
                  <a:pt x="635" y="60"/>
                  <a:pt x="635" y="60"/>
                </a:cubicBezTo>
                <a:cubicBezTo>
                  <a:pt x="635" y="60"/>
                  <a:pt x="635" y="61"/>
                  <a:pt x="635" y="61"/>
                </a:cubicBezTo>
                <a:close/>
                <a:moveTo>
                  <a:pt x="633" y="92"/>
                </a:moveTo>
                <a:cubicBezTo>
                  <a:pt x="633" y="92"/>
                  <a:pt x="633" y="92"/>
                  <a:pt x="633" y="92"/>
                </a:cubicBezTo>
                <a:cubicBezTo>
                  <a:pt x="633" y="92"/>
                  <a:pt x="633" y="92"/>
                  <a:pt x="633" y="92"/>
                </a:cubicBezTo>
                <a:close/>
                <a:moveTo>
                  <a:pt x="666" y="92"/>
                </a:moveTo>
                <a:cubicBezTo>
                  <a:pt x="666" y="92"/>
                  <a:pt x="666" y="92"/>
                  <a:pt x="667" y="92"/>
                </a:cubicBezTo>
                <a:cubicBezTo>
                  <a:pt x="666" y="92"/>
                  <a:pt x="666" y="92"/>
                  <a:pt x="666" y="92"/>
                </a:cubicBezTo>
                <a:close/>
                <a:moveTo>
                  <a:pt x="698" y="92"/>
                </a:moveTo>
                <a:cubicBezTo>
                  <a:pt x="698" y="92"/>
                  <a:pt x="698" y="92"/>
                  <a:pt x="698" y="92"/>
                </a:cubicBezTo>
                <a:cubicBezTo>
                  <a:pt x="698" y="92"/>
                  <a:pt x="698" y="92"/>
                  <a:pt x="698" y="92"/>
                </a:cubicBezTo>
                <a:close/>
                <a:moveTo>
                  <a:pt x="729" y="92"/>
                </a:moveTo>
                <a:cubicBezTo>
                  <a:pt x="729" y="92"/>
                  <a:pt x="729" y="92"/>
                  <a:pt x="729" y="92"/>
                </a:cubicBezTo>
                <a:cubicBezTo>
                  <a:pt x="729" y="92"/>
                  <a:pt x="729" y="92"/>
                  <a:pt x="729" y="92"/>
                </a:cubicBezTo>
                <a:close/>
                <a:moveTo>
                  <a:pt x="741" y="92"/>
                </a:moveTo>
                <a:cubicBezTo>
                  <a:pt x="741" y="92"/>
                  <a:pt x="742" y="92"/>
                  <a:pt x="742" y="92"/>
                </a:cubicBezTo>
                <a:cubicBezTo>
                  <a:pt x="741" y="92"/>
                  <a:pt x="741" y="92"/>
                  <a:pt x="741" y="92"/>
                </a:cubicBezTo>
                <a:close/>
                <a:moveTo>
                  <a:pt x="770" y="92"/>
                </a:moveTo>
                <a:cubicBezTo>
                  <a:pt x="770" y="92"/>
                  <a:pt x="770" y="92"/>
                  <a:pt x="771" y="92"/>
                </a:cubicBezTo>
                <a:cubicBezTo>
                  <a:pt x="770" y="92"/>
                  <a:pt x="770" y="92"/>
                  <a:pt x="770" y="92"/>
                </a:cubicBezTo>
                <a:close/>
                <a:moveTo>
                  <a:pt x="1290" y="55"/>
                </a:moveTo>
                <a:cubicBezTo>
                  <a:pt x="1290" y="55"/>
                  <a:pt x="1290" y="55"/>
                  <a:pt x="1290" y="56"/>
                </a:cubicBezTo>
                <a:cubicBezTo>
                  <a:pt x="1290" y="55"/>
                  <a:pt x="1290" y="55"/>
                  <a:pt x="1290" y="55"/>
                </a:cubicBezTo>
                <a:close/>
                <a:moveTo>
                  <a:pt x="646" y="60"/>
                </a:moveTo>
                <a:cubicBezTo>
                  <a:pt x="645" y="60"/>
                  <a:pt x="645" y="60"/>
                  <a:pt x="645" y="61"/>
                </a:cubicBezTo>
                <a:cubicBezTo>
                  <a:pt x="646" y="61"/>
                  <a:pt x="646" y="60"/>
                  <a:pt x="646" y="60"/>
                </a:cubicBezTo>
                <a:close/>
                <a:moveTo>
                  <a:pt x="675" y="60"/>
                </a:moveTo>
                <a:cubicBezTo>
                  <a:pt x="675" y="60"/>
                  <a:pt x="675" y="60"/>
                  <a:pt x="676" y="60"/>
                </a:cubicBezTo>
                <a:cubicBezTo>
                  <a:pt x="675" y="60"/>
                  <a:pt x="675" y="60"/>
                  <a:pt x="675" y="60"/>
                </a:cubicBezTo>
                <a:close/>
                <a:moveTo>
                  <a:pt x="1036" y="92"/>
                </a:moveTo>
                <a:cubicBezTo>
                  <a:pt x="1036" y="92"/>
                  <a:pt x="1036" y="92"/>
                  <a:pt x="1036" y="92"/>
                </a:cubicBezTo>
                <a:cubicBezTo>
                  <a:pt x="1036" y="92"/>
                  <a:pt x="1036" y="92"/>
                  <a:pt x="1036" y="92"/>
                </a:cubicBezTo>
                <a:close/>
                <a:moveTo>
                  <a:pt x="1052" y="92"/>
                </a:moveTo>
                <a:cubicBezTo>
                  <a:pt x="1052" y="92"/>
                  <a:pt x="1053" y="92"/>
                  <a:pt x="1053" y="92"/>
                </a:cubicBezTo>
                <a:cubicBezTo>
                  <a:pt x="1053" y="92"/>
                  <a:pt x="1053" y="92"/>
                  <a:pt x="1052" y="92"/>
                </a:cubicBezTo>
                <a:close/>
                <a:moveTo>
                  <a:pt x="1073" y="92"/>
                </a:moveTo>
                <a:cubicBezTo>
                  <a:pt x="1073" y="92"/>
                  <a:pt x="1073" y="92"/>
                  <a:pt x="1074" y="92"/>
                </a:cubicBezTo>
                <a:cubicBezTo>
                  <a:pt x="1073" y="92"/>
                  <a:pt x="1073" y="92"/>
                  <a:pt x="1073" y="92"/>
                </a:cubicBezTo>
                <a:close/>
                <a:moveTo>
                  <a:pt x="803" y="49"/>
                </a:moveTo>
                <a:cubicBezTo>
                  <a:pt x="803" y="49"/>
                  <a:pt x="803" y="49"/>
                  <a:pt x="803" y="49"/>
                </a:cubicBezTo>
                <a:cubicBezTo>
                  <a:pt x="803" y="49"/>
                  <a:pt x="803" y="49"/>
                  <a:pt x="803" y="49"/>
                </a:cubicBezTo>
                <a:close/>
                <a:moveTo>
                  <a:pt x="1214" y="92"/>
                </a:moveTo>
                <a:cubicBezTo>
                  <a:pt x="1214" y="92"/>
                  <a:pt x="1214" y="92"/>
                  <a:pt x="1213" y="92"/>
                </a:cubicBezTo>
                <a:cubicBezTo>
                  <a:pt x="1213" y="92"/>
                  <a:pt x="1214" y="92"/>
                  <a:pt x="1214" y="92"/>
                </a:cubicBezTo>
                <a:close/>
                <a:moveTo>
                  <a:pt x="1230" y="92"/>
                </a:moveTo>
                <a:cubicBezTo>
                  <a:pt x="1230" y="92"/>
                  <a:pt x="1230" y="92"/>
                  <a:pt x="1231" y="92"/>
                </a:cubicBezTo>
                <a:cubicBezTo>
                  <a:pt x="1231" y="92"/>
                  <a:pt x="1230" y="92"/>
                  <a:pt x="1230" y="92"/>
                </a:cubicBezTo>
                <a:close/>
                <a:moveTo>
                  <a:pt x="1251" y="92"/>
                </a:moveTo>
                <a:cubicBezTo>
                  <a:pt x="1251" y="92"/>
                  <a:pt x="1251" y="92"/>
                  <a:pt x="1251" y="92"/>
                </a:cubicBezTo>
                <a:cubicBezTo>
                  <a:pt x="1251" y="92"/>
                  <a:pt x="1251" y="92"/>
                  <a:pt x="1251" y="92"/>
                </a:cubicBezTo>
                <a:close/>
                <a:moveTo>
                  <a:pt x="1462" y="92"/>
                </a:moveTo>
                <a:cubicBezTo>
                  <a:pt x="1461" y="92"/>
                  <a:pt x="1461" y="92"/>
                  <a:pt x="1461" y="92"/>
                </a:cubicBezTo>
                <a:cubicBezTo>
                  <a:pt x="1462" y="92"/>
                  <a:pt x="1462" y="92"/>
                  <a:pt x="1462" y="92"/>
                </a:cubicBezTo>
                <a:close/>
                <a:moveTo>
                  <a:pt x="637" y="54"/>
                </a:moveTo>
                <a:cubicBezTo>
                  <a:pt x="637" y="54"/>
                  <a:pt x="637" y="54"/>
                  <a:pt x="637" y="53"/>
                </a:cubicBezTo>
                <a:cubicBezTo>
                  <a:pt x="637" y="54"/>
                  <a:pt x="637" y="54"/>
                  <a:pt x="637" y="54"/>
                </a:cubicBezTo>
                <a:close/>
                <a:moveTo>
                  <a:pt x="572" y="53"/>
                </a:moveTo>
                <a:cubicBezTo>
                  <a:pt x="572" y="54"/>
                  <a:pt x="573" y="54"/>
                  <a:pt x="573" y="54"/>
                </a:cubicBezTo>
                <a:cubicBezTo>
                  <a:pt x="573" y="54"/>
                  <a:pt x="573" y="53"/>
                  <a:pt x="572" y="53"/>
                </a:cubicBezTo>
                <a:close/>
                <a:moveTo>
                  <a:pt x="615" y="93"/>
                </a:moveTo>
                <a:cubicBezTo>
                  <a:pt x="615" y="93"/>
                  <a:pt x="615" y="92"/>
                  <a:pt x="615" y="92"/>
                </a:cubicBezTo>
                <a:cubicBezTo>
                  <a:pt x="615" y="92"/>
                  <a:pt x="615" y="93"/>
                  <a:pt x="615" y="93"/>
                </a:cubicBezTo>
                <a:close/>
                <a:moveTo>
                  <a:pt x="1498" y="11"/>
                </a:moveTo>
                <a:cubicBezTo>
                  <a:pt x="1499" y="11"/>
                  <a:pt x="1499" y="11"/>
                  <a:pt x="1499" y="10"/>
                </a:cubicBezTo>
                <a:cubicBezTo>
                  <a:pt x="1499" y="10"/>
                  <a:pt x="1498" y="10"/>
                  <a:pt x="1498" y="11"/>
                </a:cubicBezTo>
                <a:close/>
                <a:moveTo>
                  <a:pt x="684" y="92"/>
                </a:moveTo>
                <a:cubicBezTo>
                  <a:pt x="684" y="92"/>
                  <a:pt x="684" y="92"/>
                  <a:pt x="684" y="92"/>
                </a:cubicBezTo>
                <a:cubicBezTo>
                  <a:pt x="684" y="92"/>
                  <a:pt x="684" y="92"/>
                  <a:pt x="684" y="92"/>
                </a:cubicBezTo>
                <a:close/>
                <a:moveTo>
                  <a:pt x="740" y="93"/>
                </a:moveTo>
                <a:cubicBezTo>
                  <a:pt x="741" y="93"/>
                  <a:pt x="741" y="92"/>
                  <a:pt x="741" y="92"/>
                </a:cubicBezTo>
                <a:cubicBezTo>
                  <a:pt x="741" y="92"/>
                  <a:pt x="741" y="92"/>
                  <a:pt x="740" y="93"/>
                </a:cubicBezTo>
                <a:close/>
                <a:moveTo>
                  <a:pt x="771" y="92"/>
                </a:moveTo>
                <a:cubicBezTo>
                  <a:pt x="771" y="92"/>
                  <a:pt x="771" y="92"/>
                  <a:pt x="772" y="92"/>
                </a:cubicBezTo>
                <a:cubicBezTo>
                  <a:pt x="771" y="92"/>
                  <a:pt x="771" y="92"/>
                  <a:pt x="771" y="92"/>
                </a:cubicBezTo>
                <a:close/>
                <a:moveTo>
                  <a:pt x="1536" y="11"/>
                </a:moveTo>
                <a:cubicBezTo>
                  <a:pt x="1536" y="11"/>
                  <a:pt x="1536" y="11"/>
                  <a:pt x="1536" y="10"/>
                </a:cubicBezTo>
                <a:cubicBezTo>
                  <a:pt x="1536" y="10"/>
                  <a:pt x="1536" y="10"/>
                  <a:pt x="1536" y="11"/>
                </a:cubicBezTo>
                <a:close/>
                <a:moveTo>
                  <a:pt x="1367" y="61"/>
                </a:moveTo>
                <a:cubicBezTo>
                  <a:pt x="1368" y="60"/>
                  <a:pt x="1368" y="60"/>
                  <a:pt x="1368" y="60"/>
                </a:cubicBezTo>
                <a:cubicBezTo>
                  <a:pt x="1368" y="60"/>
                  <a:pt x="1367" y="60"/>
                  <a:pt x="1367" y="61"/>
                </a:cubicBezTo>
                <a:close/>
                <a:moveTo>
                  <a:pt x="1671" y="10"/>
                </a:moveTo>
                <a:cubicBezTo>
                  <a:pt x="1671" y="11"/>
                  <a:pt x="1672" y="11"/>
                  <a:pt x="1672" y="11"/>
                </a:cubicBezTo>
                <a:cubicBezTo>
                  <a:pt x="1672" y="10"/>
                  <a:pt x="1671" y="10"/>
                  <a:pt x="1671" y="10"/>
                </a:cubicBezTo>
                <a:close/>
                <a:moveTo>
                  <a:pt x="1053" y="92"/>
                </a:moveTo>
                <a:cubicBezTo>
                  <a:pt x="1053" y="92"/>
                  <a:pt x="1053" y="92"/>
                  <a:pt x="1054" y="92"/>
                </a:cubicBezTo>
                <a:cubicBezTo>
                  <a:pt x="1053" y="92"/>
                  <a:pt x="1053" y="92"/>
                  <a:pt x="1053" y="92"/>
                </a:cubicBezTo>
                <a:close/>
                <a:moveTo>
                  <a:pt x="1072" y="92"/>
                </a:moveTo>
                <a:cubicBezTo>
                  <a:pt x="1072" y="92"/>
                  <a:pt x="1072" y="92"/>
                  <a:pt x="1073" y="92"/>
                </a:cubicBezTo>
                <a:cubicBezTo>
                  <a:pt x="1072" y="92"/>
                  <a:pt x="1072" y="92"/>
                  <a:pt x="1072" y="92"/>
                </a:cubicBezTo>
                <a:close/>
                <a:moveTo>
                  <a:pt x="1704" y="11"/>
                </a:moveTo>
                <a:cubicBezTo>
                  <a:pt x="1704" y="11"/>
                  <a:pt x="1704" y="11"/>
                  <a:pt x="1705" y="10"/>
                </a:cubicBezTo>
                <a:cubicBezTo>
                  <a:pt x="1704" y="10"/>
                  <a:pt x="1704" y="10"/>
                  <a:pt x="1704" y="11"/>
                </a:cubicBezTo>
                <a:close/>
                <a:moveTo>
                  <a:pt x="1189" y="92"/>
                </a:moveTo>
                <a:cubicBezTo>
                  <a:pt x="1189" y="92"/>
                  <a:pt x="1189" y="93"/>
                  <a:pt x="1190" y="93"/>
                </a:cubicBezTo>
                <a:cubicBezTo>
                  <a:pt x="1190" y="92"/>
                  <a:pt x="1189" y="92"/>
                  <a:pt x="1189" y="92"/>
                </a:cubicBezTo>
                <a:close/>
                <a:moveTo>
                  <a:pt x="1201" y="92"/>
                </a:moveTo>
                <a:cubicBezTo>
                  <a:pt x="1201" y="92"/>
                  <a:pt x="1201" y="92"/>
                  <a:pt x="1201" y="92"/>
                </a:cubicBezTo>
                <a:cubicBezTo>
                  <a:pt x="1201" y="92"/>
                  <a:pt x="1201" y="92"/>
                  <a:pt x="1201" y="92"/>
                </a:cubicBezTo>
                <a:close/>
                <a:moveTo>
                  <a:pt x="1231" y="92"/>
                </a:moveTo>
                <a:cubicBezTo>
                  <a:pt x="1231" y="92"/>
                  <a:pt x="1231" y="92"/>
                  <a:pt x="1232" y="92"/>
                </a:cubicBezTo>
                <a:cubicBezTo>
                  <a:pt x="1231" y="92"/>
                  <a:pt x="1231" y="92"/>
                  <a:pt x="1231" y="92"/>
                </a:cubicBezTo>
                <a:close/>
                <a:moveTo>
                  <a:pt x="1250" y="92"/>
                </a:moveTo>
                <a:cubicBezTo>
                  <a:pt x="1250" y="92"/>
                  <a:pt x="1250" y="92"/>
                  <a:pt x="1250" y="92"/>
                </a:cubicBezTo>
                <a:cubicBezTo>
                  <a:pt x="1250" y="92"/>
                  <a:pt x="1250" y="92"/>
                  <a:pt x="1250" y="92"/>
                </a:cubicBezTo>
                <a:close/>
                <a:moveTo>
                  <a:pt x="1671" y="93"/>
                </a:moveTo>
                <a:cubicBezTo>
                  <a:pt x="1671" y="92"/>
                  <a:pt x="1671" y="92"/>
                  <a:pt x="1671" y="92"/>
                </a:cubicBezTo>
                <a:cubicBezTo>
                  <a:pt x="1670" y="92"/>
                  <a:pt x="1671" y="93"/>
                  <a:pt x="1671" y="93"/>
                </a:cubicBezTo>
                <a:close/>
                <a:moveTo>
                  <a:pt x="1684" y="92"/>
                </a:moveTo>
                <a:cubicBezTo>
                  <a:pt x="1684" y="92"/>
                  <a:pt x="1684" y="93"/>
                  <a:pt x="1684" y="93"/>
                </a:cubicBezTo>
                <a:cubicBezTo>
                  <a:pt x="1684" y="93"/>
                  <a:pt x="1684" y="92"/>
                  <a:pt x="1684" y="92"/>
                </a:cubicBezTo>
                <a:close/>
                <a:moveTo>
                  <a:pt x="585" y="92"/>
                </a:moveTo>
                <a:cubicBezTo>
                  <a:pt x="584" y="93"/>
                  <a:pt x="584" y="93"/>
                  <a:pt x="584" y="93"/>
                </a:cubicBezTo>
                <a:cubicBezTo>
                  <a:pt x="585" y="93"/>
                  <a:pt x="585" y="93"/>
                  <a:pt x="585" y="92"/>
                </a:cubicBezTo>
                <a:close/>
                <a:moveTo>
                  <a:pt x="633" y="92"/>
                </a:moveTo>
                <a:cubicBezTo>
                  <a:pt x="633" y="93"/>
                  <a:pt x="632" y="93"/>
                  <a:pt x="632" y="93"/>
                </a:cubicBezTo>
                <a:cubicBezTo>
                  <a:pt x="633" y="93"/>
                  <a:pt x="633" y="93"/>
                  <a:pt x="633" y="92"/>
                </a:cubicBezTo>
                <a:close/>
                <a:moveTo>
                  <a:pt x="1739" y="10"/>
                </a:moveTo>
                <a:cubicBezTo>
                  <a:pt x="1740" y="11"/>
                  <a:pt x="1740" y="11"/>
                  <a:pt x="1740" y="11"/>
                </a:cubicBezTo>
                <a:cubicBezTo>
                  <a:pt x="1740" y="10"/>
                  <a:pt x="1740" y="10"/>
                  <a:pt x="1739" y="10"/>
                </a:cubicBezTo>
                <a:close/>
                <a:moveTo>
                  <a:pt x="683" y="93"/>
                </a:moveTo>
                <a:cubicBezTo>
                  <a:pt x="683" y="93"/>
                  <a:pt x="683" y="93"/>
                  <a:pt x="683" y="93"/>
                </a:cubicBezTo>
                <a:cubicBezTo>
                  <a:pt x="683" y="92"/>
                  <a:pt x="683" y="92"/>
                  <a:pt x="683" y="93"/>
                </a:cubicBezTo>
                <a:close/>
                <a:moveTo>
                  <a:pt x="698" y="92"/>
                </a:moveTo>
                <a:cubicBezTo>
                  <a:pt x="697" y="93"/>
                  <a:pt x="697" y="93"/>
                  <a:pt x="697" y="93"/>
                </a:cubicBezTo>
                <a:cubicBezTo>
                  <a:pt x="697" y="93"/>
                  <a:pt x="698" y="93"/>
                  <a:pt x="698" y="92"/>
                </a:cubicBezTo>
                <a:close/>
                <a:moveTo>
                  <a:pt x="976" y="11"/>
                </a:moveTo>
                <a:cubicBezTo>
                  <a:pt x="976" y="11"/>
                  <a:pt x="977" y="11"/>
                  <a:pt x="977" y="11"/>
                </a:cubicBezTo>
                <a:cubicBezTo>
                  <a:pt x="976" y="11"/>
                  <a:pt x="976" y="11"/>
                  <a:pt x="976" y="11"/>
                </a:cubicBezTo>
                <a:close/>
                <a:moveTo>
                  <a:pt x="730" y="92"/>
                </a:moveTo>
                <a:cubicBezTo>
                  <a:pt x="730" y="93"/>
                  <a:pt x="730" y="93"/>
                  <a:pt x="730" y="93"/>
                </a:cubicBezTo>
                <a:cubicBezTo>
                  <a:pt x="730" y="93"/>
                  <a:pt x="730" y="92"/>
                  <a:pt x="730" y="92"/>
                </a:cubicBezTo>
                <a:close/>
                <a:moveTo>
                  <a:pt x="740" y="93"/>
                </a:moveTo>
                <a:cubicBezTo>
                  <a:pt x="740" y="93"/>
                  <a:pt x="740" y="93"/>
                  <a:pt x="740" y="93"/>
                </a:cubicBezTo>
                <a:cubicBezTo>
                  <a:pt x="740" y="92"/>
                  <a:pt x="740" y="93"/>
                  <a:pt x="740" y="93"/>
                </a:cubicBezTo>
                <a:close/>
                <a:moveTo>
                  <a:pt x="1290" y="56"/>
                </a:moveTo>
                <a:cubicBezTo>
                  <a:pt x="1289" y="56"/>
                  <a:pt x="1289" y="56"/>
                  <a:pt x="1289" y="57"/>
                </a:cubicBezTo>
                <a:cubicBezTo>
                  <a:pt x="1290" y="56"/>
                  <a:pt x="1290" y="56"/>
                  <a:pt x="1290" y="56"/>
                </a:cubicBezTo>
                <a:close/>
                <a:moveTo>
                  <a:pt x="909" y="42"/>
                </a:moveTo>
                <a:cubicBezTo>
                  <a:pt x="909" y="42"/>
                  <a:pt x="909" y="43"/>
                  <a:pt x="909" y="43"/>
                </a:cubicBezTo>
                <a:cubicBezTo>
                  <a:pt x="909" y="42"/>
                  <a:pt x="909" y="42"/>
                  <a:pt x="909" y="42"/>
                </a:cubicBezTo>
                <a:close/>
                <a:moveTo>
                  <a:pt x="1081" y="42"/>
                </a:moveTo>
                <a:cubicBezTo>
                  <a:pt x="1081" y="42"/>
                  <a:pt x="1082" y="43"/>
                  <a:pt x="1082" y="43"/>
                </a:cubicBezTo>
                <a:cubicBezTo>
                  <a:pt x="1082" y="42"/>
                  <a:pt x="1082" y="42"/>
                  <a:pt x="1081" y="42"/>
                </a:cubicBezTo>
                <a:close/>
                <a:moveTo>
                  <a:pt x="609" y="48"/>
                </a:moveTo>
                <a:cubicBezTo>
                  <a:pt x="609" y="48"/>
                  <a:pt x="609" y="49"/>
                  <a:pt x="609" y="49"/>
                </a:cubicBezTo>
                <a:cubicBezTo>
                  <a:pt x="609" y="48"/>
                  <a:pt x="609" y="48"/>
                  <a:pt x="609" y="48"/>
                </a:cubicBezTo>
                <a:close/>
                <a:moveTo>
                  <a:pt x="600" y="56"/>
                </a:moveTo>
                <a:cubicBezTo>
                  <a:pt x="600" y="55"/>
                  <a:pt x="600" y="55"/>
                  <a:pt x="600" y="55"/>
                </a:cubicBezTo>
                <a:cubicBezTo>
                  <a:pt x="600" y="55"/>
                  <a:pt x="600" y="55"/>
                  <a:pt x="600" y="56"/>
                </a:cubicBezTo>
                <a:close/>
                <a:moveTo>
                  <a:pt x="1054" y="93"/>
                </a:moveTo>
                <a:cubicBezTo>
                  <a:pt x="1054" y="93"/>
                  <a:pt x="1054" y="93"/>
                  <a:pt x="1055" y="93"/>
                </a:cubicBezTo>
                <a:cubicBezTo>
                  <a:pt x="1054" y="92"/>
                  <a:pt x="1054" y="92"/>
                  <a:pt x="1054" y="93"/>
                </a:cubicBezTo>
                <a:close/>
                <a:moveTo>
                  <a:pt x="1672" y="11"/>
                </a:moveTo>
                <a:cubicBezTo>
                  <a:pt x="1672" y="11"/>
                  <a:pt x="1672" y="11"/>
                  <a:pt x="1673" y="11"/>
                </a:cubicBezTo>
                <a:cubicBezTo>
                  <a:pt x="1672" y="11"/>
                  <a:pt x="1672" y="11"/>
                  <a:pt x="1672" y="11"/>
                </a:cubicBezTo>
                <a:close/>
                <a:moveTo>
                  <a:pt x="1190" y="93"/>
                </a:moveTo>
                <a:cubicBezTo>
                  <a:pt x="1190" y="93"/>
                  <a:pt x="1190" y="93"/>
                  <a:pt x="1190" y="93"/>
                </a:cubicBezTo>
                <a:cubicBezTo>
                  <a:pt x="1190" y="93"/>
                  <a:pt x="1190" y="92"/>
                  <a:pt x="1190" y="93"/>
                </a:cubicBezTo>
                <a:close/>
                <a:moveTo>
                  <a:pt x="1200" y="93"/>
                </a:moveTo>
                <a:cubicBezTo>
                  <a:pt x="1200" y="93"/>
                  <a:pt x="1200" y="93"/>
                  <a:pt x="1201" y="92"/>
                </a:cubicBezTo>
                <a:cubicBezTo>
                  <a:pt x="1200" y="92"/>
                  <a:pt x="1200" y="93"/>
                  <a:pt x="1200" y="93"/>
                </a:cubicBezTo>
                <a:close/>
                <a:moveTo>
                  <a:pt x="1232" y="93"/>
                </a:moveTo>
                <a:cubicBezTo>
                  <a:pt x="1232" y="93"/>
                  <a:pt x="1232" y="93"/>
                  <a:pt x="1233" y="93"/>
                </a:cubicBezTo>
                <a:cubicBezTo>
                  <a:pt x="1232" y="92"/>
                  <a:pt x="1232" y="92"/>
                  <a:pt x="1232" y="93"/>
                </a:cubicBezTo>
                <a:close/>
                <a:moveTo>
                  <a:pt x="547" y="11"/>
                </a:moveTo>
                <a:cubicBezTo>
                  <a:pt x="547" y="11"/>
                  <a:pt x="547" y="11"/>
                  <a:pt x="548" y="11"/>
                </a:cubicBezTo>
                <a:cubicBezTo>
                  <a:pt x="547" y="11"/>
                  <a:pt x="547" y="11"/>
                  <a:pt x="547" y="11"/>
                </a:cubicBezTo>
                <a:close/>
                <a:moveTo>
                  <a:pt x="1671" y="56"/>
                </a:moveTo>
                <a:cubicBezTo>
                  <a:pt x="1671" y="56"/>
                  <a:pt x="1670" y="56"/>
                  <a:pt x="1670" y="56"/>
                </a:cubicBezTo>
                <a:cubicBezTo>
                  <a:pt x="1670" y="56"/>
                  <a:pt x="1671" y="56"/>
                  <a:pt x="1671" y="56"/>
                </a:cubicBezTo>
                <a:close/>
                <a:moveTo>
                  <a:pt x="975" y="11"/>
                </a:moveTo>
                <a:cubicBezTo>
                  <a:pt x="976" y="11"/>
                  <a:pt x="976" y="11"/>
                  <a:pt x="976" y="11"/>
                </a:cubicBezTo>
                <a:cubicBezTo>
                  <a:pt x="976" y="11"/>
                  <a:pt x="975" y="11"/>
                  <a:pt x="975" y="11"/>
                </a:cubicBezTo>
                <a:close/>
                <a:moveTo>
                  <a:pt x="1497" y="11"/>
                </a:moveTo>
                <a:cubicBezTo>
                  <a:pt x="1497" y="11"/>
                  <a:pt x="1498" y="11"/>
                  <a:pt x="1498" y="11"/>
                </a:cubicBezTo>
                <a:cubicBezTo>
                  <a:pt x="1498" y="11"/>
                  <a:pt x="1497" y="11"/>
                  <a:pt x="1497" y="11"/>
                </a:cubicBezTo>
                <a:close/>
                <a:moveTo>
                  <a:pt x="730" y="93"/>
                </a:moveTo>
                <a:cubicBezTo>
                  <a:pt x="731" y="93"/>
                  <a:pt x="731" y="93"/>
                  <a:pt x="731" y="93"/>
                </a:cubicBezTo>
                <a:cubicBezTo>
                  <a:pt x="731" y="93"/>
                  <a:pt x="731" y="93"/>
                  <a:pt x="730" y="93"/>
                </a:cubicBezTo>
                <a:close/>
                <a:moveTo>
                  <a:pt x="739" y="93"/>
                </a:moveTo>
                <a:cubicBezTo>
                  <a:pt x="739" y="93"/>
                  <a:pt x="740" y="93"/>
                  <a:pt x="740" y="93"/>
                </a:cubicBezTo>
                <a:cubicBezTo>
                  <a:pt x="739" y="93"/>
                  <a:pt x="739" y="93"/>
                  <a:pt x="739" y="93"/>
                </a:cubicBezTo>
                <a:close/>
                <a:moveTo>
                  <a:pt x="1535" y="11"/>
                </a:moveTo>
                <a:cubicBezTo>
                  <a:pt x="1535" y="11"/>
                  <a:pt x="1535" y="11"/>
                  <a:pt x="1535" y="11"/>
                </a:cubicBezTo>
                <a:cubicBezTo>
                  <a:pt x="1535" y="11"/>
                  <a:pt x="1535" y="11"/>
                  <a:pt x="1535" y="11"/>
                </a:cubicBezTo>
                <a:close/>
                <a:moveTo>
                  <a:pt x="676" y="60"/>
                </a:moveTo>
                <a:cubicBezTo>
                  <a:pt x="676" y="61"/>
                  <a:pt x="676" y="61"/>
                  <a:pt x="676" y="61"/>
                </a:cubicBezTo>
                <a:cubicBezTo>
                  <a:pt x="676" y="61"/>
                  <a:pt x="676" y="60"/>
                  <a:pt x="676" y="60"/>
                </a:cubicBezTo>
                <a:close/>
                <a:moveTo>
                  <a:pt x="650" y="49"/>
                </a:moveTo>
                <a:cubicBezTo>
                  <a:pt x="650" y="49"/>
                  <a:pt x="650" y="49"/>
                  <a:pt x="650" y="49"/>
                </a:cubicBezTo>
                <a:cubicBezTo>
                  <a:pt x="650" y="49"/>
                  <a:pt x="650" y="49"/>
                  <a:pt x="650" y="49"/>
                </a:cubicBezTo>
                <a:close/>
                <a:moveTo>
                  <a:pt x="1746" y="48"/>
                </a:moveTo>
                <a:cubicBezTo>
                  <a:pt x="1746" y="48"/>
                  <a:pt x="1746" y="48"/>
                  <a:pt x="1746" y="48"/>
                </a:cubicBezTo>
                <a:cubicBezTo>
                  <a:pt x="1746" y="48"/>
                  <a:pt x="1746" y="48"/>
                  <a:pt x="1746" y="48"/>
                </a:cubicBezTo>
                <a:close/>
                <a:moveTo>
                  <a:pt x="1572" y="11"/>
                </a:moveTo>
                <a:cubicBezTo>
                  <a:pt x="1572" y="11"/>
                  <a:pt x="1573" y="11"/>
                  <a:pt x="1573" y="11"/>
                </a:cubicBezTo>
                <a:cubicBezTo>
                  <a:pt x="1573" y="11"/>
                  <a:pt x="1573" y="11"/>
                  <a:pt x="1572" y="11"/>
                </a:cubicBezTo>
                <a:close/>
                <a:moveTo>
                  <a:pt x="670" y="56"/>
                </a:moveTo>
                <a:cubicBezTo>
                  <a:pt x="670" y="56"/>
                  <a:pt x="670" y="56"/>
                  <a:pt x="671" y="56"/>
                </a:cubicBezTo>
                <a:cubicBezTo>
                  <a:pt x="671" y="56"/>
                  <a:pt x="671" y="56"/>
                  <a:pt x="670" y="56"/>
                </a:cubicBezTo>
                <a:close/>
                <a:moveTo>
                  <a:pt x="1190" y="93"/>
                </a:moveTo>
                <a:cubicBezTo>
                  <a:pt x="1191" y="93"/>
                  <a:pt x="1191" y="93"/>
                  <a:pt x="1191" y="93"/>
                </a:cubicBezTo>
                <a:cubicBezTo>
                  <a:pt x="1191" y="93"/>
                  <a:pt x="1191" y="93"/>
                  <a:pt x="1190" y="93"/>
                </a:cubicBezTo>
                <a:close/>
                <a:moveTo>
                  <a:pt x="1199" y="93"/>
                </a:moveTo>
                <a:cubicBezTo>
                  <a:pt x="1199" y="93"/>
                  <a:pt x="1199" y="93"/>
                  <a:pt x="1200" y="93"/>
                </a:cubicBezTo>
                <a:cubicBezTo>
                  <a:pt x="1199" y="93"/>
                  <a:pt x="1199" y="93"/>
                  <a:pt x="1199" y="93"/>
                </a:cubicBezTo>
                <a:close/>
                <a:moveTo>
                  <a:pt x="1703" y="11"/>
                </a:moveTo>
                <a:cubicBezTo>
                  <a:pt x="1703" y="11"/>
                  <a:pt x="1703" y="11"/>
                  <a:pt x="1704" y="11"/>
                </a:cubicBezTo>
                <a:cubicBezTo>
                  <a:pt x="1703" y="11"/>
                  <a:pt x="1703" y="11"/>
                  <a:pt x="1703" y="11"/>
                </a:cubicBezTo>
                <a:close/>
                <a:moveTo>
                  <a:pt x="1290" y="43"/>
                </a:moveTo>
                <a:cubicBezTo>
                  <a:pt x="1291" y="43"/>
                  <a:pt x="1291" y="42"/>
                  <a:pt x="1291" y="42"/>
                </a:cubicBezTo>
                <a:cubicBezTo>
                  <a:pt x="1290" y="42"/>
                  <a:pt x="1290" y="42"/>
                  <a:pt x="1290" y="43"/>
                </a:cubicBezTo>
                <a:close/>
                <a:moveTo>
                  <a:pt x="1671" y="94"/>
                </a:moveTo>
                <a:cubicBezTo>
                  <a:pt x="1671" y="93"/>
                  <a:pt x="1671" y="93"/>
                  <a:pt x="1671" y="93"/>
                </a:cubicBezTo>
                <a:cubicBezTo>
                  <a:pt x="1671" y="93"/>
                  <a:pt x="1671" y="93"/>
                  <a:pt x="1671" y="94"/>
                </a:cubicBezTo>
                <a:close/>
                <a:moveTo>
                  <a:pt x="1684" y="93"/>
                </a:moveTo>
                <a:cubicBezTo>
                  <a:pt x="1684" y="93"/>
                  <a:pt x="1684" y="93"/>
                  <a:pt x="1684" y="94"/>
                </a:cubicBezTo>
                <a:cubicBezTo>
                  <a:pt x="1684" y="93"/>
                  <a:pt x="1684" y="93"/>
                  <a:pt x="1684" y="93"/>
                </a:cubicBezTo>
                <a:close/>
                <a:moveTo>
                  <a:pt x="615" y="94"/>
                </a:moveTo>
                <a:cubicBezTo>
                  <a:pt x="615" y="94"/>
                  <a:pt x="615" y="93"/>
                  <a:pt x="615" y="93"/>
                </a:cubicBezTo>
                <a:cubicBezTo>
                  <a:pt x="615" y="93"/>
                  <a:pt x="615" y="94"/>
                  <a:pt x="615" y="94"/>
                </a:cubicBezTo>
                <a:close/>
                <a:moveTo>
                  <a:pt x="975" y="12"/>
                </a:moveTo>
                <a:cubicBezTo>
                  <a:pt x="975" y="12"/>
                  <a:pt x="975" y="12"/>
                  <a:pt x="975" y="11"/>
                </a:cubicBezTo>
                <a:cubicBezTo>
                  <a:pt x="975" y="11"/>
                  <a:pt x="975" y="11"/>
                  <a:pt x="975" y="12"/>
                </a:cubicBezTo>
                <a:close/>
                <a:moveTo>
                  <a:pt x="1551" y="61"/>
                </a:moveTo>
                <a:cubicBezTo>
                  <a:pt x="1551" y="61"/>
                  <a:pt x="1552" y="61"/>
                  <a:pt x="1552" y="60"/>
                </a:cubicBezTo>
                <a:cubicBezTo>
                  <a:pt x="1551" y="60"/>
                  <a:pt x="1551" y="61"/>
                  <a:pt x="1551" y="61"/>
                </a:cubicBezTo>
                <a:close/>
                <a:moveTo>
                  <a:pt x="596" y="43"/>
                </a:moveTo>
                <a:cubicBezTo>
                  <a:pt x="596" y="43"/>
                  <a:pt x="596" y="42"/>
                  <a:pt x="595" y="42"/>
                </a:cubicBezTo>
                <a:cubicBezTo>
                  <a:pt x="595" y="43"/>
                  <a:pt x="595" y="43"/>
                  <a:pt x="596" y="43"/>
                </a:cubicBezTo>
                <a:close/>
                <a:moveTo>
                  <a:pt x="614" y="61"/>
                </a:moveTo>
                <a:cubicBezTo>
                  <a:pt x="614" y="61"/>
                  <a:pt x="614" y="61"/>
                  <a:pt x="614" y="62"/>
                </a:cubicBezTo>
                <a:cubicBezTo>
                  <a:pt x="614" y="61"/>
                  <a:pt x="614" y="61"/>
                  <a:pt x="614" y="61"/>
                </a:cubicBezTo>
                <a:close/>
                <a:moveTo>
                  <a:pt x="1673" y="11"/>
                </a:moveTo>
                <a:cubicBezTo>
                  <a:pt x="1673" y="12"/>
                  <a:pt x="1673" y="12"/>
                  <a:pt x="1674" y="12"/>
                </a:cubicBezTo>
                <a:cubicBezTo>
                  <a:pt x="1673" y="11"/>
                  <a:pt x="1673" y="11"/>
                  <a:pt x="1673" y="11"/>
                </a:cubicBezTo>
                <a:close/>
                <a:moveTo>
                  <a:pt x="676" y="61"/>
                </a:moveTo>
                <a:cubicBezTo>
                  <a:pt x="676" y="61"/>
                  <a:pt x="677" y="61"/>
                  <a:pt x="677" y="61"/>
                </a:cubicBezTo>
                <a:cubicBezTo>
                  <a:pt x="677" y="61"/>
                  <a:pt x="677" y="61"/>
                  <a:pt x="676" y="61"/>
                </a:cubicBezTo>
                <a:close/>
                <a:moveTo>
                  <a:pt x="1393" y="49"/>
                </a:moveTo>
                <a:cubicBezTo>
                  <a:pt x="1393" y="49"/>
                  <a:pt x="1393" y="49"/>
                  <a:pt x="1393" y="49"/>
                </a:cubicBezTo>
                <a:cubicBezTo>
                  <a:pt x="1393" y="49"/>
                  <a:pt x="1393" y="49"/>
                  <a:pt x="1393" y="49"/>
                </a:cubicBezTo>
                <a:close/>
                <a:moveTo>
                  <a:pt x="1291" y="52"/>
                </a:moveTo>
                <a:cubicBezTo>
                  <a:pt x="1291" y="52"/>
                  <a:pt x="1291" y="52"/>
                  <a:pt x="1291" y="52"/>
                </a:cubicBezTo>
                <a:cubicBezTo>
                  <a:pt x="1291" y="52"/>
                  <a:pt x="1291" y="52"/>
                  <a:pt x="1291" y="52"/>
                </a:cubicBezTo>
                <a:close/>
                <a:moveTo>
                  <a:pt x="1176" y="94"/>
                </a:moveTo>
                <a:cubicBezTo>
                  <a:pt x="1176" y="94"/>
                  <a:pt x="1176" y="93"/>
                  <a:pt x="1176" y="93"/>
                </a:cubicBezTo>
                <a:cubicBezTo>
                  <a:pt x="1176" y="93"/>
                  <a:pt x="1176" y="94"/>
                  <a:pt x="1176" y="94"/>
                </a:cubicBezTo>
                <a:close/>
                <a:moveTo>
                  <a:pt x="974" y="12"/>
                </a:moveTo>
                <a:cubicBezTo>
                  <a:pt x="974" y="12"/>
                  <a:pt x="975" y="12"/>
                  <a:pt x="975" y="12"/>
                </a:cubicBezTo>
                <a:cubicBezTo>
                  <a:pt x="974" y="12"/>
                  <a:pt x="974" y="12"/>
                  <a:pt x="974" y="12"/>
                </a:cubicBezTo>
                <a:close/>
                <a:moveTo>
                  <a:pt x="1350" y="12"/>
                </a:moveTo>
                <a:cubicBezTo>
                  <a:pt x="1350" y="12"/>
                  <a:pt x="1350" y="12"/>
                  <a:pt x="1350" y="12"/>
                </a:cubicBezTo>
                <a:cubicBezTo>
                  <a:pt x="1350" y="12"/>
                  <a:pt x="1350" y="12"/>
                  <a:pt x="1350" y="12"/>
                </a:cubicBezTo>
                <a:close/>
                <a:moveTo>
                  <a:pt x="603" y="62"/>
                </a:moveTo>
                <a:cubicBezTo>
                  <a:pt x="603" y="62"/>
                  <a:pt x="603" y="61"/>
                  <a:pt x="603" y="61"/>
                </a:cubicBezTo>
                <a:cubicBezTo>
                  <a:pt x="603" y="61"/>
                  <a:pt x="603" y="62"/>
                  <a:pt x="603" y="62"/>
                </a:cubicBezTo>
                <a:close/>
                <a:moveTo>
                  <a:pt x="634" y="62"/>
                </a:moveTo>
                <a:cubicBezTo>
                  <a:pt x="635" y="62"/>
                  <a:pt x="635" y="61"/>
                  <a:pt x="635" y="61"/>
                </a:cubicBezTo>
                <a:cubicBezTo>
                  <a:pt x="634" y="61"/>
                  <a:pt x="634" y="62"/>
                  <a:pt x="634" y="62"/>
                </a:cubicBezTo>
                <a:close/>
                <a:moveTo>
                  <a:pt x="677" y="61"/>
                </a:moveTo>
                <a:cubicBezTo>
                  <a:pt x="677" y="61"/>
                  <a:pt x="677" y="62"/>
                  <a:pt x="678" y="62"/>
                </a:cubicBezTo>
                <a:cubicBezTo>
                  <a:pt x="678" y="61"/>
                  <a:pt x="677" y="61"/>
                  <a:pt x="677" y="61"/>
                </a:cubicBezTo>
                <a:close/>
                <a:moveTo>
                  <a:pt x="1461" y="93"/>
                </a:moveTo>
                <a:cubicBezTo>
                  <a:pt x="1460" y="93"/>
                  <a:pt x="1460" y="94"/>
                  <a:pt x="1460" y="94"/>
                </a:cubicBezTo>
                <a:cubicBezTo>
                  <a:pt x="1460" y="94"/>
                  <a:pt x="1461" y="93"/>
                  <a:pt x="1461" y="93"/>
                </a:cubicBezTo>
                <a:close/>
                <a:moveTo>
                  <a:pt x="632" y="93"/>
                </a:moveTo>
                <a:cubicBezTo>
                  <a:pt x="632" y="94"/>
                  <a:pt x="632" y="94"/>
                  <a:pt x="632" y="94"/>
                </a:cubicBezTo>
                <a:cubicBezTo>
                  <a:pt x="632" y="94"/>
                  <a:pt x="632" y="94"/>
                  <a:pt x="632" y="93"/>
                </a:cubicBezTo>
                <a:close/>
                <a:moveTo>
                  <a:pt x="1578" y="48"/>
                </a:moveTo>
                <a:cubicBezTo>
                  <a:pt x="1578" y="48"/>
                  <a:pt x="1578" y="48"/>
                  <a:pt x="1577" y="48"/>
                </a:cubicBezTo>
                <a:cubicBezTo>
                  <a:pt x="1578" y="48"/>
                  <a:pt x="1578" y="48"/>
                  <a:pt x="1578" y="48"/>
                </a:cubicBezTo>
                <a:close/>
                <a:moveTo>
                  <a:pt x="697" y="94"/>
                </a:moveTo>
                <a:cubicBezTo>
                  <a:pt x="697" y="94"/>
                  <a:pt x="696" y="94"/>
                  <a:pt x="696" y="94"/>
                </a:cubicBezTo>
                <a:cubicBezTo>
                  <a:pt x="697" y="94"/>
                  <a:pt x="697" y="94"/>
                  <a:pt x="697" y="94"/>
                </a:cubicBezTo>
                <a:close/>
                <a:moveTo>
                  <a:pt x="716" y="94"/>
                </a:moveTo>
                <a:cubicBezTo>
                  <a:pt x="716" y="94"/>
                  <a:pt x="716" y="94"/>
                  <a:pt x="716" y="93"/>
                </a:cubicBezTo>
                <a:cubicBezTo>
                  <a:pt x="716" y="94"/>
                  <a:pt x="716" y="94"/>
                  <a:pt x="716" y="94"/>
                </a:cubicBezTo>
                <a:close/>
                <a:moveTo>
                  <a:pt x="1143" y="52"/>
                </a:moveTo>
                <a:cubicBezTo>
                  <a:pt x="1143" y="52"/>
                  <a:pt x="1143" y="52"/>
                  <a:pt x="1142" y="52"/>
                </a:cubicBezTo>
                <a:cubicBezTo>
                  <a:pt x="1142" y="52"/>
                  <a:pt x="1142" y="52"/>
                  <a:pt x="1143" y="52"/>
                </a:cubicBezTo>
                <a:close/>
                <a:moveTo>
                  <a:pt x="1113" y="52"/>
                </a:moveTo>
                <a:cubicBezTo>
                  <a:pt x="1113" y="52"/>
                  <a:pt x="1112" y="52"/>
                  <a:pt x="1112" y="52"/>
                </a:cubicBezTo>
                <a:cubicBezTo>
                  <a:pt x="1113" y="52"/>
                  <a:pt x="1113" y="52"/>
                  <a:pt x="1113" y="52"/>
                </a:cubicBezTo>
                <a:close/>
                <a:moveTo>
                  <a:pt x="598" y="49"/>
                </a:moveTo>
                <a:cubicBezTo>
                  <a:pt x="598" y="49"/>
                  <a:pt x="598" y="49"/>
                  <a:pt x="598" y="49"/>
                </a:cubicBezTo>
                <a:cubicBezTo>
                  <a:pt x="598" y="49"/>
                  <a:pt x="598" y="49"/>
                  <a:pt x="598" y="49"/>
                </a:cubicBezTo>
                <a:close/>
                <a:moveTo>
                  <a:pt x="1496" y="12"/>
                </a:moveTo>
                <a:cubicBezTo>
                  <a:pt x="1496" y="12"/>
                  <a:pt x="1497" y="12"/>
                  <a:pt x="1497" y="12"/>
                </a:cubicBezTo>
                <a:cubicBezTo>
                  <a:pt x="1496" y="12"/>
                  <a:pt x="1496" y="12"/>
                  <a:pt x="1496" y="12"/>
                </a:cubicBezTo>
                <a:close/>
                <a:moveTo>
                  <a:pt x="1674" y="12"/>
                </a:moveTo>
                <a:cubicBezTo>
                  <a:pt x="1674" y="12"/>
                  <a:pt x="1674" y="12"/>
                  <a:pt x="1674" y="12"/>
                </a:cubicBezTo>
                <a:cubicBezTo>
                  <a:pt x="1674" y="12"/>
                  <a:pt x="1674" y="12"/>
                  <a:pt x="1674" y="12"/>
                </a:cubicBezTo>
                <a:close/>
                <a:moveTo>
                  <a:pt x="1209" y="55"/>
                </a:moveTo>
                <a:cubicBezTo>
                  <a:pt x="1209" y="55"/>
                  <a:pt x="1209" y="54"/>
                  <a:pt x="1209" y="54"/>
                </a:cubicBezTo>
                <a:cubicBezTo>
                  <a:pt x="1209" y="54"/>
                  <a:pt x="1209" y="55"/>
                  <a:pt x="1209" y="55"/>
                </a:cubicBezTo>
                <a:close/>
                <a:moveTo>
                  <a:pt x="1671" y="94"/>
                </a:moveTo>
                <a:cubicBezTo>
                  <a:pt x="1672" y="94"/>
                  <a:pt x="1671" y="94"/>
                  <a:pt x="1671" y="94"/>
                </a:cubicBezTo>
                <a:cubicBezTo>
                  <a:pt x="1671" y="94"/>
                  <a:pt x="1671" y="94"/>
                  <a:pt x="1671" y="94"/>
                </a:cubicBezTo>
                <a:close/>
                <a:moveTo>
                  <a:pt x="1684" y="94"/>
                </a:moveTo>
                <a:cubicBezTo>
                  <a:pt x="1684" y="94"/>
                  <a:pt x="1684" y="94"/>
                  <a:pt x="1685" y="94"/>
                </a:cubicBezTo>
                <a:cubicBezTo>
                  <a:pt x="1685" y="94"/>
                  <a:pt x="1685" y="94"/>
                  <a:pt x="1684" y="94"/>
                </a:cubicBezTo>
                <a:close/>
                <a:moveTo>
                  <a:pt x="616" y="95"/>
                </a:moveTo>
                <a:cubicBezTo>
                  <a:pt x="616" y="94"/>
                  <a:pt x="616" y="94"/>
                  <a:pt x="615" y="94"/>
                </a:cubicBezTo>
                <a:cubicBezTo>
                  <a:pt x="615" y="94"/>
                  <a:pt x="615" y="94"/>
                  <a:pt x="616" y="95"/>
                </a:cubicBezTo>
                <a:close/>
                <a:moveTo>
                  <a:pt x="632" y="94"/>
                </a:moveTo>
                <a:cubicBezTo>
                  <a:pt x="632" y="94"/>
                  <a:pt x="632" y="95"/>
                  <a:pt x="632" y="95"/>
                </a:cubicBezTo>
                <a:cubicBezTo>
                  <a:pt x="632" y="95"/>
                  <a:pt x="632" y="94"/>
                  <a:pt x="632" y="94"/>
                </a:cubicBezTo>
                <a:close/>
                <a:moveTo>
                  <a:pt x="717" y="95"/>
                </a:moveTo>
                <a:cubicBezTo>
                  <a:pt x="717" y="95"/>
                  <a:pt x="717" y="94"/>
                  <a:pt x="716" y="94"/>
                </a:cubicBezTo>
                <a:cubicBezTo>
                  <a:pt x="716" y="94"/>
                  <a:pt x="716" y="95"/>
                  <a:pt x="717" y="95"/>
                </a:cubicBezTo>
                <a:close/>
                <a:moveTo>
                  <a:pt x="1177" y="95"/>
                </a:moveTo>
                <a:cubicBezTo>
                  <a:pt x="1177" y="95"/>
                  <a:pt x="1177" y="94"/>
                  <a:pt x="1176" y="94"/>
                </a:cubicBezTo>
                <a:cubicBezTo>
                  <a:pt x="1176" y="94"/>
                  <a:pt x="1176" y="95"/>
                  <a:pt x="1177" y="95"/>
                </a:cubicBezTo>
                <a:close/>
                <a:moveTo>
                  <a:pt x="866" y="42"/>
                </a:moveTo>
                <a:cubicBezTo>
                  <a:pt x="866" y="43"/>
                  <a:pt x="866" y="43"/>
                  <a:pt x="867" y="43"/>
                </a:cubicBezTo>
                <a:cubicBezTo>
                  <a:pt x="867" y="43"/>
                  <a:pt x="867" y="42"/>
                  <a:pt x="866" y="42"/>
                </a:cubicBezTo>
                <a:close/>
                <a:moveTo>
                  <a:pt x="1685" y="94"/>
                </a:moveTo>
                <a:cubicBezTo>
                  <a:pt x="1685" y="95"/>
                  <a:pt x="1685" y="95"/>
                  <a:pt x="1685" y="95"/>
                </a:cubicBezTo>
                <a:cubicBezTo>
                  <a:pt x="1685" y="95"/>
                  <a:pt x="1685" y="94"/>
                  <a:pt x="1685" y="94"/>
                </a:cubicBezTo>
                <a:close/>
                <a:moveTo>
                  <a:pt x="968" y="95"/>
                </a:moveTo>
                <a:cubicBezTo>
                  <a:pt x="968" y="95"/>
                  <a:pt x="968" y="95"/>
                  <a:pt x="967" y="94"/>
                </a:cubicBezTo>
                <a:cubicBezTo>
                  <a:pt x="967" y="95"/>
                  <a:pt x="968" y="95"/>
                  <a:pt x="968" y="95"/>
                </a:cubicBezTo>
                <a:close/>
                <a:moveTo>
                  <a:pt x="1672" y="95"/>
                </a:moveTo>
                <a:cubicBezTo>
                  <a:pt x="1672" y="95"/>
                  <a:pt x="1672" y="95"/>
                  <a:pt x="1672" y="94"/>
                </a:cubicBezTo>
                <a:cubicBezTo>
                  <a:pt x="1672" y="95"/>
                  <a:pt x="1672" y="95"/>
                  <a:pt x="1672" y="95"/>
                </a:cubicBezTo>
                <a:close/>
                <a:moveTo>
                  <a:pt x="616" y="96"/>
                </a:moveTo>
                <a:cubicBezTo>
                  <a:pt x="616" y="95"/>
                  <a:pt x="616" y="95"/>
                  <a:pt x="616" y="95"/>
                </a:cubicBezTo>
                <a:cubicBezTo>
                  <a:pt x="616" y="95"/>
                  <a:pt x="616" y="95"/>
                  <a:pt x="616" y="96"/>
                </a:cubicBezTo>
                <a:close/>
                <a:moveTo>
                  <a:pt x="873" y="52"/>
                </a:moveTo>
                <a:cubicBezTo>
                  <a:pt x="872" y="53"/>
                  <a:pt x="872" y="53"/>
                  <a:pt x="872" y="53"/>
                </a:cubicBezTo>
                <a:cubicBezTo>
                  <a:pt x="873" y="53"/>
                  <a:pt x="873" y="53"/>
                  <a:pt x="873" y="52"/>
                </a:cubicBezTo>
                <a:close/>
                <a:moveTo>
                  <a:pt x="717" y="96"/>
                </a:moveTo>
                <a:cubicBezTo>
                  <a:pt x="717" y="95"/>
                  <a:pt x="717" y="95"/>
                  <a:pt x="717" y="95"/>
                </a:cubicBezTo>
                <a:cubicBezTo>
                  <a:pt x="717" y="95"/>
                  <a:pt x="717" y="95"/>
                  <a:pt x="717" y="96"/>
                </a:cubicBezTo>
                <a:close/>
                <a:moveTo>
                  <a:pt x="1177" y="96"/>
                </a:moveTo>
                <a:cubicBezTo>
                  <a:pt x="1177" y="95"/>
                  <a:pt x="1177" y="95"/>
                  <a:pt x="1177" y="95"/>
                </a:cubicBezTo>
                <a:cubicBezTo>
                  <a:pt x="1177" y="95"/>
                  <a:pt x="1177" y="95"/>
                  <a:pt x="1177" y="96"/>
                </a:cubicBezTo>
                <a:close/>
                <a:moveTo>
                  <a:pt x="632" y="95"/>
                </a:moveTo>
                <a:cubicBezTo>
                  <a:pt x="631" y="95"/>
                  <a:pt x="631" y="96"/>
                  <a:pt x="631" y="96"/>
                </a:cubicBezTo>
                <a:cubicBezTo>
                  <a:pt x="632" y="96"/>
                  <a:pt x="632" y="95"/>
                  <a:pt x="632" y="95"/>
                </a:cubicBezTo>
                <a:close/>
                <a:moveTo>
                  <a:pt x="883" y="42"/>
                </a:moveTo>
                <a:cubicBezTo>
                  <a:pt x="883" y="42"/>
                  <a:pt x="883" y="42"/>
                  <a:pt x="883" y="43"/>
                </a:cubicBezTo>
                <a:cubicBezTo>
                  <a:pt x="883" y="43"/>
                  <a:pt x="883" y="43"/>
                  <a:pt x="883" y="42"/>
                </a:cubicBezTo>
                <a:close/>
                <a:moveTo>
                  <a:pt x="1672" y="96"/>
                </a:moveTo>
                <a:cubicBezTo>
                  <a:pt x="1672" y="96"/>
                  <a:pt x="1672" y="95"/>
                  <a:pt x="1672" y="95"/>
                </a:cubicBezTo>
                <a:cubicBezTo>
                  <a:pt x="1672" y="96"/>
                  <a:pt x="1672" y="96"/>
                  <a:pt x="1672" y="96"/>
                </a:cubicBezTo>
                <a:close/>
                <a:moveTo>
                  <a:pt x="1495" y="12"/>
                </a:moveTo>
                <a:cubicBezTo>
                  <a:pt x="1496" y="12"/>
                  <a:pt x="1496" y="12"/>
                  <a:pt x="1496" y="12"/>
                </a:cubicBezTo>
                <a:cubicBezTo>
                  <a:pt x="1496" y="12"/>
                  <a:pt x="1496" y="12"/>
                  <a:pt x="1495" y="12"/>
                </a:cubicBezTo>
                <a:close/>
                <a:moveTo>
                  <a:pt x="717" y="96"/>
                </a:moveTo>
                <a:cubicBezTo>
                  <a:pt x="717" y="96"/>
                  <a:pt x="717" y="96"/>
                  <a:pt x="717" y="96"/>
                </a:cubicBezTo>
                <a:cubicBezTo>
                  <a:pt x="717" y="96"/>
                  <a:pt x="717" y="96"/>
                  <a:pt x="717" y="96"/>
                </a:cubicBezTo>
                <a:close/>
                <a:moveTo>
                  <a:pt x="631" y="96"/>
                </a:moveTo>
                <a:cubicBezTo>
                  <a:pt x="631" y="96"/>
                  <a:pt x="631" y="96"/>
                  <a:pt x="631" y="97"/>
                </a:cubicBezTo>
                <a:cubicBezTo>
                  <a:pt x="631" y="96"/>
                  <a:pt x="631" y="96"/>
                  <a:pt x="631" y="96"/>
                </a:cubicBezTo>
                <a:close/>
                <a:moveTo>
                  <a:pt x="1533" y="13"/>
                </a:moveTo>
                <a:cubicBezTo>
                  <a:pt x="1534" y="12"/>
                  <a:pt x="1534" y="12"/>
                  <a:pt x="1534" y="12"/>
                </a:cubicBezTo>
                <a:cubicBezTo>
                  <a:pt x="1534" y="12"/>
                  <a:pt x="1533" y="12"/>
                  <a:pt x="1533" y="13"/>
                </a:cubicBezTo>
                <a:close/>
                <a:moveTo>
                  <a:pt x="1178" y="97"/>
                </a:moveTo>
                <a:cubicBezTo>
                  <a:pt x="1178" y="96"/>
                  <a:pt x="1177" y="96"/>
                  <a:pt x="1177" y="96"/>
                </a:cubicBezTo>
                <a:cubicBezTo>
                  <a:pt x="1177" y="96"/>
                  <a:pt x="1177" y="97"/>
                  <a:pt x="1178" y="97"/>
                </a:cubicBezTo>
                <a:close/>
                <a:moveTo>
                  <a:pt x="1673" y="97"/>
                </a:moveTo>
                <a:cubicBezTo>
                  <a:pt x="1673" y="96"/>
                  <a:pt x="1672" y="96"/>
                  <a:pt x="1672" y="96"/>
                </a:cubicBezTo>
                <a:cubicBezTo>
                  <a:pt x="1672" y="96"/>
                  <a:pt x="1672" y="96"/>
                  <a:pt x="1673" y="97"/>
                </a:cubicBezTo>
                <a:close/>
                <a:moveTo>
                  <a:pt x="1685" y="96"/>
                </a:moveTo>
                <a:cubicBezTo>
                  <a:pt x="1685" y="96"/>
                  <a:pt x="1686" y="96"/>
                  <a:pt x="1686" y="97"/>
                </a:cubicBezTo>
                <a:cubicBezTo>
                  <a:pt x="1686" y="96"/>
                  <a:pt x="1686" y="96"/>
                  <a:pt x="1685" y="96"/>
                </a:cubicBezTo>
                <a:close/>
                <a:moveTo>
                  <a:pt x="581" y="96"/>
                </a:moveTo>
                <a:cubicBezTo>
                  <a:pt x="581" y="96"/>
                  <a:pt x="581" y="96"/>
                  <a:pt x="581" y="97"/>
                </a:cubicBezTo>
                <a:cubicBezTo>
                  <a:pt x="581" y="97"/>
                  <a:pt x="581" y="97"/>
                  <a:pt x="581" y="96"/>
                </a:cubicBezTo>
                <a:close/>
                <a:moveTo>
                  <a:pt x="765" y="35"/>
                </a:moveTo>
                <a:cubicBezTo>
                  <a:pt x="765" y="35"/>
                  <a:pt x="766" y="35"/>
                  <a:pt x="766" y="35"/>
                </a:cubicBezTo>
                <a:cubicBezTo>
                  <a:pt x="766" y="35"/>
                  <a:pt x="765" y="35"/>
                  <a:pt x="765" y="35"/>
                </a:cubicBezTo>
                <a:close/>
                <a:moveTo>
                  <a:pt x="678" y="62"/>
                </a:moveTo>
                <a:cubicBezTo>
                  <a:pt x="678" y="62"/>
                  <a:pt x="678" y="62"/>
                  <a:pt x="678" y="62"/>
                </a:cubicBezTo>
                <a:cubicBezTo>
                  <a:pt x="678" y="62"/>
                  <a:pt x="678" y="61"/>
                  <a:pt x="678" y="62"/>
                </a:cubicBezTo>
                <a:close/>
                <a:moveTo>
                  <a:pt x="617" y="97"/>
                </a:moveTo>
                <a:cubicBezTo>
                  <a:pt x="617" y="97"/>
                  <a:pt x="617" y="97"/>
                  <a:pt x="616" y="97"/>
                </a:cubicBezTo>
                <a:cubicBezTo>
                  <a:pt x="616" y="97"/>
                  <a:pt x="616" y="97"/>
                  <a:pt x="617" y="97"/>
                </a:cubicBezTo>
                <a:close/>
                <a:moveTo>
                  <a:pt x="1151" y="42"/>
                </a:moveTo>
                <a:cubicBezTo>
                  <a:pt x="1151" y="43"/>
                  <a:pt x="1151" y="43"/>
                  <a:pt x="1151" y="43"/>
                </a:cubicBezTo>
                <a:cubicBezTo>
                  <a:pt x="1151" y="43"/>
                  <a:pt x="1151" y="42"/>
                  <a:pt x="1151" y="42"/>
                </a:cubicBezTo>
                <a:close/>
                <a:moveTo>
                  <a:pt x="971" y="97"/>
                </a:moveTo>
                <a:cubicBezTo>
                  <a:pt x="971" y="97"/>
                  <a:pt x="971" y="97"/>
                  <a:pt x="970" y="97"/>
                </a:cubicBezTo>
                <a:cubicBezTo>
                  <a:pt x="971" y="97"/>
                  <a:pt x="971" y="97"/>
                  <a:pt x="971" y="97"/>
                </a:cubicBezTo>
                <a:close/>
                <a:moveTo>
                  <a:pt x="564" y="49"/>
                </a:moveTo>
                <a:cubicBezTo>
                  <a:pt x="564" y="49"/>
                  <a:pt x="564" y="49"/>
                  <a:pt x="565" y="49"/>
                </a:cubicBezTo>
                <a:cubicBezTo>
                  <a:pt x="564" y="49"/>
                  <a:pt x="564" y="49"/>
                  <a:pt x="564" y="49"/>
                </a:cubicBezTo>
                <a:close/>
                <a:moveTo>
                  <a:pt x="1686" y="97"/>
                </a:moveTo>
                <a:cubicBezTo>
                  <a:pt x="1686" y="97"/>
                  <a:pt x="1686" y="97"/>
                  <a:pt x="1686" y="97"/>
                </a:cubicBezTo>
                <a:cubicBezTo>
                  <a:pt x="1686" y="97"/>
                  <a:pt x="1686" y="97"/>
                  <a:pt x="1686" y="97"/>
                </a:cubicBezTo>
                <a:close/>
                <a:moveTo>
                  <a:pt x="631" y="97"/>
                </a:moveTo>
                <a:cubicBezTo>
                  <a:pt x="631" y="97"/>
                  <a:pt x="631" y="97"/>
                  <a:pt x="631" y="98"/>
                </a:cubicBezTo>
                <a:cubicBezTo>
                  <a:pt x="631" y="97"/>
                  <a:pt x="631" y="97"/>
                  <a:pt x="631" y="97"/>
                </a:cubicBezTo>
                <a:close/>
                <a:moveTo>
                  <a:pt x="1112" y="54"/>
                </a:moveTo>
                <a:cubicBezTo>
                  <a:pt x="1111" y="54"/>
                  <a:pt x="1111" y="55"/>
                  <a:pt x="1111" y="55"/>
                </a:cubicBezTo>
                <a:cubicBezTo>
                  <a:pt x="1112" y="55"/>
                  <a:pt x="1112" y="54"/>
                  <a:pt x="1112" y="54"/>
                </a:cubicBezTo>
                <a:close/>
                <a:moveTo>
                  <a:pt x="1178" y="98"/>
                </a:moveTo>
                <a:cubicBezTo>
                  <a:pt x="1178" y="97"/>
                  <a:pt x="1178" y="97"/>
                  <a:pt x="1178" y="97"/>
                </a:cubicBezTo>
                <a:cubicBezTo>
                  <a:pt x="1178" y="97"/>
                  <a:pt x="1178" y="98"/>
                  <a:pt x="1178" y="98"/>
                </a:cubicBezTo>
                <a:close/>
                <a:moveTo>
                  <a:pt x="1261" y="97"/>
                </a:moveTo>
                <a:cubicBezTo>
                  <a:pt x="1260" y="97"/>
                  <a:pt x="1260" y="97"/>
                  <a:pt x="1260" y="97"/>
                </a:cubicBezTo>
                <a:cubicBezTo>
                  <a:pt x="1260" y="97"/>
                  <a:pt x="1261" y="97"/>
                  <a:pt x="1261" y="97"/>
                </a:cubicBezTo>
                <a:close/>
                <a:moveTo>
                  <a:pt x="603" y="63"/>
                </a:moveTo>
                <a:cubicBezTo>
                  <a:pt x="603" y="62"/>
                  <a:pt x="603" y="62"/>
                  <a:pt x="603" y="62"/>
                </a:cubicBezTo>
                <a:cubicBezTo>
                  <a:pt x="603" y="62"/>
                  <a:pt x="603" y="62"/>
                  <a:pt x="603" y="63"/>
                </a:cubicBezTo>
                <a:close/>
                <a:moveTo>
                  <a:pt x="1673" y="98"/>
                </a:moveTo>
                <a:cubicBezTo>
                  <a:pt x="1673" y="97"/>
                  <a:pt x="1673" y="97"/>
                  <a:pt x="1673" y="97"/>
                </a:cubicBezTo>
                <a:cubicBezTo>
                  <a:pt x="1673" y="97"/>
                  <a:pt x="1673" y="97"/>
                  <a:pt x="1673" y="98"/>
                </a:cubicBezTo>
                <a:close/>
                <a:moveTo>
                  <a:pt x="580" y="97"/>
                </a:moveTo>
                <a:cubicBezTo>
                  <a:pt x="580" y="97"/>
                  <a:pt x="579" y="97"/>
                  <a:pt x="579" y="98"/>
                </a:cubicBezTo>
                <a:cubicBezTo>
                  <a:pt x="580" y="98"/>
                  <a:pt x="580" y="98"/>
                  <a:pt x="580" y="97"/>
                </a:cubicBezTo>
                <a:close/>
                <a:moveTo>
                  <a:pt x="1702" y="12"/>
                </a:moveTo>
                <a:cubicBezTo>
                  <a:pt x="1702" y="12"/>
                  <a:pt x="1702" y="12"/>
                  <a:pt x="1702" y="12"/>
                </a:cubicBezTo>
                <a:cubicBezTo>
                  <a:pt x="1702" y="12"/>
                  <a:pt x="1702" y="12"/>
                  <a:pt x="1702" y="12"/>
                </a:cubicBezTo>
                <a:close/>
                <a:moveTo>
                  <a:pt x="972" y="98"/>
                </a:moveTo>
                <a:cubicBezTo>
                  <a:pt x="972" y="97"/>
                  <a:pt x="972" y="97"/>
                  <a:pt x="972" y="97"/>
                </a:cubicBezTo>
                <a:cubicBezTo>
                  <a:pt x="972" y="98"/>
                  <a:pt x="972" y="98"/>
                  <a:pt x="972" y="98"/>
                </a:cubicBezTo>
                <a:close/>
                <a:moveTo>
                  <a:pt x="1082" y="97"/>
                </a:moveTo>
                <a:cubicBezTo>
                  <a:pt x="1082" y="97"/>
                  <a:pt x="1082" y="97"/>
                  <a:pt x="1082" y="98"/>
                </a:cubicBezTo>
                <a:cubicBezTo>
                  <a:pt x="1082" y="98"/>
                  <a:pt x="1082" y="98"/>
                  <a:pt x="1082" y="97"/>
                </a:cubicBezTo>
                <a:close/>
                <a:moveTo>
                  <a:pt x="614" y="62"/>
                </a:moveTo>
                <a:cubicBezTo>
                  <a:pt x="614" y="62"/>
                  <a:pt x="614" y="62"/>
                  <a:pt x="614" y="63"/>
                </a:cubicBezTo>
                <a:cubicBezTo>
                  <a:pt x="614" y="62"/>
                  <a:pt x="614" y="62"/>
                  <a:pt x="614" y="62"/>
                </a:cubicBezTo>
                <a:close/>
                <a:moveTo>
                  <a:pt x="1686" y="97"/>
                </a:moveTo>
                <a:cubicBezTo>
                  <a:pt x="1686" y="98"/>
                  <a:pt x="1686" y="98"/>
                  <a:pt x="1686" y="98"/>
                </a:cubicBezTo>
                <a:cubicBezTo>
                  <a:pt x="1686" y="98"/>
                  <a:pt x="1686" y="97"/>
                  <a:pt x="1686" y="97"/>
                </a:cubicBezTo>
                <a:close/>
                <a:moveTo>
                  <a:pt x="631" y="98"/>
                </a:moveTo>
                <a:cubicBezTo>
                  <a:pt x="630" y="98"/>
                  <a:pt x="630" y="98"/>
                  <a:pt x="630" y="98"/>
                </a:cubicBezTo>
                <a:cubicBezTo>
                  <a:pt x="631" y="98"/>
                  <a:pt x="631" y="98"/>
                  <a:pt x="631" y="98"/>
                </a:cubicBezTo>
                <a:close/>
                <a:moveTo>
                  <a:pt x="800" y="98"/>
                </a:moveTo>
                <a:cubicBezTo>
                  <a:pt x="800" y="98"/>
                  <a:pt x="799" y="98"/>
                  <a:pt x="799" y="98"/>
                </a:cubicBezTo>
                <a:cubicBezTo>
                  <a:pt x="799" y="98"/>
                  <a:pt x="800" y="98"/>
                  <a:pt x="800" y="98"/>
                </a:cubicBezTo>
                <a:close/>
                <a:moveTo>
                  <a:pt x="973" y="98"/>
                </a:moveTo>
                <a:cubicBezTo>
                  <a:pt x="973" y="98"/>
                  <a:pt x="973" y="98"/>
                  <a:pt x="972" y="98"/>
                </a:cubicBezTo>
                <a:cubicBezTo>
                  <a:pt x="972" y="98"/>
                  <a:pt x="973" y="98"/>
                  <a:pt x="973" y="98"/>
                </a:cubicBezTo>
                <a:close/>
                <a:moveTo>
                  <a:pt x="1042" y="98"/>
                </a:moveTo>
                <a:cubicBezTo>
                  <a:pt x="1042" y="98"/>
                  <a:pt x="1041" y="98"/>
                  <a:pt x="1041" y="98"/>
                </a:cubicBezTo>
                <a:cubicBezTo>
                  <a:pt x="1041" y="98"/>
                  <a:pt x="1041" y="98"/>
                  <a:pt x="1042" y="98"/>
                </a:cubicBezTo>
                <a:close/>
                <a:moveTo>
                  <a:pt x="1082" y="98"/>
                </a:moveTo>
                <a:cubicBezTo>
                  <a:pt x="1082" y="98"/>
                  <a:pt x="1081" y="98"/>
                  <a:pt x="1081" y="98"/>
                </a:cubicBezTo>
                <a:cubicBezTo>
                  <a:pt x="1081" y="98"/>
                  <a:pt x="1082" y="98"/>
                  <a:pt x="1082" y="98"/>
                </a:cubicBezTo>
                <a:close/>
                <a:moveTo>
                  <a:pt x="1260" y="98"/>
                </a:moveTo>
                <a:cubicBezTo>
                  <a:pt x="1259" y="98"/>
                  <a:pt x="1259" y="98"/>
                  <a:pt x="1259" y="98"/>
                </a:cubicBezTo>
                <a:cubicBezTo>
                  <a:pt x="1259" y="98"/>
                  <a:pt x="1260" y="98"/>
                  <a:pt x="1260" y="98"/>
                </a:cubicBezTo>
                <a:close/>
                <a:moveTo>
                  <a:pt x="1673" y="98"/>
                </a:moveTo>
                <a:cubicBezTo>
                  <a:pt x="1673" y="98"/>
                  <a:pt x="1673" y="98"/>
                  <a:pt x="1673" y="98"/>
                </a:cubicBezTo>
                <a:cubicBezTo>
                  <a:pt x="1673" y="98"/>
                  <a:pt x="1673" y="98"/>
                  <a:pt x="1673" y="98"/>
                </a:cubicBezTo>
                <a:close/>
                <a:moveTo>
                  <a:pt x="579" y="98"/>
                </a:moveTo>
                <a:cubicBezTo>
                  <a:pt x="579" y="98"/>
                  <a:pt x="578" y="98"/>
                  <a:pt x="578" y="98"/>
                </a:cubicBezTo>
                <a:cubicBezTo>
                  <a:pt x="578" y="98"/>
                  <a:pt x="579" y="98"/>
                  <a:pt x="579" y="98"/>
                </a:cubicBezTo>
                <a:close/>
                <a:moveTo>
                  <a:pt x="1384" y="43"/>
                </a:moveTo>
                <a:cubicBezTo>
                  <a:pt x="1384" y="43"/>
                  <a:pt x="1384" y="43"/>
                  <a:pt x="1384" y="42"/>
                </a:cubicBezTo>
                <a:cubicBezTo>
                  <a:pt x="1384" y="43"/>
                  <a:pt x="1384" y="43"/>
                  <a:pt x="1384" y="43"/>
                </a:cubicBezTo>
                <a:close/>
                <a:moveTo>
                  <a:pt x="645" y="62"/>
                </a:moveTo>
                <a:cubicBezTo>
                  <a:pt x="645" y="62"/>
                  <a:pt x="645" y="62"/>
                  <a:pt x="645" y="63"/>
                </a:cubicBezTo>
                <a:cubicBezTo>
                  <a:pt x="645" y="62"/>
                  <a:pt x="645" y="62"/>
                  <a:pt x="645" y="62"/>
                </a:cubicBezTo>
                <a:close/>
                <a:moveTo>
                  <a:pt x="799" y="98"/>
                </a:moveTo>
                <a:cubicBezTo>
                  <a:pt x="799" y="98"/>
                  <a:pt x="799" y="98"/>
                  <a:pt x="799" y="98"/>
                </a:cubicBezTo>
                <a:cubicBezTo>
                  <a:pt x="799" y="98"/>
                  <a:pt x="799" y="98"/>
                  <a:pt x="799" y="98"/>
                </a:cubicBezTo>
                <a:close/>
                <a:moveTo>
                  <a:pt x="974" y="98"/>
                </a:moveTo>
                <a:cubicBezTo>
                  <a:pt x="973" y="98"/>
                  <a:pt x="973" y="98"/>
                  <a:pt x="973" y="98"/>
                </a:cubicBezTo>
                <a:cubicBezTo>
                  <a:pt x="973" y="98"/>
                  <a:pt x="973" y="98"/>
                  <a:pt x="974" y="98"/>
                </a:cubicBezTo>
                <a:close/>
                <a:moveTo>
                  <a:pt x="1220" y="98"/>
                </a:moveTo>
                <a:cubicBezTo>
                  <a:pt x="1220" y="98"/>
                  <a:pt x="1220" y="98"/>
                  <a:pt x="1219" y="98"/>
                </a:cubicBezTo>
                <a:cubicBezTo>
                  <a:pt x="1219" y="98"/>
                  <a:pt x="1220" y="98"/>
                  <a:pt x="1220" y="98"/>
                </a:cubicBezTo>
                <a:close/>
                <a:moveTo>
                  <a:pt x="1686" y="98"/>
                </a:moveTo>
                <a:cubicBezTo>
                  <a:pt x="1686" y="98"/>
                  <a:pt x="1687" y="99"/>
                  <a:pt x="1687" y="99"/>
                </a:cubicBezTo>
                <a:cubicBezTo>
                  <a:pt x="1687" y="98"/>
                  <a:pt x="1687" y="98"/>
                  <a:pt x="1686" y="98"/>
                </a:cubicBezTo>
                <a:close/>
                <a:moveTo>
                  <a:pt x="617" y="99"/>
                </a:moveTo>
                <a:cubicBezTo>
                  <a:pt x="617" y="99"/>
                  <a:pt x="617" y="99"/>
                  <a:pt x="617" y="98"/>
                </a:cubicBezTo>
                <a:cubicBezTo>
                  <a:pt x="617" y="99"/>
                  <a:pt x="617" y="99"/>
                  <a:pt x="617" y="99"/>
                </a:cubicBezTo>
                <a:close/>
                <a:moveTo>
                  <a:pt x="692" y="98"/>
                </a:moveTo>
                <a:cubicBezTo>
                  <a:pt x="692" y="98"/>
                  <a:pt x="692" y="98"/>
                  <a:pt x="692" y="99"/>
                </a:cubicBezTo>
                <a:cubicBezTo>
                  <a:pt x="692" y="99"/>
                  <a:pt x="692" y="99"/>
                  <a:pt x="692" y="98"/>
                </a:cubicBezTo>
                <a:close/>
                <a:moveTo>
                  <a:pt x="974" y="99"/>
                </a:moveTo>
                <a:cubicBezTo>
                  <a:pt x="974" y="98"/>
                  <a:pt x="974" y="98"/>
                  <a:pt x="974" y="98"/>
                </a:cubicBezTo>
                <a:cubicBezTo>
                  <a:pt x="974" y="99"/>
                  <a:pt x="974" y="99"/>
                  <a:pt x="974" y="99"/>
                </a:cubicBezTo>
                <a:close/>
                <a:moveTo>
                  <a:pt x="1043" y="99"/>
                </a:moveTo>
                <a:cubicBezTo>
                  <a:pt x="1043" y="99"/>
                  <a:pt x="1042" y="98"/>
                  <a:pt x="1042" y="98"/>
                </a:cubicBezTo>
                <a:cubicBezTo>
                  <a:pt x="1042" y="99"/>
                  <a:pt x="1043" y="99"/>
                  <a:pt x="1043" y="99"/>
                </a:cubicBezTo>
                <a:close/>
                <a:moveTo>
                  <a:pt x="1081" y="98"/>
                </a:moveTo>
                <a:cubicBezTo>
                  <a:pt x="1080" y="98"/>
                  <a:pt x="1080" y="98"/>
                  <a:pt x="1080" y="99"/>
                </a:cubicBezTo>
                <a:cubicBezTo>
                  <a:pt x="1080" y="99"/>
                  <a:pt x="1081" y="99"/>
                  <a:pt x="1081" y="98"/>
                </a:cubicBezTo>
                <a:close/>
                <a:moveTo>
                  <a:pt x="1259" y="98"/>
                </a:moveTo>
                <a:cubicBezTo>
                  <a:pt x="1258" y="98"/>
                  <a:pt x="1258" y="98"/>
                  <a:pt x="1258" y="99"/>
                </a:cubicBezTo>
                <a:cubicBezTo>
                  <a:pt x="1258" y="99"/>
                  <a:pt x="1259" y="99"/>
                  <a:pt x="1259" y="98"/>
                </a:cubicBezTo>
                <a:close/>
                <a:moveTo>
                  <a:pt x="661" y="62"/>
                </a:moveTo>
                <a:cubicBezTo>
                  <a:pt x="661" y="62"/>
                  <a:pt x="661" y="62"/>
                  <a:pt x="661" y="62"/>
                </a:cubicBezTo>
                <a:cubicBezTo>
                  <a:pt x="661" y="62"/>
                  <a:pt x="661" y="62"/>
                  <a:pt x="661" y="62"/>
                </a:cubicBezTo>
                <a:close/>
                <a:moveTo>
                  <a:pt x="1455" y="98"/>
                </a:moveTo>
                <a:cubicBezTo>
                  <a:pt x="1455" y="98"/>
                  <a:pt x="1455" y="98"/>
                  <a:pt x="1455" y="99"/>
                </a:cubicBezTo>
                <a:cubicBezTo>
                  <a:pt x="1455" y="99"/>
                  <a:pt x="1455" y="99"/>
                  <a:pt x="1455" y="98"/>
                </a:cubicBezTo>
                <a:close/>
                <a:moveTo>
                  <a:pt x="1674" y="99"/>
                </a:moveTo>
                <a:cubicBezTo>
                  <a:pt x="1674" y="99"/>
                  <a:pt x="1674" y="99"/>
                  <a:pt x="1673" y="98"/>
                </a:cubicBezTo>
                <a:cubicBezTo>
                  <a:pt x="1673" y="99"/>
                  <a:pt x="1673" y="99"/>
                  <a:pt x="1674" y="99"/>
                </a:cubicBezTo>
                <a:close/>
                <a:moveTo>
                  <a:pt x="578" y="99"/>
                </a:moveTo>
                <a:cubicBezTo>
                  <a:pt x="577" y="99"/>
                  <a:pt x="577" y="99"/>
                  <a:pt x="577" y="99"/>
                </a:cubicBezTo>
                <a:cubicBezTo>
                  <a:pt x="577" y="99"/>
                  <a:pt x="578" y="99"/>
                  <a:pt x="578" y="99"/>
                </a:cubicBezTo>
                <a:close/>
                <a:moveTo>
                  <a:pt x="630" y="99"/>
                </a:moveTo>
                <a:cubicBezTo>
                  <a:pt x="630" y="99"/>
                  <a:pt x="630" y="99"/>
                  <a:pt x="630" y="99"/>
                </a:cubicBezTo>
                <a:cubicBezTo>
                  <a:pt x="630" y="99"/>
                  <a:pt x="630" y="99"/>
                  <a:pt x="630" y="99"/>
                </a:cubicBezTo>
                <a:close/>
                <a:moveTo>
                  <a:pt x="761" y="99"/>
                </a:moveTo>
                <a:cubicBezTo>
                  <a:pt x="761" y="99"/>
                  <a:pt x="761" y="99"/>
                  <a:pt x="761" y="99"/>
                </a:cubicBezTo>
                <a:cubicBezTo>
                  <a:pt x="761" y="99"/>
                  <a:pt x="761" y="99"/>
                  <a:pt x="761" y="99"/>
                </a:cubicBezTo>
                <a:close/>
                <a:moveTo>
                  <a:pt x="798" y="99"/>
                </a:moveTo>
                <a:cubicBezTo>
                  <a:pt x="798" y="99"/>
                  <a:pt x="798" y="99"/>
                  <a:pt x="797" y="99"/>
                </a:cubicBezTo>
                <a:cubicBezTo>
                  <a:pt x="798" y="99"/>
                  <a:pt x="798" y="99"/>
                  <a:pt x="798" y="99"/>
                </a:cubicBezTo>
                <a:close/>
                <a:moveTo>
                  <a:pt x="975" y="99"/>
                </a:moveTo>
                <a:cubicBezTo>
                  <a:pt x="975" y="99"/>
                  <a:pt x="975" y="99"/>
                  <a:pt x="974" y="99"/>
                </a:cubicBezTo>
                <a:cubicBezTo>
                  <a:pt x="974" y="99"/>
                  <a:pt x="975" y="99"/>
                  <a:pt x="975" y="99"/>
                </a:cubicBezTo>
                <a:close/>
                <a:moveTo>
                  <a:pt x="1019" y="99"/>
                </a:moveTo>
                <a:cubicBezTo>
                  <a:pt x="1019" y="99"/>
                  <a:pt x="1018" y="99"/>
                  <a:pt x="1018" y="99"/>
                </a:cubicBezTo>
                <a:cubicBezTo>
                  <a:pt x="1018" y="99"/>
                  <a:pt x="1019" y="99"/>
                  <a:pt x="1019" y="99"/>
                </a:cubicBezTo>
                <a:close/>
                <a:moveTo>
                  <a:pt x="1080" y="99"/>
                </a:moveTo>
                <a:cubicBezTo>
                  <a:pt x="1080" y="99"/>
                  <a:pt x="1080" y="99"/>
                  <a:pt x="1079" y="99"/>
                </a:cubicBezTo>
                <a:cubicBezTo>
                  <a:pt x="1080" y="99"/>
                  <a:pt x="1080" y="99"/>
                  <a:pt x="1080" y="99"/>
                </a:cubicBezTo>
                <a:close/>
                <a:moveTo>
                  <a:pt x="1221" y="99"/>
                </a:moveTo>
                <a:cubicBezTo>
                  <a:pt x="1221" y="99"/>
                  <a:pt x="1221" y="99"/>
                  <a:pt x="1220" y="99"/>
                </a:cubicBezTo>
                <a:cubicBezTo>
                  <a:pt x="1221" y="99"/>
                  <a:pt x="1221" y="99"/>
                  <a:pt x="1221" y="99"/>
                </a:cubicBezTo>
                <a:close/>
                <a:moveTo>
                  <a:pt x="1258" y="99"/>
                </a:moveTo>
                <a:cubicBezTo>
                  <a:pt x="1258" y="99"/>
                  <a:pt x="1257" y="99"/>
                  <a:pt x="1257" y="99"/>
                </a:cubicBezTo>
                <a:cubicBezTo>
                  <a:pt x="1258" y="99"/>
                  <a:pt x="1258" y="99"/>
                  <a:pt x="1258" y="99"/>
                </a:cubicBezTo>
                <a:close/>
                <a:moveTo>
                  <a:pt x="1687" y="99"/>
                </a:moveTo>
                <a:cubicBezTo>
                  <a:pt x="1687" y="99"/>
                  <a:pt x="1687" y="99"/>
                  <a:pt x="1687" y="99"/>
                </a:cubicBezTo>
                <a:cubicBezTo>
                  <a:pt x="1687" y="99"/>
                  <a:pt x="1687" y="99"/>
                  <a:pt x="1687" y="99"/>
                </a:cubicBezTo>
                <a:close/>
                <a:moveTo>
                  <a:pt x="577" y="99"/>
                </a:moveTo>
                <a:cubicBezTo>
                  <a:pt x="577" y="99"/>
                  <a:pt x="577" y="99"/>
                  <a:pt x="576" y="99"/>
                </a:cubicBezTo>
                <a:cubicBezTo>
                  <a:pt x="577" y="99"/>
                  <a:pt x="577" y="99"/>
                  <a:pt x="577" y="99"/>
                </a:cubicBezTo>
                <a:close/>
                <a:moveTo>
                  <a:pt x="691" y="99"/>
                </a:moveTo>
                <a:cubicBezTo>
                  <a:pt x="691" y="99"/>
                  <a:pt x="691" y="99"/>
                  <a:pt x="691" y="99"/>
                </a:cubicBezTo>
                <a:cubicBezTo>
                  <a:pt x="691" y="99"/>
                  <a:pt x="691" y="99"/>
                  <a:pt x="691" y="99"/>
                </a:cubicBezTo>
                <a:close/>
                <a:moveTo>
                  <a:pt x="797" y="99"/>
                </a:moveTo>
                <a:cubicBezTo>
                  <a:pt x="797" y="99"/>
                  <a:pt x="797" y="99"/>
                  <a:pt x="797" y="99"/>
                </a:cubicBezTo>
                <a:cubicBezTo>
                  <a:pt x="797" y="99"/>
                  <a:pt x="797" y="99"/>
                  <a:pt x="797" y="99"/>
                </a:cubicBezTo>
                <a:close/>
                <a:moveTo>
                  <a:pt x="976" y="99"/>
                </a:moveTo>
                <a:cubicBezTo>
                  <a:pt x="976" y="99"/>
                  <a:pt x="975" y="99"/>
                  <a:pt x="975" y="99"/>
                </a:cubicBezTo>
                <a:cubicBezTo>
                  <a:pt x="975" y="99"/>
                  <a:pt x="975" y="99"/>
                  <a:pt x="976" y="99"/>
                </a:cubicBezTo>
                <a:close/>
                <a:moveTo>
                  <a:pt x="1018" y="99"/>
                </a:moveTo>
                <a:cubicBezTo>
                  <a:pt x="1018" y="99"/>
                  <a:pt x="1018" y="99"/>
                  <a:pt x="1017" y="99"/>
                </a:cubicBezTo>
                <a:cubicBezTo>
                  <a:pt x="1018" y="99"/>
                  <a:pt x="1018" y="99"/>
                  <a:pt x="1018" y="99"/>
                </a:cubicBezTo>
                <a:close/>
                <a:moveTo>
                  <a:pt x="1044" y="99"/>
                </a:moveTo>
                <a:cubicBezTo>
                  <a:pt x="1044" y="99"/>
                  <a:pt x="1044" y="99"/>
                  <a:pt x="1043" y="99"/>
                </a:cubicBezTo>
                <a:cubicBezTo>
                  <a:pt x="1043" y="99"/>
                  <a:pt x="1044" y="99"/>
                  <a:pt x="1044" y="99"/>
                </a:cubicBezTo>
                <a:close/>
                <a:moveTo>
                  <a:pt x="1079" y="99"/>
                </a:moveTo>
                <a:cubicBezTo>
                  <a:pt x="1079" y="99"/>
                  <a:pt x="1079" y="99"/>
                  <a:pt x="1079" y="99"/>
                </a:cubicBezTo>
                <a:cubicBezTo>
                  <a:pt x="1079" y="99"/>
                  <a:pt x="1079" y="99"/>
                  <a:pt x="1079" y="99"/>
                </a:cubicBezTo>
                <a:close/>
                <a:moveTo>
                  <a:pt x="1222" y="99"/>
                </a:moveTo>
                <a:cubicBezTo>
                  <a:pt x="1222" y="99"/>
                  <a:pt x="1221" y="99"/>
                  <a:pt x="1221" y="99"/>
                </a:cubicBezTo>
                <a:cubicBezTo>
                  <a:pt x="1221" y="99"/>
                  <a:pt x="1221" y="99"/>
                  <a:pt x="1222" y="99"/>
                </a:cubicBezTo>
                <a:close/>
                <a:moveTo>
                  <a:pt x="1257" y="99"/>
                </a:moveTo>
                <a:cubicBezTo>
                  <a:pt x="1257" y="99"/>
                  <a:pt x="1257" y="99"/>
                  <a:pt x="1257" y="99"/>
                </a:cubicBezTo>
                <a:cubicBezTo>
                  <a:pt x="1257" y="99"/>
                  <a:pt x="1257" y="99"/>
                  <a:pt x="1257" y="99"/>
                </a:cubicBezTo>
                <a:close/>
                <a:moveTo>
                  <a:pt x="1454" y="99"/>
                </a:moveTo>
                <a:cubicBezTo>
                  <a:pt x="1454" y="99"/>
                  <a:pt x="1454" y="99"/>
                  <a:pt x="1454" y="99"/>
                </a:cubicBezTo>
                <a:cubicBezTo>
                  <a:pt x="1454" y="99"/>
                  <a:pt x="1454" y="99"/>
                  <a:pt x="1454" y="99"/>
                </a:cubicBezTo>
                <a:close/>
                <a:moveTo>
                  <a:pt x="1674" y="100"/>
                </a:moveTo>
                <a:cubicBezTo>
                  <a:pt x="1674" y="99"/>
                  <a:pt x="1674" y="99"/>
                  <a:pt x="1674" y="99"/>
                </a:cubicBezTo>
                <a:cubicBezTo>
                  <a:pt x="1674" y="99"/>
                  <a:pt x="1674" y="100"/>
                  <a:pt x="1674" y="100"/>
                </a:cubicBezTo>
                <a:close/>
                <a:moveTo>
                  <a:pt x="576" y="99"/>
                </a:moveTo>
                <a:cubicBezTo>
                  <a:pt x="576" y="99"/>
                  <a:pt x="576" y="99"/>
                  <a:pt x="576" y="100"/>
                </a:cubicBezTo>
                <a:cubicBezTo>
                  <a:pt x="576" y="100"/>
                  <a:pt x="576" y="100"/>
                  <a:pt x="576" y="99"/>
                </a:cubicBezTo>
                <a:close/>
                <a:moveTo>
                  <a:pt x="618" y="100"/>
                </a:moveTo>
                <a:cubicBezTo>
                  <a:pt x="618" y="100"/>
                  <a:pt x="618" y="99"/>
                  <a:pt x="618" y="99"/>
                </a:cubicBezTo>
                <a:cubicBezTo>
                  <a:pt x="618" y="100"/>
                  <a:pt x="618" y="100"/>
                  <a:pt x="618" y="100"/>
                </a:cubicBezTo>
                <a:close/>
                <a:moveTo>
                  <a:pt x="630" y="99"/>
                </a:moveTo>
                <a:cubicBezTo>
                  <a:pt x="630" y="100"/>
                  <a:pt x="630" y="100"/>
                  <a:pt x="630" y="100"/>
                </a:cubicBezTo>
                <a:cubicBezTo>
                  <a:pt x="630" y="100"/>
                  <a:pt x="630" y="100"/>
                  <a:pt x="630" y="99"/>
                </a:cubicBezTo>
                <a:close/>
                <a:moveTo>
                  <a:pt x="659" y="100"/>
                </a:moveTo>
                <a:cubicBezTo>
                  <a:pt x="659" y="99"/>
                  <a:pt x="659" y="99"/>
                  <a:pt x="659" y="99"/>
                </a:cubicBezTo>
                <a:cubicBezTo>
                  <a:pt x="659" y="100"/>
                  <a:pt x="659" y="100"/>
                  <a:pt x="659" y="100"/>
                </a:cubicBezTo>
                <a:close/>
                <a:moveTo>
                  <a:pt x="762" y="100"/>
                </a:moveTo>
                <a:cubicBezTo>
                  <a:pt x="762" y="99"/>
                  <a:pt x="762" y="99"/>
                  <a:pt x="762" y="99"/>
                </a:cubicBezTo>
                <a:cubicBezTo>
                  <a:pt x="762" y="100"/>
                  <a:pt x="762" y="100"/>
                  <a:pt x="762" y="100"/>
                </a:cubicBezTo>
                <a:close/>
                <a:moveTo>
                  <a:pt x="797" y="99"/>
                </a:moveTo>
                <a:cubicBezTo>
                  <a:pt x="796" y="99"/>
                  <a:pt x="796" y="99"/>
                  <a:pt x="796" y="100"/>
                </a:cubicBezTo>
                <a:cubicBezTo>
                  <a:pt x="796" y="100"/>
                  <a:pt x="797" y="100"/>
                  <a:pt x="797" y="99"/>
                </a:cubicBezTo>
                <a:close/>
                <a:moveTo>
                  <a:pt x="977" y="100"/>
                </a:moveTo>
                <a:cubicBezTo>
                  <a:pt x="976" y="99"/>
                  <a:pt x="976" y="99"/>
                  <a:pt x="976" y="99"/>
                </a:cubicBezTo>
                <a:cubicBezTo>
                  <a:pt x="976" y="100"/>
                  <a:pt x="976" y="100"/>
                  <a:pt x="977" y="100"/>
                </a:cubicBezTo>
                <a:close/>
                <a:moveTo>
                  <a:pt x="973" y="13"/>
                </a:moveTo>
                <a:cubicBezTo>
                  <a:pt x="973" y="13"/>
                  <a:pt x="973" y="13"/>
                  <a:pt x="974" y="12"/>
                </a:cubicBezTo>
                <a:cubicBezTo>
                  <a:pt x="973" y="12"/>
                  <a:pt x="973" y="12"/>
                  <a:pt x="973" y="13"/>
                </a:cubicBezTo>
                <a:close/>
                <a:moveTo>
                  <a:pt x="1045" y="100"/>
                </a:moveTo>
                <a:cubicBezTo>
                  <a:pt x="1044" y="100"/>
                  <a:pt x="1044" y="99"/>
                  <a:pt x="1044" y="99"/>
                </a:cubicBezTo>
                <a:cubicBezTo>
                  <a:pt x="1044" y="100"/>
                  <a:pt x="1044" y="100"/>
                  <a:pt x="1045" y="100"/>
                </a:cubicBezTo>
                <a:close/>
                <a:moveTo>
                  <a:pt x="1079" y="99"/>
                </a:moveTo>
                <a:cubicBezTo>
                  <a:pt x="1078" y="99"/>
                  <a:pt x="1078" y="99"/>
                  <a:pt x="1078" y="100"/>
                </a:cubicBezTo>
                <a:cubicBezTo>
                  <a:pt x="1078" y="100"/>
                  <a:pt x="1079" y="100"/>
                  <a:pt x="1079" y="99"/>
                </a:cubicBezTo>
                <a:close/>
                <a:moveTo>
                  <a:pt x="1257" y="99"/>
                </a:moveTo>
                <a:cubicBezTo>
                  <a:pt x="1256" y="99"/>
                  <a:pt x="1256" y="99"/>
                  <a:pt x="1256" y="100"/>
                </a:cubicBezTo>
                <a:cubicBezTo>
                  <a:pt x="1256" y="100"/>
                  <a:pt x="1256" y="100"/>
                  <a:pt x="1257" y="99"/>
                </a:cubicBezTo>
                <a:close/>
                <a:moveTo>
                  <a:pt x="1426" y="100"/>
                </a:moveTo>
                <a:cubicBezTo>
                  <a:pt x="1426" y="99"/>
                  <a:pt x="1425" y="99"/>
                  <a:pt x="1425" y="99"/>
                </a:cubicBezTo>
                <a:cubicBezTo>
                  <a:pt x="1425" y="100"/>
                  <a:pt x="1425" y="100"/>
                  <a:pt x="1426" y="100"/>
                </a:cubicBezTo>
                <a:close/>
                <a:moveTo>
                  <a:pt x="1687" y="99"/>
                </a:moveTo>
                <a:cubicBezTo>
                  <a:pt x="1687" y="100"/>
                  <a:pt x="1687" y="100"/>
                  <a:pt x="1687" y="100"/>
                </a:cubicBezTo>
                <a:cubicBezTo>
                  <a:pt x="1688" y="100"/>
                  <a:pt x="1687" y="100"/>
                  <a:pt x="1687" y="99"/>
                </a:cubicBezTo>
                <a:close/>
                <a:moveTo>
                  <a:pt x="576" y="100"/>
                </a:moveTo>
                <a:cubicBezTo>
                  <a:pt x="575" y="100"/>
                  <a:pt x="575" y="100"/>
                  <a:pt x="575" y="100"/>
                </a:cubicBezTo>
                <a:cubicBezTo>
                  <a:pt x="575" y="100"/>
                  <a:pt x="576" y="100"/>
                  <a:pt x="576" y="100"/>
                </a:cubicBezTo>
                <a:close/>
                <a:moveTo>
                  <a:pt x="660" y="100"/>
                </a:moveTo>
                <a:cubicBezTo>
                  <a:pt x="660" y="100"/>
                  <a:pt x="660" y="100"/>
                  <a:pt x="659" y="100"/>
                </a:cubicBezTo>
                <a:cubicBezTo>
                  <a:pt x="659" y="100"/>
                  <a:pt x="660" y="100"/>
                  <a:pt x="660" y="100"/>
                </a:cubicBezTo>
                <a:close/>
                <a:moveTo>
                  <a:pt x="763" y="100"/>
                </a:moveTo>
                <a:cubicBezTo>
                  <a:pt x="763" y="100"/>
                  <a:pt x="763" y="100"/>
                  <a:pt x="762" y="100"/>
                </a:cubicBezTo>
                <a:cubicBezTo>
                  <a:pt x="762" y="100"/>
                  <a:pt x="763" y="100"/>
                  <a:pt x="763" y="100"/>
                </a:cubicBezTo>
                <a:close/>
                <a:moveTo>
                  <a:pt x="796" y="100"/>
                </a:moveTo>
                <a:cubicBezTo>
                  <a:pt x="796" y="100"/>
                  <a:pt x="795" y="100"/>
                  <a:pt x="795" y="100"/>
                </a:cubicBezTo>
                <a:cubicBezTo>
                  <a:pt x="796" y="100"/>
                  <a:pt x="796" y="100"/>
                  <a:pt x="796" y="100"/>
                </a:cubicBezTo>
                <a:close/>
                <a:moveTo>
                  <a:pt x="977" y="100"/>
                </a:moveTo>
                <a:cubicBezTo>
                  <a:pt x="977" y="100"/>
                  <a:pt x="977" y="100"/>
                  <a:pt x="977" y="100"/>
                </a:cubicBezTo>
                <a:cubicBezTo>
                  <a:pt x="977" y="100"/>
                  <a:pt x="977" y="100"/>
                  <a:pt x="977" y="100"/>
                </a:cubicBezTo>
                <a:close/>
                <a:moveTo>
                  <a:pt x="1016" y="100"/>
                </a:moveTo>
                <a:cubicBezTo>
                  <a:pt x="1016" y="100"/>
                  <a:pt x="1016" y="100"/>
                  <a:pt x="1016" y="100"/>
                </a:cubicBezTo>
                <a:cubicBezTo>
                  <a:pt x="1016" y="100"/>
                  <a:pt x="1016" y="100"/>
                  <a:pt x="1016" y="100"/>
                </a:cubicBezTo>
                <a:close/>
                <a:moveTo>
                  <a:pt x="1078" y="100"/>
                </a:moveTo>
                <a:cubicBezTo>
                  <a:pt x="1078" y="100"/>
                  <a:pt x="1077" y="100"/>
                  <a:pt x="1077" y="100"/>
                </a:cubicBezTo>
                <a:cubicBezTo>
                  <a:pt x="1078" y="100"/>
                  <a:pt x="1078" y="100"/>
                  <a:pt x="1078" y="100"/>
                </a:cubicBezTo>
                <a:close/>
                <a:moveTo>
                  <a:pt x="1181" y="100"/>
                </a:moveTo>
                <a:cubicBezTo>
                  <a:pt x="1181" y="100"/>
                  <a:pt x="1181" y="100"/>
                  <a:pt x="1180" y="100"/>
                </a:cubicBezTo>
                <a:cubicBezTo>
                  <a:pt x="1180" y="100"/>
                  <a:pt x="1181" y="100"/>
                  <a:pt x="1181" y="100"/>
                </a:cubicBezTo>
                <a:close/>
                <a:moveTo>
                  <a:pt x="1256" y="100"/>
                </a:moveTo>
                <a:cubicBezTo>
                  <a:pt x="1256" y="100"/>
                  <a:pt x="1255" y="100"/>
                  <a:pt x="1255" y="100"/>
                </a:cubicBezTo>
                <a:cubicBezTo>
                  <a:pt x="1255" y="100"/>
                  <a:pt x="1256" y="100"/>
                  <a:pt x="1256" y="100"/>
                </a:cubicBezTo>
                <a:close/>
                <a:moveTo>
                  <a:pt x="1426" y="100"/>
                </a:moveTo>
                <a:cubicBezTo>
                  <a:pt x="1426" y="100"/>
                  <a:pt x="1426" y="100"/>
                  <a:pt x="1426" y="100"/>
                </a:cubicBezTo>
                <a:cubicBezTo>
                  <a:pt x="1426" y="100"/>
                  <a:pt x="1426" y="100"/>
                  <a:pt x="1426" y="100"/>
                </a:cubicBezTo>
                <a:close/>
                <a:moveTo>
                  <a:pt x="1453" y="100"/>
                </a:moveTo>
                <a:cubicBezTo>
                  <a:pt x="1453" y="100"/>
                  <a:pt x="1453" y="100"/>
                  <a:pt x="1453" y="100"/>
                </a:cubicBezTo>
                <a:cubicBezTo>
                  <a:pt x="1453" y="100"/>
                  <a:pt x="1453" y="100"/>
                  <a:pt x="1453" y="100"/>
                </a:cubicBezTo>
                <a:close/>
                <a:moveTo>
                  <a:pt x="575" y="100"/>
                </a:moveTo>
                <a:cubicBezTo>
                  <a:pt x="575" y="100"/>
                  <a:pt x="574" y="100"/>
                  <a:pt x="574" y="100"/>
                </a:cubicBezTo>
                <a:cubicBezTo>
                  <a:pt x="574" y="100"/>
                  <a:pt x="575" y="100"/>
                  <a:pt x="575" y="100"/>
                </a:cubicBezTo>
                <a:close/>
                <a:moveTo>
                  <a:pt x="618" y="101"/>
                </a:moveTo>
                <a:cubicBezTo>
                  <a:pt x="618" y="101"/>
                  <a:pt x="618" y="100"/>
                  <a:pt x="618" y="100"/>
                </a:cubicBezTo>
                <a:cubicBezTo>
                  <a:pt x="618" y="100"/>
                  <a:pt x="618" y="101"/>
                  <a:pt x="618" y="101"/>
                </a:cubicBezTo>
                <a:close/>
                <a:moveTo>
                  <a:pt x="661" y="100"/>
                </a:moveTo>
                <a:cubicBezTo>
                  <a:pt x="661" y="100"/>
                  <a:pt x="660" y="100"/>
                  <a:pt x="660" y="100"/>
                </a:cubicBezTo>
                <a:cubicBezTo>
                  <a:pt x="660" y="100"/>
                  <a:pt x="660" y="100"/>
                  <a:pt x="661" y="100"/>
                </a:cubicBezTo>
                <a:close/>
                <a:moveTo>
                  <a:pt x="690" y="100"/>
                </a:moveTo>
                <a:cubicBezTo>
                  <a:pt x="689" y="100"/>
                  <a:pt x="689" y="100"/>
                  <a:pt x="689" y="100"/>
                </a:cubicBezTo>
                <a:cubicBezTo>
                  <a:pt x="689" y="100"/>
                  <a:pt x="689" y="100"/>
                  <a:pt x="690" y="100"/>
                </a:cubicBezTo>
                <a:close/>
                <a:moveTo>
                  <a:pt x="722" y="100"/>
                </a:moveTo>
                <a:cubicBezTo>
                  <a:pt x="721" y="100"/>
                  <a:pt x="721" y="100"/>
                  <a:pt x="721" y="100"/>
                </a:cubicBezTo>
                <a:cubicBezTo>
                  <a:pt x="721" y="100"/>
                  <a:pt x="721" y="100"/>
                  <a:pt x="722" y="100"/>
                </a:cubicBezTo>
                <a:close/>
                <a:moveTo>
                  <a:pt x="764" y="100"/>
                </a:moveTo>
                <a:cubicBezTo>
                  <a:pt x="764" y="100"/>
                  <a:pt x="763" y="100"/>
                  <a:pt x="763" y="100"/>
                </a:cubicBezTo>
                <a:cubicBezTo>
                  <a:pt x="763" y="100"/>
                  <a:pt x="763" y="100"/>
                  <a:pt x="764" y="100"/>
                </a:cubicBezTo>
                <a:close/>
                <a:moveTo>
                  <a:pt x="795" y="100"/>
                </a:moveTo>
                <a:cubicBezTo>
                  <a:pt x="795" y="100"/>
                  <a:pt x="794" y="100"/>
                  <a:pt x="794" y="100"/>
                </a:cubicBezTo>
                <a:cubicBezTo>
                  <a:pt x="795" y="100"/>
                  <a:pt x="795" y="100"/>
                  <a:pt x="795" y="100"/>
                </a:cubicBezTo>
                <a:close/>
                <a:moveTo>
                  <a:pt x="978" y="100"/>
                </a:moveTo>
                <a:cubicBezTo>
                  <a:pt x="978" y="100"/>
                  <a:pt x="978" y="100"/>
                  <a:pt x="977" y="100"/>
                </a:cubicBezTo>
                <a:cubicBezTo>
                  <a:pt x="978" y="100"/>
                  <a:pt x="978" y="100"/>
                  <a:pt x="978" y="100"/>
                </a:cubicBezTo>
                <a:close/>
                <a:moveTo>
                  <a:pt x="1015" y="100"/>
                </a:moveTo>
                <a:cubicBezTo>
                  <a:pt x="1015" y="100"/>
                  <a:pt x="1015" y="100"/>
                  <a:pt x="1015" y="100"/>
                </a:cubicBezTo>
                <a:cubicBezTo>
                  <a:pt x="1015" y="100"/>
                  <a:pt x="1015" y="100"/>
                  <a:pt x="1015" y="100"/>
                </a:cubicBezTo>
                <a:close/>
                <a:moveTo>
                  <a:pt x="1077" y="100"/>
                </a:moveTo>
                <a:cubicBezTo>
                  <a:pt x="1077" y="100"/>
                  <a:pt x="1077" y="100"/>
                  <a:pt x="1076" y="100"/>
                </a:cubicBezTo>
                <a:cubicBezTo>
                  <a:pt x="1077" y="100"/>
                  <a:pt x="1077" y="100"/>
                  <a:pt x="1077" y="100"/>
                </a:cubicBezTo>
                <a:close/>
                <a:moveTo>
                  <a:pt x="1224" y="100"/>
                </a:moveTo>
                <a:cubicBezTo>
                  <a:pt x="1223" y="100"/>
                  <a:pt x="1223" y="100"/>
                  <a:pt x="1223" y="100"/>
                </a:cubicBezTo>
                <a:cubicBezTo>
                  <a:pt x="1223" y="100"/>
                  <a:pt x="1223" y="100"/>
                  <a:pt x="1224" y="100"/>
                </a:cubicBezTo>
                <a:close/>
                <a:moveTo>
                  <a:pt x="832" y="49"/>
                </a:moveTo>
                <a:cubicBezTo>
                  <a:pt x="831" y="49"/>
                  <a:pt x="831" y="50"/>
                  <a:pt x="831" y="50"/>
                </a:cubicBezTo>
                <a:cubicBezTo>
                  <a:pt x="831" y="50"/>
                  <a:pt x="832" y="50"/>
                  <a:pt x="832" y="49"/>
                </a:cubicBezTo>
                <a:close/>
                <a:moveTo>
                  <a:pt x="1427" y="100"/>
                </a:moveTo>
                <a:cubicBezTo>
                  <a:pt x="1427" y="100"/>
                  <a:pt x="1427" y="100"/>
                  <a:pt x="1426" y="100"/>
                </a:cubicBezTo>
                <a:cubicBezTo>
                  <a:pt x="1427" y="100"/>
                  <a:pt x="1427" y="100"/>
                  <a:pt x="1427" y="100"/>
                </a:cubicBezTo>
                <a:close/>
                <a:moveTo>
                  <a:pt x="1453" y="100"/>
                </a:moveTo>
                <a:cubicBezTo>
                  <a:pt x="1452" y="100"/>
                  <a:pt x="1452" y="100"/>
                  <a:pt x="1452" y="100"/>
                </a:cubicBezTo>
                <a:cubicBezTo>
                  <a:pt x="1452" y="100"/>
                  <a:pt x="1452" y="100"/>
                  <a:pt x="1453" y="100"/>
                </a:cubicBezTo>
                <a:close/>
                <a:moveTo>
                  <a:pt x="1674" y="101"/>
                </a:moveTo>
                <a:cubicBezTo>
                  <a:pt x="1674" y="100"/>
                  <a:pt x="1674" y="100"/>
                  <a:pt x="1674" y="100"/>
                </a:cubicBezTo>
                <a:cubicBezTo>
                  <a:pt x="1674" y="100"/>
                  <a:pt x="1674" y="101"/>
                  <a:pt x="1674" y="101"/>
                </a:cubicBezTo>
                <a:close/>
                <a:moveTo>
                  <a:pt x="1687" y="100"/>
                </a:moveTo>
                <a:cubicBezTo>
                  <a:pt x="1687" y="100"/>
                  <a:pt x="1688" y="101"/>
                  <a:pt x="1688" y="101"/>
                </a:cubicBezTo>
                <a:cubicBezTo>
                  <a:pt x="1688" y="101"/>
                  <a:pt x="1688" y="100"/>
                  <a:pt x="1687" y="100"/>
                </a:cubicBezTo>
                <a:close/>
                <a:moveTo>
                  <a:pt x="574" y="100"/>
                </a:moveTo>
                <a:cubicBezTo>
                  <a:pt x="574" y="100"/>
                  <a:pt x="573" y="101"/>
                  <a:pt x="573" y="101"/>
                </a:cubicBezTo>
                <a:cubicBezTo>
                  <a:pt x="574" y="101"/>
                  <a:pt x="574" y="101"/>
                  <a:pt x="574" y="100"/>
                </a:cubicBezTo>
                <a:close/>
                <a:moveTo>
                  <a:pt x="630" y="100"/>
                </a:moveTo>
                <a:cubicBezTo>
                  <a:pt x="629" y="101"/>
                  <a:pt x="629" y="101"/>
                  <a:pt x="629" y="101"/>
                </a:cubicBezTo>
                <a:cubicBezTo>
                  <a:pt x="630" y="101"/>
                  <a:pt x="630" y="101"/>
                  <a:pt x="630" y="100"/>
                </a:cubicBezTo>
                <a:close/>
                <a:moveTo>
                  <a:pt x="662" y="101"/>
                </a:moveTo>
                <a:cubicBezTo>
                  <a:pt x="662" y="101"/>
                  <a:pt x="661" y="100"/>
                  <a:pt x="661" y="101"/>
                </a:cubicBezTo>
                <a:cubicBezTo>
                  <a:pt x="661" y="101"/>
                  <a:pt x="661" y="101"/>
                  <a:pt x="662" y="101"/>
                </a:cubicBezTo>
                <a:close/>
                <a:moveTo>
                  <a:pt x="689" y="100"/>
                </a:moveTo>
                <a:cubicBezTo>
                  <a:pt x="689" y="100"/>
                  <a:pt x="688" y="100"/>
                  <a:pt x="688" y="101"/>
                </a:cubicBezTo>
                <a:cubicBezTo>
                  <a:pt x="688" y="101"/>
                  <a:pt x="689" y="101"/>
                  <a:pt x="689" y="100"/>
                </a:cubicBezTo>
                <a:close/>
                <a:moveTo>
                  <a:pt x="764" y="101"/>
                </a:moveTo>
                <a:cubicBezTo>
                  <a:pt x="764" y="100"/>
                  <a:pt x="764" y="100"/>
                  <a:pt x="764" y="100"/>
                </a:cubicBezTo>
                <a:cubicBezTo>
                  <a:pt x="764" y="101"/>
                  <a:pt x="764" y="101"/>
                  <a:pt x="764" y="101"/>
                </a:cubicBezTo>
                <a:close/>
                <a:moveTo>
                  <a:pt x="857" y="50"/>
                </a:moveTo>
                <a:cubicBezTo>
                  <a:pt x="857" y="50"/>
                  <a:pt x="857" y="49"/>
                  <a:pt x="857" y="49"/>
                </a:cubicBezTo>
                <a:cubicBezTo>
                  <a:pt x="857" y="50"/>
                  <a:pt x="857" y="50"/>
                  <a:pt x="857" y="50"/>
                </a:cubicBezTo>
                <a:close/>
                <a:moveTo>
                  <a:pt x="979" y="101"/>
                </a:moveTo>
                <a:cubicBezTo>
                  <a:pt x="979" y="101"/>
                  <a:pt x="979" y="100"/>
                  <a:pt x="978" y="100"/>
                </a:cubicBezTo>
                <a:cubicBezTo>
                  <a:pt x="979" y="101"/>
                  <a:pt x="979" y="101"/>
                  <a:pt x="979" y="101"/>
                </a:cubicBezTo>
                <a:close/>
                <a:moveTo>
                  <a:pt x="1014" y="101"/>
                </a:moveTo>
                <a:cubicBezTo>
                  <a:pt x="1014" y="100"/>
                  <a:pt x="1014" y="101"/>
                  <a:pt x="1013" y="101"/>
                </a:cubicBezTo>
                <a:cubicBezTo>
                  <a:pt x="1014" y="101"/>
                  <a:pt x="1014" y="101"/>
                  <a:pt x="1014" y="101"/>
                </a:cubicBezTo>
                <a:close/>
                <a:moveTo>
                  <a:pt x="1047" y="101"/>
                </a:moveTo>
                <a:cubicBezTo>
                  <a:pt x="1047" y="101"/>
                  <a:pt x="1046" y="100"/>
                  <a:pt x="1046" y="100"/>
                </a:cubicBezTo>
                <a:cubicBezTo>
                  <a:pt x="1046" y="101"/>
                  <a:pt x="1046" y="101"/>
                  <a:pt x="1047" y="101"/>
                </a:cubicBezTo>
                <a:close/>
                <a:moveTo>
                  <a:pt x="1076" y="100"/>
                </a:moveTo>
                <a:cubicBezTo>
                  <a:pt x="1076" y="100"/>
                  <a:pt x="1076" y="101"/>
                  <a:pt x="1076" y="101"/>
                </a:cubicBezTo>
                <a:cubicBezTo>
                  <a:pt x="1076" y="101"/>
                  <a:pt x="1076" y="101"/>
                  <a:pt x="1076" y="100"/>
                </a:cubicBezTo>
                <a:close/>
                <a:moveTo>
                  <a:pt x="1182" y="101"/>
                </a:moveTo>
                <a:cubicBezTo>
                  <a:pt x="1182" y="101"/>
                  <a:pt x="1182" y="100"/>
                  <a:pt x="1181" y="100"/>
                </a:cubicBezTo>
                <a:cubicBezTo>
                  <a:pt x="1182" y="101"/>
                  <a:pt x="1182" y="101"/>
                  <a:pt x="1182" y="101"/>
                </a:cubicBezTo>
                <a:close/>
                <a:moveTo>
                  <a:pt x="1225" y="101"/>
                </a:moveTo>
                <a:cubicBezTo>
                  <a:pt x="1224" y="101"/>
                  <a:pt x="1224" y="100"/>
                  <a:pt x="1224" y="101"/>
                </a:cubicBezTo>
                <a:cubicBezTo>
                  <a:pt x="1224" y="101"/>
                  <a:pt x="1224" y="101"/>
                  <a:pt x="1225" y="101"/>
                </a:cubicBezTo>
                <a:close/>
                <a:moveTo>
                  <a:pt x="1254" y="100"/>
                </a:moveTo>
                <a:cubicBezTo>
                  <a:pt x="1254" y="100"/>
                  <a:pt x="1254" y="101"/>
                  <a:pt x="1253" y="101"/>
                </a:cubicBezTo>
                <a:cubicBezTo>
                  <a:pt x="1254" y="101"/>
                  <a:pt x="1254" y="101"/>
                  <a:pt x="1254" y="100"/>
                </a:cubicBezTo>
                <a:close/>
                <a:moveTo>
                  <a:pt x="1428" y="101"/>
                </a:moveTo>
                <a:cubicBezTo>
                  <a:pt x="1428" y="101"/>
                  <a:pt x="1427" y="100"/>
                  <a:pt x="1427" y="100"/>
                </a:cubicBezTo>
                <a:cubicBezTo>
                  <a:pt x="1427" y="101"/>
                  <a:pt x="1428" y="101"/>
                  <a:pt x="1428" y="101"/>
                </a:cubicBezTo>
                <a:close/>
                <a:moveTo>
                  <a:pt x="1452" y="100"/>
                </a:moveTo>
                <a:cubicBezTo>
                  <a:pt x="1452" y="100"/>
                  <a:pt x="1451" y="100"/>
                  <a:pt x="1451" y="101"/>
                </a:cubicBezTo>
                <a:cubicBezTo>
                  <a:pt x="1451" y="101"/>
                  <a:pt x="1452" y="101"/>
                  <a:pt x="1452" y="100"/>
                </a:cubicBezTo>
                <a:close/>
                <a:moveTo>
                  <a:pt x="676" y="43"/>
                </a:moveTo>
                <a:cubicBezTo>
                  <a:pt x="676" y="43"/>
                  <a:pt x="676" y="43"/>
                  <a:pt x="676" y="43"/>
                </a:cubicBezTo>
                <a:cubicBezTo>
                  <a:pt x="676" y="43"/>
                  <a:pt x="676" y="43"/>
                  <a:pt x="676" y="43"/>
                </a:cubicBezTo>
                <a:close/>
                <a:moveTo>
                  <a:pt x="662" y="101"/>
                </a:moveTo>
                <a:cubicBezTo>
                  <a:pt x="662" y="101"/>
                  <a:pt x="662" y="101"/>
                  <a:pt x="662" y="101"/>
                </a:cubicBezTo>
                <a:cubicBezTo>
                  <a:pt x="662" y="101"/>
                  <a:pt x="662" y="101"/>
                  <a:pt x="662" y="101"/>
                </a:cubicBezTo>
                <a:close/>
                <a:moveTo>
                  <a:pt x="688" y="101"/>
                </a:moveTo>
                <a:cubicBezTo>
                  <a:pt x="688" y="101"/>
                  <a:pt x="687" y="101"/>
                  <a:pt x="687" y="101"/>
                </a:cubicBezTo>
                <a:cubicBezTo>
                  <a:pt x="687" y="101"/>
                  <a:pt x="688" y="101"/>
                  <a:pt x="688" y="101"/>
                </a:cubicBezTo>
                <a:close/>
                <a:moveTo>
                  <a:pt x="723" y="101"/>
                </a:moveTo>
                <a:cubicBezTo>
                  <a:pt x="723" y="101"/>
                  <a:pt x="722" y="101"/>
                  <a:pt x="722" y="101"/>
                </a:cubicBezTo>
                <a:cubicBezTo>
                  <a:pt x="722" y="101"/>
                  <a:pt x="722" y="101"/>
                  <a:pt x="723" y="101"/>
                </a:cubicBezTo>
                <a:close/>
                <a:moveTo>
                  <a:pt x="1495" y="13"/>
                </a:moveTo>
                <a:cubicBezTo>
                  <a:pt x="1495" y="13"/>
                  <a:pt x="1495" y="13"/>
                  <a:pt x="1495" y="12"/>
                </a:cubicBezTo>
                <a:cubicBezTo>
                  <a:pt x="1495" y="12"/>
                  <a:pt x="1495" y="12"/>
                  <a:pt x="1495" y="13"/>
                </a:cubicBezTo>
                <a:close/>
                <a:moveTo>
                  <a:pt x="793" y="101"/>
                </a:moveTo>
                <a:cubicBezTo>
                  <a:pt x="793" y="101"/>
                  <a:pt x="793" y="101"/>
                  <a:pt x="792" y="101"/>
                </a:cubicBezTo>
                <a:cubicBezTo>
                  <a:pt x="793" y="101"/>
                  <a:pt x="793" y="101"/>
                  <a:pt x="793" y="101"/>
                </a:cubicBezTo>
                <a:close/>
                <a:moveTo>
                  <a:pt x="980" y="101"/>
                </a:moveTo>
                <a:cubicBezTo>
                  <a:pt x="980" y="101"/>
                  <a:pt x="980" y="101"/>
                  <a:pt x="980" y="101"/>
                </a:cubicBezTo>
                <a:cubicBezTo>
                  <a:pt x="980" y="101"/>
                  <a:pt x="980" y="101"/>
                  <a:pt x="980" y="101"/>
                </a:cubicBezTo>
                <a:close/>
                <a:moveTo>
                  <a:pt x="874" y="49"/>
                </a:moveTo>
                <a:cubicBezTo>
                  <a:pt x="874" y="49"/>
                  <a:pt x="874" y="50"/>
                  <a:pt x="874" y="50"/>
                </a:cubicBezTo>
                <a:cubicBezTo>
                  <a:pt x="874" y="50"/>
                  <a:pt x="874" y="50"/>
                  <a:pt x="874" y="49"/>
                </a:cubicBezTo>
                <a:close/>
                <a:moveTo>
                  <a:pt x="1047" y="101"/>
                </a:moveTo>
                <a:cubicBezTo>
                  <a:pt x="1047" y="101"/>
                  <a:pt x="1047" y="101"/>
                  <a:pt x="1047" y="101"/>
                </a:cubicBezTo>
                <a:cubicBezTo>
                  <a:pt x="1047" y="101"/>
                  <a:pt x="1047" y="101"/>
                  <a:pt x="1047" y="101"/>
                </a:cubicBezTo>
                <a:close/>
                <a:moveTo>
                  <a:pt x="800" y="43"/>
                </a:moveTo>
                <a:cubicBezTo>
                  <a:pt x="800" y="43"/>
                  <a:pt x="800" y="43"/>
                  <a:pt x="800" y="43"/>
                </a:cubicBezTo>
                <a:cubicBezTo>
                  <a:pt x="800" y="43"/>
                  <a:pt x="800" y="43"/>
                  <a:pt x="800" y="43"/>
                </a:cubicBezTo>
                <a:close/>
                <a:moveTo>
                  <a:pt x="1183" y="101"/>
                </a:moveTo>
                <a:cubicBezTo>
                  <a:pt x="1183" y="101"/>
                  <a:pt x="1182" y="101"/>
                  <a:pt x="1182" y="101"/>
                </a:cubicBezTo>
                <a:cubicBezTo>
                  <a:pt x="1182" y="101"/>
                  <a:pt x="1182" y="101"/>
                  <a:pt x="1183" y="101"/>
                </a:cubicBezTo>
                <a:close/>
                <a:moveTo>
                  <a:pt x="1225" y="101"/>
                </a:moveTo>
                <a:cubicBezTo>
                  <a:pt x="1225" y="101"/>
                  <a:pt x="1225" y="101"/>
                  <a:pt x="1225" y="101"/>
                </a:cubicBezTo>
                <a:cubicBezTo>
                  <a:pt x="1225" y="101"/>
                  <a:pt x="1225" y="101"/>
                  <a:pt x="1225" y="101"/>
                </a:cubicBezTo>
                <a:close/>
                <a:moveTo>
                  <a:pt x="1253" y="101"/>
                </a:moveTo>
                <a:cubicBezTo>
                  <a:pt x="1253" y="101"/>
                  <a:pt x="1253" y="101"/>
                  <a:pt x="1252" y="101"/>
                </a:cubicBezTo>
                <a:cubicBezTo>
                  <a:pt x="1253" y="101"/>
                  <a:pt x="1253" y="101"/>
                  <a:pt x="1253" y="101"/>
                </a:cubicBezTo>
                <a:close/>
                <a:moveTo>
                  <a:pt x="1429" y="101"/>
                </a:moveTo>
                <a:cubicBezTo>
                  <a:pt x="1428" y="101"/>
                  <a:pt x="1428" y="101"/>
                  <a:pt x="1428" y="101"/>
                </a:cubicBezTo>
                <a:cubicBezTo>
                  <a:pt x="1428" y="101"/>
                  <a:pt x="1428" y="101"/>
                  <a:pt x="1429" y="101"/>
                </a:cubicBezTo>
                <a:close/>
                <a:moveTo>
                  <a:pt x="1451" y="101"/>
                </a:moveTo>
                <a:cubicBezTo>
                  <a:pt x="1451" y="101"/>
                  <a:pt x="1451" y="101"/>
                  <a:pt x="1450" y="101"/>
                </a:cubicBezTo>
                <a:cubicBezTo>
                  <a:pt x="1451" y="101"/>
                  <a:pt x="1451" y="101"/>
                  <a:pt x="1451" y="101"/>
                </a:cubicBezTo>
                <a:close/>
                <a:moveTo>
                  <a:pt x="1675" y="101"/>
                </a:moveTo>
                <a:cubicBezTo>
                  <a:pt x="1675" y="101"/>
                  <a:pt x="1675" y="101"/>
                  <a:pt x="1674" y="101"/>
                </a:cubicBezTo>
                <a:cubicBezTo>
                  <a:pt x="1674" y="101"/>
                  <a:pt x="1674" y="101"/>
                  <a:pt x="1675" y="101"/>
                </a:cubicBezTo>
                <a:close/>
                <a:moveTo>
                  <a:pt x="900" y="50"/>
                </a:moveTo>
                <a:cubicBezTo>
                  <a:pt x="900" y="50"/>
                  <a:pt x="900" y="49"/>
                  <a:pt x="899" y="49"/>
                </a:cubicBezTo>
                <a:cubicBezTo>
                  <a:pt x="899" y="50"/>
                  <a:pt x="899" y="50"/>
                  <a:pt x="900" y="50"/>
                </a:cubicBezTo>
                <a:close/>
                <a:moveTo>
                  <a:pt x="840" y="43"/>
                </a:moveTo>
                <a:cubicBezTo>
                  <a:pt x="839" y="43"/>
                  <a:pt x="839" y="43"/>
                  <a:pt x="839" y="43"/>
                </a:cubicBezTo>
                <a:cubicBezTo>
                  <a:pt x="839" y="43"/>
                  <a:pt x="839" y="43"/>
                  <a:pt x="840" y="43"/>
                </a:cubicBezTo>
                <a:close/>
                <a:moveTo>
                  <a:pt x="663" y="101"/>
                </a:moveTo>
                <a:cubicBezTo>
                  <a:pt x="663" y="101"/>
                  <a:pt x="663" y="101"/>
                  <a:pt x="663" y="101"/>
                </a:cubicBezTo>
                <a:cubicBezTo>
                  <a:pt x="663" y="101"/>
                  <a:pt x="663" y="102"/>
                  <a:pt x="663" y="101"/>
                </a:cubicBezTo>
                <a:close/>
                <a:moveTo>
                  <a:pt x="687" y="101"/>
                </a:moveTo>
                <a:cubicBezTo>
                  <a:pt x="687" y="101"/>
                  <a:pt x="686" y="101"/>
                  <a:pt x="686" y="101"/>
                </a:cubicBezTo>
                <a:cubicBezTo>
                  <a:pt x="687" y="102"/>
                  <a:pt x="687" y="101"/>
                  <a:pt x="687" y="101"/>
                </a:cubicBezTo>
                <a:close/>
                <a:moveTo>
                  <a:pt x="723" y="101"/>
                </a:moveTo>
                <a:cubicBezTo>
                  <a:pt x="723" y="101"/>
                  <a:pt x="723" y="101"/>
                  <a:pt x="723" y="101"/>
                </a:cubicBezTo>
                <a:cubicBezTo>
                  <a:pt x="723" y="101"/>
                  <a:pt x="723" y="101"/>
                  <a:pt x="723" y="101"/>
                </a:cubicBezTo>
                <a:close/>
                <a:moveTo>
                  <a:pt x="742" y="101"/>
                </a:moveTo>
                <a:cubicBezTo>
                  <a:pt x="741" y="101"/>
                  <a:pt x="741" y="101"/>
                  <a:pt x="741" y="102"/>
                </a:cubicBezTo>
                <a:cubicBezTo>
                  <a:pt x="741" y="102"/>
                  <a:pt x="742" y="101"/>
                  <a:pt x="742" y="101"/>
                </a:cubicBezTo>
                <a:close/>
                <a:moveTo>
                  <a:pt x="766" y="101"/>
                </a:moveTo>
                <a:cubicBezTo>
                  <a:pt x="766" y="101"/>
                  <a:pt x="766" y="101"/>
                  <a:pt x="765" y="101"/>
                </a:cubicBezTo>
                <a:cubicBezTo>
                  <a:pt x="766" y="101"/>
                  <a:pt x="766" y="102"/>
                  <a:pt x="766" y="101"/>
                </a:cubicBezTo>
                <a:close/>
                <a:moveTo>
                  <a:pt x="972" y="13"/>
                </a:moveTo>
                <a:cubicBezTo>
                  <a:pt x="973" y="13"/>
                  <a:pt x="973" y="13"/>
                  <a:pt x="973" y="13"/>
                </a:cubicBezTo>
                <a:cubicBezTo>
                  <a:pt x="973" y="13"/>
                  <a:pt x="972" y="13"/>
                  <a:pt x="972" y="13"/>
                </a:cubicBezTo>
                <a:close/>
                <a:moveTo>
                  <a:pt x="870" y="43"/>
                </a:moveTo>
                <a:cubicBezTo>
                  <a:pt x="870" y="43"/>
                  <a:pt x="870" y="43"/>
                  <a:pt x="870" y="43"/>
                </a:cubicBezTo>
                <a:cubicBezTo>
                  <a:pt x="870" y="43"/>
                  <a:pt x="870" y="43"/>
                  <a:pt x="870" y="43"/>
                </a:cubicBezTo>
                <a:close/>
                <a:moveTo>
                  <a:pt x="882" y="43"/>
                </a:moveTo>
                <a:cubicBezTo>
                  <a:pt x="882" y="43"/>
                  <a:pt x="882" y="43"/>
                  <a:pt x="882" y="43"/>
                </a:cubicBezTo>
                <a:cubicBezTo>
                  <a:pt x="882" y="43"/>
                  <a:pt x="882" y="43"/>
                  <a:pt x="882" y="43"/>
                </a:cubicBezTo>
                <a:close/>
                <a:moveTo>
                  <a:pt x="909" y="43"/>
                </a:moveTo>
                <a:cubicBezTo>
                  <a:pt x="909" y="43"/>
                  <a:pt x="909" y="43"/>
                  <a:pt x="910" y="43"/>
                </a:cubicBezTo>
                <a:cubicBezTo>
                  <a:pt x="910" y="43"/>
                  <a:pt x="909" y="43"/>
                  <a:pt x="909" y="43"/>
                </a:cubicBezTo>
                <a:close/>
                <a:moveTo>
                  <a:pt x="1033" y="50"/>
                </a:moveTo>
                <a:cubicBezTo>
                  <a:pt x="1033" y="50"/>
                  <a:pt x="1033" y="50"/>
                  <a:pt x="1033" y="49"/>
                </a:cubicBezTo>
                <a:cubicBezTo>
                  <a:pt x="1033" y="49"/>
                  <a:pt x="1033" y="50"/>
                  <a:pt x="1033" y="50"/>
                </a:cubicBezTo>
                <a:close/>
                <a:moveTo>
                  <a:pt x="1183" y="102"/>
                </a:moveTo>
                <a:cubicBezTo>
                  <a:pt x="1183" y="101"/>
                  <a:pt x="1183" y="101"/>
                  <a:pt x="1183" y="101"/>
                </a:cubicBezTo>
                <a:cubicBezTo>
                  <a:pt x="1183" y="101"/>
                  <a:pt x="1183" y="102"/>
                  <a:pt x="1183" y="102"/>
                </a:cubicBezTo>
                <a:close/>
                <a:moveTo>
                  <a:pt x="1202" y="101"/>
                </a:moveTo>
                <a:cubicBezTo>
                  <a:pt x="1202" y="101"/>
                  <a:pt x="1201" y="101"/>
                  <a:pt x="1201" y="101"/>
                </a:cubicBezTo>
                <a:cubicBezTo>
                  <a:pt x="1201" y="101"/>
                  <a:pt x="1202" y="101"/>
                  <a:pt x="1202" y="101"/>
                </a:cubicBezTo>
                <a:close/>
                <a:moveTo>
                  <a:pt x="1290" y="43"/>
                </a:moveTo>
                <a:cubicBezTo>
                  <a:pt x="1290" y="43"/>
                  <a:pt x="1290" y="43"/>
                  <a:pt x="1290" y="43"/>
                </a:cubicBezTo>
                <a:cubicBezTo>
                  <a:pt x="1290" y="43"/>
                  <a:pt x="1290" y="43"/>
                  <a:pt x="1290" y="43"/>
                </a:cubicBezTo>
                <a:close/>
                <a:moveTo>
                  <a:pt x="1252" y="101"/>
                </a:moveTo>
                <a:cubicBezTo>
                  <a:pt x="1252" y="101"/>
                  <a:pt x="1251" y="101"/>
                  <a:pt x="1251" y="101"/>
                </a:cubicBezTo>
                <a:cubicBezTo>
                  <a:pt x="1252" y="102"/>
                  <a:pt x="1252" y="101"/>
                  <a:pt x="1252" y="101"/>
                </a:cubicBezTo>
                <a:close/>
                <a:moveTo>
                  <a:pt x="1429" y="101"/>
                </a:moveTo>
                <a:cubicBezTo>
                  <a:pt x="1429" y="101"/>
                  <a:pt x="1429" y="101"/>
                  <a:pt x="1429" y="101"/>
                </a:cubicBezTo>
                <a:cubicBezTo>
                  <a:pt x="1429" y="101"/>
                  <a:pt x="1429" y="102"/>
                  <a:pt x="1429" y="101"/>
                </a:cubicBezTo>
                <a:close/>
                <a:moveTo>
                  <a:pt x="1450" y="101"/>
                </a:moveTo>
                <a:cubicBezTo>
                  <a:pt x="1450" y="101"/>
                  <a:pt x="1450" y="101"/>
                  <a:pt x="1449" y="102"/>
                </a:cubicBezTo>
                <a:cubicBezTo>
                  <a:pt x="1450" y="102"/>
                  <a:pt x="1450" y="101"/>
                  <a:pt x="1450" y="101"/>
                </a:cubicBezTo>
                <a:close/>
                <a:moveTo>
                  <a:pt x="1396" y="43"/>
                </a:moveTo>
                <a:cubicBezTo>
                  <a:pt x="1395" y="43"/>
                  <a:pt x="1395" y="43"/>
                  <a:pt x="1395" y="43"/>
                </a:cubicBezTo>
                <a:cubicBezTo>
                  <a:pt x="1396" y="43"/>
                  <a:pt x="1396" y="43"/>
                  <a:pt x="1396" y="43"/>
                </a:cubicBezTo>
                <a:close/>
                <a:moveTo>
                  <a:pt x="1568" y="43"/>
                </a:moveTo>
                <a:cubicBezTo>
                  <a:pt x="1568" y="43"/>
                  <a:pt x="1568" y="43"/>
                  <a:pt x="1568" y="43"/>
                </a:cubicBezTo>
                <a:cubicBezTo>
                  <a:pt x="1568" y="43"/>
                  <a:pt x="1568" y="43"/>
                  <a:pt x="1568" y="43"/>
                </a:cubicBezTo>
                <a:close/>
                <a:moveTo>
                  <a:pt x="1683" y="43"/>
                </a:moveTo>
                <a:cubicBezTo>
                  <a:pt x="1682" y="43"/>
                  <a:pt x="1682" y="43"/>
                  <a:pt x="1682" y="43"/>
                </a:cubicBezTo>
                <a:cubicBezTo>
                  <a:pt x="1683" y="43"/>
                  <a:pt x="1683" y="43"/>
                  <a:pt x="1683" y="43"/>
                </a:cubicBezTo>
                <a:close/>
                <a:moveTo>
                  <a:pt x="686" y="102"/>
                </a:moveTo>
                <a:cubicBezTo>
                  <a:pt x="686" y="102"/>
                  <a:pt x="685" y="102"/>
                  <a:pt x="685" y="102"/>
                </a:cubicBezTo>
                <a:cubicBezTo>
                  <a:pt x="686" y="102"/>
                  <a:pt x="686" y="102"/>
                  <a:pt x="686" y="102"/>
                </a:cubicBezTo>
                <a:close/>
                <a:moveTo>
                  <a:pt x="1494" y="13"/>
                </a:moveTo>
                <a:cubicBezTo>
                  <a:pt x="1494" y="13"/>
                  <a:pt x="1494" y="13"/>
                  <a:pt x="1494" y="13"/>
                </a:cubicBezTo>
                <a:cubicBezTo>
                  <a:pt x="1494" y="13"/>
                  <a:pt x="1494" y="13"/>
                  <a:pt x="1494" y="13"/>
                </a:cubicBezTo>
                <a:close/>
                <a:moveTo>
                  <a:pt x="741" y="102"/>
                </a:moveTo>
                <a:cubicBezTo>
                  <a:pt x="741" y="101"/>
                  <a:pt x="740" y="102"/>
                  <a:pt x="740" y="102"/>
                </a:cubicBezTo>
                <a:cubicBezTo>
                  <a:pt x="741" y="102"/>
                  <a:pt x="741" y="102"/>
                  <a:pt x="741" y="102"/>
                </a:cubicBezTo>
                <a:close/>
                <a:moveTo>
                  <a:pt x="767" y="102"/>
                </a:moveTo>
                <a:cubicBezTo>
                  <a:pt x="767" y="102"/>
                  <a:pt x="767" y="101"/>
                  <a:pt x="766" y="102"/>
                </a:cubicBezTo>
                <a:cubicBezTo>
                  <a:pt x="767" y="102"/>
                  <a:pt x="767" y="102"/>
                  <a:pt x="767" y="102"/>
                </a:cubicBezTo>
                <a:close/>
                <a:moveTo>
                  <a:pt x="1736" y="43"/>
                </a:moveTo>
                <a:cubicBezTo>
                  <a:pt x="1736" y="43"/>
                  <a:pt x="1737" y="43"/>
                  <a:pt x="1737" y="43"/>
                </a:cubicBezTo>
                <a:cubicBezTo>
                  <a:pt x="1736" y="43"/>
                  <a:pt x="1736" y="43"/>
                  <a:pt x="1736" y="43"/>
                </a:cubicBezTo>
                <a:close/>
                <a:moveTo>
                  <a:pt x="678" y="62"/>
                </a:moveTo>
                <a:cubicBezTo>
                  <a:pt x="679" y="62"/>
                  <a:pt x="679" y="62"/>
                  <a:pt x="679" y="62"/>
                </a:cubicBezTo>
                <a:cubicBezTo>
                  <a:pt x="679" y="62"/>
                  <a:pt x="679" y="62"/>
                  <a:pt x="678" y="62"/>
                </a:cubicBezTo>
                <a:close/>
                <a:moveTo>
                  <a:pt x="641" y="44"/>
                </a:moveTo>
                <a:cubicBezTo>
                  <a:pt x="641" y="44"/>
                  <a:pt x="641" y="43"/>
                  <a:pt x="641" y="43"/>
                </a:cubicBezTo>
                <a:cubicBezTo>
                  <a:pt x="641" y="43"/>
                  <a:pt x="641" y="44"/>
                  <a:pt x="641" y="44"/>
                </a:cubicBezTo>
                <a:close/>
                <a:moveTo>
                  <a:pt x="1746" y="48"/>
                </a:moveTo>
                <a:cubicBezTo>
                  <a:pt x="1745" y="48"/>
                  <a:pt x="1745" y="49"/>
                  <a:pt x="1745" y="49"/>
                </a:cubicBezTo>
                <a:cubicBezTo>
                  <a:pt x="1746" y="49"/>
                  <a:pt x="1746" y="49"/>
                  <a:pt x="1746" y="48"/>
                </a:cubicBezTo>
                <a:close/>
                <a:moveTo>
                  <a:pt x="660" y="44"/>
                </a:moveTo>
                <a:cubicBezTo>
                  <a:pt x="661" y="44"/>
                  <a:pt x="661" y="43"/>
                  <a:pt x="661" y="43"/>
                </a:cubicBezTo>
                <a:cubicBezTo>
                  <a:pt x="660" y="43"/>
                  <a:pt x="660" y="43"/>
                  <a:pt x="660" y="44"/>
                </a:cubicBezTo>
                <a:close/>
                <a:moveTo>
                  <a:pt x="676" y="43"/>
                </a:moveTo>
                <a:cubicBezTo>
                  <a:pt x="675" y="43"/>
                  <a:pt x="675" y="43"/>
                  <a:pt x="675" y="43"/>
                </a:cubicBezTo>
                <a:cubicBezTo>
                  <a:pt x="675" y="43"/>
                  <a:pt x="675" y="43"/>
                  <a:pt x="676" y="43"/>
                </a:cubicBezTo>
                <a:close/>
                <a:moveTo>
                  <a:pt x="1184" y="102"/>
                </a:moveTo>
                <a:cubicBezTo>
                  <a:pt x="1184" y="102"/>
                  <a:pt x="1184" y="102"/>
                  <a:pt x="1183" y="102"/>
                </a:cubicBezTo>
                <a:cubicBezTo>
                  <a:pt x="1184" y="102"/>
                  <a:pt x="1184" y="102"/>
                  <a:pt x="1184" y="102"/>
                </a:cubicBezTo>
                <a:close/>
                <a:moveTo>
                  <a:pt x="1201" y="102"/>
                </a:moveTo>
                <a:cubicBezTo>
                  <a:pt x="1201" y="102"/>
                  <a:pt x="1200" y="102"/>
                  <a:pt x="1200" y="102"/>
                </a:cubicBezTo>
                <a:cubicBezTo>
                  <a:pt x="1200" y="102"/>
                  <a:pt x="1201" y="102"/>
                  <a:pt x="1201" y="102"/>
                </a:cubicBezTo>
                <a:close/>
                <a:moveTo>
                  <a:pt x="971" y="14"/>
                </a:moveTo>
                <a:cubicBezTo>
                  <a:pt x="972" y="14"/>
                  <a:pt x="972" y="14"/>
                  <a:pt x="972" y="13"/>
                </a:cubicBezTo>
                <a:cubicBezTo>
                  <a:pt x="972" y="13"/>
                  <a:pt x="971" y="14"/>
                  <a:pt x="971" y="14"/>
                </a:cubicBezTo>
                <a:close/>
                <a:moveTo>
                  <a:pt x="829" y="44"/>
                </a:moveTo>
                <a:cubicBezTo>
                  <a:pt x="829" y="44"/>
                  <a:pt x="829" y="43"/>
                  <a:pt x="829" y="43"/>
                </a:cubicBezTo>
                <a:cubicBezTo>
                  <a:pt x="829" y="43"/>
                  <a:pt x="829" y="43"/>
                  <a:pt x="829" y="44"/>
                </a:cubicBezTo>
                <a:close/>
                <a:moveTo>
                  <a:pt x="839" y="43"/>
                </a:moveTo>
                <a:cubicBezTo>
                  <a:pt x="839" y="43"/>
                  <a:pt x="838" y="43"/>
                  <a:pt x="838" y="43"/>
                </a:cubicBezTo>
                <a:cubicBezTo>
                  <a:pt x="838" y="43"/>
                  <a:pt x="839" y="43"/>
                  <a:pt x="839" y="43"/>
                </a:cubicBezTo>
                <a:close/>
                <a:moveTo>
                  <a:pt x="1449" y="101"/>
                </a:moveTo>
                <a:cubicBezTo>
                  <a:pt x="1449" y="101"/>
                  <a:pt x="1449" y="102"/>
                  <a:pt x="1449" y="102"/>
                </a:cubicBezTo>
                <a:cubicBezTo>
                  <a:pt x="1449" y="102"/>
                  <a:pt x="1449" y="102"/>
                  <a:pt x="1449" y="101"/>
                </a:cubicBezTo>
                <a:close/>
                <a:moveTo>
                  <a:pt x="1291" y="53"/>
                </a:moveTo>
                <a:cubicBezTo>
                  <a:pt x="1290" y="53"/>
                  <a:pt x="1290" y="54"/>
                  <a:pt x="1290" y="54"/>
                </a:cubicBezTo>
                <a:cubicBezTo>
                  <a:pt x="1291" y="54"/>
                  <a:pt x="1291" y="53"/>
                  <a:pt x="1291" y="53"/>
                </a:cubicBezTo>
                <a:close/>
                <a:moveTo>
                  <a:pt x="1493" y="14"/>
                </a:moveTo>
                <a:cubicBezTo>
                  <a:pt x="1493" y="14"/>
                  <a:pt x="1493" y="14"/>
                  <a:pt x="1494" y="13"/>
                </a:cubicBezTo>
                <a:cubicBezTo>
                  <a:pt x="1493" y="13"/>
                  <a:pt x="1493" y="14"/>
                  <a:pt x="1493" y="14"/>
                </a:cubicBezTo>
                <a:close/>
                <a:moveTo>
                  <a:pt x="851" y="43"/>
                </a:moveTo>
                <a:cubicBezTo>
                  <a:pt x="851" y="43"/>
                  <a:pt x="851" y="43"/>
                  <a:pt x="850" y="43"/>
                </a:cubicBezTo>
                <a:cubicBezTo>
                  <a:pt x="851" y="43"/>
                  <a:pt x="851" y="43"/>
                  <a:pt x="851" y="43"/>
                </a:cubicBezTo>
                <a:close/>
                <a:moveTo>
                  <a:pt x="867" y="43"/>
                </a:moveTo>
                <a:cubicBezTo>
                  <a:pt x="867" y="43"/>
                  <a:pt x="867" y="44"/>
                  <a:pt x="867" y="44"/>
                </a:cubicBezTo>
                <a:cubicBezTo>
                  <a:pt x="867" y="43"/>
                  <a:pt x="867" y="43"/>
                  <a:pt x="867" y="43"/>
                </a:cubicBezTo>
                <a:close/>
                <a:moveTo>
                  <a:pt x="725" y="102"/>
                </a:moveTo>
                <a:cubicBezTo>
                  <a:pt x="725" y="102"/>
                  <a:pt x="725" y="102"/>
                  <a:pt x="724" y="102"/>
                </a:cubicBezTo>
                <a:cubicBezTo>
                  <a:pt x="725" y="102"/>
                  <a:pt x="725" y="102"/>
                  <a:pt x="725" y="102"/>
                </a:cubicBezTo>
                <a:close/>
                <a:moveTo>
                  <a:pt x="882" y="43"/>
                </a:moveTo>
                <a:cubicBezTo>
                  <a:pt x="881" y="43"/>
                  <a:pt x="881" y="43"/>
                  <a:pt x="881" y="43"/>
                </a:cubicBezTo>
                <a:cubicBezTo>
                  <a:pt x="881" y="43"/>
                  <a:pt x="882" y="43"/>
                  <a:pt x="882" y="43"/>
                </a:cubicBezTo>
                <a:close/>
                <a:moveTo>
                  <a:pt x="894" y="43"/>
                </a:moveTo>
                <a:cubicBezTo>
                  <a:pt x="894" y="43"/>
                  <a:pt x="893" y="43"/>
                  <a:pt x="893" y="43"/>
                </a:cubicBezTo>
                <a:cubicBezTo>
                  <a:pt x="893" y="43"/>
                  <a:pt x="894" y="43"/>
                  <a:pt x="894" y="43"/>
                </a:cubicBezTo>
                <a:close/>
                <a:moveTo>
                  <a:pt x="1123" y="43"/>
                </a:moveTo>
                <a:cubicBezTo>
                  <a:pt x="1122" y="43"/>
                  <a:pt x="1122" y="43"/>
                  <a:pt x="1122" y="43"/>
                </a:cubicBezTo>
                <a:cubicBezTo>
                  <a:pt x="1122" y="43"/>
                  <a:pt x="1122" y="43"/>
                  <a:pt x="1123" y="43"/>
                </a:cubicBezTo>
                <a:close/>
                <a:moveTo>
                  <a:pt x="1670" y="56"/>
                </a:moveTo>
                <a:cubicBezTo>
                  <a:pt x="1670" y="56"/>
                  <a:pt x="1670" y="56"/>
                  <a:pt x="1669" y="57"/>
                </a:cubicBezTo>
                <a:cubicBezTo>
                  <a:pt x="1670" y="57"/>
                  <a:pt x="1670" y="57"/>
                  <a:pt x="1670" y="56"/>
                </a:cubicBezTo>
                <a:close/>
                <a:moveTo>
                  <a:pt x="1135" y="43"/>
                </a:moveTo>
                <a:cubicBezTo>
                  <a:pt x="1135" y="43"/>
                  <a:pt x="1135" y="43"/>
                  <a:pt x="1135" y="43"/>
                </a:cubicBezTo>
                <a:cubicBezTo>
                  <a:pt x="1135" y="43"/>
                  <a:pt x="1135" y="43"/>
                  <a:pt x="1135" y="43"/>
                </a:cubicBezTo>
                <a:close/>
                <a:moveTo>
                  <a:pt x="1151" y="43"/>
                </a:moveTo>
                <a:cubicBezTo>
                  <a:pt x="1151" y="43"/>
                  <a:pt x="1152" y="44"/>
                  <a:pt x="1152" y="44"/>
                </a:cubicBezTo>
                <a:cubicBezTo>
                  <a:pt x="1152" y="43"/>
                  <a:pt x="1152" y="43"/>
                  <a:pt x="1151" y="43"/>
                </a:cubicBezTo>
                <a:close/>
                <a:moveTo>
                  <a:pt x="1492" y="14"/>
                </a:moveTo>
                <a:cubicBezTo>
                  <a:pt x="1493" y="14"/>
                  <a:pt x="1493" y="14"/>
                  <a:pt x="1493" y="14"/>
                </a:cubicBezTo>
                <a:cubicBezTo>
                  <a:pt x="1493" y="14"/>
                  <a:pt x="1492" y="14"/>
                  <a:pt x="1492" y="14"/>
                </a:cubicBezTo>
                <a:close/>
                <a:moveTo>
                  <a:pt x="1260" y="43"/>
                </a:moveTo>
                <a:cubicBezTo>
                  <a:pt x="1260" y="43"/>
                  <a:pt x="1260" y="44"/>
                  <a:pt x="1260" y="44"/>
                </a:cubicBezTo>
                <a:cubicBezTo>
                  <a:pt x="1260" y="43"/>
                  <a:pt x="1260" y="43"/>
                  <a:pt x="1260" y="43"/>
                </a:cubicBezTo>
                <a:close/>
                <a:moveTo>
                  <a:pt x="1384" y="44"/>
                </a:moveTo>
                <a:cubicBezTo>
                  <a:pt x="1384" y="44"/>
                  <a:pt x="1384" y="43"/>
                  <a:pt x="1384" y="43"/>
                </a:cubicBezTo>
                <a:cubicBezTo>
                  <a:pt x="1384" y="43"/>
                  <a:pt x="1384" y="43"/>
                  <a:pt x="1384" y="44"/>
                </a:cubicBezTo>
                <a:close/>
                <a:moveTo>
                  <a:pt x="725" y="14"/>
                </a:moveTo>
                <a:cubicBezTo>
                  <a:pt x="725" y="15"/>
                  <a:pt x="725" y="15"/>
                  <a:pt x="725" y="15"/>
                </a:cubicBezTo>
                <a:cubicBezTo>
                  <a:pt x="725" y="14"/>
                  <a:pt x="725" y="14"/>
                  <a:pt x="725" y="14"/>
                </a:cubicBezTo>
                <a:close/>
                <a:moveTo>
                  <a:pt x="1580" y="43"/>
                </a:moveTo>
                <a:cubicBezTo>
                  <a:pt x="1580" y="43"/>
                  <a:pt x="1580" y="43"/>
                  <a:pt x="1580" y="44"/>
                </a:cubicBezTo>
                <a:cubicBezTo>
                  <a:pt x="1580" y="44"/>
                  <a:pt x="1580" y="43"/>
                  <a:pt x="1580" y="43"/>
                </a:cubicBezTo>
                <a:close/>
                <a:moveTo>
                  <a:pt x="596" y="44"/>
                </a:moveTo>
                <a:cubicBezTo>
                  <a:pt x="596" y="44"/>
                  <a:pt x="596" y="43"/>
                  <a:pt x="596" y="43"/>
                </a:cubicBezTo>
                <a:cubicBezTo>
                  <a:pt x="596" y="44"/>
                  <a:pt x="596" y="44"/>
                  <a:pt x="596" y="44"/>
                </a:cubicBezTo>
                <a:close/>
                <a:moveTo>
                  <a:pt x="1492" y="15"/>
                </a:moveTo>
                <a:cubicBezTo>
                  <a:pt x="1492" y="15"/>
                  <a:pt x="1492" y="14"/>
                  <a:pt x="1492" y="14"/>
                </a:cubicBezTo>
                <a:cubicBezTo>
                  <a:pt x="1492" y="14"/>
                  <a:pt x="1492" y="14"/>
                  <a:pt x="1492" y="15"/>
                </a:cubicBezTo>
                <a:close/>
                <a:moveTo>
                  <a:pt x="1211" y="50"/>
                </a:moveTo>
                <a:cubicBezTo>
                  <a:pt x="1211" y="50"/>
                  <a:pt x="1211" y="50"/>
                  <a:pt x="1211" y="49"/>
                </a:cubicBezTo>
                <a:cubicBezTo>
                  <a:pt x="1211" y="49"/>
                  <a:pt x="1211" y="50"/>
                  <a:pt x="1211" y="50"/>
                </a:cubicBezTo>
                <a:close/>
                <a:moveTo>
                  <a:pt x="629" y="102"/>
                </a:moveTo>
                <a:cubicBezTo>
                  <a:pt x="629" y="102"/>
                  <a:pt x="629" y="103"/>
                  <a:pt x="629" y="103"/>
                </a:cubicBezTo>
                <a:cubicBezTo>
                  <a:pt x="629" y="103"/>
                  <a:pt x="629" y="102"/>
                  <a:pt x="629" y="102"/>
                </a:cubicBezTo>
                <a:close/>
                <a:moveTo>
                  <a:pt x="1293" y="49"/>
                </a:moveTo>
                <a:cubicBezTo>
                  <a:pt x="1293" y="49"/>
                  <a:pt x="1292" y="50"/>
                  <a:pt x="1292" y="50"/>
                </a:cubicBezTo>
                <a:cubicBezTo>
                  <a:pt x="1293" y="50"/>
                  <a:pt x="1293" y="50"/>
                  <a:pt x="1293" y="49"/>
                </a:cubicBezTo>
                <a:close/>
                <a:moveTo>
                  <a:pt x="577" y="57"/>
                </a:moveTo>
                <a:cubicBezTo>
                  <a:pt x="577" y="57"/>
                  <a:pt x="577" y="57"/>
                  <a:pt x="577" y="57"/>
                </a:cubicBezTo>
                <a:cubicBezTo>
                  <a:pt x="577" y="57"/>
                  <a:pt x="577" y="57"/>
                  <a:pt x="577" y="57"/>
                </a:cubicBezTo>
                <a:close/>
                <a:moveTo>
                  <a:pt x="724" y="15"/>
                </a:moveTo>
                <a:cubicBezTo>
                  <a:pt x="724" y="15"/>
                  <a:pt x="724" y="15"/>
                  <a:pt x="725" y="15"/>
                </a:cubicBezTo>
                <a:cubicBezTo>
                  <a:pt x="724" y="15"/>
                  <a:pt x="724" y="15"/>
                  <a:pt x="724" y="15"/>
                </a:cubicBezTo>
                <a:close/>
                <a:moveTo>
                  <a:pt x="970" y="15"/>
                </a:moveTo>
                <a:cubicBezTo>
                  <a:pt x="970" y="15"/>
                  <a:pt x="970" y="15"/>
                  <a:pt x="970" y="14"/>
                </a:cubicBezTo>
                <a:cubicBezTo>
                  <a:pt x="970" y="15"/>
                  <a:pt x="970" y="15"/>
                  <a:pt x="970" y="15"/>
                </a:cubicBezTo>
                <a:close/>
                <a:moveTo>
                  <a:pt x="1392" y="15"/>
                </a:moveTo>
                <a:cubicBezTo>
                  <a:pt x="1392" y="15"/>
                  <a:pt x="1392" y="15"/>
                  <a:pt x="1392" y="15"/>
                </a:cubicBezTo>
                <a:cubicBezTo>
                  <a:pt x="1392" y="15"/>
                  <a:pt x="1392" y="15"/>
                  <a:pt x="1392" y="15"/>
                </a:cubicBezTo>
                <a:close/>
                <a:moveTo>
                  <a:pt x="1263" y="48"/>
                </a:moveTo>
                <a:cubicBezTo>
                  <a:pt x="1263" y="48"/>
                  <a:pt x="1263" y="48"/>
                  <a:pt x="1263" y="48"/>
                </a:cubicBezTo>
                <a:cubicBezTo>
                  <a:pt x="1263" y="48"/>
                  <a:pt x="1263" y="48"/>
                  <a:pt x="1263" y="48"/>
                </a:cubicBezTo>
                <a:close/>
                <a:moveTo>
                  <a:pt x="634" y="63"/>
                </a:moveTo>
                <a:cubicBezTo>
                  <a:pt x="634" y="63"/>
                  <a:pt x="634" y="62"/>
                  <a:pt x="634" y="62"/>
                </a:cubicBezTo>
                <a:cubicBezTo>
                  <a:pt x="634" y="62"/>
                  <a:pt x="634" y="63"/>
                  <a:pt x="634" y="63"/>
                </a:cubicBezTo>
                <a:close/>
                <a:moveTo>
                  <a:pt x="873" y="52"/>
                </a:moveTo>
                <a:cubicBezTo>
                  <a:pt x="873" y="52"/>
                  <a:pt x="873" y="52"/>
                  <a:pt x="873" y="52"/>
                </a:cubicBezTo>
                <a:cubicBezTo>
                  <a:pt x="873" y="52"/>
                  <a:pt x="873" y="52"/>
                  <a:pt x="873" y="52"/>
                </a:cubicBezTo>
                <a:close/>
                <a:moveTo>
                  <a:pt x="679" y="62"/>
                </a:moveTo>
                <a:cubicBezTo>
                  <a:pt x="679" y="62"/>
                  <a:pt x="679" y="63"/>
                  <a:pt x="680" y="63"/>
                </a:cubicBezTo>
                <a:cubicBezTo>
                  <a:pt x="680" y="62"/>
                  <a:pt x="679" y="62"/>
                  <a:pt x="679" y="62"/>
                </a:cubicBezTo>
                <a:close/>
                <a:moveTo>
                  <a:pt x="1380" y="62"/>
                </a:moveTo>
                <a:cubicBezTo>
                  <a:pt x="1380" y="62"/>
                  <a:pt x="1380" y="62"/>
                  <a:pt x="1380" y="63"/>
                </a:cubicBezTo>
                <a:cubicBezTo>
                  <a:pt x="1380" y="63"/>
                  <a:pt x="1380" y="62"/>
                  <a:pt x="1380" y="62"/>
                </a:cubicBezTo>
                <a:close/>
                <a:moveTo>
                  <a:pt x="611" y="53"/>
                </a:moveTo>
                <a:cubicBezTo>
                  <a:pt x="611" y="53"/>
                  <a:pt x="611" y="53"/>
                  <a:pt x="611" y="54"/>
                </a:cubicBezTo>
                <a:cubicBezTo>
                  <a:pt x="611" y="53"/>
                  <a:pt x="611" y="53"/>
                  <a:pt x="611" y="53"/>
                </a:cubicBezTo>
                <a:close/>
                <a:moveTo>
                  <a:pt x="1491" y="15"/>
                </a:moveTo>
                <a:cubicBezTo>
                  <a:pt x="1491" y="15"/>
                  <a:pt x="1491" y="15"/>
                  <a:pt x="1492" y="15"/>
                </a:cubicBezTo>
                <a:cubicBezTo>
                  <a:pt x="1491" y="15"/>
                  <a:pt x="1491" y="15"/>
                  <a:pt x="1491" y="15"/>
                </a:cubicBezTo>
                <a:close/>
                <a:moveTo>
                  <a:pt x="1733" y="49"/>
                </a:moveTo>
                <a:cubicBezTo>
                  <a:pt x="1733" y="49"/>
                  <a:pt x="1733" y="49"/>
                  <a:pt x="1733" y="48"/>
                </a:cubicBezTo>
                <a:cubicBezTo>
                  <a:pt x="1733" y="48"/>
                  <a:pt x="1733" y="49"/>
                  <a:pt x="1733" y="49"/>
                </a:cubicBezTo>
                <a:close/>
                <a:moveTo>
                  <a:pt x="601" y="57"/>
                </a:moveTo>
                <a:cubicBezTo>
                  <a:pt x="601" y="57"/>
                  <a:pt x="601" y="57"/>
                  <a:pt x="601" y="57"/>
                </a:cubicBezTo>
                <a:cubicBezTo>
                  <a:pt x="601" y="57"/>
                  <a:pt x="601" y="57"/>
                  <a:pt x="601" y="57"/>
                </a:cubicBezTo>
                <a:close/>
                <a:moveTo>
                  <a:pt x="1653" y="62"/>
                </a:moveTo>
                <a:cubicBezTo>
                  <a:pt x="1653" y="62"/>
                  <a:pt x="1652" y="62"/>
                  <a:pt x="1652" y="62"/>
                </a:cubicBezTo>
                <a:cubicBezTo>
                  <a:pt x="1652" y="63"/>
                  <a:pt x="1653" y="63"/>
                  <a:pt x="1653" y="62"/>
                </a:cubicBezTo>
                <a:close/>
                <a:moveTo>
                  <a:pt x="647" y="56"/>
                </a:moveTo>
                <a:cubicBezTo>
                  <a:pt x="647" y="57"/>
                  <a:pt x="647" y="57"/>
                  <a:pt x="647" y="57"/>
                </a:cubicBezTo>
                <a:cubicBezTo>
                  <a:pt x="647" y="57"/>
                  <a:pt x="647" y="57"/>
                  <a:pt x="647" y="56"/>
                </a:cubicBezTo>
                <a:close/>
                <a:moveTo>
                  <a:pt x="965" y="39"/>
                </a:moveTo>
                <a:cubicBezTo>
                  <a:pt x="965" y="39"/>
                  <a:pt x="965" y="40"/>
                  <a:pt x="965" y="40"/>
                </a:cubicBezTo>
                <a:cubicBezTo>
                  <a:pt x="965" y="40"/>
                  <a:pt x="965" y="39"/>
                  <a:pt x="965" y="39"/>
                </a:cubicBezTo>
                <a:close/>
                <a:moveTo>
                  <a:pt x="618" y="103"/>
                </a:moveTo>
                <a:cubicBezTo>
                  <a:pt x="618" y="103"/>
                  <a:pt x="618" y="103"/>
                  <a:pt x="618" y="103"/>
                </a:cubicBezTo>
                <a:cubicBezTo>
                  <a:pt x="618" y="103"/>
                  <a:pt x="617" y="103"/>
                  <a:pt x="618" y="103"/>
                </a:cubicBezTo>
                <a:close/>
                <a:moveTo>
                  <a:pt x="852" y="44"/>
                </a:moveTo>
                <a:cubicBezTo>
                  <a:pt x="852" y="43"/>
                  <a:pt x="851" y="43"/>
                  <a:pt x="851" y="43"/>
                </a:cubicBezTo>
                <a:cubicBezTo>
                  <a:pt x="851" y="44"/>
                  <a:pt x="851" y="44"/>
                  <a:pt x="852" y="44"/>
                </a:cubicBezTo>
                <a:close/>
                <a:moveTo>
                  <a:pt x="671" y="57"/>
                </a:moveTo>
                <a:cubicBezTo>
                  <a:pt x="671" y="57"/>
                  <a:pt x="671" y="57"/>
                  <a:pt x="671" y="57"/>
                </a:cubicBezTo>
                <a:cubicBezTo>
                  <a:pt x="671" y="57"/>
                  <a:pt x="671" y="57"/>
                  <a:pt x="671" y="57"/>
                </a:cubicBezTo>
                <a:close/>
                <a:moveTo>
                  <a:pt x="749" y="54"/>
                </a:moveTo>
                <a:cubicBezTo>
                  <a:pt x="750" y="53"/>
                  <a:pt x="750" y="53"/>
                  <a:pt x="750" y="53"/>
                </a:cubicBezTo>
                <a:cubicBezTo>
                  <a:pt x="749" y="53"/>
                  <a:pt x="749" y="53"/>
                  <a:pt x="749" y="54"/>
                </a:cubicBezTo>
                <a:close/>
                <a:moveTo>
                  <a:pt x="680" y="63"/>
                </a:moveTo>
                <a:cubicBezTo>
                  <a:pt x="680" y="63"/>
                  <a:pt x="680" y="63"/>
                  <a:pt x="680" y="63"/>
                </a:cubicBezTo>
                <a:cubicBezTo>
                  <a:pt x="680" y="63"/>
                  <a:pt x="680" y="63"/>
                  <a:pt x="680" y="63"/>
                </a:cubicBezTo>
                <a:close/>
                <a:moveTo>
                  <a:pt x="638" y="52"/>
                </a:moveTo>
                <a:cubicBezTo>
                  <a:pt x="638" y="52"/>
                  <a:pt x="638" y="52"/>
                  <a:pt x="638" y="52"/>
                </a:cubicBezTo>
                <a:cubicBezTo>
                  <a:pt x="638" y="52"/>
                  <a:pt x="638" y="52"/>
                  <a:pt x="638" y="52"/>
                </a:cubicBezTo>
                <a:close/>
                <a:moveTo>
                  <a:pt x="1577" y="49"/>
                </a:moveTo>
                <a:cubicBezTo>
                  <a:pt x="1577" y="49"/>
                  <a:pt x="1576" y="50"/>
                  <a:pt x="1576" y="50"/>
                </a:cubicBezTo>
                <a:cubicBezTo>
                  <a:pt x="1577" y="50"/>
                  <a:pt x="1577" y="50"/>
                  <a:pt x="1577" y="49"/>
                </a:cubicBezTo>
                <a:close/>
                <a:moveTo>
                  <a:pt x="574" y="55"/>
                </a:moveTo>
                <a:cubicBezTo>
                  <a:pt x="574" y="55"/>
                  <a:pt x="575" y="55"/>
                  <a:pt x="575" y="55"/>
                </a:cubicBezTo>
                <a:cubicBezTo>
                  <a:pt x="575" y="55"/>
                  <a:pt x="575" y="55"/>
                  <a:pt x="574" y="55"/>
                </a:cubicBezTo>
                <a:close/>
                <a:moveTo>
                  <a:pt x="723" y="15"/>
                </a:moveTo>
                <a:cubicBezTo>
                  <a:pt x="723" y="15"/>
                  <a:pt x="723" y="15"/>
                  <a:pt x="723" y="15"/>
                </a:cubicBezTo>
                <a:cubicBezTo>
                  <a:pt x="723" y="15"/>
                  <a:pt x="723" y="15"/>
                  <a:pt x="723" y="15"/>
                </a:cubicBezTo>
                <a:close/>
                <a:moveTo>
                  <a:pt x="1564" y="62"/>
                </a:moveTo>
                <a:cubicBezTo>
                  <a:pt x="1564" y="62"/>
                  <a:pt x="1564" y="63"/>
                  <a:pt x="1564" y="63"/>
                </a:cubicBezTo>
                <a:cubicBezTo>
                  <a:pt x="1564" y="63"/>
                  <a:pt x="1564" y="63"/>
                  <a:pt x="1564" y="62"/>
                </a:cubicBezTo>
                <a:close/>
                <a:moveTo>
                  <a:pt x="1744" y="51"/>
                </a:moveTo>
                <a:cubicBezTo>
                  <a:pt x="1743" y="51"/>
                  <a:pt x="1743" y="52"/>
                  <a:pt x="1743" y="52"/>
                </a:cubicBezTo>
                <a:cubicBezTo>
                  <a:pt x="1743" y="52"/>
                  <a:pt x="1744" y="52"/>
                  <a:pt x="1744" y="51"/>
                </a:cubicBezTo>
                <a:close/>
                <a:moveTo>
                  <a:pt x="895" y="44"/>
                </a:moveTo>
                <a:cubicBezTo>
                  <a:pt x="894" y="43"/>
                  <a:pt x="894" y="43"/>
                  <a:pt x="894" y="43"/>
                </a:cubicBezTo>
                <a:cubicBezTo>
                  <a:pt x="894" y="44"/>
                  <a:pt x="894" y="44"/>
                  <a:pt x="895" y="44"/>
                </a:cubicBezTo>
                <a:close/>
                <a:moveTo>
                  <a:pt x="752" y="48"/>
                </a:moveTo>
                <a:cubicBezTo>
                  <a:pt x="752" y="48"/>
                  <a:pt x="752" y="48"/>
                  <a:pt x="752" y="48"/>
                </a:cubicBezTo>
                <a:cubicBezTo>
                  <a:pt x="752" y="48"/>
                  <a:pt x="752" y="48"/>
                  <a:pt x="752" y="48"/>
                </a:cubicBezTo>
                <a:close/>
                <a:moveTo>
                  <a:pt x="1654" y="63"/>
                </a:moveTo>
                <a:cubicBezTo>
                  <a:pt x="1654" y="63"/>
                  <a:pt x="1653" y="63"/>
                  <a:pt x="1653" y="63"/>
                </a:cubicBezTo>
                <a:cubicBezTo>
                  <a:pt x="1653" y="63"/>
                  <a:pt x="1653" y="63"/>
                  <a:pt x="1654" y="63"/>
                </a:cubicBezTo>
                <a:close/>
                <a:moveTo>
                  <a:pt x="1490" y="15"/>
                </a:moveTo>
                <a:cubicBezTo>
                  <a:pt x="1490" y="15"/>
                  <a:pt x="1491" y="15"/>
                  <a:pt x="1491" y="15"/>
                </a:cubicBezTo>
                <a:cubicBezTo>
                  <a:pt x="1491" y="15"/>
                  <a:pt x="1490" y="15"/>
                  <a:pt x="1490" y="15"/>
                </a:cubicBezTo>
                <a:close/>
                <a:moveTo>
                  <a:pt x="1732" y="62"/>
                </a:moveTo>
                <a:cubicBezTo>
                  <a:pt x="1732" y="62"/>
                  <a:pt x="1732" y="63"/>
                  <a:pt x="1732" y="63"/>
                </a:cubicBezTo>
                <a:cubicBezTo>
                  <a:pt x="1732" y="63"/>
                  <a:pt x="1732" y="63"/>
                  <a:pt x="1732" y="62"/>
                </a:cubicBezTo>
                <a:close/>
                <a:moveTo>
                  <a:pt x="604" y="64"/>
                </a:moveTo>
                <a:cubicBezTo>
                  <a:pt x="604" y="63"/>
                  <a:pt x="604" y="63"/>
                  <a:pt x="603" y="63"/>
                </a:cubicBezTo>
                <a:cubicBezTo>
                  <a:pt x="603" y="63"/>
                  <a:pt x="603" y="63"/>
                  <a:pt x="604" y="64"/>
                </a:cubicBezTo>
                <a:close/>
                <a:moveTo>
                  <a:pt x="910" y="43"/>
                </a:moveTo>
                <a:cubicBezTo>
                  <a:pt x="910" y="44"/>
                  <a:pt x="910" y="44"/>
                  <a:pt x="910" y="44"/>
                </a:cubicBezTo>
                <a:cubicBezTo>
                  <a:pt x="910" y="44"/>
                  <a:pt x="910" y="44"/>
                  <a:pt x="910" y="43"/>
                </a:cubicBezTo>
                <a:close/>
                <a:moveTo>
                  <a:pt x="722" y="16"/>
                </a:moveTo>
                <a:cubicBezTo>
                  <a:pt x="722" y="16"/>
                  <a:pt x="722" y="16"/>
                  <a:pt x="722" y="15"/>
                </a:cubicBezTo>
                <a:cubicBezTo>
                  <a:pt x="722" y="15"/>
                  <a:pt x="722" y="15"/>
                  <a:pt x="722" y="16"/>
                </a:cubicBezTo>
                <a:close/>
                <a:moveTo>
                  <a:pt x="1489" y="16"/>
                </a:moveTo>
                <a:cubicBezTo>
                  <a:pt x="1490" y="16"/>
                  <a:pt x="1490" y="16"/>
                  <a:pt x="1490" y="15"/>
                </a:cubicBezTo>
                <a:cubicBezTo>
                  <a:pt x="1490" y="15"/>
                  <a:pt x="1490" y="15"/>
                  <a:pt x="1489" y="16"/>
                </a:cubicBezTo>
                <a:close/>
                <a:moveTo>
                  <a:pt x="562" y="48"/>
                </a:moveTo>
                <a:cubicBezTo>
                  <a:pt x="562" y="48"/>
                  <a:pt x="562" y="48"/>
                  <a:pt x="563" y="48"/>
                </a:cubicBezTo>
                <a:cubicBezTo>
                  <a:pt x="563" y="48"/>
                  <a:pt x="562" y="48"/>
                  <a:pt x="562" y="48"/>
                </a:cubicBezTo>
                <a:close/>
                <a:moveTo>
                  <a:pt x="1680" y="47"/>
                </a:moveTo>
                <a:cubicBezTo>
                  <a:pt x="1680" y="47"/>
                  <a:pt x="1680" y="48"/>
                  <a:pt x="1680" y="48"/>
                </a:cubicBezTo>
                <a:cubicBezTo>
                  <a:pt x="1680" y="48"/>
                  <a:pt x="1680" y="48"/>
                  <a:pt x="1680" y="47"/>
                </a:cubicBezTo>
                <a:close/>
                <a:moveTo>
                  <a:pt x="654" y="39"/>
                </a:moveTo>
                <a:cubicBezTo>
                  <a:pt x="654" y="39"/>
                  <a:pt x="654" y="39"/>
                  <a:pt x="654" y="40"/>
                </a:cubicBezTo>
                <a:cubicBezTo>
                  <a:pt x="654" y="39"/>
                  <a:pt x="654" y="39"/>
                  <a:pt x="654" y="39"/>
                </a:cubicBezTo>
                <a:close/>
                <a:moveTo>
                  <a:pt x="606" y="39"/>
                </a:moveTo>
                <a:cubicBezTo>
                  <a:pt x="606" y="39"/>
                  <a:pt x="606" y="39"/>
                  <a:pt x="606" y="40"/>
                </a:cubicBezTo>
                <a:cubicBezTo>
                  <a:pt x="606" y="39"/>
                  <a:pt x="606" y="39"/>
                  <a:pt x="606" y="39"/>
                </a:cubicBezTo>
                <a:close/>
                <a:moveTo>
                  <a:pt x="594" y="40"/>
                </a:moveTo>
                <a:cubicBezTo>
                  <a:pt x="594" y="39"/>
                  <a:pt x="594" y="39"/>
                  <a:pt x="594" y="39"/>
                </a:cubicBezTo>
                <a:cubicBezTo>
                  <a:pt x="594" y="39"/>
                  <a:pt x="594" y="39"/>
                  <a:pt x="594" y="40"/>
                </a:cubicBezTo>
                <a:close/>
                <a:moveTo>
                  <a:pt x="1381" y="48"/>
                </a:moveTo>
                <a:cubicBezTo>
                  <a:pt x="1381" y="48"/>
                  <a:pt x="1382" y="48"/>
                  <a:pt x="1382" y="47"/>
                </a:cubicBezTo>
                <a:cubicBezTo>
                  <a:pt x="1381" y="47"/>
                  <a:pt x="1381" y="48"/>
                  <a:pt x="1381" y="48"/>
                </a:cubicBezTo>
                <a:close/>
                <a:moveTo>
                  <a:pt x="1575" y="51"/>
                </a:moveTo>
                <a:cubicBezTo>
                  <a:pt x="1575" y="52"/>
                  <a:pt x="1575" y="52"/>
                  <a:pt x="1575" y="52"/>
                </a:cubicBezTo>
                <a:cubicBezTo>
                  <a:pt x="1575" y="52"/>
                  <a:pt x="1575" y="52"/>
                  <a:pt x="1575" y="51"/>
                </a:cubicBezTo>
                <a:close/>
                <a:moveTo>
                  <a:pt x="1212" y="48"/>
                </a:moveTo>
                <a:cubicBezTo>
                  <a:pt x="1212" y="48"/>
                  <a:pt x="1212" y="48"/>
                  <a:pt x="1212" y="47"/>
                </a:cubicBezTo>
                <a:cubicBezTo>
                  <a:pt x="1212" y="47"/>
                  <a:pt x="1212" y="48"/>
                  <a:pt x="1212" y="48"/>
                </a:cubicBezTo>
                <a:close/>
                <a:moveTo>
                  <a:pt x="647" y="56"/>
                </a:moveTo>
                <a:cubicBezTo>
                  <a:pt x="647" y="56"/>
                  <a:pt x="647" y="56"/>
                  <a:pt x="647" y="56"/>
                </a:cubicBezTo>
                <a:cubicBezTo>
                  <a:pt x="647" y="56"/>
                  <a:pt x="647" y="56"/>
                  <a:pt x="647" y="56"/>
                </a:cubicBezTo>
                <a:close/>
                <a:moveTo>
                  <a:pt x="1085" y="47"/>
                </a:moveTo>
                <a:cubicBezTo>
                  <a:pt x="1085" y="48"/>
                  <a:pt x="1085" y="48"/>
                  <a:pt x="1085" y="48"/>
                </a:cubicBezTo>
                <a:cubicBezTo>
                  <a:pt x="1085" y="48"/>
                  <a:pt x="1085" y="47"/>
                  <a:pt x="1085" y="47"/>
                </a:cubicBezTo>
                <a:close/>
                <a:moveTo>
                  <a:pt x="1034" y="48"/>
                </a:moveTo>
                <a:cubicBezTo>
                  <a:pt x="1034" y="48"/>
                  <a:pt x="1035" y="48"/>
                  <a:pt x="1035" y="47"/>
                </a:cubicBezTo>
                <a:cubicBezTo>
                  <a:pt x="1034" y="47"/>
                  <a:pt x="1034" y="48"/>
                  <a:pt x="1034" y="48"/>
                </a:cubicBezTo>
                <a:close/>
                <a:moveTo>
                  <a:pt x="899" y="48"/>
                </a:moveTo>
                <a:cubicBezTo>
                  <a:pt x="899" y="48"/>
                  <a:pt x="899" y="47"/>
                  <a:pt x="898" y="47"/>
                </a:cubicBezTo>
                <a:cubicBezTo>
                  <a:pt x="898" y="47"/>
                  <a:pt x="898" y="48"/>
                  <a:pt x="899" y="48"/>
                </a:cubicBezTo>
                <a:close/>
                <a:moveTo>
                  <a:pt x="636" y="56"/>
                </a:moveTo>
                <a:cubicBezTo>
                  <a:pt x="637" y="56"/>
                  <a:pt x="637" y="56"/>
                  <a:pt x="637" y="56"/>
                </a:cubicBezTo>
                <a:cubicBezTo>
                  <a:pt x="636" y="56"/>
                  <a:pt x="636" y="56"/>
                  <a:pt x="636" y="56"/>
                </a:cubicBezTo>
                <a:close/>
                <a:moveTo>
                  <a:pt x="1210" y="52"/>
                </a:moveTo>
                <a:cubicBezTo>
                  <a:pt x="1210" y="52"/>
                  <a:pt x="1210" y="52"/>
                  <a:pt x="1210" y="51"/>
                </a:cubicBezTo>
                <a:cubicBezTo>
                  <a:pt x="1210" y="52"/>
                  <a:pt x="1210" y="52"/>
                  <a:pt x="1210" y="52"/>
                </a:cubicBezTo>
                <a:close/>
                <a:moveTo>
                  <a:pt x="617" y="104"/>
                </a:moveTo>
                <a:cubicBezTo>
                  <a:pt x="617" y="104"/>
                  <a:pt x="618" y="104"/>
                  <a:pt x="618" y="103"/>
                </a:cubicBezTo>
                <a:cubicBezTo>
                  <a:pt x="617" y="103"/>
                  <a:pt x="617" y="104"/>
                  <a:pt x="617" y="104"/>
                </a:cubicBezTo>
                <a:close/>
                <a:moveTo>
                  <a:pt x="628" y="104"/>
                </a:moveTo>
                <a:cubicBezTo>
                  <a:pt x="628" y="104"/>
                  <a:pt x="628" y="104"/>
                  <a:pt x="628" y="105"/>
                </a:cubicBezTo>
                <a:cubicBezTo>
                  <a:pt x="628" y="104"/>
                  <a:pt x="628" y="104"/>
                  <a:pt x="628" y="104"/>
                </a:cubicBezTo>
                <a:close/>
                <a:moveTo>
                  <a:pt x="617" y="105"/>
                </a:moveTo>
                <a:cubicBezTo>
                  <a:pt x="617" y="105"/>
                  <a:pt x="617" y="105"/>
                  <a:pt x="617" y="104"/>
                </a:cubicBezTo>
                <a:cubicBezTo>
                  <a:pt x="617" y="104"/>
                  <a:pt x="617" y="105"/>
                  <a:pt x="617" y="105"/>
                </a:cubicBezTo>
                <a:close/>
                <a:moveTo>
                  <a:pt x="721" y="16"/>
                </a:moveTo>
                <a:cubicBezTo>
                  <a:pt x="721" y="16"/>
                  <a:pt x="721" y="16"/>
                  <a:pt x="721" y="16"/>
                </a:cubicBezTo>
                <a:cubicBezTo>
                  <a:pt x="721" y="16"/>
                  <a:pt x="721" y="16"/>
                  <a:pt x="721" y="16"/>
                </a:cubicBezTo>
                <a:close/>
                <a:moveTo>
                  <a:pt x="616" y="106"/>
                </a:moveTo>
                <a:cubicBezTo>
                  <a:pt x="617" y="106"/>
                  <a:pt x="617" y="105"/>
                  <a:pt x="617" y="105"/>
                </a:cubicBezTo>
                <a:cubicBezTo>
                  <a:pt x="616" y="105"/>
                  <a:pt x="616" y="105"/>
                  <a:pt x="616" y="106"/>
                </a:cubicBezTo>
                <a:close/>
                <a:moveTo>
                  <a:pt x="616" y="107"/>
                </a:moveTo>
                <a:cubicBezTo>
                  <a:pt x="616" y="106"/>
                  <a:pt x="616" y="106"/>
                  <a:pt x="617" y="106"/>
                </a:cubicBezTo>
                <a:cubicBezTo>
                  <a:pt x="616" y="106"/>
                  <a:pt x="616" y="106"/>
                  <a:pt x="616" y="107"/>
                </a:cubicBezTo>
                <a:close/>
                <a:moveTo>
                  <a:pt x="628" y="106"/>
                </a:moveTo>
                <a:cubicBezTo>
                  <a:pt x="627" y="106"/>
                  <a:pt x="627" y="106"/>
                  <a:pt x="627" y="106"/>
                </a:cubicBezTo>
                <a:cubicBezTo>
                  <a:pt x="628" y="106"/>
                  <a:pt x="628" y="106"/>
                  <a:pt x="628" y="106"/>
                </a:cubicBezTo>
                <a:close/>
                <a:moveTo>
                  <a:pt x="1745" y="49"/>
                </a:moveTo>
                <a:cubicBezTo>
                  <a:pt x="1745" y="49"/>
                  <a:pt x="1745" y="50"/>
                  <a:pt x="1745" y="50"/>
                </a:cubicBezTo>
                <a:cubicBezTo>
                  <a:pt x="1745" y="50"/>
                  <a:pt x="1745" y="50"/>
                  <a:pt x="1745" y="49"/>
                </a:cubicBezTo>
                <a:close/>
                <a:moveTo>
                  <a:pt x="616" y="107"/>
                </a:moveTo>
                <a:cubicBezTo>
                  <a:pt x="616" y="107"/>
                  <a:pt x="616" y="107"/>
                  <a:pt x="616" y="107"/>
                </a:cubicBezTo>
                <a:cubicBezTo>
                  <a:pt x="616" y="107"/>
                  <a:pt x="616" y="107"/>
                  <a:pt x="616" y="107"/>
                </a:cubicBezTo>
                <a:close/>
                <a:moveTo>
                  <a:pt x="615" y="108"/>
                </a:moveTo>
                <a:cubicBezTo>
                  <a:pt x="616" y="108"/>
                  <a:pt x="616" y="108"/>
                  <a:pt x="616" y="107"/>
                </a:cubicBezTo>
                <a:cubicBezTo>
                  <a:pt x="615" y="108"/>
                  <a:pt x="615" y="108"/>
                  <a:pt x="615" y="108"/>
                </a:cubicBezTo>
                <a:close/>
                <a:moveTo>
                  <a:pt x="627" y="107"/>
                </a:moveTo>
                <a:cubicBezTo>
                  <a:pt x="627" y="108"/>
                  <a:pt x="627" y="108"/>
                  <a:pt x="627" y="108"/>
                </a:cubicBezTo>
                <a:cubicBezTo>
                  <a:pt x="627" y="108"/>
                  <a:pt x="627" y="108"/>
                  <a:pt x="627" y="107"/>
                </a:cubicBezTo>
                <a:close/>
                <a:moveTo>
                  <a:pt x="615" y="109"/>
                </a:moveTo>
                <a:cubicBezTo>
                  <a:pt x="615" y="109"/>
                  <a:pt x="615" y="109"/>
                  <a:pt x="615" y="108"/>
                </a:cubicBezTo>
                <a:cubicBezTo>
                  <a:pt x="615" y="109"/>
                  <a:pt x="615" y="109"/>
                  <a:pt x="615" y="109"/>
                </a:cubicBezTo>
                <a:close/>
                <a:moveTo>
                  <a:pt x="626" y="108"/>
                </a:moveTo>
                <a:cubicBezTo>
                  <a:pt x="626" y="109"/>
                  <a:pt x="626" y="109"/>
                  <a:pt x="626" y="109"/>
                </a:cubicBezTo>
                <a:cubicBezTo>
                  <a:pt x="627" y="109"/>
                  <a:pt x="627" y="109"/>
                  <a:pt x="626" y="108"/>
                </a:cubicBezTo>
                <a:close/>
                <a:moveTo>
                  <a:pt x="615" y="110"/>
                </a:moveTo>
                <a:cubicBezTo>
                  <a:pt x="615" y="110"/>
                  <a:pt x="615" y="109"/>
                  <a:pt x="615" y="109"/>
                </a:cubicBezTo>
                <a:cubicBezTo>
                  <a:pt x="615" y="109"/>
                  <a:pt x="615" y="110"/>
                  <a:pt x="615" y="110"/>
                </a:cubicBezTo>
                <a:close/>
                <a:moveTo>
                  <a:pt x="626" y="109"/>
                </a:moveTo>
                <a:cubicBezTo>
                  <a:pt x="626" y="109"/>
                  <a:pt x="626" y="110"/>
                  <a:pt x="626" y="110"/>
                </a:cubicBezTo>
                <a:cubicBezTo>
                  <a:pt x="626" y="110"/>
                  <a:pt x="626" y="109"/>
                  <a:pt x="626" y="109"/>
                </a:cubicBezTo>
                <a:close/>
                <a:moveTo>
                  <a:pt x="614" y="111"/>
                </a:moveTo>
                <a:cubicBezTo>
                  <a:pt x="615" y="111"/>
                  <a:pt x="615" y="110"/>
                  <a:pt x="615" y="110"/>
                </a:cubicBezTo>
                <a:cubicBezTo>
                  <a:pt x="614" y="110"/>
                  <a:pt x="614" y="110"/>
                  <a:pt x="614" y="111"/>
                </a:cubicBezTo>
                <a:close/>
                <a:moveTo>
                  <a:pt x="626" y="110"/>
                </a:moveTo>
                <a:cubicBezTo>
                  <a:pt x="626" y="110"/>
                  <a:pt x="625" y="111"/>
                  <a:pt x="625" y="111"/>
                </a:cubicBezTo>
                <a:cubicBezTo>
                  <a:pt x="626" y="111"/>
                  <a:pt x="626" y="110"/>
                  <a:pt x="626" y="110"/>
                </a:cubicBezTo>
                <a:close/>
                <a:moveTo>
                  <a:pt x="614" y="112"/>
                </a:moveTo>
                <a:cubicBezTo>
                  <a:pt x="614" y="111"/>
                  <a:pt x="614" y="111"/>
                  <a:pt x="614" y="111"/>
                </a:cubicBezTo>
                <a:cubicBezTo>
                  <a:pt x="614" y="111"/>
                  <a:pt x="614" y="111"/>
                  <a:pt x="614" y="112"/>
                </a:cubicBezTo>
                <a:close/>
                <a:moveTo>
                  <a:pt x="625" y="111"/>
                </a:moveTo>
                <a:cubicBezTo>
                  <a:pt x="625" y="111"/>
                  <a:pt x="625" y="111"/>
                  <a:pt x="625" y="112"/>
                </a:cubicBezTo>
                <a:cubicBezTo>
                  <a:pt x="625" y="111"/>
                  <a:pt x="625" y="111"/>
                  <a:pt x="625" y="111"/>
                </a:cubicBezTo>
                <a:close/>
                <a:moveTo>
                  <a:pt x="614" y="112"/>
                </a:moveTo>
                <a:cubicBezTo>
                  <a:pt x="614" y="112"/>
                  <a:pt x="614" y="112"/>
                  <a:pt x="614" y="112"/>
                </a:cubicBezTo>
                <a:cubicBezTo>
                  <a:pt x="614" y="112"/>
                  <a:pt x="614" y="112"/>
                  <a:pt x="614" y="112"/>
                </a:cubicBezTo>
                <a:close/>
                <a:moveTo>
                  <a:pt x="625" y="112"/>
                </a:moveTo>
                <a:cubicBezTo>
                  <a:pt x="625" y="112"/>
                  <a:pt x="625" y="112"/>
                  <a:pt x="625" y="113"/>
                </a:cubicBezTo>
                <a:cubicBezTo>
                  <a:pt x="625" y="112"/>
                  <a:pt x="625" y="112"/>
                  <a:pt x="625" y="112"/>
                </a:cubicBezTo>
                <a:close/>
                <a:moveTo>
                  <a:pt x="613" y="113"/>
                </a:moveTo>
                <a:cubicBezTo>
                  <a:pt x="614" y="113"/>
                  <a:pt x="614" y="113"/>
                  <a:pt x="614" y="112"/>
                </a:cubicBezTo>
                <a:cubicBezTo>
                  <a:pt x="613" y="113"/>
                  <a:pt x="613" y="113"/>
                  <a:pt x="613" y="113"/>
                </a:cubicBezTo>
                <a:close/>
                <a:moveTo>
                  <a:pt x="625" y="113"/>
                </a:moveTo>
                <a:cubicBezTo>
                  <a:pt x="625" y="113"/>
                  <a:pt x="624" y="113"/>
                  <a:pt x="624" y="113"/>
                </a:cubicBezTo>
                <a:cubicBezTo>
                  <a:pt x="625" y="113"/>
                  <a:pt x="625" y="113"/>
                  <a:pt x="625" y="113"/>
                </a:cubicBezTo>
                <a:close/>
                <a:moveTo>
                  <a:pt x="613" y="114"/>
                </a:moveTo>
                <a:cubicBezTo>
                  <a:pt x="613" y="114"/>
                  <a:pt x="613" y="114"/>
                  <a:pt x="613" y="113"/>
                </a:cubicBezTo>
                <a:cubicBezTo>
                  <a:pt x="613" y="114"/>
                  <a:pt x="613" y="114"/>
                  <a:pt x="613" y="114"/>
                </a:cubicBezTo>
                <a:close/>
                <a:moveTo>
                  <a:pt x="624" y="114"/>
                </a:moveTo>
                <a:cubicBezTo>
                  <a:pt x="624" y="114"/>
                  <a:pt x="624" y="114"/>
                  <a:pt x="624" y="114"/>
                </a:cubicBezTo>
                <a:cubicBezTo>
                  <a:pt x="624" y="114"/>
                  <a:pt x="624" y="114"/>
                  <a:pt x="624" y="114"/>
                </a:cubicBezTo>
                <a:close/>
                <a:moveTo>
                  <a:pt x="613" y="115"/>
                </a:moveTo>
                <a:cubicBezTo>
                  <a:pt x="613" y="115"/>
                  <a:pt x="613" y="114"/>
                  <a:pt x="613" y="114"/>
                </a:cubicBezTo>
                <a:cubicBezTo>
                  <a:pt x="613" y="114"/>
                  <a:pt x="613" y="114"/>
                  <a:pt x="613" y="115"/>
                </a:cubicBezTo>
                <a:close/>
                <a:moveTo>
                  <a:pt x="624" y="114"/>
                </a:moveTo>
                <a:cubicBezTo>
                  <a:pt x="624" y="115"/>
                  <a:pt x="624" y="115"/>
                  <a:pt x="624" y="115"/>
                </a:cubicBezTo>
                <a:cubicBezTo>
                  <a:pt x="624" y="115"/>
                  <a:pt x="624" y="115"/>
                  <a:pt x="624" y="114"/>
                </a:cubicBezTo>
                <a:close/>
                <a:moveTo>
                  <a:pt x="612" y="116"/>
                </a:moveTo>
                <a:cubicBezTo>
                  <a:pt x="613" y="115"/>
                  <a:pt x="613" y="115"/>
                  <a:pt x="613" y="115"/>
                </a:cubicBezTo>
                <a:cubicBezTo>
                  <a:pt x="612" y="115"/>
                  <a:pt x="612" y="115"/>
                  <a:pt x="612" y="116"/>
                </a:cubicBezTo>
                <a:close/>
                <a:moveTo>
                  <a:pt x="624" y="115"/>
                </a:moveTo>
                <a:cubicBezTo>
                  <a:pt x="623" y="115"/>
                  <a:pt x="623" y="115"/>
                  <a:pt x="623" y="116"/>
                </a:cubicBezTo>
                <a:cubicBezTo>
                  <a:pt x="624" y="116"/>
                  <a:pt x="624" y="115"/>
                  <a:pt x="624" y="115"/>
                </a:cubicBezTo>
                <a:close/>
                <a:moveTo>
                  <a:pt x="612" y="116"/>
                </a:moveTo>
                <a:cubicBezTo>
                  <a:pt x="612" y="116"/>
                  <a:pt x="612" y="116"/>
                  <a:pt x="612" y="115"/>
                </a:cubicBezTo>
                <a:cubicBezTo>
                  <a:pt x="612" y="116"/>
                  <a:pt x="612" y="116"/>
                  <a:pt x="612" y="116"/>
                </a:cubicBezTo>
                <a:close/>
                <a:moveTo>
                  <a:pt x="623" y="116"/>
                </a:moveTo>
                <a:cubicBezTo>
                  <a:pt x="623" y="116"/>
                  <a:pt x="623" y="116"/>
                  <a:pt x="623" y="116"/>
                </a:cubicBezTo>
                <a:cubicBezTo>
                  <a:pt x="623" y="116"/>
                  <a:pt x="623" y="116"/>
                  <a:pt x="623" y="116"/>
                </a:cubicBezTo>
                <a:close/>
                <a:moveTo>
                  <a:pt x="612" y="117"/>
                </a:moveTo>
                <a:cubicBezTo>
                  <a:pt x="612" y="117"/>
                  <a:pt x="612" y="116"/>
                  <a:pt x="612" y="116"/>
                </a:cubicBezTo>
                <a:cubicBezTo>
                  <a:pt x="612" y="116"/>
                  <a:pt x="612" y="117"/>
                  <a:pt x="612" y="117"/>
                </a:cubicBezTo>
                <a:close/>
                <a:moveTo>
                  <a:pt x="623" y="116"/>
                </a:moveTo>
                <a:cubicBezTo>
                  <a:pt x="623" y="117"/>
                  <a:pt x="623" y="117"/>
                  <a:pt x="623" y="117"/>
                </a:cubicBezTo>
                <a:cubicBezTo>
                  <a:pt x="623" y="117"/>
                  <a:pt x="623" y="117"/>
                  <a:pt x="623" y="116"/>
                </a:cubicBezTo>
                <a:close/>
                <a:moveTo>
                  <a:pt x="611" y="118"/>
                </a:moveTo>
                <a:cubicBezTo>
                  <a:pt x="611" y="117"/>
                  <a:pt x="612" y="117"/>
                  <a:pt x="612" y="117"/>
                </a:cubicBezTo>
                <a:cubicBezTo>
                  <a:pt x="611" y="117"/>
                  <a:pt x="611" y="117"/>
                  <a:pt x="611" y="118"/>
                </a:cubicBezTo>
                <a:close/>
                <a:moveTo>
                  <a:pt x="623" y="117"/>
                </a:moveTo>
                <a:cubicBezTo>
                  <a:pt x="622" y="117"/>
                  <a:pt x="622" y="118"/>
                  <a:pt x="622" y="118"/>
                </a:cubicBezTo>
                <a:cubicBezTo>
                  <a:pt x="623" y="118"/>
                  <a:pt x="623" y="117"/>
                  <a:pt x="623" y="117"/>
                </a:cubicBezTo>
                <a:close/>
                <a:moveTo>
                  <a:pt x="611" y="119"/>
                </a:moveTo>
                <a:cubicBezTo>
                  <a:pt x="611" y="118"/>
                  <a:pt x="611" y="118"/>
                  <a:pt x="611" y="118"/>
                </a:cubicBezTo>
                <a:cubicBezTo>
                  <a:pt x="611" y="118"/>
                  <a:pt x="611" y="118"/>
                  <a:pt x="611" y="119"/>
                </a:cubicBezTo>
                <a:close/>
                <a:moveTo>
                  <a:pt x="622" y="118"/>
                </a:moveTo>
                <a:cubicBezTo>
                  <a:pt x="622" y="118"/>
                  <a:pt x="622" y="118"/>
                  <a:pt x="622" y="119"/>
                </a:cubicBezTo>
                <a:cubicBezTo>
                  <a:pt x="622" y="118"/>
                  <a:pt x="622" y="118"/>
                  <a:pt x="622" y="118"/>
                </a:cubicBezTo>
                <a:close/>
                <a:moveTo>
                  <a:pt x="622" y="119"/>
                </a:moveTo>
                <a:cubicBezTo>
                  <a:pt x="622" y="119"/>
                  <a:pt x="622" y="119"/>
                  <a:pt x="622" y="119"/>
                </a:cubicBezTo>
                <a:cubicBezTo>
                  <a:pt x="622" y="119"/>
                  <a:pt x="622" y="119"/>
                  <a:pt x="622" y="119"/>
                </a:cubicBezTo>
                <a:close/>
                <a:moveTo>
                  <a:pt x="622" y="119"/>
                </a:moveTo>
                <a:cubicBezTo>
                  <a:pt x="621" y="119"/>
                  <a:pt x="621" y="120"/>
                  <a:pt x="621" y="120"/>
                </a:cubicBezTo>
                <a:cubicBezTo>
                  <a:pt x="622" y="120"/>
                  <a:pt x="622" y="120"/>
                  <a:pt x="622" y="119"/>
                </a:cubicBezTo>
                <a:close/>
                <a:moveTo>
                  <a:pt x="621" y="120"/>
                </a:moveTo>
                <a:cubicBezTo>
                  <a:pt x="621" y="120"/>
                  <a:pt x="621" y="121"/>
                  <a:pt x="621" y="121"/>
                </a:cubicBezTo>
                <a:cubicBezTo>
                  <a:pt x="621" y="121"/>
                  <a:pt x="621" y="121"/>
                  <a:pt x="621" y="120"/>
                </a:cubicBezTo>
                <a:close/>
                <a:moveTo>
                  <a:pt x="621" y="121"/>
                </a:moveTo>
                <a:cubicBezTo>
                  <a:pt x="620" y="121"/>
                  <a:pt x="620" y="121"/>
                  <a:pt x="620" y="122"/>
                </a:cubicBezTo>
                <a:cubicBezTo>
                  <a:pt x="621" y="122"/>
                  <a:pt x="621" y="121"/>
                  <a:pt x="621" y="121"/>
                </a:cubicBezTo>
                <a:close/>
                <a:moveTo>
                  <a:pt x="614" y="63"/>
                </a:moveTo>
                <a:cubicBezTo>
                  <a:pt x="614" y="63"/>
                  <a:pt x="614" y="63"/>
                  <a:pt x="615" y="64"/>
                </a:cubicBezTo>
                <a:cubicBezTo>
                  <a:pt x="615" y="63"/>
                  <a:pt x="615" y="63"/>
                  <a:pt x="614" y="63"/>
                </a:cubicBezTo>
                <a:close/>
                <a:moveTo>
                  <a:pt x="606" y="122"/>
                </a:moveTo>
                <a:cubicBezTo>
                  <a:pt x="606" y="122"/>
                  <a:pt x="607" y="122"/>
                  <a:pt x="607" y="122"/>
                </a:cubicBezTo>
                <a:cubicBezTo>
                  <a:pt x="606" y="122"/>
                  <a:pt x="606" y="122"/>
                  <a:pt x="606" y="122"/>
                </a:cubicBezTo>
                <a:close/>
                <a:moveTo>
                  <a:pt x="620" y="122"/>
                </a:moveTo>
                <a:cubicBezTo>
                  <a:pt x="620" y="122"/>
                  <a:pt x="620" y="122"/>
                  <a:pt x="619" y="123"/>
                </a:cubicBezTo>
                <a:cubicBezTo>
                  <a:pt x="620" y="123"/>
                  <a:pt x="620" y="122"/>
                  <a:pt x="620" y="122"/>
                </a:cubicBezTo>
                <a:close/>
                <a:moveTo>
                  <a:pt x="1209" y="54"/>
                </a:moveTo>
                <a:cubicBezTo>
                  <a:pt x="1210" y="54"/>
                  <a:pt x="1210" y="53"/>
                  <a:pt x="1210" y="53"/>
                </a:cubicBezTo>
                <a:cubicBezTo>
                  <a:pt x="1209" y="53"/>
                  <a:pt x="1209" y="54"/>
                  <a:pt x="1209" y="54"/>
                </a:cubicBezTo>
                <a:close/>
                <a:moveTo>
                  <a:pt x="605" y="123"/>
                </a:moveTo>
                <a:cubicBezTo>
                  <a:pt x="606" y="123"/>
                  <a:pt x="606" y="123"/>
                  <a:pt x="606" y="122"/>
                </a:cubicBezTo>
                <a:cubicBezTo>
                  <a:pt x="606" y="122"/>
                  <a:pt x="605" y="122"/>
                  <a:pt x="605" y="123"/>
                </a:cubicBezTo>
                <a:close/>
                <a:moveTo>
                  <a:pt x="1136" y="44"/>
                </a:moveTo>
                <a:cubicBezTo>
                  <a:pt x="1136" y="43"/>
                  <a:pt x="1136" y="43"/>
                  <a:pt x="1135" y="43"/>
                </a:cubicBezTo>
                <a:cubicBezTo>
                  <a:pt x="1136" y="44"/>
                  <a:pt x="1136" y="44"/>
                  <a:pt x="1136" y="44"/>
                </a:cubicBezTo>
                <a:close/>
                <a:moveTo>
                  <a:pt x="605" y="123"/>
                </a:moveTo>
                <a:cubicBezTo>
                  <a:pt x="605" y="123"/>
                  <a:pt x="605" y="123"/>
                  <a:pt x="605" y="123"/>
                </a:cubicBezTo>
                <a:cubicBezTo>
                  <a:pt x="605" y="123"/>
                  <a:pt x="605" y="123"/>
                  <a:pt x="605" y="123"/>
                </a:cubicBezTo>
                <a:close/>
                <a:moveTo>
                  <a:pt x="1489" y="16"/>
                </a:moveTo>
                <a:cubicBezTo>
                  <a:pt x="1489" y="16"/>
                  <a:pt x="1489" y="16"/>
                  <a:pt x="1490" y="16"/>
                </a:cubicBezTo>
                <a:cubicBezTo>
                  <a:pt x="1489" y="16"/>
                  <a:pt x="1489" y="16"/>
                  <a:pt x="1489" y="16"/>
                </a:cubicBezTo>
                <a:close/>
                <a:moveTo>
                  <a:pt x="566" y="50"/>
                </a:moveTo>
                <a:cubicBezTo>
                  <a:pt x="566" y="50"/>
                  <a:pt x="566" y="50"/>
                  <a:pt x="566" y="50"/>
                </a:cubicBezTo>
                <a:cubicBezTo>
                  <a:pt x="566" y="50"/>
                  <a:pt x="566" y="50"/>
                  <a:pt x="566" y="50"/>
                </a:cubicBezTo>
                <a:close/>
                <a:moveTo>
                  <a:pt x="662" y="64"/>
                </a:moveTo>
                <a:cubicBezTo>
                  <a:pt x="662" y="63"/>
                  <a:pt x="662" y="63"/>
                  <a:pt x="661" y="63"/>
                </a:cubicBezTo>
                <a:cubicBezTo>
                  <a:pt x="661" y="63"/>
                  <a:pt x="661" y="63"/>
                  <a:pt x="662" y="64"/>
                </a:cubicBezTo>
                <a:close/>
                <a:moveTo>
                  <a:pt x="719" y="16"/>
                </a:moveTo>
                <a:cubicBezTo>
                  <a:pt x="720" y="16"/>
                  <a:pt x="720" y="16"/>
                  <a:pt x="720" y="16"/>
                </a:cubicBezTo>
                <a:cubicBezTo>
                  <a:pt x="720" y="16"/>
                  <a:pt x="720" y="16"/>
                  <a:pt x="719" y="16"/>
                </a:cubicBezTo>
                <a:close/>
                <a:moveTo>
                  <a:pt x="681" y="63"/>
                </a:moveTo>
                <a:cubicBezTo>
                  <a:pt x="681" y="63"/>
                  <a:pt x="681" y="63"/>
                  <a:pt x="682" y="63"/>
                </a:cubicBezTo>
                <a:cubicBezTo>
                  <a:pt x="681" y="63"/>
                  <a:pt x="681" y="63"/>
                  <a:pt x="681" y="63"/>
                </a:cubicBezTo>
                <a:close/>
                <a:moveTo>
                  <a:pt x="607" y="41"/>
                </a:moveTo>
                <a:cubicBezTo>
                  <a:pt x="607" y="41"/>
                  <a:pt x="607" y="42"/>
                  <a:pt x="607" y="42"/>
                </a:cubicBezTo>
                <a:cubicBezTo>
                  <a:pt x="607" y="41"/>
                  <a:pt x="607" y="41"/>
                  <a:pt x="607" y="41"/>
                </a:cubicBezTo>
                <a:close/>
                <a:moveTo>
                  <a:pt x="613" y="129"/>
                </a:moveTo>
                <a:cubicBezTo>
                  <a:pt x="613" y="129"/>
                  <a:pt x="613" y="129"/>
                  <a:pt x="613" y="130"/>
                </a:cubicBezTo>
                <a:cubicBezTo>
                  <a:pt x="613" y="130"/>
                  <a:pt x="613" y="130"/>
                  <a:pt x="613" y="129"/>
                </a:cubicBezTo>
                <a:close/>
                <a:moveTo>
                  <a:pt x="612" y="130"/>
                </a:moveTo>
                <a:cubicBezTo>
                  <a:pt x="612" y="130"/>
                  <a:pt x="612" y="130"/>
                  <a:pt x="612" y="130"/>
                </a:cubicBezTo>
                <a:cubicBezTo>
                  <a:pt x="612" y="130"/>
                  <a:pt x="612" y="130"/>
                  <a:pt x="612" y="130"/>
                </a:cubicBezTo>
                <a:close/>
                <a:moveTo>
                  <a:pt x="610" y="131"/>
                </a:moveTo>
                <a:cubicBezTo>
                  <a:pt x="610" y="131"/>
                  <a:pt x="610" y="131"/>
                  <a:pt x="610" y="131"/>
                </a:cubicBezTo>
                <a:cubicBezTo>
                  <a:pt x="610" y="131"/>
                  <a:pt x="610" y="131"/>
                  <a:pt x="610" y="131"/>
                </a:cubicBezTo>
                <a:close/>
                <a:moveTo>
                  <a:pt x="609" y="131"/>
                </a:moveTo>
                <a:cubicBezTo>
                  <a:pt x="609" y="131"/>
                  <a:pt x="609" y="132"/>
                  <a:pt x="609" y="132"/>
                </a:cubicBezTo>
                <a:cubicBezTo>
                  <a:pt x="609" y="132"/>
                  <a:pt x="609" y="132"/>
                  <a:pt x="609" y="131"/>
                </a:cubicBezTo>
                <a:close/>
                <a:moveTo>
                  <a:pt x="609" y="132"/>
                </a:moveTo>
                <a:cubicBezTo>
                  <a:pt x="608" y="132"/>
                  <a:pt x="608" y="132"/>
                  <a:pt x="608" y="132"/>
                </a:cubicBezTo>
                <a:cubicBezTo>
                  <a:pt x="608" y="132"/>
                  <a:pt x="609" y="132"/>
                  <a:pt x="609" y="132"/>
                </a:cubicBezTo>
                <a:close/>
                <a:moveTo>
                  <a:pt x="1290" y="44"/>
                </a:moveTo>
                <a:cubicBezTo>
                  <a:pt x="1290" y="44"/>
                  <a:pt x="1290" y="44"/>
                  <a:pt x="1290" y="43"/>
                </a:cubicBezTo>
                <a:cubicBezTo>
                  <a:pt x="1290" y="44"/>
                  <a:pt x="1290" y="44"/>
                  <a:pt x="1290" y="44"/>
                </a:cubicBezTo>
                <a:close/>
                <a:moveTo>
                  <a:pt x="653" y="42"/>
                </a:moveTo>
                <a:cubicBezTo>
                  <a:pt x="653" y="42"/>
                  <a:pt x="653" y="42"/>
                  <a:pt x="653" y="42"/>
                </a:cubicBezTo>
                <a:cubicBezTo>
                  <a:pt x="653" y="42"/>
                  <a:pt x="653" y="42"/>
                  <a:pt x="653" y="42"/>
                </a:cubicBezTo>
                <a:close/>
                <a:moveTo>
                  <a:pt x="751" y="87"/>
                </a:moveTo>
                <a:cubicBezTo>
                  <a:pt x="751" y="87"/>
                  <a:pt x="751" y="87"/>
                  <a:pt x="750" y="87"/>
                </a:cubicBezTo>
                <a:cubicBezTo>
                  <a:pt x="750" y="87"/>
                  <a:pt x="751" y="87"/>
                  <a:pt x="751" y="87"/>
                </a:cubicBezTo>
                <a:close/>
                <a:moveTo>
                  <a:pt x="1364" y="74"/>
                </a:moveTo>
                <a:cubicBezTo>
                  <a:pt x="1364" y="74"/>
                  <a:pt x="1364" y="74"/>
                  <a:pt x="1364" y="74"/>
                </a:cubicBezTo>
                <a:cubicBezTo>
                  <a:pt x="1364" y="74"/>
                  <a:pt x="1364" y="74"/>
                  <a:pt x="1364" y="74"/>
                </a:cubicBezTo>
                <a:close/>
                <a:moveTo>
                  <a:pt x="796" y="39"/>
                </a:moveTo>
                <a:cubicBezTo>
                  <a:pt x="796" y="39"/>
                  <a:pt x="796" y="39"/>
                  <a:pt x="796" y="39"/>
                </a:cubicBezTo>
                <a:cubicBezTo>
                  <a:pt x="796" y="39"/>
                  <a:pt x="796" y="39"/>
                  <a:pt x="796" y="39"/>
                </a:cubicBezTo>
                <a:close/>
                <a:moveTo>
                  <a:pt x="1535" y="74"/>
                </a:moveTo>
                <a:cubicBezTo>
                  <a:pt x="1535" y="74"/>
                  <a:pt x="1535" y="74"/>
                  <a:pt x="1535" y="74"/>
                </a:cubicBezTo>
                <a:cubicBezTo>
                  <a:pt x="1535" y="74"/>
                  <a:pt x="1535" y="74"/>
                  <a:pt x="1535" y="74"/>
                </a:cubicBezTo>
                <a:close/>
                <a:moveTo>
                  <a:pt x="833" y="39"/>
                </a:moveTo>
                <a:cubicBezTo>
                  <a:pt x="833" y="39"/>
                  <a:pt x="833" y="39"/>
                  <a:pt x="833" y="39"/>
                </a:cubicBezTo>
                <a:cubicBezTo>
                  <a:pt x="833" y="39"/>
                  <a:pt x="833" y="39"/>
                  <a:pt x="833" y="39"/>
                </a:cubicBezTo>
                <a:close/>
                <a:moveTo>
                  <a:pt x="1703" y="74"/>
                </a:moveTo>
                <a:cubicBezTo>
                  <a:pt x="1703" y="74"/>
                  <a:pt x="1704" y="74"/>
                  <a:pt x="1704" y="74"/>
                </a:cubicBezTo>
                <a:cubicBezTo>
                  <a:pt x="1703" y="74"/>
                  <a:pt x="1703" y="74"/>
                  <a:pt x="1703" y="74"/>
                </a:cubicBezTo>
                <a:close/>
                <a:moveTo>
                  <a:pt x="1717" y="74"/>
                </a:moveTo>
                <a:cubicBezTo>
                  <a:pt x="1717" y="74"/>
                  <a:pt x="1716" y="74"/>
                  <a:pt x="1716" y="74"/>
                </a:cubicBezTo>
                <a:cubicBezTo>
                  <a:pt x="1717" y="74"/>
                  <a:pt x="1717" y="74"/>
                  <a:pt x="1717" y="74"/>
                </a:cubicBezTo>
                <a:close/>
                <a:moveTo>
                  <a:pt x="864" y="39"/>
                </a:moveTo>
                <a:cubicBezTo>
                  <a:pt x="864" y="39"/>
                  <a:pt x="864" y="39"/>
                  <a:pt x="864" y="39"/>
                </a:cubicBezTo>
                <a:cubicBezTo>
                  <a:pt x="864" y="39"/>
                  <a:pt x="864" y="39"/>
                  <a:pt x="864" y="39"/>
                </a:cubicBezTo>
                <a:close/>
                <a:moveTo>
                  <a:pt x="874" y="39"/>
                </a:moveTo>
                <a:cubicBezTo>
                  <a:pt x="874" y="39"/>
                  <a:pt x="874" y="39"/>
                  <a:pt x="874" y="39"/>
                </a:cubicBezTo>
                <a:cubicBezTo>
                  <a:pt x="874" y="39"/>
                  <a:pt x="874" y="39"/>
                  <a:pt x="874" y="39"/>
                </a:cubicBezTo>
                <a:close/>
                <a:moveTo>
                  <a:pt x="1042" y="39"/>
                </a:moveTo>
                <a:cubicBezTo>
                  <a:pt x="1042" y="39"/>
                  <a:pt x="1042" y="39"/>
                  <a:pt x="1042" y="39"/>
                </a:cubicBezTo>
                <a:cubicBezTo>
                  <a:pt x="1042" y="39"/>
                  <a:pt x="1042" y="39"/>
                  <a:pt x="1042" y="39"/>
                </a:cubicBezTo>
                <a:close/>
                <a:moveTo>
                  <a:pt x="1115" y="39"/>
                </a:moveTo>
                <a:cubicBezTo>
                  <a:pt x="1116" y="39"/>
                  <a:pt x="1116" y="39"/>
                  <a:pt x="1116" y="39"/>
                </a:cubicBezTo>
                <a:cubicBezTo>
                  <a:pt x="1115" y="39"/>
                  <a:pt x="1115" y="39"/>
                  <a:pt x="1115" y="39"/>
                </a:cubicBezTo>
                <a:close/>
                <a:moveTo>
                  <a:pt x="1148" y="39"/>
                </a:moveTo>
                <a:cubicBezTo>
                  <a:pt x="1148" y="39"/>
                  <a:pt x="1148" y="39"/>
                  <a:pt x="1149" y="39"/>
                </a:cubicBezTo>
                <a:cubicBezTo>
                  <a:pt x="1149" y="39"/>
                  <a:pt x="1148" y="39"/>
                  <a:pt x="1148" y="39"/>
                </a:cubicBezTo>
                <a:close/>
                <a:moveTo>
                  <a:pt x="1220" y="39"/>
                </a:moveTo>
                <a:cubicBezTo>
                  <a:pt x="1220" y="39"/>
                  <a:pt x="1220" y="39"/>
                  <a:pt x="1220" y="39"/>
                </a:cubicBezTo>
                <a:cubicBezTo>
                  <a:pt x="1220" y="39"/>
                  <a:pt x="1220" y="39"/>
                  <a:pt x="1220" y="39"/>
                </a:cubicBezTo>
                <a:close/>
                <a:moveTo>
                  <a:pt x="1351" y="75"/>
                </a:moveTo>
                <a:cubicBezTo>
                  <a:pt x="1351" y="75"/>
                  <a:pt x="1351" y="75"/>
                  <a:pt x="1351" y="74"/>
                </a:cubicBezTo>
                <a:cubicBezTo>
                  <a:pt x="1351" y="74"/>
                  <a:pt x="1351" y="75"/>
                  <a:pt x="1351" y="75"/>
                </a:cubicBezTo>
                <a:close/>
                <a:moveTo>
                  <a:pt x="1364" y="74"/>
                </a:moveTo>
                <a:cubicBezTo>
                  <a:pt x="1364" y="74"/>
                  <a:pt x="1364" y="74"/>
                  <a:pt x="1364" y="75"/>
                </a:cubicBezTo>
                <a:cubicBezTo>
                  <a:pt x="1364" y="75"/>
                  <a:pt x="1364" y="75"/>
                  <a:pt x="1364" y="74"/>
                </a:cubicBezTo>
                <a:close/>
                <a:moveTo>
                  <a:pt x="1535" y="75"/>
                </a:moveTo>
                <a:cubicBezTo>
                  <a:pt x="1535" y="75"/>
                  <a:pt x="1535" y="75"/>
                  <a:pt x="1535" y="74"/>
                </a:cubicBezTo>
                <a:cubicBezTo>
                  <a:pt x="1535" y="74"/>
                  <a:pt x="1535" y="75"/>
                  <a:pt x="1535" y="75"/>
                </a:cubicBezTo>
                <a:close/>
                <a:moveTo>
                  <a:pt x="1548" y="74"/>
                </a:moveTo>
                <a:cubicBezTo>
                  <a:pt x="1548" y="74"/>
                  <a:pt x="1548" y="74"/>
                  <a:pt x="1548" y="75"/>
                </a:cubicBezTo>
                <a:cubicBezTo>
                  <a:pt x="1548" y="75"/>
                  <a:pt x="1548" y="74"/>
                  <a:pt x="1548" y="74"/>
                </a:cubicBezTo>
                <a:close/>
                <a:moveTo>
                  <a:pt x="1256" y="39"/>
                </a:moveTo>
                <a:cubicBezTo>
                  <a:pt x="1256" y="39"/>
                  <a:pt x="1256" y="39"/>
                  <a:pt x="1256" y="39"/>
                </a:cubicBezTo>
                <a:cubicBezTo>
                  <a:pt x="1256" y="39"/>
                  <a:pt x="1256" y="39"/>
                  <a:pt x="1256" y="39"/>
                </a:cubicBezTo>
                <a:close/>
                <a:moveTo>
                  <a:pt x="1703" y="75"/>
                </a:moveTo>
                <a:cubicBezTo>
                  <a:pt x="1703" y="75"/>
                  <a:pt x="1703" y="75"/>
                  <a:pt x="1703" y="74"/>
                </a:cubicBezTo>
                <a:cubicBezTo>
                  <a:pt x="1703" y="74"/>
                  <a:pt x="1703" y="75"/>
                  <a:pt x="1703" y="75"/>
                </a:cubicBezTo>
                <a:close/>
                <a:moveTo>
                  <a:pt x="1716" y="74"/>
                </a:moveTo>
                <a:cubicBezTo>
                  <a:pt x="1716" y="74"/>
                  <a:pt x="1716" y="74"/>
                  <a:pt x="1716" y="75"/>
                </a:cubicBezTo>
                <a:cubicBezTo>
                  <a:pt x="1716" y="75"/>
                  <a:pt x="1716" y="74"/>
                  <a:pt x="1716" y="74"/>
                </a:cubicBezTo>
                <a:close/>
                <a:moveTo>
                  <a:pt x="551" y="39"/>
                </a:moveTo>
                <a:cubicBezTo>
                  <a:pt x="551" y="39"/>
                  <a:pt x="551" y="39"/>
                  <a:pt x="551" y="39"/>
                </a:cubicBezTo>
                <a:cubicBezTo>
                  <a:pt x="551" y="39"/>
                  <a:pt x="551" y="39"/>
                  <a:pt x="551" y="39"/>
                </a:cubicBezTo>
                <a:close/>
                <a:moveTo>
                  <a:pt x="664" y="39"/>
                </a:moveTo>
                <a:cubicBezTo>
                  <a:pt x="664" y="39"/>
                  <a:pt x="664" y="39"/>
                  <a:pt x="664" y="39"/>
                </a:cubicBezTo>
                <a:cubicBezTo>
                  <a:pt x="664" y="39"/>
                  <a:pt x="664" y="39"/>
                  <a:pt x="664" y="39"/>
                </a:cubicBezTo>
                <a:close/>
                <a:moveTo>
                  <a:pt x="698" y="75"/>
                </a:moveTo>
                <a:cubicBezTo>
                  <a:pt x="698" y="75"/>
                  <a:pt x="698" y="75"/>
                  <a:pt x="698" y="75"/>
                </a:cubicBezTo>
                <a:cubicBezTo>
                  <a:pt x="698" y="75"/>
                  <a:pt x="698" y="75"/>
                  <a:pt x="698" y="75"/>
                </a:cubicBezTo>
                <a:close/>
                <a:moveTo>
                  <a:pt x="796" y="39"/>
                </a:moveTo>
                <a:cubicBezTo>
                  <a:pt x="796" y="39"/>
                  <a:pt x="797" y="39"/>
                  <a:pt x="797" y="39"/>
                </a:cubicBezTo>
                <a:cubicBezTo>
                  <a:pt x="797" y="39"/>
                  <a:pt x="797" y="39"/>
                  <a:pt x="796" y="39"/>
                </a:cubicBezTo>
                <a:close/>
                <a:moveTo>
                  <a:pt x="1350" y="75"/>
                </a:moveTo>
                <a:cubicBezTo>
                  <a:pt x="1350" y="75"/>
                  <a:pt x="1351" y="75"/>
                  <a:pt x="1351" y="75"/>
                </a:cubicBezTo>
                <a:cubicBezTo>
                  <a:pt x="1350" y="75"/>
                  <a:pt x="1350" y="75"/>
                  <a:pt x="1350" y="75"/>
                </a:cubicBezTo>
                <a:close/>
                <a:moveTo>
                  <a:pt x="832" y="39"/>
                </a:moveTo>
                <a:cubicBezTo>
                  <a:pt x="832" y="39"/>
                  <a:pt x="833" y="39"/>
                  <a:pt x="833" y="39"/>
                </a:cubicBezTo>
                <a:cubicBezTo>
                  <a:pt x="832" y="39"/>
                  <a:pt x="832" y="39"/>
                  <a:pt x="832" y="39"/>
                </a:cubicBezTo>
                <a:close/>
                <a:moveTo>
                  <a:pt x="864" y="39"/>
                </a:moveTo>
                <a:cubicBezTo>
                  <a:pt x="864" y="39"/>
                  <a:pt x="864" y="39"/>
                  <a:pt x="864" y="39"/>
                </a:cubicBezTo>
                <a:cubicBezTo>
                  <a:pt x="864" y="39"/>
                  <a:pt x="864" y="39"/>
                  <a:pt x="864" y="39"/>
                </a:cubicBezTo>
                <a:close/>
                <a:moveTo>
                  <a:pt x="1534" y="75"/>
                </a:moveTo>
                <a:cubicBezTo>
                  <a:pt x="1535" y="75"/>
                  <a:pt x="1535" y="75"/>
                  <a:pt x="1535" y="75"/>
                </a:cubicBezTo>
                <a:cubicBezTo>
                  <a:pt x="1535" y="75"/>
                  <a:pt x="1534" y="75"/>
                  <a:pt x="1534" y="75"/>
                </a:cubicBezTo>
                <a:close/>
                <a:moveTo>
                  <a:pt x="1548" y="75"/>
                </a:moveTo>
                <a:cubicBezTo>
                  <a:pt x="1548" y="75"/>
                  <a:pt x="1548" y="75"/>
                  <a:pt x="1548" y="75"/>
                </a:cubicBezTo>
                <a:cubicBezTo>
                  <a:pt x="1548" y="75"/>
                  <a:pt x="1548" y="75"/>
                  <a:pt x="1548" y="75"/>
                </a:cubicBezTo>
                <a:close/>
                <a:moveTo>
                  <a:pt x="873" y="39"/>
                </a:moveTo>
                <a:cubicBezTo>
                  <a:pt x="874" y="39"/>
                  <a:pt x="874" y="39"/>
                  <a:pt x="874" y="39"/>
                </a:cubicBezTo>
                <a:cubicBezTo>
                  <a:pt x="874" y="39"/>
                  <a:pt x="873" y="39"/>
                  <a:pt x="873" y="39"/>
                </a:cubicBezTo>
                <a:close/>
                <a:moveTo>
                  <a:pt x="1703" y="75"/>
                </a:moveTo>
                <a:cubicBezTo>
                  <a:pt x="1703" y="75"/>
                  <a:pt x="1703" y="75"/>
                  <a:pt x="1703" y="75"/>
                </a:cubicBezTo>
                <a:cubicBezTo>
                  <a:pt x="1703" y="75"/>
                  <a:pt x="1703" y="75"/>
                  <a:pt x="1703" y="75"/>
                </a:cubicBezTo>
                <a:close/>
                <a:moveTo>
                  <a:pt x="1716" y="75"/>
                </a:moveTo>
                <a:cubicBezTo>
                  <a:pt x="1716" y="75"/>
                  <a:pt x="1716" y="75"/>
                  <a:pt x="1716" y="75"/>
                </a:cubicBezTo>
                <a:cubicBezTo>
                  <a:pt x="1716" y="75"/>
                  <a:pt x="1716" y="75"/>
                  <a:pt x="1716" y="75"/>
                </a:cubicBezTo>
                <a:close/>
                <a:moveTo>
                  <a:pt x="1041" y="39"/>
                </a:moveTo>
                <a:cubicBezTo>
                  <a:pt x="1042" y="39"/>
                  <a:pt x="1042" y="39"/>
                  <a:pt x="1042" y="39"/>
                </a:cubicBezTo>
                <a:cubicBezTo>
                  <a:pt x="1042" y="39"/>
                  <a:pt x="1042" y="39"/>
                  <a:pt x="1041" y="39"/>
                </a:cubicBezTo>
                <a:close/>
                <a:moveTo>
                  <a:pt x="1115" y="39"/>
                </a:moveTo>
                <a:cubicBezTo>
                  <a:pt x="1115" y="39"/>
                  <a:pt x="1115" y="39"/>
                  <a:pt x="1115" y="39"/>
                </a:cubicBezTo>
                <a:cubicBezTo>
                  <a:pt x="1115" y="39"/>
                  <a:pt x="1115" y="39"/>
                  <a:pt x="1115" y="39"/>
                </a:cubicBezTo>
                <a:close/>
                <a:moveTo>
                  <a:pt x="1219" y="39"/>
                </a:moveTo>
                <a:cubicBezTo>
                  <a:pt x="1220" y="39"/>
                  <a:pt x="1220" y="39"/>
                  <a:pt x="1220" y="39"/>
                </a:cubicBezTo>
                <a:cubicBezTo>
                  <a:pt x="1220" y="39"/>
                  <a:pt x="1219" y="39"/>
                  <a:pt x="1219" y="39"/>
                </a:cubicBezTo>
                <a:close/>
                <a:moveTo>
                  <a:pt x="1293" y="39"/>
                </a:moveTo>
                <a:cubicBezTo>
                  <a:pt x="1293" y="39"/>
                  <a:pt x="1293" y="39"/>
                  <a:pt x="1293" y="39"/>
                </a:cubicBezTo>
                <a:cubicBezTo>
                  <a:pt x="1293" y="39"/>
                  <a:pt x="1293" y="39"/>
                  <a:pt x="1293" y="39"/>
                </a:cubicBezTo>
                <a:close/>
                <a:moveTo>
                  <a:pt x="1350" y="75"/>
                </a:moveTo>
                <a:cubicBezTo>
                  <a:pt x="1350" y="75"/>
                  <a:pt x="1350" y="75"/>
                  <a:pt x="1350" y="75"/>
                </a:cubicBezTo>
                <a:cubicBezTo>
                  <a:pt x="1350" y="75"/>
                  <a:pt x="1350" y="75"/>
                  <a:pt x="1350" y="75"/>
                </a:cubicBezTo>
                <a:close/>
                <a:moveTo>
                  <a:pt x="663" y="40"/>
                </a:moveTo>
                <a:cubicBezTo>
                  <a:pt x="664" y="40"/>
                  <a:pt x="664" y="39"/>
                  <a:pt x="664" y="39"/>
                </a:cubicBezTo>
                <a:cubicBezTo>
                  <a:pt x="664" y="39"/>
                  <a:pt x="664" y="39"/>
                  <a:pt x="663" y="40"/>
                </a:cubicBezTo>
                <a:close/>
                <a:moveTo>
                  <a:pt x="759" y="40"/>
                </a:moveTo>
                <a:cubicBezTo>
                  <a:pt x="759" y="40"/>
                  <a:pt x="759" y="39"/>
                  <a:pt x="759" y="39"/>
                </a:cubicBezTo>
                <a:cubicBezTo>
                  <a:pt x="759" y="39"/>
                  <a:pt x="759" y="39"/>
                  <a:pt x="759" y="40"/>
                </a:cubicBezTo>
                <a:close/>
                <a:moveTo>
                  <a:pt x="797" y="39"/>
                </a:moveTo>
                <a:cubicBezTo>
                  <a:pt x="797" y="39"/>
                  <a:pt x="797" y="40"/>
                  <a:pt x="797" y="40"/>
                </a:cubicBezTo>
                <a:cubicBezTo>
                  <a:pt x="797" y="39"/>
                  <a:pt x="797" y="39"/>
                  <a:pt x="797" y="39"/>
                </a:cubicBezTo>
                <a:close/>
                <a:moveTo>
                  <a:pt x="832" y="40"/>
                </a:moveTo>
                <a:cubicBezTo>
                  <a:pt x="832" y="40"/>
                  <a:pt x="832" y="39"/>
                  <a:pt x="832" y="39"/>
                </a:cubicBezTo>
                <a:cubicBezTo>
                  <a:pt x="832" y="39"/>
                  <a:pt x="832" y="39"/>
                  <a:pt x="832" y="40"/>
                </a:cubicBezTo>
                <a:close/>
                <a:moveTo>
                  <a:pt x="873" y="40"/>
                </a:moveTo>
                <a:cubicBezTo>
                  <a:pt x="873" y="40"/>
                  <a:pt x="873" y="39"/>
                  <a:pt x="873" y="39"/>
                </a:cubicBezTo>
                <a:cubicBezTo>
                  <a:pt x="873" y="39"/>
                  <a:pt x="873" y="39"/>
                  <a:pt x="873" y="40"/>
                </a:cubicBezTo>
                <a:close/>
                <a:moveTo>
                  <a:pt x="1115" y="40"/>
                </a:moveTo>
                <a:cubicBezTo>
                  <a:pt x="1115" y="40"/>
                  <a:pt x="1115" y="39"/>
                  <a:pt x="1115" y="39"/>
                </a:cubicBezTo>
                <a:cubicBezTo>
                  <a:pt x="1115" y="39"/>
                  <a:pt x="1115" y="39"/>
                  <a:pt x="1115" y="40"/>
                </a:cubicBezTo>
                <a:close/>
                <a:moveTo>
                  <a:pt x="682" y="76"/>
                </a:moveTo>
                <a:cubicBezTo>
                  <a:pt x="682" y="75"/>
                  <a:pt x="682" y="75"/>
                  <a:pt x="682" y="75"/>
                </a:cubicBezTo>
                <a:cubicBezTo>
                  <a:pt x="682" y="76"/>
                  <a:pt x="682" y="76"/>
                  <a:pt x="682" y="76"/>
                </a:cubicBezTo>
                <a:close/>
                <a:moveTo>
                  <a:pt x="698" y="75"/>
                </a:moveTo>
                <a:cubicBezTo>
                  <a:pt x="698" y="76"/>
                  <a:pt x="698" y="76"/>
                  <a:pt x="698" y="76"/>
                </a:cubicBezTo>
                <a:cubicBezTo>
                  <a:pt x="698" y="76"/>
                  <a:pt x="698" y="76"/>
                  <a:pt x="698" y="75"/>
                </a:cubicBezTo>
                <a:close/>
                <a:moveTo>
                  <a:pt x="1292" y="40"/>
                </a:moveTo>
                <a:cubicBezTo>
                  <a:pt x="1293" y="40"/>
                  <a:pt x="1293" y="39"/>
                  <a:pt x="1293" y="39"/>
                </a:cubicBezTo>
                <a:cubicBezTo>
                  <a:pt x="1293" y="39"/>
                  <a:pt x="1293" y="39"/>
                  <a:pt x="1292" y="40"/>
                </a:cubicBezTo>
                <a:close/>
                <a:moveTo>
                  <a:pt x="663" y="40"/>
                </a:moveTo>
                <a:cubicBezTo>
                  <a:pt x="663" y="40"/>
                  <a:pt x="663" y="40"/>
                  <a:pt x="663" y="40"/>
                </a:cubicBezTo>
                <a:cubicBezTo>
                  <a:pt x="663" y="40"/>
                  <a:pt x="663" y="40"/>
                  <a:pt x="663" y="40"/>
                </a:cubicBezTo>
                <a:close/>
                <a:moveTo>
                  <a:pt x="1350" y="76"/>
                </a:moveTo>
                <a:cubicBezTo>
                  <a:pt x="1350" y="76"/>
                  <a:pt x="1350" y="76"/>
                  <a:pt x="1350" y="75"/>
                </a:cubicBezTo>
                <a:cubicBezTo>
                  <a:pt x="1350" y="76"/>
                  <a:pt x="1350" y="76"/>
                  <a:pt x="1350" y="76"/>
                </a:cubicBezTo>
                <a:close/>
                <a:moveTo>
                  <a:pt x="1363" y="75"/>
                </a:moveTo>
                <a:cubicBezTo>
                  <a:pt x="1363" y="75"/>
                  <a:pt x="1362" y="76"/>
                  <a:pt x="1362" y="76"/>
                </a:cubicBezTo>
                <a:cubicBezTo>
                  <a:pt x="1363" y="76"/>
                  <a:pt x="1363" y="76"/>
                  <a:pt x="1363" y="75"/>
                </a:cubicBezTo>
                <a:close/>
                <a:moveTo>
                  <a:pt x="758" y="40"/>
                </a:moveTo>
                <a:cubicBezTo>
                  <a:pt x="759" y="40"/>
                  <a:pt x="759" y="40"/>
                  <a:pt x="759" y="40"/>
                </a:cubicBezTo>
                <a:cubicBezTo>
                  <a:pt x="759" y="40"/>
                  <a:pt x="759" y="40"/>
                  <a:pt x="758" y="40"/>
                </a:cubicBezTo>
                <a:close/>
                <a:moveTo>
                  <a:pt x="797" y="40"/>
                </a:moveTo>
                <a:cubicBezTo>
                  <a:pt x="797" y="40"/>
                  <a:pt x="797" y="40"/>
                  <a:pt x="797" y="40"/>
                </a:cubicBezTo>
                <a:cubicBezTo>
                  <a:pt x="797" y="40"/>
                  <a:pt x="797" y="40"/>
                  <a:pt x="797" y="40"/>
                </a:cubicBezTo>
                <a:close/>
                <a:moveTo>
                  <a:pt x="832" y="40"/>
                </a:moveTo>
                <a:cubicBezTo>
                  <a:pt x="832" y="40"/>
                  <a:pt x="832" y="40"/>
                  <a:pt x="832" y="40"/>
                </a:cubicBezTo>
                <a:cubicBezTo>
                  <a:pt x="832" y="40"/>
                  <a:pt x="832" y="40"/>
                  <a:pt x="832" y="40"/>
                </a:cubicBezTo>
                <a:close/>
                <a:moveTo>
                  <a:pt x="873" y="40"/>
                </a:moveTo>
                <a:cubicBezTo>
                  <a:pt x="873" y="40"/>
                  <a:pt x="873" y="40"/>
                  <a:pt x="873" y="40"/>
                </a:cubicBezTo>
                <a:cubicBezTo>
                  <a:pt x="873" y="40"/>
                  <a:pt x="873" y="40"/>
                  <a:pt x="873" y="40"/>
                </a:cubicBezTo>
                <a:close/>
                <a:moveTo>
                  <a:pt x="907" y="40"/>
                </a:moveTo>
                <a:cubicBezTo>
                  <a:pt x="907" y="40"/>
                  <a:pt x="907" y="40"/>
                  <a:pt x="907" y="40"/>
                </a:cubicBezTo>
                <a:cubicBezTo>
                  <a:pt x="907" y="40"/>
                  <a:pt x="907" y="40"/>
                  <a:pt x="907" y="40"/>
                </a:cubicBezTo>
                <a:close/>
                <a:moveTo>
                  <a:pt x="1114" y="40"/>
                </a:moveTo>
                <a:cubicBezTo>
                  <a:pt x="1114" y="40"/>
                  <a:pt x="1115" y="40"/>
                  <a:pt x="1115" y="40"/>
                </a:cubicBezTo>
                <a:cubicBezTo>
                  <a:pt x="1114" y="40"/>
                  <a:pt x="1114" y="40"/>
                  <a:pt x="1114" y="40"/>
                </a:cubicBezTo>
                <a:close/>
                <a:moveTo>
                  <a:pt x="1292" y="40"/>
                </a:moveTo>
                <a:cubicBezTo>
                  <a:pt x="1292" y="40"/>
                  <a:pt x="1292" y="40"/>
                  <a:pt x="1292" y="40"/>
                </a:cubicBezTo>
                <a:cubicBezTo>
                  <a:pt x="1292" y="40"/>
                  <a:pt x="1292" y="40"/>
                  <a:pt x="1292" y="40"/>
                </a:cubicBezTo>
                <a:close/>
                <a:moveTo>
                  <a:pt x="1362" y="76"/>
                </a:moveTo>
                <a:cubicBezTo>
                  <a:pt x="1362" y="76"/>
                  <a:pt x="1362" y="76"/>
                  <a:pt x="1362" y="76"/>
                </a:cubicBezTo>
                <a:cubicBezTo>
                  <a:pt x="1362" y="76"/>
                  <a:pt x="1362" y="76"/>
                  <a:pt x="1362" y="76"/>
                </a:cubicBezTo>
                <a:close/>
                <a:moveTo>
                  <a:pt x="663" y="40"/>
                </a:moveTo>
                <a:cubicBezTo>
                  <a:pt x="663" y="40"/>
                  <a:pt x="663" y="40"/>
                  <a:pt x="663" y="40"/>
                </a:cubicBezTo>
                <a:cubicBezTo>
                  <a:pt x="663" y="40"/>
                  <a:pt x="663" y="40"/>
                  <a:pt x="663" y="40"/>
                </a:cubicBezTo>
                <a:close/>
                <a:moveTo>
                  <a:pt x="758" y="40"/>
                </a:moveTo>
                <a:cubicBezTo>
                  <a:pt x="758" y="40"/>
                  <a:pt x="758" y="40"/>
                  <a:pt x="758" y="40"/>
                </a:cubicBezTo>
                <a:cubicBezTo>
                  <a:pt x="758" y="40"/>
                  <a:pt x="758" y="40"/>
                  <a:pt x="758" y="40"/>
                </a:cubicBezTo>
                <a:close/>
                <a:moveTo>
                  <a:pt x="797" y="40"/>
                </a:moveTo>
                <a:cubicBezTo>
                  <a:pt x="797" y="40"/>
                  <a:pt x="798" y="40"/>
                  <a:pt x="798" y="40"/>
                </a:cubicBezTo>
                <a:cubicBezTo>
                  <a:pt x="798" y="40"/>
                  <a:pt x="798" y="40"/>
                  <a:pt x="797" y="40"/>
                </a:cubicBezTo>
                <a:close/>
                <a:moveTo>
                  <a:pt x="831" y="40"/>
                </a:moveTo>
                <a:cubicBezTo>
                  <a:pt x="831" y="40"/>
                  <a:pt x="832" y="40"/>
                  <a:pt x="832" y="40"/>
                </a:cubicBezTo>
                <a:cubicBezTo>
                  <a:pt x="831" y="40"/>
                  <a:pt x="831" y="40"/>
                  <a:pt x="831" y="40"/>
                </a:cubicBezTo>
                <a:close/>
                <a:moveTo>
                  <a:pt x="872" y="40"/>
                </a:moveTo>
                <a:cubicBezTo>
                  <a:pt x="873" y="40"/>
                  <a:pt x="873" y="40"/>
                  <a:pt x="873" y="40"/>
                </a:cubicBezTo>
                <a:cubicBezTo>
                  <a:pt x="873" y="40"/>
                  <a:pt x="872" y="40"/>
                  <a:pt x="872" y="40"/>
                </a:cubicBezTo>
                <a:close/>
                <a:moveTo>
                  <a:pt x="907" y="40"/>
                </a:moveTo>
                <a:cubicBezTo>
                  <a:pt x="907" y="40"/>
                  <a:pt x="908" y="40"/>
                  <a:pt x="908" y="40"/>
                </a:cubicBezTo>
                <a:cubicBezTo>
                  <a:pt x="908" y="40"/>
                  <a:pt x="908" y="40"/>
                  <a:pt x="907" y="40"/>
                </a:cubicBezTo>
                <a:close/>
                <a:moveTo>
                  <a:pt x="1114" y="40"/>
                </a:moveTo>
                <a:cubicBezTo>
                  <a:pt x="1114" y="40"/>
                  <a:pt x="1114" y="40"/>
                  <a:pt x="1114" y="40"/>
                </a:cubicBezTo>
                <a:cubicBezTo>
                  <a:pt x="1114" y="40"/>
                  <a:pt x="1114" y="40"/>
                  <a:pt x="1114" y="40"/>
                </a:cubicBezTo>
                <a:close/>
                <a:moveTo>
                  <a:pt x="1362" y="76"/>
                </a:moveTo>
                <a:cubicBezTo>
                  <a:pt x="1362" y="76"/>
                  <a:pt x="1362" y="76"/>
                  <a:pt x="1362" y="76"/>
                </a:cubicBezTo>
                <a:cubicBezTo>
                  <a:pt x="1362" y="76"/>
                  <a:pt x="1362" y="76"/>
                  <a:pt x="1362" y="76"/>
                </a:cubicBezTo>
                <a:close/>
                <a:moveTo>
                  <a:pt x="1149" y="40"/>
                </a:moveTo>
                <a:cubicBezTo>
                  <a:pt x="1149" y="40"/>
                  <a:pt x="1149" y="40"/>
                  <a:pt x="1150" y="40"/>
                </a:cubicBezTo>
                <a:cubicBezTo>
                  <a:pt x="1150" y="40"/>
                  <a:pt x="1149" y="40"/>
                  <a:pt x="1149" y="40"/>
                </a:cubicBezTo>
                <a:close/>
                <a:moveTo>
                  <a:pt x="1533" y="77"/>
                </a:moveTo>
                <a:cubicBezTo>
                  <a:pt x="1534" y="76"/>
                  <a:pt x="1534" y="76"/>
                  <a:pt x="1534" y="76"/>
                </a:cubicBezTo>
                <a:cubicBezTo>
                  <a:pt x="1534" y="76"/>
                  <a:pt x="1533" y="76"/>
                  <a:pt x="1533" y="77"/>
                </a:cubicBezTo>
                <a:close/>
                <a:moveTo>
                  <a:pt x="1546" y="76"/>
                </a:moveTo>
                <a:cubicBezTo>
                  <a:pt x="1546" y="76"/>
                  <a:pt x="1546" y="76"/>
                  <a:pt x="1546" y="76"/>
                </a:cubicBezTo>
                <a:cubicBezTo>
                  <a:pt x="1546" y="76"/>
                  <a:pt x="1546" y="76"/>
                  <a:pt x="1546" y="76"/>
                </a:cubicBezTo>
                <a:close/>
                <a:moveTo>
                  <a:pt x="1218" y="40"/>
                </a:moveTo>
                <a:cubicBezTo>
                  <a:pt x="1218" y="40"/>
                  <a:pt x="1218" y="40"/>
                  <a:pt x="1218" y="40"/>
                </a:cubicBezTo>
                <a:cubicBezTo>
                  <a:pt x="1218" y="40"/>
                  <a:pt x="1218" y="40"/>
                  <a:pt x="1218" y="40"/>
                </a:cubicBezTo>
                <a:close/>
                <a:moveTo>
                  <a:pt x="662" y="41"/>
                </a:moveTo>
                <a:cubicBezTo>
                  <a:pt x="663" y="41"/>
                  <a:pt x="663" y="41"/>
                  <a:pt x="663" y="40"/>
                </a:cubicBezTo>
                <a:cubicBezTo>
                  <a:pt x="663" y="40"/>
                  <a:pt x="662" y="40"/>
                  <a:pt x="662" y="41"/>
                </a:cubicBezTo>
                <a:close/>
                <a:moveTo>
                  <a:pt x="1701" y="77"/>
                </a:moveTo>
                <a:cubicBezTo>
                  <a:pt x="1702" y="76"/>
                  <a:pt x="1702" y="76"/>
                  <a:pt x="1702" y="76"/>
                </a:cubicBezTo>
                <a:cubicBezTo>
                  <a:pt x="1702" y="76"/>
                  <a:pt x="1702" y="76"/>
                  <a:pt x="1701" y="77"/>
                </a:cubicBezTo>
                <a:close/>
                <a:moveTo>
                  <a:pt x="1714" y="76"/>
                </a:moveTo>
                <a:cubicBezTo>
                  <a:pt x="1714" y="76"/>
                  <a:pt x="1714" y="76"/>
                  <a:pt x="1714" y="76"/>
                </a:cubicBezTo>
                <a:cubicBezTo>
                  <a:pt x="1714" y="76"/>
                  <a:pt x="1714" y="76"/>
                  <a:pt x="1714" y="76"/>
                </a:cubicBezTo>
                <a:close/>
                <a:moveTo>
                  <a:pt x="684" y="77"/>
                </a:moveTo>
                <a:cubicBezTo>
                  <a:pt x="684" y="77"/>
                  <a:pt x="683" y="76"/>
                  <a:pt x="683" y="76"/>
                </a:cubicBezTo>
                <a:cubicBezTo>
                  <a:pt x="683" y="77"/>
                  <a:pt x="684" y="77"/>
                  <a:pt x="684" y="77"/>
                </a:cubicBezTo>
                <a:close/>
                <a:moveTo>
                  <a:pt x="967" y="76"/>
                </a:moveTo>
                <a:cubicBezTo>
                  <a:pt x="967" y="77"/>
                  <a:pt x="967" y="77"/>
                  <a:pt x="968" y="77"/>
                </a:cubicBezTo>
                <a:cubicBezTo>
                  <a:pt x="968" y="77"/>
                  <a:pt x="968" y="77"/>
                  <a:pt x="967" y="76"/>
                </a:cubicBezTo>
                <a:close/>
                <a:moveTo>
                  <a:pt x="758" y="41"/>
                </a:moveTo>
                <a:cubicBezTo>
                  <a:pt x="758" y="41"/>
                  <a:pt x="758" y="40"/>
                  <a:pt x="758" y="40"/>
                </a:cubicBezTo>
                <a:cubicBezTo>
                  <a:pt x="758" y="40"/>
                  <a:pt x="758" y="40"/>
                  <a:pt x="758" y="41"/>
                </a:cubicBezTo>
                <a:close/>
                <a:moveTo>
                  <a:pt x="798" y="40"/>
                </a:moveTo>
                <a:cubicBezTo>
                  <a:pt x="798" y="40"/>
                  <a:pt x="798" y="41"/>
                  <a:pt x="798" y="41"/>
                </a:cubicBezTo>
                <a:cubicBezTo>
                  <a:pt x="798" y="40"/>
                  <a:pt x="798" y="40"/>
                  <a:pt x="798" y="40"/>
                </a:cubicBezTo>
                <a:close/>
                <a:moveTo>
                  <a:pt x="1349" y="77"/>
                </a:moveTo>
                <a:cubicBezTo>
                  <a:pt x="1349" y="77"/>
                  <a:pt x="1349" y="77"/>
                  <a:pt x="1349" y="76"/>
                </a:cubicBezTo>
                <a:cubicBezTo>
                  <a:pt x="1349" y="77"/>
                  <a:pt x="1349" y="77"/>
                  <a:pt x="1349" y="77"/>
                </a:cubicBezTo>
                <a:close/>
                <a:moveTo>
                  <a:pt x="1362" y="76"/>
                </a:moveTo>
                <a:cubicBezTo>
                  <a:pt x="1361" y="76"/>
                  <a:pt x="1361" y="77"/>
                  <a:pt x="1361" y="77"/>
                </a:cubicBezTo>
                <a:cubicBezTo>
                  <a:pt x="1361" y="77"/>
                  <a:pt x="1362" y="77"/>
                  <a:pt x="1362" y="76"/>
                </a:cubicBezTo>
                <a:close/>
                <a:moveTo>
                  <a:pt x="1533" y="77"/>
                </a:moveTo>
                <a:cubicBezTo>
                  <a:pt x="1533" y="77"/>
                  <a:pt x="1533" y="77"/>
                  <a:pt x="1533" y="76"/>
                </a:cubicBezTo>
                <a:cubicBezTo>
                  <a:pt x="1533" y="77"/>
                  <a:pt x="1533" y="77"/>
                  <a:pt x="1533" y="77"/>
                </a:cubicBezTo>
                <a:close/>
                <a:moveTo>
                  <a:pt x="1546" y="76"/>
                </a:moveTo>
                <a:cubicBezTo>
                  <a:pt x="1546" y="76"/>
                  <a:pt x="1546" y="77"/>
                  <a:pt x="1545" y="77"/>
                </a:cubicBezTo>
                <a:cubicBezTo>
                  <a:pt x="1546" y="77"/>
                  <a:pt x="1546" y="77"/>
                  <a:pt x="1546" y="76"/>
                </a:cubicBezTo>
                <a:close/>
                <a:moveTo>
                  <a:pt x="1701" y="77"/>
                </a:moveTo>
                <a:cubicBezTo>
                  <a:pt x="1701" y="77"/>
                  <a:pt x="1701" y="77"/>
                  <a:pt x="1701" y="76"/>
                </a:cubicBezTo>
                <a:cubicBezTo>
                  <a:pt x="1701" y="77"/>
                  <a:pt x="1701" y="77"/>
                  <a:pt x="1701" y="77"/>
                </a:cubicBezTo>
                <a:close/>
                <a:moveTo>
                  <a:pt x="1714" y="76"/>
                </a:moveTo>
                <a:cubicBezTo>
                  <a:pt x="1714" y="76"/>
                  <a:pt x="1714" y="77"/>
                  <a:pt x="1714" y="77"/>
                </a:cubicBezTo>
                <a:cubicBezTo>
                  <a:pt x="1714" y="77"/>
                  <a:pt x="1714" y="77"/>
                  <a:pt x="1714" y="76"/>
                </a:cubicBezTo>
                <a:close/>
                <a:moveTo>
                  <a:pt x="865" y="40"/>
                </a:moveTo>
                <a:cubicBezTo>
                  <a:pt x="865" y="40"/>
                  <a:pt x="865" y="41"/>
                  <a:pt x="865" y="41"/>
                </a:cubicBezTo>
                <a:cubicBezTo>
                  <a:pt x="865" y="41"/>
                  <a:pt x="865" y="40"/>
                  <a:pt x="865" y="40"/>
                </a:cubicBezTo>
                <a:close/>
                <a:moveTo>
                  <a:pt x="872" y="41"/>
                </a:moveTo>
                <a:cubicBezTo>
                  <a:pt x="872" y="41"/>
                  <a:pt x="872" y="40"/>
                  <a:pt x="872" y="40"/>
                </a:cubicBezTo>
                <a:cubicBezTo>
                  <a:pt x="872" y="40"/>
                  <a:pt x="872" y="41"/>
                  <a:pt x="872" y="41"/>
                </a:cubicBezTo>
                <a:close/>
                <a:moveTo>
                  <a:pt x="1040" y="41"/>
                </a:moveTo>
                <a:cubicBezTo>
                  <a:pt x="1040" y="41"/>
                  <a:pt x="1040" y="41"/>
                  <a:pt x="1040" y="40"/>
                </a:cubicBezTo>
                <a:cubicBezTo>
                  <a:pt x="1040" y="40"/>
                  <a:pt x="1040" y="40"/>
                  <a:pt x="1040" y="41"/>
                </a:cubicBezTo>
                <a:close/>
                <a:moveTo>
                  <a:pt x="1114" y="41"/>
                </a:moveTo>
                <a:cubicBezTo>
                  <a:pt x="1114" y="41"/>
                  <a:pt x="1114" y="40"/>
                  <a:pt x="1114" y="40"/>
                </a:cubicBezTo>
                <a:cubicBezTo>
                  <a:pt x="1114" y="40"/>
                  <a:pt x="1114" y="40"/>
                  <a:pt x="1114" y="41"/>
                </a:cubicBezTo>
                <a:close/>
                <a:moveTo>
                  <a:pt x="1150" y="40"/>
                </a:moveTo>
                <a:cubicBezTo>
                  <a:pt x="1150" y="40"/>
                  <a:pt x="1150" y="41"/>
                  <a:pt x="1150" y="41"/>
                </a:cubicBezTo>
                <a:cubicBezTo>
                  <a:pt x="1150" y="40"/>
                  <a:pt x="1150" y="40"/>
                  <a:pt x="1150" y="40"/>
                </a:cubicBezTo>
                <a:close/>
                <a:moveTo>
                  <a:pt x="1218" y="41"/>
                </a:moveTo>
                <a:cubicBezTo>
                  <a:pt x="1218" y="41"/>
                  <a:pt x="1218" y="41"/>
                  <a:pt x="1218" y="40"/>
                </a:cubicBezTo>
                <a:cubicBezTo>
                  <a:pt x="1218" y="40"/>
                  <a:pt x="1218" y="40"/>
                  <a:pt x="1218" y="41"/>
                </a:cubicBezTo>
                <a:close/>
                <a:moveTo>
                  <a:pt x="1349" y="77"/>
                </a:moveTo>
                <a:cubicBezTo>
                  <a:pt x="1349" y="77"/>
                  <a:pt x="1349" y="77"/>
                  <a:pt x="1349" y="77"/>
                </a:cubicBezTo>
                <a:cubicBezTo>
                  <a:pt x="1349" y="77"/>
                  <a:pt x="1349" y="77"/>
                  <a:pt x="1349" y="77"/>
                </a:cubicBezTo>
                <a:close/>
                <a:moveTo>
                  <a:pt x="1361" y="77"/>
                </a:moveTo>
                <a:cubicBezTo>
                  <a:pt x="1361" y="77"/>
                  <a:pt x="1361" y="77"/>
                  <a:pt x="1361" y="77"/>
                </a:cubicBezTo>
                <a:cubicBezTo>
                  <a:pt x="1361" y="77"/>
                  <a:pt x="1361" y="77"/>
                  <a:pt x="1361" y="77"/>
                </a:cubicBezTo>
                <a:close/>
                <a:moveTo>
                  <a:pt x="552" y="41"/>
                </a:moveTo>
                <a:cubicBezTo>
                  <a:pt x="552" y="41"/>
                  <a:pt x="553" y="41"/>
                  <a:pt x="553" y="41"/>
                </a:cubicBezTo>
                <a:cubicBezTo>
                  <a:pt x="553" y="41"/>
                  <a:pt x="553" y="41"/>
                  <a:pt x="552" y="41"/>
                </a:cubicBezTo>
                <a:close/>
                <a:moveTo>
                  <a:pt x="1545" y="77"/>
                </a:moveTo>
                <a:cubicBezTo>
                  <a:pt x="1545" y="77"/>
                  <a:pt x="1545" y="77"/>
                  <a:pt x="1545" y="77"/>
                </a:cubicBezTo>
                <a:cubicBezTo>
                  <a:pt x="1545" y="77"/>
                  <a:pt x="1545" y="77"/>
                  <a:pt x="1545" y="77"/>
                </a:cubicBezTo>
                <a:close/>
                <a:moveTo>
                  <a:pt x="757" y="41"/>
                </a:moveTo>
                <a:cubicBezTo>
                  <a:pt x="758" y="41"/>
                  <a:pt x="758" y="41"/>
                  <a:pt x="758" y="41"/>
                </a:cubicBezTo>
                <a:cubicBezTo>
                  <a:pt x="758" y="41"/>
                  <a:pt x="758" y="41"/>
                  <a:pt x="757" y="41"/>
                </a:cubicBezTo>
                <a:close/>
                <a:moveTo>
                  <a:pt x="798" y="41"/>
                </a:moveTo>
                <a:cubicBezTo>
                  <a:pt x="798" y="41"/>
                  <a:pt x="798" y="41"/>
                  <a:pt x="798" y="41"/>
                </a:cubicBezTo>
                <a:cubicBezTo>
                  <a:pt x="798" y="41"/>
                  <a:pt x="798" y="41"/>
                  <a:pt x="798" y="41"/>
                </a:cubicBezTo>
                <a:close/>
                <a:moveTo>
                  <a:pt x="872" y="41"/>
                </a:moveTo>
                <a:cubicBezTo>
                  <a:pt x="872" y="41"/>
                  <a:pt x="872" y="41"/>
                  <a:pt x="872" y="41"/>
                </a:cubicBezTo>
                <a:cubicBezTo>
                  <a:pt x="872" y="41"/>
                  <a:pt x="872" y="41"/>
                  <a:pt x="872" y="41"/>
                </a:cubicBezTo>
                <a:close/>
                <a:moveTo>
                  <a:pt x="1714" y="77"/>
                </a:moveTo>
                <a:cubicBezTo>
                  <a:pt x="1713" y="77"/>
                  <a:pt x="1713" y="77"/>
                  <a:pt x="1713" y="77"/>
                </a:cubicBezTo>
                <a:cubicBezTo>
                  <a:pt x="1713" y="77"/>
                  <a:pt x="1713" y="77"/>
                  <a:pt x="1714" y="77"/>
                </a:cubicBezTo>
                <a:close/>
                <a:moveTo>
                  <a:pt x="1039" y="41"/>
                </a:moveTo>
                <a:cubicBezTo>
                  <a:pt x="1040" y="41"/>
                  <a:pt x="1040" y="41"/>
                  <a:pt x="1040" y="41"/>
                </a:cubicBezTo>
                <a:cubicBezTo>
                  <a:pt x="1040" y="41"/>
                  <a:pt x="1039" y="41"/>
                  <a:pt x="1039" y="41"/>
                </a:cubicBezTo>
                <a:close/>
                <a:moveTo>
                  <a:pt x="1113" y="41"/>
                </a:moveTo>
                <a:cubicBezTo>
                  <a:pt x="1113" y="41"/>
                  <a:pt x="1114" y="41"/>
                  <a:pt x="1114" y="41"/>
                </a:cubicBezTo>
                <a:cubicBezTo>
                  <a:pt x="1113" y="41"/>
                  <a:pt x="1113" y="41"/>
                  <a:pt x="1113" y="41"/>
                </a:cubicBezTo>
                <a:close/>
                <a:moveTo>
                  <a:pt x="685" y="77"/>
                </a:moveTo>
                <a:cubicBezTo>
                  <a:pt x="685" y="77"/>
                  <a:pt x="685" y="77"/>
                  <a:pt x="684" y="77"/>
                </a:cubicBezTo>
                <a:cubicBezTo>
                  <a:pt x="684" y="77"/>
                  <a:pt x="685" y="77"/>
                  <a:pt x="685" y="77"/>
                </a:cubicBezTo>
                <a:close/>
                <a:moveTo>
                  <a:pt x="1217" y="41"/>
                </a:moveTo>
                <a:cubicBezTo>
                  <a:pt x="1217" y="41"/>
                  <a:pt x="1218" y="41"/>
                  <a:pt x="1218" y="41"/>
                </a:cubicBezTo>
                <a:cubicBezTo>
                  <a:pt x="1217" y="41"/>
                  <a:pt x="1217" y="41"/>
                  <a:pt x="1217" y="41"/>
                </a:cubicBezTo>
                <a:close/>
                <a:moveTo>
                  <a:pt x="1258" y="41"/>
                </a:moveTo>
                <a:cubicBezTo>
                  <a:pt x="1258" y="41"/>
                  <a:pt x="1258" y="41"/>
                  <a:pt x="1258" y="41"/>
                </a:cubicBezTo>
                <a:cubicBezTo>
                  <a:pt x="1258" y="41"/>
                  <a:pt x="1258" y="41"/>
                  <a:pt x="1258" y="41"/>
                </a:cubicBezTo>
                <a:close/>
                <a:moveTo>
                  <a:pt x="1361" y="77"/>
                </a:moveTo>
                <a:cubicBezTo>
                  <a:pt x="1361" y="77"/>
                  <a:pt x="1361" y="77"/>
                  <a:pt x="1361" y="77"/>
                </a:cubicBezTo>
                <a:cubicBezTo>
                  <a:pt x="1361" y="77"/>
                  <a:pt x="1361" y="77"/>
                  <a:pt x="1361" y="77"/>
                </a:cubicBezTo>
                <a:close/>
                <a:moveTo>
                  <a:pt x="1291" y="41"/>
                </a:moveTo>
                <a:cubicBezTo>
                  <a:pt x="1292" y="41"/>
                  <a:pt x="1292" y="41"/>
                  <a:pt x="1292" y="41"/>
                </a:cubicBezTo>
                <a:cubicBezTo>
                  <a:pt x="1292" y="41"/>
                  <a:pt x="1292" y="41"/>
                  <a:pt x="1291" y="41"/>
                </a:cubicBezTo>
                <a:close/>
                <a:moveTo>
                  <a:pt x="1545" y="77"/>
                </a:moveTo>
                <a:cubicBezTo>
                  <a:pt x="1545" y="77"/>
                  <a:pt x="1545" y="77"/>
                  <a:pt x="1545" y="77"/>
                </a:cubicBezTo>
                <a:cubicBezTo>
                  <a:pt x="1545" y="77"/>
                  <a:pt x="1545" y="77"/>
                  <a:pt x="1545" y="77"/>
                </a:cubicBezTo>
                <a:close/>
                <a:moveTo>
                  <a:pt x="1713" y="77"/>
                </a:moveTo>
                <a:cubicBezTo>
                  <a:pt x="1713" y="77"/>
                  <a:pt x="1713" y="77"/>
                  <a:pt x="1713" y="77"/>
                </a:cubicBezTo>
                <a:cubicBezTo>
                  <a:pt x="1713" y="77"/>
                  <a:pt x="1713" y="77"/>
                  <a:pt x="1713" y="77"/>
                </a:cubicBezTo>
                <a:close/>
                <a:moveTo>
                  <a:pt x="553" y="41"/>
                </a:moveTo>
                <a:cubicBezTo>
                  <a:pt x="553" y="41"/>
                  <a:pt x="553" y="41"/>
                  <a:pt x="553" y="41"/>
                </a:cubicBezTo>
                <a:cubicBezTo>
                  <a:pt x="553" y="41"/>
                  <a:pt x="553" y="41"/>
                  <a:pt x="553" y="41"/>
                </a:cubicBezTo>
                <a:close/>
                <a:moveTo>
                  <a:pt x="757" y="41"/>
                </a:moveTo>
                <a:cubicBezTo>
                  <a:pt x="757" y="41"/>
                  <a:pt x="757" y="41"/>
                  <a:pt x="757" y="41"/>
                </a:cubicBezTo>
                <a:cubicBezTo>
                  <a:pt x="757" y="41"/>
                  <a:pt x="757" y="41"/>
                  <a:pt x="757" y="41"/>
                </a:cubicBezTo>
                <a:close/>
                <a:moveTo>
                  <a:pt x="798" y="41"/>
                </a:moveTo>
                <a:cubicBezTo>
                  <a:pt x="798" y="41"/>
                  <a:pt x="799" y="41"/>
                  <a:pt x="799" y="41"/>
                </a:cubicBezTo>
                <a:cubicBezTo>
                  <a:pt x="799" y="41"/>
                  <a:pt x="799" y="41"/>
                  <a:pt x="798" y="41"/>
                </a:cubicBezTo>
                <a:close/>
                <a:moveTo>
                  <a:pt x="871" y="41"/>
                </a:moveTo>
                <a:cubicBezTo>
                  <a:pt x="872" y="41"/>
                  <a:pt x="872" y="41"/>
                  <a:pt x="872" y="41"/>
                </a:cubicBezTo>
                <a:cubicBezTo>
                  <a:pt x="871" y="41"/>
                  <a:pt x="871" y="41"/>
                  <a:pt x="871" y="41"/>
                </a:cubicBezTo>
                <a:close/>
                <a:moveTo>
                  <a:pt x="908" y="41"/>
                </a:moveTo>
                <a:cubicBezTo>
                  <a:pt x="908" y="41"/>
                  <a:pt x="908" y="41"/>
                  <a:pt x="908" y="41"/>
                </a:cubicBezTo>
                <a:cubicBezTo>
                  <a:pt x="908" y="41"/>
                  <a:pt x="908" y="41"/>
                  <a:pt x="908" y="41"/>
                </a:cubicBezTo>
                <a:close/>
                <a:moveTo>
                  <a:pt x="1361" y="77"/>
                </a:moveTo>
                <a:cubicBezTo>
                  <a:pt x="1360" y="77"/>
                  <a:pt x="1360" y="78"/>
                  <a:pt x="1360" y="78"/>
                </a:cubicBezTo>
                <a:cubicBezTo>
                  <a:pt x="1360" y="78"/>
                  <a:pt x="1361" y="78"/>
                  <a:pt x="1361" y="77"/>
                </a:cubicBezTo>
                <a:close/>
                <a:moveTo>
                  <a:pt x="1039" y="41"/>
                </a:moveTo>
                <a:cubicBezTo>
                  <a:pt x="1039" y="41"/>
                  <a:pt x="1039" y="41"/>
                  <a:pt x="1039" y="41"/>
                </a:cubicBezTo>
                <a:cubicBezTo>
                  <a:pt x="1039" y="41"/>
                  <a:pt x="1039" y="41"/>
                  <a:pt x="1039" y="41"/>
                </a:cubicBezTo>
                <a:close/>
                <a:moveTo>
                  <a:pt x="1532" y="78"/>
                </a:moveTo>
                <a:cubicBezTo>
                  <a:pt x="1533" y="78"/>
                  <a:pt x="1533" y="78"/>
                  <a:pt x="1533" y="77"/>
                </a:cubicBezTo>
                <a:cubicBezTo>
                  <a:pt x="1532" y="78"/>
                  <a:pt x="1532" y="78"/>
                  <a:pt x="1532" y="78"/>
                </a:cubicBezTo>
                <a:close/>
                <a:moveTo>
                  <a:pt x="1545" y="77"/>
                </a:moveTo>
                <a:cubicBezTo>
                  <a:pt x="1545" y="77"/>
                  <a:pt x="1544" y="78"/>
                  <a:pt x="1544" y="78"/>
                </a:cubicBezTo>
                <a:cubicBezTo>
                  <a:pt x="1545" y="78"/>
                  <a:pt x="1545" y="78"/>
                  <a:pt x="1545" y="77"/>
                </a:cubicBezTo>
                <a:close/>
                <a:moveTo>
                  <a:pt x="1080" y="41"/>
                </a:moveTo>
                <a:cubicBezTo>
                  <a:pt x="1080" y="41"/>
                  <a:pt x="1081" y="41"/>
                  <a:pt x="1081" y="41"/>
                </a:cubicBezTo>
                <a:cubicBezTo>
                  <a:pt x="1081" y="41"/>
                  <a:pt x="1081" y="41"/>
                  <a:pt x="1080" y="41"/>
                </a:cubicBezTo>
                <a:close/>
                <a:moveTo>
                  <a:pt x="1217" y="41"/>
                </a:moveTo>
                <a:cubicBezTo>
                  <a:pt x="1217" y="41"/>
                  <a:pt x="1217" y="41"/>
                  <a:pt x="1217" y="41"/>
                </a:cubicBezTo>
                <a:cubicBezTo>
                  <a:pt x="1217" y="41"/>
                  <a:pt x="1217" y="41"/>
                  <a:pt x="1217" y="41"/>
                </a:cubicBezTo>
                <a:close/>
                <a:moveTo>
                  <a:pt x="1700" y="78"/>
                </a:moveTo>
                <a:cubicBezTo>
                  <a:pt x="1701" y="78"/>
                  <a:pt x="1701" y="78"/>
                  <a:pt x="1701" y="77"/>
                </a:cubicBezTo>
                <a:cubicBezTo>
                  <a:pt x="1701" y="78"/>
                  <a:pt x="1700" y="78"/>
                  <a:pt x="1700" y="78"/>
                </a:cubicBezTo>
                <a:close/>
                <a:moveTo>
                  <a:pt x="1713" y="77"/>
                </a:moveTo>
                <a:cubicBezTo>
                  <a:pt x="1713" y="77"/>
                  <a:pt x="1713" y="78"/>
                  <a:pt x="1713" y="78"/>
                </a:cubicBezTo>
                <a:cubicBezTo>
                  <a:pt x="1713" y="78"/>
                  <a:pt x="1713" y="78"/>
                  <a:pt x="1713" y="77"/>
                </a:cubicBezTo>
                <a:close/>
                <a:moveTo>
                  <a:pt x="1258" y="41"/>
                </a:moveTo>
                <a:cubicBezTo>
                  <a:pt x="1258" y="41"/>
                  <a:pt x="1258" y="41"/>
                  <a:pt x="1259" y="41"/>
                </a:cubicBezTo>
                <a:cubicBezTo>
                  <a:pt x="1259" y="41"/>
                  <a:pt x="1258" y="41"/>
                  <a:pt x="1258" y="41"/>
                </a:cubicBezTo>
                <a:close/>
                <a:moveTo>
                  <a:pt x="553" y="41"/>
                </a:moveTo>
                <a:cubicBezTo>
                  <a:pt x="553" y="41"/>
                  <a:pt x="553" y="42"/>
                  <a:pt x="553" y="42"/>
                </a:cubicBezTo>
                <a:cubicBezTo>
                  <a:pt x="553" y="42"/>
                  <a:pt x="553" y="41"/>
                  <a:pt x="553" y="41"/>
                </a:cubicBezTo>
                <a:close/>
                <a:moveTo>
                  <a:pt x="662" y="42"/>
                </a:moveTo>
                <a:cubicBezTo>
                  <a:pt x="662" y="42"/>
                  <a:pt x="662" y="41"/>
                  <a:pt x="662" y="41"/>
                </a:cubicBezTo>
                <a:cubicBezTo>
                  <a:pt x="662" y="41"/>
                  <a:pt x="662" y="42"/>
                  <a:pt x="662" y="42"/>
                </a:cubicBezTo>
                <a:close/>
                <a:moveTo>
                  <a:pt x="757" y="42"/>
                </a:moveTo>
                <a:cubicBezTo>
                  <a:pt x="757" y="42"/>
                  <a:pt x="757" y="41"/>
                  <a:pt x="757" y="41"/>
                </a:cubicBezTo>
                <a:cubicBezTo>
                  <a:pt x="757" y="41"/>
                  <a:pt x="757" y="42"/>
                  <a:pt x="757" y="42"/>
                </a:cubicBezTo>
                <a:close/>
                <a:moveTo>
                  <a:pt x="1348" y="78"/>
                </a:moveTo>
                <a:cubicBezTo>
                  <a:pt x="1348" y="78"/>
                  <a:pt x="1348" y="78"/>
                  <a:pt x="1348" y="78"/>
                </a:cubicBezTo>
                <a:cubicBezTo>
                  <a:pt x="1348" y="78"/>
                  <a:pt x="1348" y="78"/>
                  <a:pt x="1348" y="78"/>
                </a:cubicBezTo>
                <a:close/>
                <a:moveTo>
                  <a:pt x="1360" y="78"/>
                </a:moveTo>
                <a:cubicBezTo>
                  <a:pt x="1360" y="78"/>
                  <a:pt x="1360" y="78"/>
                  <a:pt x="1360" y="78"/>
                </a:cubicBezTo>
                <a:cubicBezTo>
                  <a:pt x="1360" y="78"/>
                  <a:pt x="1360" y="78"/>
                  <a:pt x="1360" y="78"/>
                </a:cubicBezTo>
                <a:close/>
                <a:moveTo>
                  <a:pt x="830" y="42"/>
                </a:moveTo>
                <a:cubicBezTo>
                  <a:pt x="830" y="42"/>
                  <a:pt x="830" y="41"/>
                  <a:pt x="831" y="41"/>
                </a:cubicBezTo>
                <a:cubicBezTo>
                  <a:pt x="830" y="41"/>
                  <a:pt x="830" y="42"/>
                  <a:pt x="830" y="42"/>
                </a:cubicBezTo>
                <a:close/>
                <a:moveTo>
                  <a:pt x="1544" y="78"/>
                </a:moveTo>
                <a:cubicBezTo>
                  <a:pt x="1544" y="78"/>
                  <a:pt x="1544" y="78"/>
                  <a:pt x="1544" y="78"/>
                </a:cubicBezTo>
                <a:cubicBezTo>
                  <a:pt x="1544" y="78"/>
                  <a:pt x="1544" y="78"/>
                  <a:pt x="1544" y="78"/>
                </a:cubicBezTo>
                <a:close/>
                <a:moveTo>
                  <a:pt x="866" y="41"/>
                </a:moveTo>
                <a:cubicBezTo>
                  <a:pt x="866" y="41"/>
                  <a:pt x="866" y="42"/>
                  <a:pt x="866" y="42"/>
                </a:cubicBezTo>
                <a:cubicBezTo>
                  <a:pt x="866" y="42"/>
                  <a:pt x="866" y="41"/>
                  <a:pt x="866" y="41"/>
                </a:cubicBezTo>
                <a:close/>
                <a:moveTo>
                  <a:pt x="1713" y="78"/>
                </a:moveTo>
                <a:cubicBezTo>
                  <a:pt x="1712" y="78"/>
                  <a:pt x="1712" y="78"/>
                  <a:pt x="1712" y="78"/>
                </a:cubicBezTo>
                <a:cubicBezTo>
                  <a:pt x="1712" y="78"/>
                  <a:pt x="1713" y="78"/>
                  <a:pt x="1713" y="78"/>
                </a:cubicBezTo>
                <a:close/>
                <a:moveTo>
                  <a:pt x="1039" y="42"/>
                </a:moveTo>
                <a:cubicBezTo>
                  <a:pt x="1039" y="42"/>
                  <a:pt x="1039" y="42"/>
                  <a:pt x="1039" y="41"/>
                </a:cubicBezTo>
                <a:cubicBezTo>
                  <a:pt x="1039" y="41"/>
                  <a:pt x="1039" y="42"/>
                  <a:pt x="1039" y="42"/>
                </a:cubicBezTo>
                <a:close/>
                <a:moveTo>
                  <a:pt x="686" y="79"/>
                </a:moveTo>
                <a:cubicBezTo>
                  <a:pt x="686" y="78"/>
                  <a:pt x="686" y="78"/>
                  <a:pt x="686" y="78"/>
                </a:cubicBezTo>
                <a:cubicBezTo>
                  <a:pt x="686" y="78"/>
                  <a:pt x="686" y="78"/>
                  <a:pt x="686" y="79"/>
                </a:cubicBezTo>
                <a:close/>
                <a:moveTo>
                  <a:pt x="968" y="78"/>
                </a:moveTo>
                <a:cubicBezTo>
                  <a:pt x="968" y="78"/>
                  <a:pt x="968" y="79"/>
                  <a:pt x="969" y="79"/>
                </a:cubicBezTo>
                <a:cubicBezTo>
                  <a:pt x="969" y="78"/>
                  <a:pt x="969" y="78"/>
                  <a:pt x="968" y="78"/>
                </a:cubicBezTo>
                <a:close/>
                <a:moveTo>
                  <a:pt x="1081" y="41"/>
                </a:moveTo>
                <a:cubicBezTo>
                  <a:pt x="1081" y="42"/>
                  <a:pt x="1081" y="42"/>
                  <a:pt x="1081" y="42"/>
                </a:cubicBezTo>
                <a:cubicBezTo>
                  <a:pt x="1081" y="42"/>
                  <a:pt x="1081" y="41"/>
                  <a:pt x="1081" y="41"/>
                </a:cubicBezTo>
                <a:close/>
                <a:moveTo>
                  <a:pt x="1150" y="41"/>
                </a:moveTo>
                <a:cubicBezTo>
                  <a:pt x="1150" y="42"/>
                  <a:pt x="1150" y="42"/>
                  <a:pt x="1151" y="42"/>
                </a:cubicBezTo>
                <a:cubicBezTo>
                  <a:pt x="1151" y="42"/>
                  <a:pt x="1151" y="41"/>
                  <a:pt x="1150" y="41"/>
                </a:cubicBezTo>
                <a:close/>
                <a:moveTo>
                  <a:pt x="1217" y="42"/>
                </a:moveTo>
                <a:cubicBezTo>
                  <a:pt x="1217" y="42"/>
                  <a:pt x="1217" y="42"/>
                  <a:pt x="1217" y="41"/>
                </a:cubicBezTo>
                <a:cubicBezTo>
                  <a:pt x="1217" y="41"/>
                  <a:pt x="1217" y="42"/>
                  <a:pt x="1217" y="42"/>
                </a:cubicBezTo>
                <a:close/>
                <a:moveTo>
                  <a:pt x="1259" y="41"/>
                </a:moveTo>
                <a:cubicBezTo>
                  <a:pt x="1259" y="42"/>
                  <a:pt x="1259" y="42"/>
                  <a:pt x="1259" y="42"/>
                </a:cubicBezTo>
                <a:cubicBezTo>
                  <a:pt x="1259" y="42"/>
                  <a:pt x="1259" y="41"/>
                  <a:pt x="1259" y="41"/>
                </a:cubicBezTo>
                <a:close/>
                <a:moveTo>
                  <a:pt x="1360" y="78"/>
                </a:moveTo>
                <a:cubicBezTo>
                  <a:pt x="1360" y="78"/>
                  <a:pt x="1360" y="78"/>
                  <a:pt x="1360" y="78"/>
                </a:cubicBezTo>
                <a:cubicBezTo>
                  <a:pt x="1360" y="78"/>
                  <a:pt x="1360" y="78"/>
                  <a:pt x="1360" y="78"/>
                </a:cubicBezTo>
                <a:close/>
                <a:moveTo>
                  <a:pt x="1544" y="78"/>
                </a:moveTo>
                <a:cubicBezTo>
                  <a:pt x="1544" y="78"/>
                  <a:pt x="1544" y="78"/>
                  <a:pt x="1544" y="79"/>
                </a:cubicBezTo>
                <a:cubicBezTo>
                  <a:pt x="1544" y="78"/>
                  <a:pt x="1544" y="78"/>
                  <a:pt x="1544" y="78"/>
                </a:cubicBezTo>
                <a:close/>
                <a:moveTo>
                  <a:pt x="661" y="42"/>
                </a:moveTo>
                <a:cubicBezTo>
                  <a:pt x="662" y="42"/>
                  <a:pt x="662" y="42"/>
                  <a:pt x="662" y="42"/>
                </a:cubicBezTo>
                <a:cubicBezTo>
                  <a:pt x="662" y="42"/>
                  <a:pt x="661" y="42"/>
                  <a:pt x="661" y="42"/>
                </a:cubicBezTo>
                <a:close/>
                <a:moveTo>
                  <a:pt x="1712" y="78"/>
                </a:moveTo>
                <a:cubicBezTo>
                  <a:pt x="1712" y="78"/>
                  <a:pt x="1712" y="78"/>
                  <a:pt x="1712" y="79"/>
                </a:cubicBezTo>
                <a:cubicBezTo>
                  <a:pt x="1712" y="78"/>
                  <a:pt x="1712" y="78"/>
                  <a:pt x="1712" y="78"/>
                </a:cubicBezTo>
                <a:close/>
                <a:moveTo>
                  <a:pt x="756" y="42"/>
                </a:moveTo>
                <a:cubicBezTo>
                  <a:pt x="757" y="42"/>
                  <a:pt x="757" y="42"/>
                  <a:pt x="757" y="42"/>
                </a:cubicBezTo>
                <a:cubicBezTo>
                  <a:pt x="757" y="42"/>
                  <a:pt x="756" y="42"/>
                  <a:pt x="756" y="42"/>
                </a:cubicBezTo>
                <a:close/>
                <a:moveTo>
                  <a:pt x="830" y="42"/>
                </a:moveTo>
                <a:cubicBezTo>
                  <a:pt x="830" y="42"/>
                  <a:pt x="830" y="42"/>
                  <a:pt x="830" y="42"/>
                </a:cubicBezTo>
                <a:cubicBezTo>
                  <a:pt x="830" y="42"/>
                  <a:pt x="830" y="42"/>
                  <a:pt x="830" y="42"/>
                </a:cubicBezTo>
                <a:close/>
                <a:moveTo>
                  <a:pt x="686" y="79"/>
                </a:moveTo>
                <a:cubicBezTo>
                  <a:pt x="686" y="79"/>
                  <a:pt x="686" y="79"/>
                  <a:pt x="686" y="79"/>
                </a:cubicBezTo>
                <a:cubicBezTo>
                  <a:pt x="686" y="79"/>
                  <a:pt x="686" y="79"/>
                  <a:pt x="686" y="79"/>
                </a:cubicBezTo>
                <a:close/>
                <a:moveTo>
                  <a:pt x="1038" y="42"/>
                </a:moveTo>
                <a:cubicBezTo>
                  <a:pt x="1039" y="42"/>
                  <a:pt x="1039" y="42"/>
                  <a:pt x="1039" y="42"/>
                </a:cubicBezTo>
                <a:cubicBezTo>
                  <a:pt x="1039" y="42"/>
                  <a:pt x="1038" y="42"/>
                  <a:pt x="1038" y="42"/>
                </a:cubicBezTo>
                <a:close/>
                <a:moveTo>
                  <a:pt x="1081" y="42"/>
                </a:moveTo>
                <a:cubicBezTo>
                  <a:pt x="1081" y="42"/>
                  <a:pt x="1081" y="42"/>
                  <a:pt x="1081" y="42"/>
                </a:cubicBezTo>
                <a:cubicBezTo>
                  <a:pt x="1081" y="42"/>
                  <a:pt x="1081" y="42"/>
                  <a:pt x="1081" y="42"/>
                </a:cubicBezTo>
                <a:close/>
                <a:moveTo>
                  <a:pt x="1360" y="78"/>
                </a:moveTo>
                <a:cubicBezTo>
                  <a:pt x="1359" y="78"/>
                  <a:pt x="1359" y="79"/>
                  <a:pt x="1359" y="79"/>
                </a:cubicBezTo>
                <a:cubicBezTo>
                  <a:pt x="1359" y="79"/>
                  <a:pt x="1360" y="79"/>
                  <a:pt x="1360" y="78"/>
                </a:cubicBezTo>
                <a:close/>
                <a:moveTo>
                  <a:pt x="1216" y="42"/>
                </a:moveTo>
                <a:cubicBezTo>
                  <a:pt x="1216" y="42"/>
                  <a:pt x="1217" y="42"/>
                  <a:pt x="1217" y="42"/>
                </a:cubicBezTo>
                <a:cubicBezTo>
                  <a:pt x="1216" y="42"/>
                  <a:pt x="1216" y="42"/>
                  <a:pt x="1216" y="42"/>
                </a:cubicBezTo>
                <a:close/>
                <a:moveTo>
                  <a:pt x="1291" y="42"/>
                </a:moveTo>
                <a:cubicBezTo>
                  <a:pt x="1291" y="42"/>
                  <a:pt x="1291" y="42"/>
                  <a:pt x="1291" y="42"/>
                </a:cubicBezTo>
                <a:cubicBezTo>
                  <a:pt x="1291" y="42"/>
                  <a:pt x="1291" y="42"/>
                  <a:pt x="1291" y="42"/>
                </a:cubicBezTo>
                <a:close/>
                <a:moveTo>
                  <a:pt x="1532" y="79"/>
                </a:moveTo>
                <a:cubicBezTo>
                  <a:pt x="1532" y="79"/>
                  <a:pt x="1532" y="79"/>
                  <a:pt x="1532" y="79"/>
                </a:cubicBezTo>
                <a:cubicBezTo>
                  <a:pt x="1532" y="79"/>
                  <a:pt x="1532" y="79"/>
                  <a:pt x="1532" y="79"/>
                </a:cubicBezTo>
                <a:close/>
                <a:moveTo>
                  <a:pt x="1544" y="79"/>
                </a:moveTo>
                <a:cubicBezTo>
                  <a:pt x="1544" y="79"/>
                  <a:pt x="1543" y="79"/>
                  <a:pt x="1543" y="79"/>
                </a:cubicBezTo>
                <a:cubicBezTo>
                  <a:pt x="1544" y="79"/>
                  <a:pt x="1544" y="79"/>
                  <a:pt x="1544" y="79"/>
                </a:cubicBezTo>
                <a:close/>
                <a:moveTo>
                  <a:pt x="756" y="42"/>
                </a:moveTo>
                <a:cubicBezTo>
                  <a:pt x="756" y="42"/>
                  <a:pt x="756" y="42"/>
                  <a:pt x="756" y="42"/>
                </a:cubicBezTo>
                <a:cubicBezTo>
                  <a:pt x="756" y="42"/>
                  <a:pt x="756" y="42"/>
                  <a:pt x="756" y="42"/>
                </a:cubicBezTo>
                <a:close/>
                <a:moveTo>
                  <a:pt x="1700" y="79"/>
                </a:moveTo>
                <a:cubicBezTo>
                  <a:pt x="1700" y="79"/>
                  <a:pt x="1700" y="79"/>
                  <a:pt x="1700" y="79"/>
                </a:cubicBezTo>
                <a:cubicBezTo>
                  <a:pt x="1700" y="79"/>
                  <a:pt x="1700" y="79"/>
                  <a:pt x="1700" y="79"/>
                </a:cubicBezTo>
                <a:close/>
                <a:moveTo>
                  <a:pt x="1712" y="79"/>
                </a:moveTo>
                <a:cubicBezTo>
                  <a:pt x="1712" y="79"/>
                  <a:pt x="1712" y="79"/>
                  <a:pt x="1712" y="79"/>
                </a:cubicBezTo>
                <a:cubicBezTo>
                  <a:pt x="1712" y="79"/>
                  <a:pt x="1712" y="79"/>
                  <a:pt x="1712" y="79"/>
                </a:cubicBezTo>
                <a:close/>
                <a:moveTo>
                  <a:pt x="799" y="42"/>
                </a:moveTo>
                <a:cubicBezTo>
                  <a:pt x="799" y="42"/>
                  <a:pt x="799" y="42"/>
                  <a:pt x="800" y="42"/>
                </a:cubicBezTo>
                <a:cubicBezTo>
                  <a:pt x="799" y="42"/>
                  <a:pt x="799" y="42"/>
                  <a:pt x="799" y="42"/>
                </a:cubicBezTo>
                <a:close/>
                <a:moveTo>
                  <a:pt x="687" y="79"/>
                </a:moveTo>
                <a:cubicBezTo>
                  <a:pt x="687" y="79"/>
                  <a:pt x="687" y="79"/>
                  <a:pt x="686" y="79"/>
                </a:cubicBezTo>
                <a:cubicBezTo>
                  <a:pt x="687" y="79"/>
                  <a:pt x="687" y="79"/>
                  <a:pt x="687" y="79"/>
                </a:cubicBezTo>
                <a:close/>
                <a:moveTo>
                  <a:pt x="871" y="42"/>
                </a:moveTo>
                <a:cubicBezTo>
                  <a:pt x="871" y="42"/>
                  <a:pt x="871" y="42"/>
                  <a:pt x="871" y="42"/>
                </a:cubicBezTo>
                <a:cubicBezTo>
                  <a:pt x="871" y="42"/>
                  <a:pt x="871" y="42"/>
                  <a:pt x="871" y="42"/>
                </a:cubicBezTo>
                <a:close/>
                <a:moveTo>
                  <a:pt x="1112" y="42"/>
                </a:moveTo>
                <a:cubicBezTo>
                  <a:pt x="1112" y="42"/>
                  <a:pt x="1112" y="42"/>
                  <a:pt x="1112" y="42"/>
                </a:cubicBezTo>
                <a:cubicBezTo>
                  <a:pt x="1112" y="42"/>
                  <a:pt x="1112" y="42"/>
                  <a:pt x="1112" y="42"/>
                </a:cubicBezTo>
                <a:close/>
                <a:moveTo>
                  <a:pt x="1347" y="79"/>
                </a:moveTo>
                <a:cubicBezTo>
                  <a:pt x="1347" y="79"/>
                  <a:pt x="1347" y="79"/>
                  <a:pt x="1347" y="79"/>
                </a:cubicBezTo>
                <a:cubicBezTo>
                  <a:pt x="1347" y="79"/>
                  <a:pt x="1347" y="79"/>
                  <a:pt x="1347" y="79"/>
                </a:cubicBezTo>
                <a:close/>
                <a:moveTo>
                  <a:pt x="1359" y="79"/>
                </a:moveTo>
                <a:cubicBezTo>
                  <a:pt x="1359" y="79"/>
                  <a:pt x="1359" y="79"/>
                  <a:pt x="1359" y="79"/>
                </a:cubicBezTo>
                <a:cubicBezTo>
                  <a:pt x="1359" y="79"/>
                  <a:pt x="1359" y="79"/>
                  <a:pt x="1359" y="79"/>
                </a:cubicBezTo>
                <a:close/>
                <a:moveTo>
                  <a:pt x="1216" y="42"/>
                </a:moveTo>
                <a:cubicBezTo>
                  <a:pt x="1216" y="42"/>
                  <a:pt x="1216" y="42"/>
                  <a:pt x="1216" y="42"/>
                </a:cubicBezTo>
                <a:cubicBezTo>
                  <a:pt x="1216" y="42"/>
                  <a:pt x="1216" y="42"/>
                  <a:pt x="1216" y="42"/>
                </a:cubicBezTo>
                <a:close/>
                <a:moveTo>
                  <a:pt x="1543" y="79"/>
                </a:moveTo>
                <a:cubicBezTo>
                  <a:pt x="1543" y="79"/>
                  <a:pt x="1543" y="79"/>
                  <a:pt x="1543" y="79"/>
                </a:cubicBezTo>
                <a:cubicBezTo>
                  <a:pt x="1543" y="79"/>
                  <a:pt x="1543" y="79"/>
                  <a:pt x="1543" y="79"/>
                </a:cubicBezTo>
                <a:close/>
                <a:moveTo>
                  <a:pt x="554" y="42"/>
                </a:moveTo>
                <a:cubicBezTo>
                  <a:pt x="554" y="43"/>
                  <a:pt x="555" y="43"/>
                  <a:pt x="555" y="43"/>
                </a:cubicBezTo>
                <a:cubicBezTo>
                  <a:pt x="555" y="43"/>
                  <a:pt x="555" y="42"/>
                  <a:pt x="554" y="42"/>
                </a:cubicBezTo>
                <a:close/>
                <a:moveTo>
                  <a:pt x="756" y="43"/>
                </a:moveTo>
                <a:cubicBezTo>
                  <a:pt x="756" y="43"/>
                  <a:pt x="756" y="43"/>
                  <a:pt x="756" y="42"/>
                </a:cubicBezTo>
                <a:cubicBezTo>
                  <a:pt x="756" y="42"/>
                  <a:pt x="756" y="43"/>
                  <a:pt x="756" y="43"/>
                </a:cubicBezTo>
                <a:close/>
                <a:moveTo>
                  <a:pt x="1712" y="79"/>
                </a:moveTo>
                <a:cubicBezTo>
                  <a:pt x="1711" y="79"/>
                  <a:pt x="1711" y="79"/>
                  <a:pt x="1711" y="79"/>
                </a:cubicBezTo>
                <a:cubicBezTo>
                  <a:pt x="1711" y="79"/>
                  <a:pt x="1711" y="79"/>
                  <a:pt x="1712" y="79"/>
                </a:cubicBezTo>
                <a:close/>
                <a:moveTo>
                  <a:pt x="800" y="42"/>
                </a:moveTo>
                <a:cubicBezTo>
                  <a:pt x="800" y="43"/>
                  <a:pt x="800" y="43"/>
                  <a:pt x="800" y="43"/>
                </a:cubicBezTo>
                <a:cubicBezTo>
                  <a:pt x="800" y="43"/>
                  <a:pt x="800" y="42"/>
                  <a:pt x="800" y="42"/>
                </a:cubicBezTo>
                <a:close/>
                <a:moveTo>
                  <a:pt x="870" y="43"/>
                </a:moveTo>
                <a:cubicBezTo>
                  <a:pt x="870" y="43"/>
                  <a:pt x="871" y="43"/>
                  <a:pt x="871" y="42"/>
                </a:cubicBezTo>
                <a:cubicBezTo>
                  <a:pt x="870" y="42"/>
                  <a:pt x="870" y="43"/>
                  <a:pt x="870" y="43"/>
                </a:cubicBezTo>
                <a:close/>
                <a:moveTo>
                  <a:pt x="555" y="43"/>
                </a:moveTo>
                <a:cubicBezTo>
                  <a:pt x="555" y="43"/>
                  <a:pt x="555" y="43"/>
                  <a:pt x="555" y="43"/>
                </a:cubicBezTo>
                <a:cubicBezTo>
                  <a:pt x="555" y="43"/>
                  <a:pt x="555" y="43"/>
                  <a:pt x="555" y="43"/>
                </a:cubicBezTo>
                <a:close/>
                <a:moveTo>
                  <a:pt x="661" y="43"/>
                </a:moveTo>
                <a:cubicBezTo>
                  <a:pt x="661" y="43"/>
                  <a:pt x="661" y="43"/>
                  <a:pt x="661" y="43"/>
                </a:cubicBezTo>
                <a:cubicBezTo>
                  <a:pt x="661" y="43"/>
                  <a:pt x="661" y="43"/>
                  <a:pt x="661" y="43"/>
                </a:cubicBezTo>
                <a:close/>
                <a:moveTo>
                  <a:pt x="755" y="43"/>
                </a:moveTo>
                <a:cubicBezTo>
                  <a:pt x="756" y="43"/>
                  <a:pt x="756" y="43"/>
                  <a:pt x="756" y="43"/>
                </a:cubicBezTo>
                <a:cubicBezTo>
                  <a:pt x="756" y="43"/>
                  <a:pt x="755" y="43"/>
                  <a:pt x="755" y="43"/>
                </a:cubicBezTo>
                <a:close/>
                <a:moveTo>
                  <a:pt x="969" y="79"/>
                </a:moveTo>
                <a:cubicBezTo>
                  <a:pt x="969" y="79"/>
                  <a:pt x="969" y="80"/>
                  <a:pt x="969" y="80"/>
                </a:cubicBezTo>
                <a:cubicBezTo>
                  <a:pt x="969" y="79"/>
                  <a:pt x="969" y="79"/>
                  <a:pt x="969" y="79"/>
                </a:cubicBezTo>
                <a:close/>
                <a:moveTo>
                  <a:pt x="829" y="43"/>
                </a:moveTo>
                <a:cubicBezTo>
                  <a:pt x="829" y="43"/>
                  <a:pt x="829" y="43"/>
                  <a:pt x="829" y="43"/>
                </a:cubicBezTo>
                <a:cubicBezTo>
                  <a:pt x="829" y="43"/>
                  <a:pt x="829" y="43"/>
                  <a:pt x="829" y="43"/>
                </a:cubicBezTo>
                <a:close/>
                <a:moveTo>
                  <a:pt x="1082" y="43"/>
                </a:moveTo>
                <a:cubicBezTo>
                  <a:pt x="1082" y="43"/>
                  <a:pt x="1082" y="43"/>
                  <a:pt x="1082" y="43"/>
                </a:cubicBezTo>
                <a:cubicBezTo>
                  <a:pt x="1082" y="43"/>
                  <a:pt x="1082" y="43"/>
                  <a:pt x="1082" y="43"/>
                </a:cubicBezTo>
                <a:close/>
                <a:moveTo>
                  <a:pt x="1359" y="79"/>
                </a:moveTo>
                <a:cubicBezTo>
                  <a:pt x="1359" y="79"/>
                  <a:pt x="1359" y="79"/>
                  <a:pt x="1359" y="80"/>
                </a:cubicBezTo>
                <a:cubicBezTo>
                  <a:pt x="1359" y="80"/>
                  <a:pt x="1359" y="79"/>
                  <a:pt x="1359" y="79"/>
                </a:cubicBezTo>
                <a:close/>
                <a:moveTo>
                  <a:pt x="1260" y="43"/>
                </a:moveTo>
                <a:cubicBezTo>
                  <a:pt x="1260" y="43"/>
                  <a:pt x="1260" y="43"/>
                  <a:pt x="1260" y="43"/>
                </a:cubicBezTo>
                <a:cubicBezTo>
                  <a:pt x="1260" y="43"/>
                  <a:pt x="1260" y="43"/>
                  <a:pt x="1260" y="43"/>
                </a:cubicBezTo>
                <a:close/>
                <a:moveTo>
                  <a:pt x="1037" y="43"/>
                </a:moveTo>
                <a:cubicBezTo>
                  <a:pt x="1037" y="43"/>
                  <a:pt x="1038" y="43"/>
                  <a:pt x="1038" y="43"/>
                </a:cubicBezTo>
                <a:cubicBezTo>
                  <a:pt x="1038" y="43"/>
                  <a:pt x="1037" y="43"/>
                  <a:pt x="1037" y="43"/>
                </a:cubicBezTo>
                <a:close/>
                <a:moveTo>
                  <a:pt x="675" y="43"/>
                </a:moveTo>
                <a:cubicBezTo>
                  <a:pt x="674" y="43"/>
                  <a:pt x="674" y="43"/>
                  <a:pt x="674" y="44"/>
                </a:cubicBezTo>
                <a:cubicBezTo>
                  <a:pt x="674" y="44"/>
                  <a:pt x="674" y="44"/>
                  <a:pt x="675" y="43"/>
                </a:cubicBezTo>
                <a:close/>
                <a:moveTo>
                  <a:pt x="800" y="43"/>
                </a:moveTo>
                <a:cubicBezTo>
                  <a:pt x="800" y="44"/>
                  <a:pt x="800" y="44"/>
                  <a:pt x="801" y="44"/>
                </a:cubicBezTo>
                <a:cubicBezTo>
                  <a:pt x="801" y="44"/>
                  <a:pt x="800" y="43"/>
                  <a:pt x="800" y="43"/>
                </a:cubicBezTo>
                <a:close/>
                <a:moveTo>
                  <a:pt x="838" y="43"/>
                </a:moveTo>
                <a:cubicBezTo>
                  <a:pt x="838" y="43"/>
                  <a:pt x="837" y="43"/>
                  <a:pt x="837" y="44"/>
                </a:cubicBezTo>
                <a:cubicBezTo>
                  <a:pt x="838" y="44"/>
                  <a:pt x="838" y="44"/>
                  <a:pt x="838" y="43"/>
                </a:cubicBezTo>
                <a:close/>
                <a:moveTo>
                  <a:pt x="870" y="44"/>
                </a:moveTo>
                <a:cubicBezTo>
                  <a:pt x="870" y="44"/>
                  <a:pt x="870" y="44"/>
                  <a:pt x="870" y="43"/>
                </a:cubicBezTo>
                <a:cubicBezTo>
                  <a:pt x="870" y="43"/>
                  <a:pt x="870" y="44"/>
                  <a:pt x="870" y="44"/>
                </a:cubicBezTo>
                <a:close/>
                <a:moveTo>
                  <a:pt x="881" y="43"/>
                </a:moveTo>
                <a:cubicBezTo>
                  <a:pt x="880" y="43"/>
                  <a:pt x="880" y="43"/>
                  <a:pt x="880" y="44"/>
                </a:cubicBezTo>
                <a:cubicBezTo>
                  <a:pt x="880" y="44"/>
                  <a:pt x="881" y="44"/>
                  <a:pt x="881" y="43"/>
                </a:cubicBezTo>
                <a:close/>
                <a:moveTo>
                  <a:pt x="1037" y="44"/>
                </a:moveTo>
                <a:cubicBezTo>
                  <a:pt x="1037" y="44"/>
                  <a:pt x="1037" y="44"/>
                  <a:pt x="1037" y="43"/>
                </a:cubicBezTo>
                <a:cubicBezTo>
                  <a:pt x="1037" y="43"/>
                  <a:pt x="1037" y="44"/>
                  <a:pt x="1037" y="44"/>
                </a:cubicBezTo>
                <a:close/>
                <a:moveTo>
                  <a:pt x="1359" y="80"/>
                </a:moveTo>
                <a:cubicBezTo>
                  <a:pt x="1358" y="80"/>
                  <a:pt x="1358" y="80"/>
                  <a:pt x="1358" y="80"/>
                </a:cubicBezTo>
                <a:cubicBezTo>
                  <a:pt x="1358" y="80"/>
                  <a:pt x="1358" y="80"/>
                  <a:pt x="1359" y="80"/>
                </a:cubicBezTo>
                <a:close/>
                <a:moveTo>
                  <a:pt x="1531" y="80"/>
                </a:moveTo>
                <a:cubicBezTo>
                  <a:pt x="1531" y="80"/>
                  <a:pt x="1531" y="80"/>
                  <a:pt x="1531" y="80"/>
                </a:cubicBezTo>
                <a:cubicBezTo>
                  <a:pt x="1531" y="80"/>
                  <a:pt x="1531" y="80"/>
                  <a:pt x="1531" y="80"/>
                </a:cubicBezTo>
                <a:close/>
                <a:moveTo>
                  <a:pt x="1111" y="44"/>
                </a:moveTo>
                <a:cubicBezTo>
                  <a:pt x="1111" y="44"/>
                  <a:pt x="1111" y="44"/>
                  <a:pt x="1111" y="43"/>
                </a:cubicBezTo>
                <a:cubicBezTo>
                  <a:pt x="1111" y="43"/>
                  <a:pt x="1111" y="44"/>
                  <a:pt x="1111" y="44"/>
                </a:cubicBezTo>
                <a:close/>
                <a:moveTo>
                  <a:pt x="1699" y="80"/>
                </a:moveTo>
                <a:cubicBezTo>
                  <a:pt x="1699" y="80"/>
                  <a:pt x="1699" y="80"/>
                  <a:pt x="1699" y="80"/>
                </a:cubicBezTo>
                <a:cubicBezTo>
                  <a:pt x="1699" y="80"/>
                  <a:pt x="1699" y="80"/>
                  <a:pt x="1699" y="80"/>
                </a:cubicBezTo>
                <a:close/>
                <a:moveTo>
                  <a:pt x="1122" y="43"/>
                </a:moveTo>
                <a:cubicBezTo>
                  <a:pt x="1121" y="43"/>
                  <a:pt x="1121" y="43"/>
                  <a:pt x="1121" y="44"/>
                </a:cubicBezTo>
                <a:cubicBezTo>
                  <a:pt x="1121" y="44"/>
                  <a:pt x="1121" y="44"/>
                  <a:pt x="1122" y="43"/>
                </a:cubicBezTo>
                <a:close/>
                <a:moveTo>
                  <a:pt x="687" y="80"/>
                </a:moveTo>
                <a:cubicBezTo>
                  <a:pt x="687" y="80"/>
                  <a:pt x="687" y="80"/>
                  <a:pt x="687" y="80"/>
                </a:cubicBezTo>
                <a:cubicBezTo>
                  <a:pt x="687" y="80"/>
                  <a:pt x="687" y="80"/>
                  <a:pt x="687" y="80"/>
                </a:cubicBezTo>
                <a:close/>
                <a:moveTo>
                  <a:pt x="1215" y="44"/>
                </a:moveTo>
                <a:cubicBezTo>
                  <a:pt x="1215" y="44"/>
                  <a:pt x="1215" y="44"/>
                  <a:pt x="1215" y="43"/>
                </a:cubicBezTo>
                <a:cubicBezTo>
                  <a:pt x="1215" y="44"/>
                  <a:pt x="1215" y="44"/>
                  <a:pt x="1215" y="44"/>
                </a:cubicBezTo>
                <a:close/>
                <a:moveTo>
                  <a:pt x="556" y="44"/>
                </a:moveTo>
                <a:cubicBezTo>
                  <a:pt x="556" y="44"/>
                  <a:pt x="556" y="44"/>
                  <a:pt x="557" y="44"/>
                </a:cubicBezTo>
                <a:cubicBezTo>
                  <a:pt x="556" y="44"/>
                  <a:pt x="556" y="44"/>
                  <a:pt x="556" y="44"/>
                </a:cubicBezTo>
                <a:close/>
                <a:moveTo>
                  <a:pt x="828" y="44"/>
                </a:moveTo>
                <a:cubicBezTo>
                  <a:pt x="829" y="44"/>
                  <a:pt x="829" y="44"/>
                  <a:pt x="829" y="44"/>
                </a:cubicBezTo>
                <a:cubicBezTo>
                  <a:pt x="829" y="44"/>
                  <a:pt x="829" y="44"/>
                  <a:pt x="828" y="44"/>
                </a:cubicBezTo>
                <a:close/>
                <a:moveTo>
                  <a:pt x="1121" y="44"/>
                </a:moveTo>
                <a:cubicBezTo>
                  <a:pt x="1121" y="44"/>
                  <a:pt x="1120" y="44"/>
                  <a:pt x="1120" y="44"/>
                </a:cubicBezTo>
                <a:cubicBezTo>
                  <a:pt x="1121" y="44"/>
                  <a:pt x="1121" y="44"/>
                  <a:pt x="1121" y="44"/>
                </a:cubicBezTo>
                <a:close/>
                <a:moveTo>
                  <a:pt x="1215" y="44"/>
                </a:moveTo>
                <a:cubicBezTo>
                  <a:pt x="1215" y="44"/>
                  <a:pt x="1215" y="44"/>
                  <a:pt x="1215" y="44"/>
                </a:cubicBezTo>
                <a:cubicBezTo>
                  <a:pt x="1215" y="44"/>
                  <a:pt x="1215" y="44"/>
                  <a:pt x="1215" y="44"/>
                </a:cubicBezTo>
                <a:close/>
                <a:moveTo>
                  <a:pt x="1260" y="44"/>
                </a:moveTo>
                <a:cubicBezTo>
                  <a:pt x="1260" y="44"/>
                  <a:pt x="1261" y="44"/>
                  <a:pt x="1261" y="44"/>
                </a:cubicBezTo>
                <a:cubicBezTo>
                  <a:pt x="1261" y="44"/>
                  <a:pt x="1261" y="44"/>
                  <a:pt x="1260" y="44"/>
                </a:cubicBezTo>
                <a:close/>
                <a:moveTo>
                  <a:pt x="674" y="44"/>
                </a:moveTo>
                <a:cubicBezTo>
                  <a:pt x="673" y="44"/>
                  <a:pt x="673" y="44"/>
                  <a:pt x="673" y="44"/>
                </a:cubicBezTo>
                <a:cubicBezTo>
                  <a:pt x="673" y="44"/>
                  <a:pt x="673" y="44"/>
                  <a:pt x="674" y="44"/>
                </a:cubicBezTo>
                <a:close/>
                <a:moveTo>
                  <a:pt x="754" y="44"/>
                </a:moveTo>
                <a:cubicBezTo>
                  <a:pt x="755" y="44"/>
                  <a:pt x="755" y="44"/>
                  <a:pt x="755" y="44"/>
                </a:cubicBezTo>
                <a:cubicBezTo>
                  <a:pt x="754" y="44"/>
                  <a:pt x="754" y="44"/>
                  <a:pt x="754" y="44"/>
                </a:cubicBezTo>
                <a:close/>
                <a:moveTo>
                  <a:pt x="853" y="44"/>
                </a:moveTo>
                <a:cubicBezTo>
                  <a:pt x="853" y="44"/>
                  <a:pt x="853" y="44"/>
                  <a:pt x="852" y="44"/>
                </a:cubicBezTo>
                <a:cubicBezTo>
                  <a:pt x="853" y="44"/>
                  <a:pt x="853" y="44"/>
                  <a:pt x="853" y="44"/>
                </a:cubicBezTo>
                <a:close/>
                <a:moveTo>
                  <a:pt x="896" y="44"/>
                </a:moveTo>
                <a:cubicBezTo>
                  <a:pt x="896" y="44"/>
                  <a:pt x="895" y="44"/>
                  <a:pt x="895" y="44"/>
                </a:cubicBezTo>
                <a:cubicBezTo>
                  <a:pt x="895" y="44"/>
                  <a:pt x="896" y="44"/>
                  <a:pt x="896" y="44"/>
                </a:cubicBezTo>
                <a:close/>
                <a:moveTo>
                  <a:pt x="970" y="80"/>
                </a:moveTo>
                <a:cubicBezTo>
                  <a:pt x="970" y="80"/>
                  <a:pt x="970" y="81"/>
                  <a:pt x="970" y="81"/>
                </a:cubicBezTo>
                <a:cubicBezTo>
                  <a:pt x="970" y="81"/>
                  <a:pt x="970" y="80"/>
                  <a:pt x="970" y="80"/>
                </a:cubicBezTo>
                <a:close/>
                <a:moveTo>
                  <a:pt x="1120" y="44"/>
                </a:moveTo>
                <a:cubicBezTo>
                  <a:pt x="1120" y="44"/>
                  <a:pt x="1120" y="44"/>
                  <a:pt x="1120" y="44"/>
                </a:cubicBezTo>
                <a:cubicBezTo>
                  <a:pt x="1120" y="44"/>
                  <a:pt x="1120" y="44"/>
                  <a:pt x="1120" y="44"/>
                </a:cubicBezTo>
                <a:close/>
                <a:moveTo>
                  <a:pt x="1531" y="81"/>
                </a:moveTo>
                <a:cubicBezTo>
                  <a:pt x="1531" y="81"/>
                  <a:pt x="1531" y="80"/>
                  <a:pt x="1531" y="80"/>
                </a:cubicBezTo>
                <a:cubicBezTo>
                  <a:pt x="1531" y="80"/>
                  <a:pt x="1531" y="81"/>
                  <a:pt x="1531" y="81"/>
                </a:cubicBezTo>
                <a:close/>
                <a:moveTo>
                  <a:pt x="1542" y="80"/>
                </a:moveTo>
                <a:cubicBezTo>
                  <a:pt x="1542" y="80"/>
                  <a:pt x="1542" y="80"/>
                  <a:pt x="1542" y="81"/>
                </a:cubicBezTo>
                <a:cubicBezTo>
                  <a:pt x="1542" y="81"/>
                  <a:pt x="1542" y="80"/>
                  <a:pt x="1542" y="80"/>
                </a:cubicBezTo>
                <a:close/>
                <a:moveTo>
                  <a:pt x="1699" y="81"/>
                </a:moveTo>
                <a:cubicBezTo>
                  <a:pt x="1699" y="81"/>
                  <a:pt x="1699" y="80"/>
                  <a:pt x="1699" y="80"/>
                </a:cubicBezTo>
                <a:cubicBezTo>
                  <a:pt x="1699" y="80"/>
                  <a:pt x="1699" y="81"/>
                  <a:pt x="1699" y="81"/>
                </a:cubicBezTo>
                <a:close/>
                <a:moveTo>
                  <a:pt x="1710" y="80"/>
                </a:moveTo>
                <a:cubicBezTo>
                  <a:pt x="1710" y="80"/>
                  <a:pt x="1710" y="80"/>
                  <a:pt x="1710" y="81"/>
                </a:cubicBezTo>
                <a:cubicBezTo>
                  <a:pt x="1710" y="81"/>
                  <a:pt x="1710" y="80"/>
                  <a:pt x="1710" y="80"/>
                </a:cubicBezTo>
                <a:close/>
                <a:moveTo>
                  <a:pt x="1137" y="44"/>
                </a:moveTo>
                <a:cubicBezTo>
                  <a:pt x="1137" y="44"/>
                  <a:pt x="1137" y="44"/>
                  <a:pt x="1137" y="44"/>
                </a:cubicBezTo>
                <a:cubicBezTo>
                  <a:pt x="1137" y="44"/>
                  <a:pt x="1137" y="44"/>
                  <a:pt x="1137" y="44"/>
                </a:cubicBezTo>
                <a:close/>
                <a:moveTo>
                  <a:pt x="557" y="44"/>
                </a:moveTo>
                <a:cubicBezTo>
                  <a:pt x="557" y="45"/>
                  <a:pt x="557" y="45"/>
                  <a:pt x="558" y="45"/>
                </a:cubicBezTo>
                <a:cubicBezTo>
                  <a:pt x="558" y="45"/>
                  <a:pt x="557" y="45"/>
                  <a:pt x="557" y="44"/>
                </a:cubicBezTo>
                <a:close/>
                <a:moveTo>
                  <a:pt x="688" y="81"/>
                </a:moveTo>
                <a:cubicBezTo>
                  <a:pt x="688" y="81"/>
                  <a:pt x="688" y="81"/>
                  <a:pt x="688" y="80"/>
                </a:cubicBezTo>
                <a:cubicBezTo>
                  <a:pt x="688" y="81"/>
                  <a:pt x="688" y="81"/>
                  <a:pt x="688" y="81"/>
                </a:cubicBezTo>
                <a:close/>
                <a:moveTo>
                  <a:pt x="801" y="44"/>
                </a:moveTo>
                <a:cubicBezTo>
                  <a:pt x="801" y="45"/>
                  <a:pt x="801" y="45"/>
                  <a:pt x="801" y="45"/>
                </a:cubicBezTo>
                <a:cubicBezTo>
                  <a:pt x="801" y="45"/>
                  <a:pt x="801" y="45"/>
                  <a:pt x="801" y="44"/>
                </a:cubicBezTo>
                <a:close/>
                <a:moveTo>
                  <a:pt x="970" y="81"/>
                </a:moveTo>
                <a:cubicBezTo>
                  <a:pt x="970" y="81"/>
                  <a:pt x="970" y="81"/>
                  <a:pt x="970" y="81"/>
                </a:cubicBezTo>
                <a:cubicBezTo>
                  <a:pt x="970" y="81"/>
                  <a:pt x="970" y="81"/>
                  <a:pt x="970" y="81"/>
                </a:cubicBezTo>
                <a:close/>
                <a:moveTo>
                  <a:pt x="836" y="44"/>
                </a:moveTo>
                <a:cubicBezTo>
                  <a:pt x="836" y="44"/>
                  <a:pt x="836" y="45"/>
                  <a:pt x="836" y="45"/>
                </a:cubicBezTo>
                <a:cubicBezTo>
                  <a:pt x="836" y="45"/>
                  <a:pt x="836" y="45"/>
                  <a:pt x="836" y="44"/>
                </a:cubicBezTo>
                <a:close/>
                <a:moveTo>
                  <a:pt x="869" y="45"/>
                </a:moveTo>
                <a:cubicBezTo>
                  <a:pt x="869" y="45"/>
                  <a:pt x="869" y="45"/>
                  <a:pt x="869" y="44"/>
                </a:cubicBezTo>
                <a:cubicBezTo>
                  <a:pt x="869" y="45"/>
                  <a:pt x="869" y="45"/>
                  <a:pt x="869" y="45"/>
                </a:cubicBezTo>
                <a:close/>
                <a:moveTo>
                  <a:pt x="836" y="45"/>
                </a:moveTo>
                <a:cubicBezTo>
                  <a:pt x="836" y="45"/>
                  <a:pt x="835" y="45"/>
                  <a:pt x="835" y="45"/>
                </a:cubicBezTo>
                <a:cubicBezTo>
                  <a:pt x="836" y="45"/>
                  <a:pt x="836" y="45"/>
                  <a:pt x="836" y="45"/>
                </a:cubicBezTo>
                <a:close/>
                <a:moveTo>
                  <a:pt x="1358" y="81"/>
                </a:moveTo>
                <a:cubicBezTo>
                  <a:pt x="1358" y="81"/>
                  <a:pt x="1357" y="81"/>
                  <a:pt x="1357" y="81"/>
                </a:cubicBezTo>
                <a:cubicBezTo>
                  <a:pt x="1358" y="81"/>
                  <a:pt x="1358" y="81"/>
                  <a:pt x="1358" y="81"/>
                </a:cubicBezTo>
                <a:close/>
                <a:moveTo>
                  <a:pt x="854" y="45"/>
                </a:moveTo>
                <a:cubicBezTo>
                  <a:pt x="854" y="45"/>
                  <a:pt x="854" y="45"/>
                  <a:pt x="853" y="45"/>
                </a:cubicBezTo>
                <a:cubicBezTo>
                  <a:pt x="854" y="45"/>
                  <a:pt x="854" y="45"/>
                  <a:pt x="854" y="45"/>
                </a:cubicBezTo>
                <a:close/>
                <a:moveTo>
                  <a:pt x="1542" y="81"/>
                </a:moveTo>
                <a:cubicBezTo>
                  <a:pt x="1542" y="81"/>
                  <a:pt x="1542" y="81"/>
                  <a:pt x="1542" y="81"/>
                </a:cubicBezTo>
                <a:cubicBezTo>
                  <a:pt x="1542" y="81"/>
                  <a:pt x="1542" y="81"/>
                  <a:pt x="1542" y="81"/>
                </a:cubicBezTo>
                <a:close/>
                <a:moveTo>
                  <a:pt x="1678" y="81"/>
                </a:moveTo>
                <a:cubicBezTo>
                  <a:pt x="1678" y="81"/>
                  <a:pt x="1678" y="81"/>
                  <a:pt x="1678" y="81"/>
                </a:cubicBezTo>
                <a:cubicBezTo>
                  <a:pt x="1678" y="81"/>
                  <a:pt x="1678" y="81"/>
                  <a:pt x="1678" y="81"/>
                </a:cubicBezTo>
                <a:close/>
                <a:moveTo>
                  <a:pt x="879" y="45"/>
                </a:moveTo>
                <a:cubicBezTo>
                  <a:pt x="878" y="45"/>
                  <a:pt x="878" y="45"/>
                  <a:pt x="878" y="45"/>
                </a:cubicBezTo>
                <a:cubicBezTo>
                  <a:pt x="878" y="45"/>
                  <a:pt x="878" y="45"/>
                  <a:pt x="879" y="45"/>
                </a:cubicBezTo>
                <a:close/>
                <a:moveTo>
                  <a:pt x="1710" y="81"/>
                </a:moveTo>
                <a:cubicBezTo>
                  <a:pt x="1710" y="81"/>
                  <a:pt x="1710" y="81"/>
                  <a:pt x="1710" y="81"/>
                </a:cubicBezTo>
                <a:cubicBezTo>
                  <a:pt x="1710" y="81"/>
                  <a:pt x="1710" y="81"/>
                  <a:pt x="1710" y="81"/>
                </a:cubicBezTo>
                <a:close/>
                <a:moveTo>
                  <a:pt x="897" y="45"/>
                </a:moveTo>
                <a:cubicBezTo>
                  <a:pt x="897" y="45"/>
                  <a:pt x="897" y="45"/>
                  <a:pt x="896" y="45"/>
                </a:cubicBezTo>
                <a:cubicBezTo>
                  <a:pt x="896" y="45"/>
                  <a:pt x="897" y="45"/>
                  <a:pt x="897" y="45"/>
                </a:cubicBezTo>
                <a:close/>
                <a:moveTo>
                  <a:pt x="1036" y="45"/>
                </a:moveTo>
                <a:cubicBezTo>
                  <a:pt x="1036" y="45"/>
                  <a:pt x="1036" y="45"/>
                  <a:pt x="1036" y="45"/>
                </a:cubicBezTo>
                <a:cubicBezTo>
                  <a:pt x="1036" y="45"/>
                  <a:pt x="1036" y="45"/>
                  <a:pt x="1036" y="45"/>
                </a:cubicBezTo>
                <a:close/>
                <a:moveTo>
                  <a:pt x="1083" y="45"/>
                </a:moveTo>
                <a:cubicBezTo>
                  <a:pt x="1083" y="45"/>
                  <a:pt x="1083" y="45"/>
                  <a:pt x="1084" y="45"/>
                </a:cubicBezTo>
                <a:cubicBezTo>
                  <a:pt x="1084" y="45"/>
                  <a:pt x="1083" y="45"/>
                  <a:pt x="1083" y="45"/>
                </a:cubicBezTo>
                <a:close/>
                <a:moveTo>
                  <a:pt x="1119" y="45"/>
                </a:moveTo>
                <a:cubicBezTo>
                  <a:pt x="1119" y="45"/>
                  <a:pt x="1119" y="45"/>
                  <a:pt x="1119" y="45"/>
                </a:cubicBezTo>
                <a:cubicBezTo>
                  <a:pt x="1119" y="45"/>
                  <a:pt x="1119" y="45"/>
                  <a:pt x="1119" y="45"/>
                </a:cubicBezTo>
                <a:close/>
                <a:moveTo>
                  <a:pt x="1138" y="45"/>
                </a:moveTo>
                <a:cubicBezTo>
                  <a:pt x="1138" y="45"/>
                  <a:pt x="1138" y="45"/>
                  <a:pt x="1138" y="45"/>
                </a:cubicBezTo>
                <a:cubicBezTo>
                  <a:pt x="1138" y="45"/>
                  <a:pt x="1138" y="45"/>
                  <a:pt x="1138" y="45"/>
                </a:cubicBezTo>
                <a:close/>
                <a:moveTo>
                  <a:pt x="1358" y="81"/>
                </a:moveTo>
                <a:cubicBezTo>
                  <a:pt x="1357" y="81"/>
                  <a:pt x="1357" y="81"/>
                  <a:pt x="1357" y="81"/>
                </a:cubicBezTo>
                <a:cubicBezTo>
                  <a:pt x="1357" y="81"/>
                  <a:pt x="1357" y="81"/>
                  <a:pt x="1358" y="81"/>
                </a:cubicBezTo>
                <a:close/>
                <a:moveTo>
                  <a:pt x="1214" y="45"/>
                </a:moveTo>
                <a:cubicBezTo>
                  <a:pt x="1214" y="45"/>
                  <a:pt x="1214" y="45"/>
                  <a:pt x="1214" y="45"/>
                </a:cubicBezTo>
                <a:cubicBezTo>
                  <a:pt x="1214" y="45"/>
                  <a:pt x="1214" y="45"/>
                  <a:pt x="1214" y="45"/>
                </a:cubicBezTo>
                <a:close/>
                <a:moveTo>
                  <a:pt x="1312" y="45"/>
                </a:moveTo>
                <a:cubicBezTo>
                  <a:pt x="1312" y="45"/>
                  <a:pt x="1311" y="45"/>
                  <a:pt x="1311" y="45"/>
                </a:cubicBezTo>
                <a:cubicBezTo>
                  <a:pt x="1311" y="45"/>
                  <a:pt x="1311" y="45"/>
                  <a:pt x="1312" y="45"/>
                </a:cubicBezTo>
                <a:close/>
                <a:moveTo>
                  <a:pt x="1567" y="45"/>
                </a:moveTo>
                <a:cubicBezTo>
                  <a:pt x="1567" y="45"/>
                  <a:pt x="1567" y="45"/>
                  <a:pt x="1567" y="45"/>
                </a:cubicBezTo>
                <a:cubicBezTo>
                  <a:pt x="1567" y="45"/>
                  <a:pt x="1567" y="45"/>
                  <a:pt x="1567" y="45"/>
                </a:cubicBezTo>
                <a:close/>
                <a:moveTo>
                  <a:pt x="1735" y="45"/>
                </a:moveTo>
                <a:cubicBezTo>
                  <a:pt x="1735" y="45"/>
                  <a:pt x="1736" y="45"/>
                  <a:pt x="1736" y="45"/>
                </a:cubicBezTo>
                <a:cubicBezTo>
                  <a:pt x="1735" y="45"/>
                  <a:pt x="1735" y="45"/>
                  <a:pt x="1735" y="45"/>
                </a:cubicBezTo>
                <a:close/>
                <a:moveTo>
                  <a:pt x="558" y="45"/>
                </a:moveTo>
                <a:cubicBezTo>
                  <a:pt x="558" y="45"/>
                  <a:pt x="558" y="45"/>
                  <a:pt x="559" y="45"/>
                </a:cubicBezTo>
                <a:cubicBezTo>
                  <a:pt x="559" y="45"/>
                  <a:pt x="558" y="45"/>
                  <a:pt x="558" y="45"/>
                </a:cubicBezTo>
                <a:close/>
                <a:moveTo>
                  <a:pt x="801" y="45"/>
                </a:moveTo>
                <a:cubicBezTo>
                  <a:pt x="801" y="45"/>
                  <a:pt x="801" y="45"/>
                  <a:pt x="802" y="46"/>
                </a:cubicBezTo>
                <a:cubicBezTo>
                  <a:pt x="802" y="45"/>
                  <a:pt x="801" y="45"/>
                  <a:pt x="801" y="45"/>
                </a:cubicBezTo>
                <a:close/>
                <a:moveTo>
                  <a:pt x="835" y="45"/>
                </a:moveTo>
                <a:cubicBezTo>
                  <a:pt x="835" y="45"/>
                  <a:pt x="835" y="45"/>
                  <a:pt x="835" y="45"/>
                </a:cubicBezTo>
                <a:cubicBezTo>
                  <a:pt x="835" y="45"/>
                  <a:pt x="835" y="45"/>
                  <a:pt x="835" y="45"/>
                </a:cubicBezTo>
                <a:close/>
                <a:moveTo>
                  <a:pt x="854" y="45"/>
                </a:moveTo>
                <a:cubicBezTo>
                  <a:pt x="854" y="45"/>
                  <a:pt x="854" y="45"/>
                  <a:pt x="854" y="45"/>
                </a:cubicBezTo>
                <a:cubicBezTo>
                  <a:pt x="854" y="45"/>
                  <a:pt x="854" y="45"/>
                  <a:pt x="854" y="45"/>
                </a:cubicBezTo>
                <a:close/>
                <a:moveTo>
                  <a:pt x="878" y="45"/>
                </a:moveTo>
                <a:cubicBezTo>
                  <a:pt x="878" y="45"/>
                  <a:pt x="878" y="45"/>
                  <a:pt x="878" y="45"/>
                </a:cubicBezTo>
                <a:cubicBezTo>
                  <a:pt x="878" y="45"/>
                  <a:pt x="878" y="45"/>
                  <a:pt x="878" y="45"/>
                </a:cubicBezTo>
                <a:close/>
                <a:moveTo>
                  <a:pt x="1346" y="82"/>
                </a:moveTo>
                <a:cubicBezTo>
                  <a:pt x="1346" y="82"/>
                  <a:pt x="1346" y="82"/>
                  <a:pt x="1346" y="81"/>
                </a:cubicBezTo>
                <a:cubicBezTo>
                  <a:pt x="1346" y="81"/>
                  <a:pt x="1346" y="82"/>
                  <a:pt x="1346" y="82"/>
                </a:cubicBezTo>
                <a:close/>
                <a:moveTo>
                  <a:pt x="897" y="45"/>
                </a:moveTo>
                <a:cubicBezTo>
                  <a:pt x="897" y="45"/>
                  <a:pt x="897" y="45"/>
                  <a:pt x="897" y="45"/>
                </a:cubicBezTo>
                <a:cubicBezTo>
                  <a:pt x="897" y="45"/>
                  <a:pt x="897" y="45"/>
                  <a:pt x="897" y="45"/>
                </a:cubicBezTo>
                <a:close/>
                <a:moveTo>
                  <a:pt x="1139" y="45"/>
                </a:moveTo>
                <a:cubicBezTo>
                  <a:pt x="1139" y="45"/>
                  <a:pt x="1138" y="45"/>
                  <a:pt x="1138" y="45"/>
                </a:cubicBezTo>
                <a:cubicBezTo>
                  <a:pt x="1138" y="45"/>
                  <a:pt x="1138" y="45"/>
                  <a:pt x="1139" y="45"/>
                </a:cubicBezTo>
                <a:close/>
                <a:moveTo>
                  <a:pt x="1297" y="45"/>
                </a:moveTo>
                <a:cubicBezTo>
                  <a:pt x="1297" y="45"/>
                  <a:pt x="1297" y="45"/>
                  <a:pt x="1297" y="45"/>
                </a:cubicBezTo>
                <a:cubicBezTo>
                  <a:pt x="1297" y="45"/>
                  <a:pt x="1297" y="45"/>
                  <a:pt x="1297" y="45"/>
                </a:cubicBezTo>
                <a:close/>
                <a:moveTo>
                  <a:pt x="753" y="46"/>
                </a:moveTo>
                <a:cubicBezTo>
                  <a:pt x="754" y="46"/>
                  <a:pt x="754" y="46"/>
                  <a:pt x="754" y="45"/>
                </a:cubicBezTo>
                <a:cubicBezTo>
                  <a:pt x="753" y="46"/>
                  <a:pt x="753" y="46"/>
                  <a:pt x="753" y="46"/>
                </a:cubicBezTo>
                <a:close/>
                <a:moveTo>
                  <a:pt x="855" y="46"/>
                </a:moveTo>
                <a:cubicBezTo>
                  <a:pt x="855" y="46"/>
                  <a:pt x="854" y="45"/>
                  <a:pt x="854" y="45"/>
                </a:cubicBezTo>
                <a:cubicBezTo>
                  <a:pt x="854" y="46"/>
                  <a:pt x="854" y="46"/>
                  <a:pt x="855" y="46"/>
                </a:cubicBezTo>
                <a:close/>
                <a:moveTo>
                  <a:pt x="897" y="46"/>
                </a:moveTo>
                <a:cubicBezTo>
                  <a:pt x="897" y="46"/>
                  <a:pt x="897" y="45"/>
                  <a:pt x="897" y="45"/>
                </a:cubicBezTo>
                <a:cubicBezTo>
                  <a:pt x="897" y="46"/>
                  <a:pt x="897" y="46"/>
                  <a:pt x="897" y="46"/>
                </a:cubicBezTo>
                <a:close/>
                <a:moveTo>
                  <a:pt x="957" y="82"/>
                </a:moveTo>
                <a:cubicBezTo>
                  <a:pt x="957" y="82"/>
                  <a:pt x="957" y="82"/>
                  <a:pt x="957" y="82"/>
                </a:cubicBezTo>
                <a:cubicBezTo>
                  <a:pt x="957" y="82"/>
                  <a:pt x="957" y="82"/>
                  <a:pt x="957" y="82"/>
                </a:cubicBezTo>
                <a:close/>
                <a:moveTo>
                  <a:pt x="1139" y="46"/>
                </a:moveTo>
                <a:cubicBezTo>
                  <a:pt x="1139" y="46"/>
                  <a:pt x="1139" y="45"/>
                  <a:pt x="1139" y="45"/>
                </a:cubicBezTo>
                <a:cubicBezTo>
                  <a:pt x="1139" y="46"/>
                  <a:pt x="1139" y="46"/>
                  <a:pt x="1139" y="46"/>
                </a:cubicBezTo>
                <a:close/>
                <a:moveTo>
                  <a:pt x="1261" y="45"/>
                </a:moveTo>
                <a:cubicBezTo>
                  <a:pt x="1261" y="46"/>
                  <a:pt x="1262" y="46"/>
                  <a:pt x="1262" y="46"/>
                </a:cubicBezTo>
                <a:cubicBezTo>
                  <a:pt x="1262" y="46"/>
                  <a:pt x="1262" y="46"/>
                  <a:pt x="1261" y="45"/>
                </a:cubicBezTo>
                <a:close/>
                <a:moveTo>
                  <a:pt x="1297" y="45"/>
                </a:moveTo>
                <a:cubicBezTo>
                  <a:pt x="1296" y="45"/>
                  <a:pt x="1296" y="46"/>
                  <a:pt x="1296" y="46"/>
                </a:cubicBezTo>
                <a:cubicBezTo>
                  <a:pt x="1296" y="46"/>
                  <a:pt x="1297" y="46"/>
                  <a:pt x="1297" y="45"/>
                </a:cubicBezTo>
                <a:close/>
                <a:moveTo>
                  <a:pt x="1541" y="82"/>
                </a:moveTo>
                <a:cubicBezTo>
                  <a:pt x="1541" y="82"/>
                  <a:pt x="1541" y="82"/>
                  <a:pt x="1541" y="82"/>
                </a:cubicBezTo>
                <a:cubicBezTo>
                  <a:pt x="1541" y="82"/>
                  <a:pt x="1541" y="82"/>
                  <a:pt x="1541" y="82"/>
                </a:cubicBezTo>
                <a:close/>
                <a:moveTo>
                  <a:pt x="1567" y="46"/>
                </a:moveTo>
                <a:cubicBezTo>
                  <a:pt x="1567" y="46"/>
                  <a:pt x="1567" y="46"/>
                  <a:pt x="1567" y="45"/>
                </a:cubicBezTo>
                <a:cubicBezTo>
                  <a:pt x="1567" y="46"/>
                  <a:pt x="1567" y="46"/>
                  <a:pt x="1567" y="46"/>
                </a:cubicBezTo>
                <a:close/>
                <a:moveTo>
                  <a:pt x="1709" y="82"/>
                </a:moveTo>
                <a:cubicBezTo>
                  <a:pt x="1709" y="82"/>
                  <a:pt x="1709" y="82"/>
                  <a:pt x="1709" y="82"/>
                </a:cubicBezTo>
                <a:cubicBezTo>
                  <a:pt x="1709" y="82"/>
                  <a:pt x="1709" y="82"/>
                  <a:pt x="1709" y="82"/>
                </a:cubicBezTo>
                <a:close/>
                <a:moveTo>
                  <a:pt x="1735" y="46"/>
                </a:moveTo>
                <a:cubicBezTo>
                  <a:pt x="1735" y="46"/>
                  <a:pt x="1735" y="46"/>
                  <a:pt x="1735" y="45"/>
                </a:cubicBezTo>
                <a:cubicBezTo>
                  <a:pt x="1735" y="46"/>
                  <a:pt x="1735" y="46"/>
                  <a:pt x="1735" y="46"/>
                </a:cubicBezTo>
                <a:close/>
                <a:moveTo>
                  <a:pt x="559" y="46"/>
                </a:moveTo>
                <a:cubicBezTo>
                  <a:pt x="559" y="46"/>
                  <a:pt x="560" y="46"/>
                  <a:pt x="560" y="46"/>
                </a:cubicBezTo>
                <a:cubicBezTo>
                  <a:pt x="560" y="46"/>
                  <a:pt x="559" y="46"/>
                  <a:pt x="559" y="46"/>
                </a:cubicBezTo>
                <a:close/>
                <a:moveTo>
                  <a:pt x="696" y="46"/>
                </a:moveTo>
                <a:cubicBezTo>
                  <a:pt x="695" y="46"/>
                  <a:pt x="695" y="46"/>
                  <a:pt x="695" y="46"/>
                </a:cubicBezTo>
                <a:cubicBezTo>
                  <a:pt x="695" y="46"/>
                  <a:pt x="695" y="46"/>
                  <a:pt x="696" y="46"/>
                </a:cubicBezTo>
                <a:close/>
                <a:moveTo>
                  <a:pt x="855" y="46"/>
                </a:moveTo>
                <a:cubicBezTo>
                  <a:pt x="855" y="46"/>
                  <a:pt x="855" y="46"/>
                  <a:pt x="855" y="46"/>
                </a:cubicBezTo>
                <a:cubicBezTo>
                  <a:pt x="855" y="46"/>
                  <a:pt x="855" y="46"/>
                  <a:pt x="855" y="46"/>
                </a:cubicBezTo>
                <a:close/>
                <a:moveTo>
                  <a:pt x="971" y="82"/>
                </a:moveTo>
                <a:cubicBezTo>
                  <a:pt x="971" y="82"/>
                  <a:pt x="971" y="82"/>
                  <a:pt x="971" y="82"/>
                </a:cubicBezTo>
                <a:cubicBezTo>
                  <a:pt x="971" y="82"/>
                  <a:pt x="971" y="82"/>
                  <a:pt x="971" y="82"/>
                </a:cubicBezTo>
                <a:close/>
                <a:moveTo>
                  <a:pt x="898" y="46"/>
                </a:moveTo>
                <a:cubicBezTo>
                  <a:pt x="898" y="46"/>
                  <a:pt x="898" y="46"/>
                  <a:pt x="897" y="46"/>
                </a:cubicBezTo>
                <a:cubicBezTo>
                  <a:pt x="897" y="46"/>
                  <a:pt x="898" y="46"/>
                  <a:pt x="898" y="46"/>
                </a:cubicBezTo>
                <a:close/>
                <a:moveTo>
                  <a:pt x="1357" y="82"/>
                </a:moveTo>
                <a:cubicBezTo>
                  <a:pt x="1357" y="82"/>
                  <a:pt x="1357" y="82"/>
                  <a:pt x="1357" y="82"/>
                </a:cubicBezTo>
                <a:cubicBezTo>
                  <a:pt x="1357" y="82"/>
                  <a:pt x="1357" y="82"/>
                  <a:pt x="1357" y="82"/>
                </a:cubicBezTo>
                <a:close/>
                <a:moveTo>
                  <a:pt x="1035" y="46"/>
                </a:moveTo>
                <a:cubicBezTo>
                  <a:pt x="1035" y="46"/>
                  <a:pt x="1036" y="46"/>
                  <a:pt x="1036" y="46"/>
                </a:cubicBezTo>
                <a:cubicBezTo>
                  <a:pt x="1035" y="46"/>
                  <a:pt x="1035" y="46"/>
                  <a:pt x="1035" y="46"/>
                </a:cubicBezTo>
                <a:close/>
                <a:moveTo>
                  <a:pt x="1118" y="46"/>
                </a:moveTo>
                <a:cubicBezTo>
                  <a:pt x="1117" y="46"/>
                  <a:pt x="1117" y="46"/>
                  <a:pt x="1117" y="46"/>
                </a:cubicBezTo>
                <a:cubicBezTo>
                  <a:pt x="1117" y="46"/>
                  <a:pt x="1118" y="46"/>
                  <a:pt x="1118" y="46"/>
                </a:cubicBezTo>
                <a:close/>
                <a:moveTo>
                  <a:pt x="1139" y="46"/>
                </a:moveTo>
                <a:cubicBezTo>
                  <a:pt x="1139" y="46"/>
                  <a:pt x="1139" y="46"/>
                  <a:pt x="1139" y="46"/>
                </a:cubicBezTo>
                <a:cubicBezTo>
                  <a:pt x="1139" y="46"/>
                  <a:pt x="1139" y="46"/>
                  <a:pt x="1139" y="46"/>
                </a:cubicBezTo>
                <a:close/>
                <a:moveTo>
                  <a:pt x="1382" y="46"/>
                </a:moveTo>
                <a:cubicBezTo>
                  <a:pt x="1383" y="46"/>
                  <a:pt x="1383" y="46"/>
                  <a:pt x="1383" y="46"/>
                </a:cubicBezTo>
                <a:cubicBezTo>
                  <a:pt x="1382" y="46"/>
                  <a:pt x="1382" y="46"/>
                  <a:pt x="1382" y="46"/>
                </a:cubicBezTo>
                <a:close/>
                <a:moveTo>
                  <a:pt x="671" y="46"/>
                </a:moveTo>
                <a:cubicBezTo>
                  <a:pt x="671" y="46"/>
                  <a:pt x="671" y="46"/>
                  <a:pt x="671" y="46"/>
                </a:cubicBezTo>
                <a:cubicBezTo>
                  <a:pt x="671" y="46"/>
                  <a:pt x="671" y="46"/>
                  <a:pt x="671" y="46"/>
                </a:cubicBezTo>
                <a:close/>
                <a:moveTo>
                  <a:pt x="855" y="47"/>
                </a:moveTo>
                <a:cubicBezTo>
                  <a:pt x="855" y="46"/>
                  <a:pt x="855" y="46"/>
                  <a:pt x="855" y="46"/>
                </a:cubicBezTo>
                <a:cubicBezTo>
                  <a:pt x="855" y="46"/>
                  <a:pt x="855" y="46"/>
                  <a:pt x="855" y="47"/>
                </a:cubicBezTo>
                <a:close/>
                <a:moveTo>
                  <a:pt x="1117" y="46"/>
                </a:moveTo>
                <a:cubicBezTo>
                  <a:pt x="1117" y="46"/>
                  <a:pt x="1117" y="46"/>
                  <a:pt x="1117" y="46"/>
                </a:cubicBezTo>
                <a:cubicBezTo>
                  <a:pt x="1117" y="46"/>
                  <a:pt x="1117" y="46"/>
                  <a:pt x="1117" y="46"/>
                </a:cubicBezTo>
                <a:close/>
                <a:moveTo>
                  <a:pt x="1140" y="47"/>
                </a:moveTo>
                <a:cubicBezTo>
                  <a:pt x="1140" y="46"/>
                  <a:pt x="1140" y="46"/>
                  <a:pt x="1139" y="46"/>
                </a:cubicBezTo>
                <a:cubicBezTo>
                  <a:pt x="1139" y="46"/>
                  <a:pt x="1139" y="46"/>
                  <a:pt x="1140" y="47"/>
                </a:cubicBezTo>
                <a:close/>
                <a:moveTo>
                  <a:pt x="957" y="83"/>
                </a:moveTo>
                <a:cubicBezTo>
                  <a:pt x="957" y="82"/>
                  <a:pt x="957" y="82"/>
                  <a:pt x="957" y="82"/>
                </a:cubicBezTo>
                <a:cubicBezTo>
                  <a:pt x="957" y="82"/>
                  <a:pt x="957" y="83"/>
                  <a:pt x="957" y="83"/>
                </a:cubicBezTo>
                <a:close/>
                <a:moveTo>
                  <a:pt x="971" y="82"/>
                </a:moveTo>
                <a:cubicBezTo>
                  <a:pt x="971" y="83"/>
                  <a:pt x="972" y="83"/>
                  <a:pt x="972" y="83"/>
                </a:cubicBezTo>
                <a:cubicBezTo>
                  <a:pt x="972" y="83"/>
                  <a:pt x="972" y="82"/>
                  <a:pt x="971" y="82"/>
                </a:cubicBezTo>
                <a:close/>
                <a:moveTo>
                  <a:pt x="1262" y="46"/>
                </a:moveTo>
                <a:cubicBezTo>
                  <a:pt x="1262" y="46"/>
                  <a:pt x="1262" y="47"/>
                  <a:pt x="1262" y="47"/>
                </a:cubicBezTo>
                <a:cubicBezTo>
                  <a:pt x="1262" y="46"/>
                  <a:pt x="1262" y="46"/>
                  <a:pt x="1262" y="46"/>
                </a:cubicBezTo>
                <a:close/>
                <a:moveTo>
                  <a:pt x="1296" y="46"/>
                </a:moveTo>
                <a:cubicBezTo>
                  <a:pt x="1295" y="46"/>
                  <a:pt x="1295" y="46"/>
                  <a:pt x="1295" y="47"/>
                </a:cubicBezTo>
                <a:cubicBezTo>
                  <a:pt x="1295" y="46"/>
                  <a:pt x="1295" y="46"/>
                  <a:pt x="1296" y="46"/>
                </a:cubicBezTo>
                <a:close/>
                <a:moveTo>
                  <a:pt x="671" y="46"/>
                </a:moveTo>
                <a:cubicBezTo>
                  <a:pt x="671" y="47"/>
                  <a:pt x="671" y="47"/>
                  <a:pt x="671" y="47"/>
                </a:cubicBezTo>
                <a:cubicBezTo>
                  <a:pt x="671" y="47"/>
                  <a:pt x="671" y="47"/>
                  <a:pt x="671" y="46"/>
                </a:cubicBezTo>
                <a:close/>
                <a:moveTo>
                  <a:pt x="1117" y="46"/>
                </a:moveTo>
                <a:cubicBezTo>
                  <a:pt x="1117" y="46"/>
                  <a:pt x="1117" y="47"/>
                  <a:pt x="1117" y="47"/>
                </a:cubicBezTo>
                <a:cubicBezTo>
                  <a:pt x="1117" y="47"/>
                  <a:pt x="1117" y="47"/>
                  <a:pt x="1117" y="46"/>
                </a:cubicBezTo>
                <a:close/>
                <a:moveTo>
                  <a:pt x="1140" y="47"/>
                </a:moveTo>
                <a:cubicBezTo>
                  <a:pt x="1140" y="47"/>
                  <a:pt x="1140" y="47"/>
                  <a:pt x="1140" y="46"/>
                </a:cubicBezTo>
                <a:cubicBezTo>
                  <a:pt x="1140" y="47"/>
                  <a:pt x="1140" y="47"/>
                  <a:pt x="1140" y="47"/>
                </a:cubicBezTo>
                <a:close/>
                <a:moveTo>
                  <a:pt x="1295" y="47"/>
                </a:moveTo>
                <a:cubicBezTo>
                  <a:pt x="1295" y="47"/>
                  <a:pt x="1295" y="47"/>
                  <a:pt x="1295" y="47"/>
                </a:cubicBezTo>
                <a:cubicBezTo>
                  <a:pt x="1295" y="47"/>
                  <a:pt x="1295" y="47"/>
                  <a:pt x="1295" y="47"/>
                </a:cubicBezTo>
                <a:close/>
                <a:moveTo>
                  <a:pt x="1566" y="47"/>
                </a:moveTo>
                <a:cubicBezTo>
                  <a:pt x="1566" y="47"/>
                  <a:pt x="1566" y="47"/>
                  <a:pt x="1566" y="47"/>
                </a:cubicBezTo>
                <a:cubicBezTo>
                  <a:pt x="1566" y="47"/>
                  <a:pt x="1566" y="47"/>
                  <a:pt x="1566" y="47"/>
                </a:cubicBezTo>
                <a:close/>
                <a:moveTo>
                  <a:pt x="972" y="83"/>
                </a:moveTo>
                <a:cubicBezTo>
                  <a:pt x="972" y="83"/>
                  <a:pt x="972" y="83"/>
                  <a:pt x="972" y="83"/>
                </a:cubicBezTo>
                <a:cubicBezTo>
                  <a:pt x="972" y="83"/>
                  <a:pt x="972" y="83"/>
                  <a:pt x="972" y="83"/>
                </a:cubicBezTo>
                <a:close/>
                <a:moveTo>
                  <a:pt x="1734" y="47"/>
                </a:moveTo>
                <a:cubicBezTo>
                  <a:pt x="1734" y="47"/>
                  <a:pt x="1735" y="47"/>
                  <a:pt x="1735" y="47"/>
                </a:cubicBezTo>
                <a:cubicBezTo>
                  <a:pt x="1734" y="47"/>
                  <a:pt x="1734" y="47"/>
                  <a:pt x="1734" y="47"/>
                </a:cubicBezTo>
                <a:close/>
                <a:moveTo>
                  <a:pt x="561" y="47"/>
                </a:moveTo>
                <a:cubicBezTo>
                  <a:pt x="561" y="47"/>
                  <a:pt x="561" y="47"/>
                  <a:pt x="561" y="47"/>
                </a:cubicBezTo>
                <a:cubicBezTo>
                  <a:pt x="561" y="47"/>
                  <a:pt x="561" y="47"/>
                  <a:pt x="561" y="47"/>
                </a:cubicBezTo>
                <a:close/>
                <a:moveTo>
                  <a:pt x="898" y="47"/>
                </a:moveTo>
                <a:cubicBezTo>
                  <a:pt x="898" y="47"/>
                  <a:pt x="898" y="47"/>
                  <a:pt x="898" y="47"/>
                </a:cubicBezTo>
                <a:cubicBezTo>
                  <a:pt x="898" y="47"/>
                  <a:pt x="898" y="47"/>
                  <a:pt x="898" y="47"/>
                </a:cubicBezTo>
                <a:close/>
                <a:moveTo>
                  <a:pt x="1356" y="83"/>
                </a:moveTo>
                <a:cubicBezTo>
                  <a:pt x="1356" y="83"/>
                  <a:pt x="1356" y="83"/>
                  <a:pt x="1356" y="83"/>
                </a:cubicBezTo>
                <a:cubicBezTo>
                  <a:pt x="1356" y="83"/>
                  <a:pt x="1356" y="83"/>
                  <a:pt x="1356" y="83"/>
                </a:cubicBezTo>
                <a:close/>
                <a:moveTo>
                  <a:pt x="1035" y="47"/>
                </a:moveTo>
                <a:cubicBezTo>
                  <a:pt x="1035" y="47"/>
                  <a:pt x="1035" y="47"/>
                  <a:pt x="1035" y="47"/>
                </a:cubicBezTo>
                <a:cubicBezTo>
                  <a:pt x="1035" y="47"/>
                  <a:pt x="1035" y="47"/>
                  <a:pt x="1035" y="47"/>
                </a:cubicBezTo>
                <a:close/>
                <a:moveTo>
                  <a:pt x="1117" y="47"/>
                </a:moveTo>
                <a:cubicBezTo>
                  <a:pt x="1116" y="47"/>
                  <a:pt x="1116" y="47"/>
                  <a:pt x="1116" y="47"/>
                </a:cubicBezTo>
                <a:cubicBezTo>
                  <a:pt x="1116" y="47"/>
                  <a:pt x="1117" y="47"/>
                  <a:pt x="1117" y="47"/>
                </a:cubicBezTo>
                <a:close/>
                <a:moveTo>
                  <a:pt x="1212" y="47"/>
                </a:moveTo>
                <a:cubicBezTo>
                  <a:pt x="1213" y="47"/>
                  <a:pt x="1213" y="47"/>
                  <a:pt x="1213" y="47"/>
                </a:cubicBezTo>
                <a:cubicBezTo>
                  <a:pt x="1213" y="47"/>
                  <a:pt x="1213" y="47"/>
                  <a:pt x="1212" y="47"/>
                </a:cubicBezTo>
                <a:close/>
                <a:moveTo>
                  <a:pt x="1262" y="47"/>
                </a:moveTo>
                <a:cubicBezTo>
                  <a:pt x="1262" y="47"/>
                  <a:pt x="1262" y="47"/>
                  <a:pt x="1262" y="47"/>
                </a:cubicBezTo>
                <a:cubicBezTo>
                  <a:pt x="1262" y="47"/>
                  <a:pt x="1262" y="47"/>
                  <a:pt x="1262" y="47"/>
                </a:cubicBezTo>
                <a:close/>
                <a:moveTo>
                  <a:pt x="1295" y="47"/>
                </a:moveTo>
                <a:cubicBezTo>
                  <a:pt x="1295" y="47"/>
                  <a:pt x="1295" y="47"/>
                  <a:pt x="1295" y="47"/>
                </a:cubicBezTo>
                <a:cubicBezTo>
                  <a:pt x="1295" y="47"/>
                  <a:pt x="1295" y="47"/>
                  <a:pt x="1295" y="47"/>
                </a:cubicBezTo>
                <a:close/>
                <a:moveTo>
                  <a:pt x="1382" y="47"/>
                </a:moveTo>
                <a:cubicBezTo>
                  <a:pt x="1382" y="47"/>
                  <a:pt x="1382" y="47"/>
                  <a:pt x="1382" y="47"/>
                </a:cubicBezTo>
                <a:cubicBezTo>
                  <a:pt x="1382" y="47"/>
                  <a:pt x="1382" y="47"/>
                  <a:pt x="1382" y="47"/>
                </a:cubicBezTo>
                <a:close/>
                <a:moveTo>
                  <a:pt x="1681" y="47"/>
                </a:moveTo>
                <a:cubicBezTo>
                  <a:pt x="1680" y="47"/>
                  <a:pt x="1680" y="47"/>
                  <a:pt x="1680" y="47"/>
                </a:cubicBezTo>
                <a:cubicBezTo>
                  <a:pt x="1680" y="47"/>
                  <a:pt x="1680" y="47"/>
                  <a:pt x="1681" y="47"/>
                </a:cubicBezTo>
                <a:close/>
                <a:moveTo>
                  <a:pt x="752" y="48"/>
                </a:moveTo>
                <a:cubicBezTo>
                  <a:pt x="752" y="48"/>
                  <a:pt x="753" y="47"/>
                  <a:pt x="753" y="47"/>
                </a:cubicBezTo>
                <a:cubicBezTo>
                  <a:pt x="752" y="47"/>
                  <a:pt x="752" y="47"/>
                  <a:pt x="752" y="48"/>
                </a:cubicBezTo>
                <a:close/>
                <a:moveTo>
                  <a:pt x="972" y="83"/>
                </a:moveTo>
                <a:cubicBezTo>
                  <a:pt x="972" y="83"/>
                  <a:pt x="972" y="83"/>
                  <a:pt x="972" y="83"/>
                </a:cubicBezTo>
                <a:cubicBezTo>
                  <a:pt x="972" y="83"/>
                  <a:pt x="972" y="83"/>
                  <a:pt x="972" y="83"/>
                </a:cubicBezTo>
                <a:close/>
                <a:moveTo>
                  <a:pt x="833" y="47"/>
                </a:moveTo>
                <a:cubicBezTo>
                  <a:pt x="833" y="47"/>
                  <a:pt x="833" y="47"/>
                  <a:pt x="833" y="48"/>
                </a:cubicBezTo>
                <a:cubicBezTo>
                  <a:pt x="833" y="47"/>
                  <a:pt x="833" y="47"/>
                  <a:pt x="833" y="47"/>
                </a:cubicBezTo>
                <a:close/>
                <a:moveTo>
                  <a:pt x="876" y="47"/>
                </a:moveTo>
                <a:cubicBezTo>
                  <a:pt x="876" y="47"/>
                  <a:pt x="876" y="47"/>
                  <a:pt x="876" y="48"/>
                </a:cubicBezTo>
                <a:cubicBezTo>
                  <a:pt x="876" y="47"/>
                  <a:pt x="876" y="47"/>
                  <a:pt x="876" y="47"/>
                </a:cubicBezTo>
                <a:close/>
                <a:moveTo>
                  <a:pt x="1116" y="47"/>
                </a:moveTo>
                <a:cubicBezTo>
                  <a:pt x="1116" y="47"/>
                  <a:pt x="1116" y="47"/>
                  <a:pt x="1116" y="48"/>
                </a:cubicBezTo>
                <a:cubicBezTo>
                  <a:pt x="1116" y="47"/>
                  <a:pt x="1116" y="47"/>
                  <a:pt x="1116" y="47"/>
                </a:cubicBezTo>
                <a:close/>
                <a:moveTo>
                  <a:pt x="1295" y="47"/>
                </a:moveTo>
                <a:cubicBezTo>
                  <a:pt x="1294" y="47"/>
                  <a:pt x="1294" y="47"/>
                  <a:pt x="1294" y="48"/>
                </a:cubicBezTo>
                <a:cubicBezTo>
                  <a:pt x="1294" y="47"/>
                  <a:pt x="1294" y="47"/>
                  <a:pt x="1295" y="47"/>
                </a:cubicBezTo>
                <a:close/>
                <a:moveTo>
                  <a:pt x="833" y="47"/>
                </a:moveTo>
                <a:cubicBezTo>
                  <a:pt x="833" y="48"/>
                  <a:pt x="833" y="48"/>
                  <a:pt x="833" y="48"/>
                </a:cubicBezTo>
                <a:cubicBezTo>
                  <a:pt x="833" y="48"/>
                  <a:pt x="833" y="48"/>
                  <a:pt x="833" y="47"/>
                </a:cubicBezTo>
                <a:close/>
                <a:moveTo>
                  <a:pt x="856" y="48"/>
                </a:moveTo>
                <a:cubicBezTo>
                  <a:pt x="856" y="48"/>
                  <a:pt x="856" y="48"/>
                  <a:pt x="856" y="47"/>
                </a:cubicBezTo>
                <a:cubicBezTo>
                  <a:pt x="856" y="48"/>
                  <a:pt x="856" y="48"/>
                  <a:pt x="856" y="48"/>
                </a:cubicBezTo>
                <a:close/>
                <a:moveTo>
                  <a:pt x="876" y="47"/>
                </a:moveTo>
                <a:cubicBezTo>
                  <a:pt x="876" y="48"/>
                  <a:pt x="875" y="48"/>
                  <a:pt x="875" y="48"/>
                </a:cubicBezTo>
                <a:cubicBezTo>
                  <a:pt x="876" y="48"/>
                  <a:pt x="876" y="48"/>
                  <a:pt x="876" y="47"/>
                </a:cubicBezTo>
                <a:close/>
                <a:moveTo>
                  <a:pt x="1116" y="47"/>
                </a:moveTo>
                <a:cubicBezTo>
                  <a:pt x="1116" y="48"/>
                  <a:pt x="1116" y="48"/>
                  <a:pt x="1116" y="48"/>
                </a:cubicBezTo>
                <a:cubicBezTo>
                  <a:pt x="1116" y="48"/>
                  <a:pt x="1116" y="48"/>
                  <a:pt x="1116" y="47"/>
                </a:cubicBezTo>
                <a:close/>
                <a:moveTo>
                  <a:pt x="761" y="83"/>
                </a:moveTo>
                <a:cubicBezTo>
                  <a:pt x="761" y="84"/>
                  <a:pt x="761" y="84"/>
                  <a:pt x="762" y="84"/>
                </a:cubicBezTo>
                <a:cubicBezTo>
                  <a:pt x="762" y="84"/>
                  <a:pt x="761" y="84"/>
                  <a:pt x="761" y="83"/>
                </a:cubicBezTo>
                <a:close/>
                <a:moveTo>
                  <a:pt x="1141" y="48"/>
                </a:moveTo>
                <a:cubicBezTo>
                  <a:pt x="1141" y="48"/>
                  <a:pt x="1141" y="48"/>
                  <a:pt x="1140" y="47"/>
                </a:cubicBezTo>
                <a:cubicBezTo>
                  <a:pt x="1140" y="48"/>
                  <a:pt x="1141" y="48"/>
                  <a:pt x="1141" y="48"/>
                </a:cubicBezTo>
                <a:close/>
                <a:moveTo>
                  <a:pt x="972" y="83"/>
                </a:moveTo>
                <a:cubicBezTo>
                  <a:pt x="972" y="84"/>
                  <a:pt x="973" y="84"/>
                  <a:pt x="973" y="84"/>
                </a:cubicBezTo>
                <a:cubicBezTo>
                  <a:pt x="973" y="84"/>
                  <a:pt x="973" y="84"/>
                  <a:pt x="972" y="83"/>
                </a:cubicBezTo>
                <a:close/>
                <a:moveTo>
                  <a:pt x="1294" y="48"/>
                </a:moveTo>
                <a:cubicBezTo>
                  <a:pt x="1294" y="48"/>
                  <a:pt x="1294" y="48"/>
                  <a:pt x="1294" y="48"/>
                </a:cubicBezTo>
                <a:cubicBezTo>
                  <a:pt x="1294" y="48"/>
                  <a:pt x="1294" y="48"/>
                  <a:pt x="1294" y="48"/>
                </a:cubicBezTo>
                <a:close/>
                <a:moveTo>
                  <a:pt x="1394" y="47"/>
                </a:moveTo>
                <a:cubicBezTo>
                  <a:pt x="1393" y="48"/>
                  <a:pt x="1393" y="48"/>
                  <a:pt x="1393" y="48"/>
                </a:cubicBezTo>
                <a:cubicBezTo>
                  <a:pt x="1394" y="48"/>
                  <a:pt x="1394" y="48"/>
                  <a:pt x="1394" y="47"/>
                </a:cubicBezTo>
                <a:close/>
                <a:moveTo>
                  <a:pt x="1565" y="48"/>
                </a:moveTo>
                <a:cubicBezTo>
                  <a:pt x="1566" y="48"/>
                  <a:pt x="1566" y="48"/>
                  <a:pt x="1566" y="48"/>
                </a:cubicBezTo>
                <a:cubicBezTo>
                  <a:pt x="1566" y="48"/>
                  <a:pt x="1565" y="48"/>
                  <a:pt x="1565" y="48"/>
                </a:cubicBezTo>
                <a:close/>
                <a:moveTo>
                  <a:pt x="1734" y="48"/>
                </a:moveTo>
                <a:cubicBezTo>
                  <a:pt x="1734" y="48"/>
                  <a:pt x="1734" y="48"/>
                  <a:pt x="1734" y="48"/>
                </a:cubicBezTo>
                <a:cubicBezTo>
                  <a:pt x="1734" y="48"/>
                  <a:pt x="1734" y="48"/>
                  <a:pt x="1734" y="48"/>
                </a:cubicBezTo>
                <a:close/>
                <a:moveTo>
                  <a:pt x="563" y="48"/>
                </a:moveTo>
                <a:cubicBezTo>
                  <a:pt x="563" y="48"/>
                  <a:pt x="563" y="48"/>
                  <a:pt x="563" y="48"/>
                </a:cubicBezTo>
                <a:cubicBezTo>
                  <a:pt x="563" y="48"/>
                  <a:pt x="563" y="48"/>
                  <a:pt x="563" y="48"/>
                </a:cubicBezTo>
                <a:close/>
                <a:moveTo>
                  <a:pt x="833" y="48"/>
                </a:moveTo>
                <a:cubicBezTo>
                  <a:pt x="832" y="48"/>
                  <a:pt x="832" y="48"/>
                  <a:pt x="832" y="48"/>
                </a:cubicBezTo>
                <a:cubicBezTo>
                  <a:pt x="832" y="48"/>
                  <a:pt x="832" y="48"/>
                  <a:pt x="833" y="48"/>
                </a:cubicBezTo>
                <a:close/>
                <a:moveTo>
                  <a:pt x="875" y="48"/>
                </a:moveTo>
                <a:cubicBezTo>
                  <a:pt x="875" y="48"/>
                  <a:pt x="875" y="48"/>
                  <a:pt x="875" y="48"/>
                </a:cubicBezTo>
                <a:cubicBezTo>
                  <a:pt x="875" y="48"/>
                  <a:pt x="875" y="48"/>
                  <a:pt x="875" y="48"/>
                </a:cubicBezTo>
                <a:close/>
                <a:moveTo>
                  <a:pt x="973" y="84"/>
                </a:moveTo>
                <a:cubicBezTo>
                  <a:pt x="973" y="84"/>
                  <a:pt x="973" y="84"/>
                  <a:pt x="973" y="84"/>
                </a:cubicBezTo>
                <a:cubicBezTo>
                  <a:pt x="973" y="84"/>
                  <a:pt x="973" y="84"/>
                  <a:pt x="973" y="84"/>
                </a:cubicBezTo>
                <a:close/>
                <a:moveTo>
                  <a:pt x="899" y="48"/>
                </a:moveTo>
                <a:cubicBezTo>
                  <a:pt x="899" y="48"/>
                  <a:pt x="899" y="48"/>
                  <a:pt x="899" y="48"/>
                </a:cubicBezTo>
                <a:cubicBezTo>
                  <a:pt x="899" y="48"/>
                  <a:pt x="899" y="48"/>
                  <a:pt x="899" y="48"/>
                </a:cubicBezTo>
                <a:close/>
                <a:moveTo>
                  <a:pt x="1116" y="48"/>
                </a:moveTo>
                <a:cubicBezTo>
                  <a:pt x="1115" y="48"/>
                  <a:pt x="1115" y="48"/>
                  <a:pt x="1115" y="48"/>
                </a:cubicBezTo>
                <a:cubicBezTo>
                  <a:pt x="1115" y="48"/>
                  <a:pt x="1116" y="48"/>
                  <a:pt x="1116" y="48"/>
                </a:cubicBezTo>
                <a:close/>
                <a:moveTo>
                  <a:pt x="1381" y="48"/>
                </a:moveTo>
                <a:cubicBezTo>
                  <a:pt x="1381" y="48"/>
                  <a:pt x="1381" y="48"/>
                  <a:pt x="1381" y="48"/>
                </a:cubicBezTo>
                <a:cubicBezTo>
                  <a:pt x="1381" y="48"/>
                  <a:pt x="1381" y="48"/>
                  <a:pt x="1381" y="48"/>
                </a:cubicBezTo>
                <a:close/>
                <a:moveTo>
                  <a:pt x="1565" y="48"/>
                </a:moveTo>
                <a:cubicBezTo>
                  <a:pt x="1565" y="48"/>
                  <a:pt x="1565" y="48"/>
                  <a:pt x="1565" y="48"/>
                </a:cubicBezTo>
                <a:cubicBezTo>
                  <a:pt x="1565" y="48"/>
                  <a:pt x="1565" y="48"/>
                  <a:pt x="1565" y="48"/>
                </a:cubicBezTo>
                <a:close/>
                <a:moveTo>
                  <a:pt x="1680" y="48"/>
                </a:moveTo>
                <a:cubicBezTo>
                  <a:pt x="1680" y="48"/>
                  <a:pt x="1680" y="48"/>
                  <a:pt x="1680" y="48"/>
                </a:cubicBezTo>
                <a:cubicBezTo>
                  <a:pt x="1680" y="48"/>
                  <a:pt x="1680" y="48"/>
                  <a:pt x="1680" y="48"/>
                </a:cubicBezTo>
                <a:close/>
                <a:moveTo>
                  <a:pt x="1733" y="48"/>
                </a:moveTo>
                <a:cubicBezTo>
                  <a:pt x="1733" y="48"/>
                  <a:pt x="1734" y="48"/>
                  <a:pt x="1734" y="48"/>
                </a:cubicBezTo>
                <a:cubicBezTo>
                  <a:pt x="1733" y="48"/>
                  <a:pt x="1733" y="48"/>
                  <a:pt x="1733" y="48"/>
                </a:cubicBezTo>
                <a:close/>
                <a:moveTo>
                  <a:pt x="1115" y="48"/>
                </a:moveTo>
                <a:cubicBezTo>
                  <a:pt x="1115" y="48"/>
                  <a:pt x="1115" y="48"/>
                  <a:pt x="1115" y="49"/>
                </a:cubicBezTo>
                <a:cubicBezTo>
                  <a:pt x="1115" y="48"/>
                  <a:pt x="1115" y="48"/>
                  <a:pt x="1115" y="48"/>
                </a:cubicBezTo>
                <a:close/>
                <a:moveTo>
                  <a:pt x="1381" y="49"/>
                </a:moveTo>
                <a:cubicBezTo>
                  <a:pt x="1381" y="49"/>
                  <a:pt x="1381" y="48"/>
                  <a:pt x="1381" y="48"/>
                </a:cubicBezTo>
                <a:cubicBezTo>
                  <a:pt x="1381" y="48"/>
                  <a:pt x="1381" y="48"/>
                  <a:pt x="1381" y="49"/>
                </a:cubicBezTo>
                <a:close/>
                <a:moveTo>
                  <a:pt x="1393" y="48"/>
                </a:moveTo>
                <a:cubicBezTo>
                  <a:pt x="1393" y="48"/>
                  <a:pt x="1393" y="48"/>
                  <a:pt x="1393" y="49"/>
                </a:cubicBezTo>
                <a:cubicBezTo>
                  <a:pt x="1393" y="48"/>
                  <a:pt x="1393" y="48"/>
                  <a:pt x="1393" y="48"/>
                </a:cubicBezTo>
                <a:close/>
                <a:moveTo>
                  <a:pt x="899" y="49"/>
                </a:moveTo>
                <a:cubicBezTo>
                  <a:pt x="899" y="49"/>
                  <a:pt x="899" y="49"/>
                  <a:pt x="899" y="48"/>
                </a:cubicBezTo>
                <a:cubicBezTo>
                  <a:pt x="899" y="49"/>
                  <a:pt x="899" y="49"/>
                  <a:pt x="899" y="49"/>
                </a:cubicBezTo>
                <a:close/>
                <a:moveTo>
                  <a:pt x="762" y="84"/>
                </a:moveTo>
                <a:cubicBezTo>
                  <a:pt x="762" y="84"/>
                  <a:pt x="762" y="84"/>
                  <a:pt x="762" y="85"/>
                </a:cubicBezTo>
                <a:cubicBezTo>
                  <a:pt x="762" y="84"/>
                  <a:pt x="762" y="84"/>
                  <a:pt x="762" y="84"/>
                </a:cubicBezTo>
                <a:close/>
                <a:moveTo>
                  <a:pt x="958" y="84"/>
                </a:moveTo>
                <a:cubicBezTo>
                  <a:pt x="958" y="84"/>
                  <a:pt x="958" y="84"/>
                  <a:pt x="958" y="84"/>
                </a:cubicBezTo>
                <a:cubicBezTo>
                  <a:pt x="958" y="84"/>
                  <a:pt x="958" y="84"/>
                  <a:pt x="958" y="84"/>
                </a:cubicBezTo>
                <a:close/>
                <a:moveTo>
                  <a:pt x="973" y="84"/>
                </a:moveTo>
                <a:cubicBezTo>
                  <a:pt x="973" y="84"/>
                  <a:pt x="973" y="84"/>
                  <a:pt x="974" y="85"/>
                </a:cubicBezTo>
                <a:cubicBezTo>
                  <a:pt x="973" y="84"/>
                  <a:pt x="973" y="84"/>
                  <a:pt x="973" y="84"/>
                </a:cubicBezTo>
                <a:close/>
                <a:moveTo>
                  <a:pt x="1141" y="49"/>
                </a:moveTo>
                <a:cubicBezTo>
                  <a:pt x="1141" y="49"/>
                  <a:pt x="1141" y="49"/>
                  <a:pt x="1141" y="49"/>
                </a:cubicBezTo>
                <a:cubicBezTo>
                  <a:pt x="1141" y="49"/>
                  <a:pt x="1141" y="49"/>
                  <a:pt x="1141" y="49"/>
                </a:cubicBezTo>
                <a:close/>
                <a:moveTo>
                  <a:pt x="1293" y="48"/>
                </a:moveTo>
                <a:cubicBezTo>
                  <a:pt x="1293" y="49"/>
                  <a:pt x="1293" y="49"/>
                  <a:pt x="1293" y="49"/>
                </a:cubicBezTo>
                <a:cubicBezTo>
                  <a:pt x="1293" y="49"/>
                  <a:pt x="1293" y="49"/>
                  <a:pt x="1293" y="48"/>
                </a:cubicBezTo>
                <a:close/>
                <a:moveTo>
                  <a:pt x="565" y="49"/>
                </a:moveTo>
                <a:cubicBezTo>
                  <a:pt x="565" y="49"/>
                  <a:pt x="565" y="49"/>
                  <a:pt x="565" y="49"/>
                </a:cubicBezTo>
                <a:cubicBezTo>
                  <a:pt x="565" y="49"/>
                  <a:pt x="565" y="49"/>
                  <a:pt x="565" y="49"/>
                </a:cubicBezTo>
                <a:close/>
                <a:moveTo>
                  <a:pt x="832" y="49"/>
                </a:moveTo>
                <a:cubicBezTo>
                  <a:pt x="832" y="49"/>
                  <a:pt x="832" y="49"/>
                  <a:pt x="832" y="49"/>
                </a:cubicBezTo>
                <a:cubicBezTo>
                  <a:pt x="832" y="49"/>
                  <a:pt x="832" y="49"/>
                  <a:pt x="832" y="49"/>
                </a:cubicBezTo>
                <a:close/>
                <a:moveTo>
                  <a:pt x="875" y="49"/>
                </a:moveTo>
                <a:cubicBezTo>
                  <a:pt x="874" y="49"/>
                  <a:pt x="874" y="49"/>
                  <a:pt x="874" y="49"/>
                </a:cubicBezTo>
                <a:cubicBezTo>
                  <a:pt x="875" y="49"/>
                  <a:pt x="875" y="49"/>
                  <a:pt x="875" y="49"/>
                </a:cubicBezTo>
                <a:close/>
                <a:moveTo>
                  <a:pt x="1293" y="49"/>
                </a:moveTo>
                <a:cubicBezTo>
                  <a:pt x="1293" y="49"/>
                  <a:pt x="1293" y="49"/>
                  <a:pt x="1293" y="49"/>
                </a:cubicBezTo>
                <a:cubicBezTo>
                  <a:pt x="1293" y="49"/>
                  <a:pt x="1293" y="49"/>
                  <a:pt x="1293" y="49"/>
                </a:cubicBezTo>
                <a:close/>
                <a:moveTo>
                  <a:pt x="1564" y="49"/>
                </a:moveTo>
                <a:cubicBezTo>
                  <a:pt x="1565" y="49"/>
                  <a:pt x="1565" y="49"/>
                  <a:pt x="1565" y="49"/>
                </a:cubicBezTo>
                <a:cubicBezTo>
                  <a:pt x="1565" y="49"/>
                  <a:pt x="1564" y="49"/>
                  <a:pt x="1564" y="49"/>
                </a:cubicBezTo>
                <a:close/>
                <a:moveTo>
                  <a:pt x="1577" y="49"/>
                </a:moveTo>
                <a:cubicBezTo>
                  <a:pt x="1577" y="49"/>
                  <a:pt x="1577" y="49"/>
                  <a:pt x="1577" y="49"/>
                </a:cubicBezTo>
                <a:cubicBezTo>
                  <a:pt x="1577" y="49"/>
                  <a:pt x="1577" y="49"/>
                  <a:pt x="1577" y="49"/>
                </a:cubicBezTo>
                <a:close/>
                <a:moveTo>
                  <a:pt x="1679" y="49"/>
                </a:moveTo>
                <a:cubicBezTo>
                  <a:pt x="1679" y="49"/>
                  <a:pt x="1679" y="49"/>
                  <a:pt x="1679" y="49"/>
                </a:cubicBezTo>
                <a:cubicBezTo>
                  <a:pt x="1679" y="49"/>
                  <a:pt x="1679" y="49"/>
                  <a:pt x="1679" y="49"/>
                </a:cubicBezTo>
                <a:close/>
                <a:moveTo>
                  <a:pt x="1732" y="49"/>
                </a:moveTo>
                <a:cubicBezTo>
                  <a:pt x="1733" y="49"/>
                  <a:pt x="1733" y="49"/>
                  <a:pt x="1733" y="49"/>
                </a:cubicBezTo>
                <a:cubicBezTo>
                  <a:pt x="1733" y="49"/>
                  <a:pt x="1733" y="49"/>
                  <a:pt x="1732" y="49"/>
                </a:cubicBezTo>
                <a:close/>
                <a:moveTo>
                  <a:pt x="974" y="84"/>
                </a:moveTo>
                <a:cubicBezTo>
                  <a:pt x="974" y="85"/>
                  <a:pt x="974" y="85"/>
                  <a:pt x="974" y="85"/>
                </a:cubicBezTo>
                <a:cubicBezTo>
                  <a:pt x="974" y="85"/>
                  <a:pt x="974" y="85"/>
                  <a:pt x="974" y="84"/>
                </a:cubicBezTo>
                <a:close/>
                <a:moveTo>
                  <a:pt x="1745" y="49"/>
                </a:moveTo>
                <a:cubicBezTo>
                  <a:pt x="1745" y="49"/>
                  <a:pt x="1745" y="49"/>
                  <a:pt x="1745" y="49"/>
                </a:cubicBezTo>
                <a:cubicBezTo>
                  <a:pt x="1745" y="49"/>
                  <a:pt x="1745" y="49"/>
                  <a:pt x="1745" y="49"/>
                </a:cubicBezTo>
                <a:close/>
                <a:moveTo>
                  <a:pt x="1222" y="84"/>
                </a:moveTo>
                <a:cubicBezTo>
                  <a:pt x="1222" y="85"/>
                  <a:pt x="1222" y="85"/>
                  <a:pt x="1222" y="85"/>
                </a:cubicBezTo>
                <a:cubicBezTo>
                  <a:pt x="1222" y="85"/>
                  <a:pt x="1222" y="85"/>
                  <a:pt x="1222" y="84"/>
                </a:cubicBezTo>
                <a:close/>
                <a:moveTo>
                  <a:pt x="565" y="49"/>
                </a:moveTo>
                <a:cubicBezTo>
                  <a:pt x="565" y="50"/>
                  <a:pt x="565" y="50"/>
                  <a:pt x="566" y="50"/>
                </a:cubicBezTo>
                <a:cubicBezTo>
                  <a:pt x="566" y="49"/>
                  <a:pt x="565" y="49"/>
                  <a:pt x="565" y="49"/>
                </a:cubicBezTo>
                <a:close/>
                <a:moveTo>
                  <a:pt x="1142" y="50"/>
                </a:moveTo>
                <a:cubicBezTo>
                  <a:pt x="1142" y="49"/>
                  <a:pt x="1142" y="49"/>
                  <a:pt x="1141" y="49"/>
                </a:cubicBezTo>
                <a:cubicBezTo>
                  <a:pt x="1141" y="49"/>
                  <a:pt x="1142" y="50"/>
                  <a:pt x="1142" y="50"/>
                </a:cubicBezTo>
                <a:close/>
                <a:moveTo>
                  <a:pt x="1393" y="49"/>
                </a:moveTo>
                <a:cubicBezTo>
                  <a:pt x="1392" y="49"/>
                  <a:pt x="1392" y="49"/>
                  <a:pt x="1392" y="50"/>
                </a:cubicBezTo>
                <a:cubicBezTo>
                  <a:pt x="1392" y="50"/>
                  <a:pt x="1393" y="49"/>
                  <a:pt x="1393" y="49"/>
                </a:cubicBezTo>
                <a:close/>
                <a:moveTo>
                  <a:pt x="1564" y="50"/>
                </a:moveTo>
                <a:cubicBezTo>
                  <a:pt x="1564" y="50"/>
                  <a:pt x="1564" y="50"/>
                  <a:pt x="1564" y="49"/>
                </a:cubicBezTo>
                <a:cubicBezTo>
                  <a:pt x="1564" y="49"/>
                  <a:pt x="1564" y="50"/>
                  <a:pt x="1564" y="50"/>
                </a:cubicBezTo>
                <a:close/>
                <a:moveTo>
                  <a:pt x="974" y="85"/>
                </a:moveTo>
                <a:cubicBezTo>
                  <a:pt x="974" y="85"/>
                  <a:pt x="974" y="85"/>
                  <a:pt x="974" y="85"/>
                </a:cubicBezTo>
                <a:cubicBezTo>
                  <a:pt x="974" y="85"/>
                  <a:pt x="974" y="85"/>
                  <a:pt x="974" y="85"/>
                </a:cubicBezTo>
                <a:close/>
                <a:moveTo>
                  <a:pt x="1679" y="49"/>
                </a:moveTo>
                <a:cubicBezTo>
                  <a:pt x="1679" y="49"/>
                  <a:pt x="1678" y="49"/>
                  <a:pt x="1678" y="50"/>
                </a:cubicBezTo>
                <a:cubicBezTo>
                  <a:pt x="1679" y="50"/>
                  <a:pt x="1679" y="49"/>
                  <a:pt x="1679" y="49"/>
                </a:cubicBezTo>
                <a:close/>
                <a:moveTo>
                  <a:pt x="1732" y="50"/>
                </a:moveTo>
                <a:cubicBezTo>
                  <a:pt x="1732" y="50"/>
                  <a:pt x="1732" y="50"/>
                  <a:pt x="1732" y="49"/>
                </a:cubicBezTo>
                <a:cubicBezTo>
                  <a:pt x="1732" y="49"/>
                  <a:pt x="1732" y="50"/>
                  <a:pt x="1732" y="50"/>
                </a:cubicBezTo>
                <a:close/>
                <a:moveTo>
                  <a:pt x="1114" y="50"/>
                </a:moveTo>
                <a:cubicBezTo>
                  <a:pt x="1114" y="50"/>
                  <a:pt x="1114" y="50"/>
                  <a:pt x="1114" y="50"/>
                </a:cubicBezTo>
                <a:cubicBezTo>
                  <a:pt x="1114" y="50"/>
                  <a:pt x="1114" y="50"/>
                  <a:pt x="1114" y="50"/>
                </a:cubicBezTo>
                <a:close/>
                <a:moveTo>
                  <a:pt x="1379" y="50"/>
                </a:moveTo>
                <a:cubicBezTo>
                  <a:pt x="1380" y="50"/>
                  <a:pt x="1380" y="50"/>
                  <a:pt x="1380" y="50"/>
                </a:cubicBezTo>
                <a:cubicBezTo>
                  <a:pt x="1380" y="50"/>
                  <a:pt x="1380" y="50"/>
                  <a:pt x="1379" y="50"/>
                </a:cubicBezTo>
                <a:close/>
                <a:moveTo>
                  <a:pt x="1564" y="50"/>
                </a:moveTo>
                <a:cubicBezTo>
                  <a:pt x="1564" y="50"/>
                  <a:pt x="1564" y="50"/>
                  <a:pt x="1564" y="50"/>
                </a:cubicBezTo>
                <a:cubicBezTo>
                  <a:pt x="1564" y="50"/>
                  <a:pt x="1564" y="50"/>
                  <a:pt x="1564" y="50"/>
                </a:cubicBezTo>
                <a:close/>
                <a:moveTo>
                  <a:pt x="1678" y="50"/>
                </a:moveTo>
                <a:cubicBezTo>
                  <a:pt x="1678" y="50"/>
                  <a:pt x="1678" y="50"/>
                  <a:pt x="1678" y="50"/>
                </a:cubicBezTo>
                <a:cubicBezTo>
                  <a:pt x="1678" y="50"/>
                  <a:pt x="1678" y="50"/>
                  <a:pt x="1678" y="50"/>
                </a:cubicBezTo>
                <a:close/>
                <a:moveTo>
                  <a:pt x="1732" y="50"/>
                </a:moveTo>
                <a:cubicBezTo>
                  <a:pt x="1732" y="50"/>
                  <a:pt x="1732" y="50"/>
                  <a:pt x="1732" y="50"/>
                </a:cubicBezTo>
                <a:cubicBezTo>
                  <a:pt x="1732" y="50"/>
                  <a:pt x="1732" y="50"/>
                  <a:pt x="1732" y="50"/>
                </a:cubicBezTo>
                <a:close/>
                <a:moveTo>
                  <a:pt x="874" y="50"/>
                </a:moveTo>
                <a:cubicBezTo>
                  <a:pt x="874" y="50"/>
                  <a:pt x="874" y="50"/>
                  <a:pt x="874" y="50"/>
                </a:cubicBezTo>
                <a:cubicBezTo>
                  <a:pt x="874" y="50"/>
                  <a:pt x="874" y="50"/>
                  <a:pt x="874" y="50"/>
                </a:cubicBezTo>
                <a:close/>
                <a:moveTo>
                  <a:pt x="1292" y="50"/>
                </a:moveTo>
                <a:cubicBezTo>
                  <a:pt x="1292" y="50"/>
                  <a:pt x="1292" y="50"/>
                  <a:pt x="1292" y="50"/>
                </a:cubicBezTo>
                <a:cubicBezTo>
                  <a:pt x="1292" y="50"/>
                  <a:pt x="1292" y="50"/>
                  <a:pt x="1292" y="50"/>
                </a:cubicBezTo>
                <a:close/>
                <a:moveTo>
                  <a:pt x="1379" y="50"/>
                </a:moveTo>
                <a:cubicBezTo>
                  <a:pt x="1379" y="50"/>
                  <a:pt x="1379" y="50"/>
                  <a:pt x="1379" y="50"/>
                </a:cubicBezTo>
                <a:cubicBezTo>
                  <a:pt x="1379" y="50"/>
                  <a:pt x="1379" y="50"/>
                  <a:pt x="1379" y="50"/>
                </a:cubicBezTo>
                <a:close/>
                <a:moveTo>
                  <a:pt x="1563" y="50"/>
                </a:moveTo>
                <a:cubicBezTo>
                  <a:pt x="1564" y="50"/>
                  <a:pt x="1564" y="50"/>
                  <a:pt x="1564" y="50"/>
                </a:cubicBezTo>
                <a:cubicBezTo>
                  <a:pt x="1563" y="50"/>
                  <a:pt x="1563" y="50"/>
                  <a:pt x="1563" y="50"/>
                </a:cubicBezTo>
                <a:close/>
                <a:moveTo>
                  <a:pt x="762" y="85"/>
                </a:moveTo>
                <a:cubicBezTo>
                  <a:pt x="762" y="85"/>
                  <a:pt x="762" y="86"/>
                  <a:pt x="763" y="86"/>
                </a:cubicBezTo>
                <a:cubicBezTo>
                  <a:pt x="763" y="85"/>
                  <a:pt x="762" y="85"/>
                  <a:pt x="762" y="85"/>
                </a:cubicBezTo>
                <a:close/>
                <a:moveTo>
                  <a:pt x="959" y="86"/>
                </a:moveTo>
                <a:cubicBezTo>
                  <a:pt x="959" y="85"/>
                  <a:pt x="959" y="85"/>
                  <a:pt x="959" y="85"/>
                </a:cubicBezTo>
                <a:cubicBezTo>
                  <a:pt x="959" y="85"/>
                  <a:pt x="959" y="85"/>
                  <a:pt x="959" y="86"/>
                </a:cubicBezTo>
                <a:close/>
                <a:moveTo>
                  <a:pt x="974" y="85"/>
                </a:moveTo>
                <a:cubicBezTo>
                  <a:pt x="974" y="85"/>
                  <a:pt x="974" y="85"/>
                  <a:pt x="975" y="85"/>
                </a:cubicBezTo>
                <a:cubicBezTo>
                  <a:pt x="975" y="85"/>
                  <a:pt x="974" y="85"/>
                  <a:pt x="974" y="85"/>
                </a:cubicBezTo>
                <a:close/>
                <a:moveTo>
                  <a:pt x="1576" y="50"/>
                </a:moveTo>
                <a:cubicBezTo>
                  <a:pt x="1576" y="50"/>
                  <a:pt x="1576" y="50"/>
                  <a:pt x="1576" y="50"/>
                </a:cubicBezTo>
                <a:cubicBezTo>
                  <a:pt x="1576" y="50"/>
                  <a:pt x="1576" y="50"/>
                  <a:pt x="1576" y="50"/>
                </a:cubicBezTo>
                <a:close/>
                <a:moveTo>
                  <a:pt x="1731" y="50"/>
                </a:moveTo>
                <a:cubicBezTo>
                  <a:pt x="1732" y="50"/>
                  <a:pt x="1732" y="50"/>
                  <a:pt x="1732" y="50"/>
                </a:cubicBezTo>
                <a:cubicBezTo>
                  <a:pt x="1732" y="50"/>
                  <a:pt x="1731" y="50"/>
                  <a:pt x="1731" y="50"/>
                </a:cubicBezTo>
                <a:close/>
                <a:moveTo>
                  <a:pt x="1745" y="50"/>
                </a:moveTo>
                <a:cubicBezTo>
                  <a:pt x="1744" y="50"/>
                  <a:pt x="1744" y="50"/>
                  <a:pt x="1744" y="50"/>
                </a:cubicBezTo>
                <a:cubicBezTo>
                  <a:pt x="1744" y="50"/>
                  <a:pt x="1744" y="50"/>
                  <a:pt x="1745" y="50"/>
                </a:cubicBezTo>
                <a:close/>
                <a:moveTo>
                  <a:pt x="1379" y="51"/>
                </a:moveTo>
                <a:cubicBezTo>
                  <a:pt x="1379" y="51"/>
                  <a:pt x="1379" y="51"/>
                  <a:pt x="1379" y="50"/>
                </a:cubicBezTo>
                <a:cubicBezTo>
                  <a:pt x="1379" y="50"/>
                  <a:pt x="1379" y="51"/>
                  <a:pt x="1379" y="51"/>
                </a:cubicBezTo>
                <a:close/>
                <a:moveTo>
                  <a:pt x="1392" y="50"/>
                </a:moveTo>
                <a:cubicBezTo>
                  <a:pt x="1392" y="50"/>
                  <a:pt x="1392" y="50"/>
                  <a:pt x="1392" y="51"/>
                </a:cubicBezTo>
                <a:cubicBezTo>
                  <a:pt x="1392" y="51"/>
                  <a:pt x="1392" y="50"/>
                  <a:pt x="1392" y="50"/>
                </a:cubicBezTo>
                <a:close/>
                <a:moveTo>
                  <a:pt x="568" y="51"/>
                </a:moveTo>
                <a:cubicBezTo>
                  <a:pt x="568" y="51"/>
                  <a:pt x="568" y="51"/>
                  <a:pt x="568" y="51"/>
                </a:cubicBezTo>
                <a:cubicBezTo>
                  <a:pt x="568" y="51"/>
                  <a:pt x="568" y="51"/>
                  <a:pt x="568" y="51"/>
                </a:cubicBezTo>
                <a:close/>
                <a:moveTo>
                  <a:pt x="1113" y="51"/>
                </a:moveTo>
                <a:cubicBezTo>
                  <a:pt x="1113" y="51"/>
                  <a:pt x="1113" y="51"/>
                  <a:pt x="1113" y="51"/>
                </a:cubicBezTo>
                <a:cubicBezTo>
                  <a:pt x="1113" y="51"/>
                  <a:pt x="1113" y="51"/>
                  <a:pt x="1113" y="51"/>
                </a:cubicBezTo>
                <a:close/>
                <a:moveTo>
                  <a:pt x="1378" y="51"/>
                </a:moveTo>
                <a:cubicBezTo>
                  <a:pt x="1379" y="51"/>
                  <a:pt x="1379" y="51"/>
                  <a:pt x="1379" y="51"/>
                </a:cubicBezTo>
                <a:cubicBezTo>
                  <a:pt x="1379" y="51"/>
                  <a:pt x="1379" y="51"/>
                  <a:pt x="1378" y="51"/>
                </a:cubicBezTo>
                <a:close/>
                <a:moveTo>
                  <a:pt x="1378" y="51"/>
                </a:moveTo>
                <a:cubicBezTo>
                  <a:pt x="1378" y="51"/>
                  <a:pt x="1378" y="51"/>
                  <a:pt x="1379" y="51"/>
                </a:cubicBezTo>
                <a:cubicBezTo>
                  <a:pt x="1378" y="51"/>
                  <a:pt x="1378" y="51"/>
                  <a:pt x="1378" y="51"/>
                </a:cubicBezTo>
                <a:close/>
                <a:moveTo>
                  <a:pt x="1045" y="85"/>
                </a:moveTo>
                <a:cubicBezTo>
                  <a:pt x="1045" y="86"/>
                  <a:pt x="1045" y="86"/>
                  <a:pt x="1045" y="86"/>
                </a:cubicBezTo>
                <a:cubicBezTo>
                  <a:pt x="1045" y="86"/>
                  <a:pt x="1045" y="86"/>
                  <a:pt x="1045" y="85"/>
                </a:cubicBezTo>
                <a:close/>
                <a:moveTo>
                  <a:pt x="1576" y="51"/>
                </a:moveTo>
                <a:cubicBezTo>
                  <a:pt x="1576" y="51"/>
                  <a:pt x="1575" y="51"/>
                  <a:pt x="1575" y="51"/>
                </a:cubicBezTo>
                <a:cubicBezTo>
                  <a:pt x="1576" y="51"/>
                  <a:pt x="1576" y="51"/>
                  <a:pt x="1576" y="51"/>
                </a:cubicBezTo>
                <a:close/>
                <a:moveTo>
                  <a:pt x="1222" y="86"/>
                </a:moveTo>
                <a:cubicBezTo>
                  <a:pt x="1222" y="86"/>
                  <a:pt x="1223" y="86"/>
                  <a:pt x="1223" y="86"/>
                </a:cubicBezTo>
                <a:cubicBezTo>
                  <a:pt x="1223" y="86"/>
                  <a:pt x="1223" y="86"/>
                  <a:pt x="1222" y="86"/>
                </a:cubicBezTo>
                <a:close/>
                <a:moveTo>
                  <a:pt x="1744" y="51"/>
                </a:moveTo>
                <a:cubicBezTo>
                  <a:pt x="1744" y="51"/>
                  <a:pt x="1744" y="51"/>
                  <a:pt x="1744" y="51"/>
                </a:cubicBezTo>
                <a:cubicBezTo>
                  <a:pt x="1744" y="51"/>
                  <a:pt x="1744" y="51"/>
                  <a:pt x="1744" y="51"/>
                </a:cubicBezTo>
                <a:close/>
                <a:moveTo>
                  <a:pt x="1378" y="52"/>
                </a:moveTo>
                <a:cubicBezTo>
                  <a:pt x="1378" y="52"/>
                  <a:pt x="1378" y="52"/>
                  <a:pt x="1378" y="51"/>
                </a:cubicBezTo>
                <a:cubicBezTo>
                  <a:pt x="1378" y="51"/>
                  <a:pt x="1378" y="52"/>
                  <a:pt x="1378" y="52"/>
                </a:cubicBezTo>
                <a:close/>
                <a:moveTo>
                  <a:pt x="1391" y="51"/>
                </a:moveTo>
                <a:cubicBezTo>
                  <a:pt x="1391" y="51"/>
                  <a:pt x="1391" y="52"/>
                  <a:pt x="1391" y="52"/>
                </a:cubicBezTo>
                <a:cubicBezTo>
                  <a:pt x="1391" y="52"/>
                  <a:pt x="1391" y="52"/>
                  <a:pt x="1391" y="51"/>
                </a:cubicBezTo>
                <a:close/>
                <a:moveTo>
                  <a:pt x="569" y="52"/>
                </a:moveTo>
                <a:cubicBezTo>
                  <a:pt x="569" y="52"/>
                  <a:pt x="570" y="52"/>
                  <a:pt x="570" y="52"/>
                </a:cubicBezTo>
                <a:cubicBezTo>
                  <a:pt x="570" y="52"/>
                  <a:pt x="570" y="52"/>
                  <a:pt x="569" y="52"/>
                </a:cubicBezTo>
                <a:close/>
                <a:moveTo>
                  <a:pt x="1377" y="52"/>
                </a:moveTo>
                <a:cubicBezTo>
                  <a:pt x="1378" y="52"/>
                  <a:pt x="1378" y="52"/>
                  <a:pt x="1378" y="52"/>
                </a:cubicBezTo>
                <a:cubicBezTo>
                  <a:pt x="1378" y="52"/>
                  <a:pt x="1377" y="52"/>
                  <a:pt x="1377" y="52"/>
                </a:cubicBezTo>
                <a:close/>
                <a:moveTo>
                  <a:pt x="570" y="52"/>
                </a:moveTo>
                <a:cubicBezTo>
                  <a:pt x="570" y="52"/>
                  <a:pt x="570" y="52"/>
                  <a:pt x="570" y="52"/>
                </a:cubicBezTo>
                <a:cubicBezTo>
                  <a:pt x="570" y="52"/>
                  <a:pt x="570" y="52"/>
                  <a:pt x="570" y="52"/>
                </a:cubicBezTo>
                <a:close/>
                <a:moveTo>
                  <a:pt x="1377" y="53"/>
                </a:moveTo>
                <a:cubicBezTo>
                  <a:pt x="1377" y="52"/>
                  <a:pt x="1377" y="52"/>
                  <a:pt x="1377" y="52"/>
                </a:cubicBezTo>
                <a:cubicBezTo>
                  <a:pt x="1377" y="52"/>
                  <a:pt x="1377" y="52"/>
                  <a:pt x="1377" y="53"/>
                </a:cubicBezTo>
                <a:close/>
                <a:moveTo>
                  <a:pt x="1575" y="52"/>
                </a:moveTo>
                <a:cubicBezTo>
                  <a:pt x="1575" y="52"/>
                  <a:pt x="1575" y="52"/>
                  <a:pt x="1575" y="52"/>
                </a:cubicBezTo>
                <a:cubicBezTo>
                  <a:pt x="1575" y="52"/>
                  <a:pt x="1575" y="52"/>
                  <a:pt x="1575" y="52"/>
                </a:cubicBezTo>
                <a:close/>
                <a:moveTo>
                  <a:pt x="1743" y="52"/>
                </a:moveTo>
                <a:cubicBezTo>
                  <a:pt x="1743" y="52"/>
                  <a:pt x="1743" y="52"/>
                  <a:pt x="1743" y="52"/>
                </a:cubicBezTo>
                <a:cubicBezTo>
                  <a:pt x="1743" y="52"/>
                  <a:pt x="1743" y="52"/>
                  <a:pt x="1743" y="52"/>
                </a:cubicBezTo>
                <a:close/>
                <a:moveTo>
                  <a:pt x="1045" y="86"/>
                </a:moveTo>
                <a:cubicBezTo>
                  <a:pt x="1045" y="86"/>
                  <a:pt x="1045" y="86"/>
                  <a:pt x="1045" y="86"/>
                </a:cubicBezTo>
                <a:cubicBezTo>
                  <a:pt x="1045" y="86"/>
                  <a:pt x="1045" y="86"/>
                  <a:pt x="1045" y="86"/>
                </a:cubicBezTo>
                <a:close/>
                <a:moveTo>
                  <a:pt x="1377" y="53"/>
                </a:moveTo>
                <a:cubicBezTo>
                  <a:pt x="1377" y="53"/>
                  <a:pt x="1377" y="53"/>
                  <a:pt x="1377" y="53"/>
                </a:cubicBezTo>
                <a:cubicBezTo>
                  <a:pt x="1377" y="53"/>
                  <a:pt x="1377" y="53"/>
                  <a:pt x="1377" y="53"/>
                </a:cubicBezTo>
                <a:close/>
                <a:moveTo>
                  <a:pt x="1575" y="52"/>
                </a:moveTo>
                <a:cubicBezTo>
                  <a:pt x="1574" y="52"/>
                  <a:pt x="1574" y="53"/>
                  <a:pt x="1574" y="53"/>
                </a:cubicBezTo>
                <a:cubicBezTo>
                  <a:pt x="1575" y="53"/>
                  <a:pt x="1575" y="53"/>
                  <a:pt x="1575" y="52"/>
                </a:cubicBezTo>
                <a:close/>
                <a:moveTo>
                  <a:pt x="1676" y="52"/>
                </a:moveTo>
                <a:cubicBezTo>
                  <a:pt x="1675" y="52"/>
                  <a:pt x="1675" y="53"/>
                  <a:pt x="1675" y="53"/>
                </a:cubicBezTo>
                <a:cubicBezTo>
                  <a:pt x="1675" y="53"/>
                  <a:pt x="1676" y="53"/>
                  <a:pt x="1676" y="52"/>
                </a:cubicBezTo>
                <a:close/>
                <a:moveTo>
                  <a:pt x="1743" y="52"/>
                </a:moveTo>
                <a:cubicBezTo>
                  <a:pt x="1743" y="52"/>
                  <a:pt x="1743" y="53"/>
                  <a:pt x="1742" y="53"/>
                </a:cubicBezTo>
                <a:cubicBezTo>
                  <a:pt x="1743" y="53"/>
                  <a:pt x="1743" y="53"/>
                  <a:pt x="1743" y="52"/>
                </a:cubicBezTo>
                <a:close/>
                <a:moveTo>
                  <a:pt x="571" y="53"/>
                </a:moveTo>
                <a:cubicBezTo>
                  <a:pt x="571" y="53"/>
                  <a:pt x="571" y="53"/>
                  <a:pt x="572" y="53"/>
                </a:cubicBezTo>
                <a:cubicBezTo>
                  <a:pt x="571" y="53"/>
                  <a:pt x="571" y="53"/>
                  <a:pt x="571" y="53"/>
                </a:cubicBezTo>
                <a:close/>
                <a:moveTo>
                  <a:pt x="1376" y="53"/>
                </a:moveTo>
                <a:cubicBezTo>
                  <a:pt x="1377" y="53"/>
                  <a:pt x="1377" y="53"/>
                  <a:pt x="1377" y="53"/>
                </a:cubicBezTo>
                <a:cubicBezTo>
                  <a:pt x="1377" y="53"/>
                  <a:pt x="1376" y="53"/>
                  <a:pt x="1376" y="53"/>
                </a:cubicBezTo>
                <a:close/>
                <a:moveTo>
                  <a:pt x="1390" y="53"/>
                </a:moveTo>
                <a:cubicBezTo>
                  <a:pt x="1390" y="53"/>
                  <a:pt x="1390" y="53"/>
                  <a:pt x="1390" y="53"/>
                </a:cubicBezTo>
                <a:cubicBezTo>
                  <a:pt x="1390" y="53"/>
                  <a:pt x="1390" y="53"/>
                  <a:pt x="1390" y="53"/>
                </a:cubicBezTo>
                <a:close/>
                <a:moveTo>
                  <a:pt x="1574" y="53"/>
                </a:moveTo>
                <a:cubicBezTo>
                  <a:pt x="1574" y="53"/>
                  <a:pt x="1574" y="53"/>
                  <a:pt x="1574" y="53"/>
                </a:cubicBezTo>
                <a:cubicBezTo>
                  <a:pt x="1574" y="53"/>
                  <a:pt x="1574" y="53"/>
                  <a:pt x="1574" y="53"/>
                </a:cubicBezTo>
                <a:close/>
                <a:moveTo>
                  <a:pt x="763" y="86"/>
                </a:moveTo>
                <a:cubicBezTo>
                  <a:pt x="763" y="86"/>
                  <a:pt x="763" y="87"/>
                  <a:pt x="763" y="87"/>
                </a:cubicBezTo>
                <a:cubicBezTo>
                  <a:pt x="763" y="86"/>
                  <a:pt x="763" y="86"/>
                  <a:pt x="763" y="86"/>
                </a:cubicBezTo>
                <a:close/>
                <a:moveTo>
                  <a:pt x="1675" y="53"/>
                </a:moveTo>
                <a:cubicBezTo>
                  <a:pt x="1675" y="53"/>
                  <a:pt x="1675" y="53"/>
                  <a:pt x="1675" y="53"/>
                </a:cubicBezTo>
                <a:cubicBezTo>
                  <a:pt x="1675" y="53"/>
                  <a:pt x="1675" y="53"/>
                  <a:pt x="1675" y="53"/>
                </a:cubicBezTo>
                <a:close/>
                <a:moveTo>
                  <a:pt x="960" y="87"/>
                </a:moveTo>
                <a:cubicBezTo>
                  <a:pt x="960" y="86"/>
                  <a:pt x="960" y="86"/>
                  <a:pt x="959" y="86"/>
                </a:cubicBezTo>
                <a:cubicBezTo>
                  <a:pt x="959" y="86"/>
                  <a:pt x="959" y="86"/>
                  <a:pt x="960" y="87"/>
                </a:cubicBezTo>
                <a:close/>
                <a:moveTo>
                  <a:pt x="976" y="86"/>
                </a:moveTo>
                <a:cubicBezTo>
                  <a:pt x="976" y="86"/>
                  <a:pt x="976" y="87"/>
                  <a:pt x="976" y="87"/>
                </a:cubicBezTo>
                <a:cubicBezTo>
                  <a:pt x="976" y="86"/>
                  <a:pt x="976" y="86"/>
                  <a:pt x="976" y="86"/>
                </a:cubicBezTo>
                <a:close/>
                <a:moveTo>
                  <a:pt x="1743" y="53"/>
                </a:moveTo>
                <a:cubicBezTo>
                  <a:pt x="1742" y="53"/>
                  <a:pt x="1742" y="53"/>
                  <a:pt x="1742" y="53"/>
                </a:cubicBezTo>
                <a:cubicBezTo>
                  <a:pt x="1742" y="53"/>
                  <a:pt x="1742" y="53"/>
                  <a:pt x="1743" y="53"/>
                </a:cubicBezTo>
                <a:close/>
                <a:moveTo>
                  <a:pt x="1741" y="54"/>
                </a:moveTo>
                <a:cubicBezTo>
                  <a:pt x="1741" y="54"/>
                  <a:pt x="1741" y="54"/>
                  <a:pt x="1741" y="54"/>
                </a:cubicBezTo>
                <a:cubicBezTo>
                  <a:pt x="1741" y="54"/>
                  <a:pt x="1741" y="54"/>
                  <a:pt x="1741" y="54"/>
                </a:cubicBezTo>
                <a:close/>
                <a:moveTo>
                  <a:pt x="1083" y="86"/>
                </a:moveTo>
                <a:cubicBezTo>
                  <a:pt x="1083" y="87"/>
                  <a:pt x="1083" y="87"/>
                  <a:pt x="1083" y="87"/>
                </a:cubicBezTo>
                <a:cubicBezTo>
                  <a:pt x="1083" y="87"/>
                  <a:pt x="1083" y="87"/>
                  <a:pt x="1083" y="87"/>
                </a:cubicBezTo>
                <a:cubicBezTo>
                  <a:pt x="1083" y="87"/>
                  <a:pt x="1083" y="87"/>
                  <a:pt x="1083" y="86"/>
                </a:cubicBezTo>
                <a:close/>
                <a:moveTo>
                  <a:pt x="1375" y="54"/>
                </a:moveTo>
                <a:cubicBezTo>
                  <a:pt x="1376" y="54"/>
                  <a:pt x="1376" y="54"/>
                  <a:pt x="1376" y="54"/>
                </a:cubicBezTo>
                <a:cubicBezTo>
                  <a:pt x="1375" y="54"/>
                  <a:pt x="1375" y="54"/>
                  <a:pt x="1375" y="54"/>
                </a:cubicBezTo>
                <a:close/>
                <a:moveTo>
                  <a:pt x="1375" y="55"/>
                </a:moveTo>
                <a:cubicBezTo>
                  <a:pt x="1375" y="55"/>
                  <a:pt x="1375" y="55"/>
                  <a:pt x="1375" y="55"/>
                </a:cubicBezTo>
                <a:cubicBezTo>
                  <a:pt x="1375" y="55"/>
                  <a:pt x="1375" y="55"/>
                  <a:pt x="1375" y="55"/>
                </a:cubicBezTo>
                <a:close/>
                <a:moveTo>
                  <a:pt x="1559" y="55"/>
                </a:moveTo>
                <a:cubicBezTo>
                  <a:pt x="1559" y="55"/>
                  <a:pt x="1559" y="55"/>
                  <a:pt x="1559" y="55"/>
                </a:cubicBezTo>
                <a:cubicBezTo>
                  <a:pt x="1559" y="55"/>
                  <a:pt x="1559" y="55"/>
                  <a:pt x="1559" y="55"/>
                </a:cubicBezTo>
                <a:close/>
                <a:moveTo>
                  <a:pt x="1573" y="54"/>
                </a:moveTo>
                <a:cubicBezTo>
                  <a:pt x="1573" y="54"/>
                  <a:pt x="1573" y="55"/>
                  <a:pt x="1573" y="55"/>
                </a:cubicBezTo>
                <a:cubicBezTo>
                  <a:pt x="1573" y="55"/>
                  <a:pt x="1573" y="55"/>
                  <a:pt x="1573" y="54"/>
                </a:cubicBezTo>
                <a:close/>
                <a:moveTo>
                  <a:pt x="1727" y="55"/>
                </a:moveTo>
                <a:cubicBezTo>
                  <a:pt x="1727" y="55"/>
                  <a:pt x="1727" y="55"/>
                  <a:pt x="1727" y="55"/>
                </a:cubicBezTo>
                <a:cubicBezTo>
                  <a:pt x="1727" y="55"/>
                  <a:pt x="1727" y="55"/>
                  <a:pt x="1727" y="55"/>
                </a:cubicBezTo>
                <a:close/>
                <a:moveTo>
                  <a:pt x="1741" y="54"/>
                </a:moveTo>
                <a:cubicBezTo>
                  <a:pt x="1741" y="54"/>
                  <a:pt x="1741" y="55"/>
                  <a:pt x="1741" y="55"/>
                </a:cubicBezTo>
                <a:cubicBezTo>
                  <a:pt x="1741" y="55"/>
                  <a:pt x="1741" y="55"/>
                  <a:pt x="1741" y="54"/>
                </a:cubicBezTo>
                <a:close/>
                <a:moveTo>
                  <a:pt x="1558" y="55"/>
                </a:moveTo>
                <a:cubicBezTo>
                  <a:pt x="1559" y="55"/>
                  <a:pt x="1559" y="55"/>
                  <a:pt x="1559" y="55"/>
                </a:cubicBezTo>
                <a:cubicBezTo>
                  <a:pt x="1559" y="55"/>
                  <a:pt x="1558" y="55"/>
                  <a:pt x="1558" y="55"/>
                </a:cubicBezTo>
                <a:close/>
                <a:moveTo>
                  <a:pt x="763" y="87"/>
                </a:moveTo>
                <a:cubicBezTo>
                  <a:pt x="763" y="87"/>
                  <a:pt x="763" y="87"/>
                  <a:pt x="764" y="87"/>
                </a:cubicBezTo>
                <a:cubicBezTo>
                  <a:pt x="764" y="87"/>
                  <a:pt x="763" y="87"/>
                  <a:pt x="763" y="87"/>
                </a:cubicBezTo>
                <a:close/>
                <a:moveTo>
                  <a:pt x="800" y="87"/>
                </a:moveTo>
                <a:cubicBezTo>
                  <a:pt x="800" y="87"/>
                  <a:pt x="801" y="87"/>
                  <a:pt x="801" y="87"/>
                </a:cubicBezTo>
                <a:cubicBezTo>
                  <a:pt x="800" y="87"/>
                  <a:pt x="800" y="87"/>
                  <a:pt x="800" y="87"/>
                </a:cubicBezTo>
                <a:close/>
                <a:moveTo>
                  <a:pt x="1573" y="55"/>
                </a:moveTo>
                <a:cubicBezTo>
                  <a:pt x="1572" y="55"/>
                  <a:pt x="1572" y="55"/>
                  <a:pt x="1572" y="55"/>
                </a:cubicBezTo>
                <a:cubicBezTo>
                  <a:pt x="1572" y="55"/>
                  <a:pt x="1573" y="55"/>
                  <a:pt x="1573" y="55"/>
                </a:cubicBezTo>
                <a:close/>
                <a:moveTo>
                  <a:pt x="960" y="87"/>
                </a:moveTo>
                <a:cubicBezTo>
                  <a:pt x="960" y="87"/>
                  <a:pt x="960" y="87"/>
                  <a:pt x="960" y="87"/>
                </a:cubicBezTo>
                <a:cubicBezTo>
                  <a:pt x="960" y="87"/>
                  <a:pt x="960" y="87"/>
                  <a:pt x="960" y="87"/>
                </a:cubicBezTo>
                <a:close/>
                <a:moveTo>
                  <a:pt x="976" y="87"/>
                </a:moveTo>
                <a:cubicBezTo>
                  <a:pt x="976" y="87"/>
                  <a:pt x="976" y="87"/>
                  <a:pt x="976" y="87"/>
                </a:cubicBezTo>
                <a:cubicBezTo>
                  <a:pt x="976" y="87"/>
                  <a:pt x="976" y="87"/>
                  <a:pt x="976" y="87"/>
                </a:cubicBezTo>
                <a:close/>
                <a:moveTo>
                  <a:pt x="1673" y="55"/>
                </a:moveTo>
                <a:cubicBezTo>
                  <a:pt x="1672" y="55"/>
                  <a:pt x="1672" y="55"/>
                  <a:pt x="1672" y="55"/>
                </a:cubicBezTo>
                <a:cubicBezTo>
                  <a:pt x="1672" y="55"/>
                  <a:pt x="1672" y="55"/>
                  <a:pt x="1673" y="55"/>
                </a:cubicBezTo>
                <a:close/>
                <a:moveTo>
                  <a:pt x="1083" y="87"/>
                </a:moveTo>
                <a:cubicBezTo>
                  <a:pt x="1083" y="87"/>
                  <a:pt x="1083" y="87"/>
                  <a:pt x="1083" y="87"/>
                </a:cubicBezTo>
                <a:cubicBezTo>
                  <a:pt x="1083" y="87"/>
                  <a:pt x="1083" y="87"/>
                  <a:pt x="1083" y="87"/>
                </a:cubicBezTo>
                <a:close/>
                <a:moveTo>
                  <a:pt x="1727" y="55"/>
                </a:moveTo>
                <a:cubicBezTo>
                  <a:pt x="1727" y="55"/>
                  <a:pt x="1727" y="55"/>
                  <a:pt x="1727" y="55"/>
                </a:cubicBezTo>
                <a:cubicBezTo>
                  <a:pt x="1727" y="55"/>
                  <a:pt x="1727" y="55"/>
                  <a:pt x="1727" y="55"/>
                </a:cubicBezTo>
                <a:close/>
                <a:moveTo>
                  <a:pt x="1741" y="55"/>
                </a:moveTo>
                <a:cubicBezTo>
                  <a:pt x="1741" y="55"/>
                  <a:pt x="1740" y="55"/>
                  <a:pt x="1740" y="55"/>
                </a:cubicBezTo>
                <a:cubicBezTo>
                  <a:pt x="1741" y="55"/>
                  <a:pt x="1741" y="55"/>
                  <a:pt x="1741" y="55"/>
                </a:cubicBezTo>
                <a:close/>
                <a:moveTo>
                  <a:pt x="575" y="55"/>
                </a:moveTo>
                <a:cubicBezTo>
                  <a:pt x="575" y="55"/>
                  <a:pt x="575" y="56"/>
                  <a:pt x="575" y="56"/>
                </a:cubicBezTo>
                <a:cubicBezTo>
                  <a:pt x="575" y="55"/>
                  <a:pt x="575" y="55"/>
                  <a:pt x="575" y="55"/>
                </a:cubicBezTo>
                <a:close/>
                <a:moveTo>
                  <a:pt x="1388" y="55"/>
                </a:moveTo>
                <a:cubicBezTo>
                  <a:pt x="1388" y="55"/>
                  <a:pt x="1388" y="55"/>
                  <a:pt x="1388" y="55"/>
                </a:cubicBezTo>
                <a:cubicBezTo>
                  <a:pt x="1388" y="55"/>
                  <a:pt x="1388" y="55"/>
                  <a:pt x="1388" y="55"/>
                </a:cubicBezTo>
                <a:close/>
                <a:moveTo>
                  <a:pt x="1558" y="56"/>
                </a:moveTo>
                <a:cubicBezTo>
                  <a:pt x="1558" y="56"/>
                  <a:pt x="1558" y="55"/>
                  <a:pt x="1558" y="55"/>
                </a:cubicBezTo>
                <a:cubicBezTo>
                  <a:pt x="1558" y="55"/>
                  <a:pt x="1558" y="55"/>
                  <a:pt x="1558" y="56"/>
                </a:cubicBezTo>
                <a:close/>
                <a:moveTo>
                  <a:pt x="1572" y="55"/>
                </a:moveTo>
                <a:cubicBezTo>
                  <a:pt x="1572" y="55"/>
                  <a:pt x="1572" y="55"/>
                  <a:pt x="1572" y="56"/>
                </a:cubicBezTo>
                <a:cubicBezTo>
                  <a:pt x="1572" y="55"/>
                  <a:pt x="1572" y="55"/>
                  <a:pt x="1572" y="55"/>
                </a:cubicBezTo>
                <a:close/>
                <a:moveTo>
                  <a:pt x="1672" y="55"/>
                </a:moveTo>
                <a:cubicBezTo>
                  <a:pt x="1672" y="55"/>
                  <a:pt x="1672" y="55"/>
                  <a:pt x="1671" y="56"/>
                </a:cubicBezTo>
                <a:cubicBezTo>
                  <a:pt x="1672" y="56"/>
                  <a:pt x="1672" y="55"/>
                  <a:pt x="1672" y="55"/>
                </a:cubicBezTo>
                <a:close/>
                <a:moveTo>
                  <a:pt x="1726" y="56"/>
                </a:moveTo>
                <a:cubicBezTo>
                  <a:pt x="1726" y="56"/>
                  <a:pt x="1726" y="55"/>
                  <a:pt x="1727" y="55"/>
                </a:cubicBezTo>
                <a:cubicBezTo>
                  <a:pt x="1726" y="55"/>
                  <a:pt x="1726" y="55"/>
                  <a:pt x="1726" y="56"/>
                </a:cubicBezTo>
                <a:close/>
                <a:moveTo>
                  <a:pt x="764" y="87"/>
                </a:moveTo>
                <a:cubicBezTo>
                  <a:pt x="764" y="87"/>
                  <a:pt x="764" y="87"/>
                  <a:pt x="764" y="87"/>
                </a:cubicBezTo>
                <a:cubicBezTo>
                  <a:pt x="764" y="87"/>
                  <a:pt x="764" y="87"/>
                  <a:pt x="764" y="87"/>
                </a:cubicBezTo>
                <a:close/>
                <a:moveTo>
                  <a:pt x="800" y="87"/>
                </a:moveTo>
                <a:cubicBezTo>
                  <a:pt x="800" y="87"/>
                  <a:pt x="800" y="87"/>
                  <a:pt x="800" y="87"/>
                </a:cubicBezTo>
                <a:cubicBezTo>
                  <a:pt x="800" y="87"/>
                  <a:pt x="800" y="87"/>
                  <a:pt x="800" y="87"/>
                </a:cubicBezTo>
                <a:close/>
                <a:moveTo>
                  <a:pt x="1740" y="55"/>
                </a:moveTo>
                <a:cubicBezTo>
                  <a:pt x="1740" y="55"/>
                  <a:pt x="1740" y="55"/>
                  <a:pt x="1740" y="56"/>
                </a:cubicBezTo>
                <a:cubicBezTo>
                  <a:pt x="1740" y="55"/>
                  <a:pt x="1740" y="55"/>
                  <a:pt x="1740" y="55"/>
                </a:cubicBezTo>
                <a:close/>
                <a:moveTo>
                  <a:pt x="1388" y="55"/>
                </a:moveTo>
                <a:cubicBezTo>
                  <a:pt x="1388" y="56"/>
                  <a:pt x="1387" y="56"/>
                  <a:pt x="1387" y="56"/>
                </a:cubicBezTo>
                <a:cubicBezTo>
                  <a:pt x="1388" y="56"/>
                  <a:pt x="1388" y="56"/>
                  <a:pt x="1388" y="55"/>
                </a:cubicBezTo>
                <a:close/>
                <a:moveTo>
                  <a:pt x="1572" y="56"/>
                </a:moveTo>
                <a:cubicBezTo>
                  <a:pt x="1572" y="56"/>
                  <a:pt x="1572" y="56"/>
                  <a:pt x="1572" y="56"/>
                </a:cubicBezTo>
                <a:cubicBezTo>
                  <a:pt x="1572" y="56"/>
                  <a:pt x="1572" y="56"/>
                  <a:pt x="1572" y="56"/>
                </a:cubicBezTo>
                <a:close/>
                <a:moveTo>
                  <a:pt x="1505" y="6"/>
                </a:moveTo>
                <a:cubicBezTo>
                  <a:pt x="1505" y="6"/>
                  <a:pt x="1505" y="6"/>
                  <a:pt x="1506" y="5"/>
                </a:cubicBezTo>
                <a:cubicBezTo>
                  <a:pt x="1505" y="6"/>
                  <a:pt x="1505" y="6"/>
                  <a:pt x="1505" y="6"/>
                </a:cubicBezTo>
                <a:close/>
                <a:moveTo>
                  <a:pt x="1046" y="87"/>
                </a:moveTo>
                <a:cubicBezTo>
                  <a:pt x="1046" y="87"/>
                  <a:pt x="1046" y="87"/>
                  <a:pt x="1046" y="87"/>
                </a:cubicBezTo>
                <a:cubicBezTo>
                  <a:pt x="1046" y="87"/>
                  <a:pt x="1046" y="87"/>
                  <a:pt x="1046" y="87"/>
                </a:cubicBezTo>
                <a:close/>
                <a:moveTo>
                  <a:pt x="1505" y="6"/>
                </a:moveTo>
                <a:cubicBezTo>
                  <a:pt x="1505" y="6"/>
                  <a:pt x="1505" y="6"/>
                  <a:pt x="1505" y="6"/>
                </a:cubicBezTo>
                <a:cubicBezTo>
                  <a:pt x="1505" y="6"/>
                  <a:pt x="1505" y="6"/>
                  <a:pt x="1505" y="6"/>
                </a:cubicBezTo>
                <a:close/>
                <a:moveTo>
                  <a:pt x="1740" y="56"/>
                </a:moveTo>
                <a:cubicBezTo>
                  <a:pt x="1740" y="56"/>
                  <a:pt x="1740" y="56"/>
                  <a:pt x="1740" y="56"/>
                </a:cubicBezTo>
                <a:cubicBezTo>
                  <a:pt x="1740" y="56"/>
                  <a:pt x="1740" y="56"/>
                  <a:pt x="1740" y="56"/>
                </a:cubicBezTo>
                <a:close/>
                <a:moveTo>
                  <a:pt x="1224" y="87"/>
                </a:moveTo>
                <a:cubicBezTo>
                  <a:pt x="1224" y="87"/>
                  <a:pt x="1224" y="87"/>
                  <a:pt x="1224" y="87"/>
                </a:cubicBezTo>
                <a:cubicBezTo>
                  <a:pt x="1224" y="87"/>
                  <a:pt x="1224" y="87"/>
                  <a:pt x="1224" y="87"/>
                </a:cubicBezTo>
                <a:close/>
                <a:moveTo>
                  <a:pt x="1504" y="7"/>
                </a:moveTo>
                <a:cubicBezTo>
                  <a:pt x="1504" y="7"/>
                  <a:pt x="1504" y="7"/>
                  <a:pt x="1504" y="7"/>
                </a:cubicBezTo>
                <a:cubicBezTo>
                  <a:pt x="1504" y="7"/>
                  <a:pt x="1504" y="7"/>
                  <a:pt x="1504" y="7"/>
                </a:cubicBezTo>
                <a:close/>
                <a:moveTo>
                  <a:pt x="1503" y="7"/>
                </a:moveTo>
                <a:cubicBezTo>
                  <a:pt x="1504" y="7"/>
                  <a:pt x="1504" y="7"/>
                  <a:pt x="1504" y="7"/>
                </a:cubicBezTo>
                <a:cubicBezTo>
                  <a:pt x="1504" y="7"/>
                  <a:pt x="1503" y="7"/>
                  <a:pt x="1503" y="7"/>
                </a:cubicBezTo>
                <a:close/>
                <a:moveTo>
                  <a:pt x="1503" y="7"/>
                </a:moveTo>
                <a:cubicBezTo>
                  <a:pt x="1503" y="7"/>
                  <a:pt x="1503" y="7"/>
                  <a:pt x="1503" y="7"/>
                </a:cubicBezTo>
                <a:cubicBezTo>
                  <a:pt x="1503" y="7"/>
                  <a:pt x="1503" y="7"/>
                  <a:pt x="1503" y="7"/>
                </a:cubicBezTo>
                <a:close/>
                <a:moveTo>
                  <a:pt x="1727" y="55"/>
                </a:moveTo>
                <a:cubicBezTo>
                  <a:pt x="1727" y="55"/>
                  <a:pt x="1728" y="54"/>
                  <a:pt x="1728" y="54"/>
                </a:cubicBezTo>
                <a:cubicBezTo>
                  <a:pt x="1727" y="54"/>
                  <a:pt x="1727" y="54"/>
                  <a:pt x="1727" y="55"/>
                </a:cubicBezTo>
                <a:close/>
                <a:moveTo>
                  <a:pt x="1502" y="8"/>
                </a:moveTo>
                <a:cubicBezTo>
                  <a:pt x="1502" y="8"/>
                  <a:pt x="1502" y="8"/>
                  <a:pt x="1502" y="8"/>
                </a:cubicBezTo>
                <a:cubicBezTo>
                  <a:pt x="1502" y="8"/>
                  <a:pt x="1502" y="8"/>
                  <a:pt x="1502" y="8"/>
                </a:cubicBezTo>
                <a:close/>
                <a:moveTo>
                  <a:pt x="1373" y="56"/>
                </a:moveTo>
                <a:cubicBezTo>
                  <a:pt x="1373" y="56"/>
                  <a:pt x="1373" y="56"/>
                  <a:pt x="1373" y="56"/>
                </a:cubicBezTo>
                <a:cubicBezTo>
                  <a:pt x="1373" y="56"/>
                  <a:pt x="1373" y="56"/>
                  <a:pt x="1373" y="56"/>
                </a:cubicBezTo>
                <a:close/>
                <a:moveTo>
                  <a:pt x="1387" y="56"/>
                </a:moveTo>
                <a:cubicBezTo>
                  <a:pt x="1387" y="56"/>
                  <a:pt x="1387" y="56"/>
                  <a:pt x="1387" y="56"/>
                </a:cubicBezTo>
                <a:cubicBezTo>
                  <a:pt x="1387" y="56"/>
                  <a:pt x="1387" y="56"/>
                  <a:pt x="1387" y="56"/>
                </a:cubicBezTo>
                <a:close/>
                <a:moveTo>
                  <a:pt x="977" y="87"/>
                </a:moveTo>
                <a:cubicBezTo>
                  <a:pt x="977" y="87"/>
                  <a:pt x="977" y="88"/>
                  <a:pt x="977" y="88"/>
                </a:cubicBezTo>
                <a:cubicBezTo>
                  <a:pt x="977" y="87"/>
                  <a:pt x="977" y="87"/>
                  <a:pt x="977" y="87"/>
                </a:cubicBezTo>
                <a:close/>
                <a:moveTo>
                  <a:pt x="1572" y="56"/>
                </a:moveTo>
                <a:cubicBezTo>
                  <a:pt x="1571" y="56"/>
                  <a:pt x="1571" y="56"/>
                  <a:pt x="1571" y="56"/>
                </a:cubicBezTo>
                <a:cubicBezTo>
                  <a:pt x="1571" y="56"/>
                  <a:pt x="1571" y="56"/>
                  <a:pt x="1572" y="56"/>
                </a:cubicBezTo>
                <a:close/>
                <a:moveTo>
                  <a:pt x="1033" y="88"/>
                </a:moveTo>
                <a:cubicBezTo>
                  <a:pt x="1033" y="87"/>
                  <a:pt x="1033" y="87"/>
                  <a:pt x="1033" y="87"/>
                </a:cubicBezTo>
                <a:cubicBezTo>
                  <a:pt x="1033" y="87"/>
                  <a:pt x="1033" y="87"/>
                  <a:pt x="1033" y="88"/>
                </a:cubicBezTo>
                <a:close/>
                <a:moveTo>
                  <a:pt x="1046" y="87"/>
                </a:moveTo>
                <a:cubicBezTo>
                  <a:pt x="1046" y="87"/>
                  <a:pt x="1046" y="88"/>
                  <a:pt x="1046" y="88"/>
                </a:cubicBezTo>
                <a:cubicBezTo>
                  <a:pt x="1046" y="87"/>
                  <a:pt x="1046" y="87"/>
                  <a:pt x="1046" y="87"/>
                </a:cubicBezTo>
                <a:close/>
                <a:moveTo>
                  <a:pt x="1082" y="88"/>
                </a:moveTo>
                <a:cubicBezTo>
                  <a:pt x="1082" y="88"/>
                  <a:pt x="1082" y="88"/>
                  <a:pt x="1082" y="87"/>
                </a:cubicBezTo>
                <a:cubicBezTo>
                  <a:pt x="1082" y="87"/>
                  <a:pt x="1082" y="87"/>
                  <a:pt x="1082" y="88"/>
                </a:cubicBezTo>
                <a:close/>
                <a:moveTo>
                  <a:pt x="1384" y="9"/>
                </a:moveTo>
                <a:cubicBezTo>
                  <a:pt x="1384" y="9"/>
                  <a:pt x="1384" y="9"/>
                  <a:pt x="1385" y="9"/>
                </a:cubicBezTo>
                <a:cubicBezTo>
                  <a:pt x="1385" y="9"/>
                  <a:pt x="1384" y="9"/>
                  <a:pt x="1384" y="9"/>
                </a:cubicBezTo>
                <a:close/>
                <a:moveTo>
                  <a:pt x="1740" y="56"/>
                </a:moveTo>
                <a:cubicBezTo>
                  <a:pt x="1740" y="56"/>
                  <a:pt x="1739" y="56"/>
                  <a:pt x="1739" y="56"/>
                </a:cubicBezTo>
                <a:cubicBezTo>
                  <a:pt x="1739" y="56"/>
                  <a:pt x="1740" y="56"/>
                  <a:pt x="1740" y="56"/>
                </a:cubicBezTo>
                <a:close/>
                <a:moveTo>
                  <a:pt x="1224" y="87"/>
                </a:moveTo>
                <a:cubicBezTo>
                  <a:pt x="1224" y="87"/>
                  <a:pt x="1224" y="88"/>
                  <a:pt x="1224" y="88"/>
                </a:cubicBezTo>
                <a:cubicBezTo>
                  <a:pt x="1224" y="87"/>
                  <a:pt x="1224" y="87"/>
                  <a:pt x="1224" y="87"/>
                </a:cubicBezTo>
                <a:close/>
                <a:moveTo>
                  <a:pt x="1259" y="88"/>
                </a:moveTo>
                <a:cubicBezTo>
                  <a:pt x="1260" y="88"/>
                  <a:pt x="1260" y="87"/>
                  <a:pt x="1260" y="87"/>
                </a:cubicBezTo>
                <a:cubicBezTo>
                  <a:pt x="1260" y="87"/>
                  <a:pt x="1260" y="87"/>
                  <a:pt x="1259" y="88"/>
                </a:cubicBezTo>
                <a:close/>
                <a:moveTo>
                  <a:pt x="576" y="56"/>
                </a:moveTo>
                <a:cubicBezTo>
                  <a:pt x="576" y="57"/>
                  <a:pt x="577" y="57"/>
                  <a:pt x="577" y="57"/>
                </a:cubicBezTo>
                <a:cubicBezTo>
                  <a:pt x="577" y="56"/>
                  <a:pt x="576" y="56"/>
                  <a:pt x="576" y="56"/>
                </a:cubicBezTo>
                <a:close/>
                <a:moveTo>
                  <a:pt x="1501" y="9"/>
                </a:moveTo>
                <a:cubicBezTo>
                  <a:pt x="1501" y="9"/>
                  <a:pt x="1501" y="9"/>
                  <a:pt x="1501" y="9"/>
                </a:cubicBezTo>
                <a:cubicBezTo>
                  <a:pt x="1501" y="9"/>
                  <a:pt x="1501" y="9"/>
                  <a:pt x="1501" y="9"/>
                </a:cubicBezTo>
                <a:close/>
                <a:moveTo>
                  <a:pt x="671" y="56"/>
                </a:moveTo>
                <a:cubicBezTo>
                  <a:pt x="671" y="56"/>
                  <a:pt x="671" y="57"/>
                  <a:pt x="671" y="57"/>
                </a:cubicBezTo>
                <a:cubicBezTo>
                  <a:pt x="671" y="57"/>
                  <a:pt x="671" y="56"/>
                  <a:pt x="671" y="56"/>
                </a:cubicBezTo>
                <a:close/>
                <a:moveTo>
                  <a:pt x="1455" y="9"/>
                </a:moveTo>
                <a:cubicBezTo>
                  <a:pt x="1455" y="9"/>
                  <a:pt x="1455" y="9"/>
                  <a:pt x="1455" y="9"/>
                </a:cubicBezTo>
                <a:cubicBezTo>
                  <a:pt x="1455" y="9"/>
                  <a:pt x="1455" y="9"/>
                  <a:pt x="1455" y="9"/>
                </a:cubicBezTo>
                <a:close/>
                <a:moveTo>
                  <a:pt x="1501" y="9"/>
                </a:moveTo>
                <a:cubicBezTo>
                  <a:pt x="1501" y="9"/>
                  <a:pt x="1501" y="9"/>
                  <a:pt x="1501" y="9"/>
                </a:cubicBezTo>
                <a:cubicBezTo>
                  <a:pt x="1501" y="9"/>
                  <a:pt x="1501" y="9"/>
                  <a:pt x="1501" y="9"/>
                </a:cubicBezTo>
                <a:close/>
                <a:moveTo>
                  <a:pt x="1426" y="10"/>
                </a:moveTo>
                <a:cubicBezTo>
                  <a:pt x="1427" y="10"/>
                  <a:pt x="1427" y="10"/>
                  <a:pt x="1427" y="9"/>
                </a:cubicBezTo>
                <a:cubicBezTo>
                  <a:pt x="1427" y="9"/>
                  <a:pt x="1427" y="9"/>
                  <a:pt x="1426" y="10"/>
                </a:cubicBezTo>
                <a:close/>
                <a:moveTo>
                  <a:pt x="1570" y="9"/>
                </a:moveTo>
                <a:cubicBezTo>
                  <a:pt x="1570" y="10"/>
                  <a:pt x="1570" y="10"/>
                  <a:pt x="1570" y="10"/>
                </a:cubicBezTo>
                <a:cubicBezTo>
                  <a:pt x="1570" y="9"/>
                  <a:pt x="1570" y="9"/>
                  <a:pt x="1570" y="9"/>
                </a:cubicBezTo>
                <a:close/>
                <a:moveTo>
                  <a:pt x="1738" y="9"/>
                </a:moveTo>
                <a:cubicBezTo>
                  <a:pt x="1738" y="10"/>
                  <a:pt x="1738" y="10"/>
                  <a:pt x="1738" y="10"/>
                </a:cubicBezTo>
                <a:cubicBezTo>
                  <a:pt x="1738" y="9"/>
                  <a:pt x="1738" y="9"/>
                  <a:pt x="1738" y="9"/>
                </a:cubicBezTo>
                <a:close/>
                <a:moveTo>
                  <a:pt x="1373" y="57"/>
                </a:moveTo>
                <a:cubicBezTo>
                  <a:pt x="1373" y="57"/>
                  <a:pt x="1373" y="56"/>
                  <a:pt x="1373" y="56"/>
                </a:cubicBezTo>
                <a:cubicBezTo>
                  <a:pt x="1373" y="56"/>
                  <a:pt x="1373" y="57"/>
                  <a:pt x="1373" y="57"/>
                </a:cubicBezTo>
                <a:close/>
                <a:moveTo>
                  <a:pt x="1387" y="56"/>
                </a:moveTo>
                <a:cubicBezTo>
                  <a:pt x="1387" y="56"/>
                  <a:pt x="1387" y="56"/>
                  <a:pt x="1387" y="57"/>
                </a:cubicBezTo>
                <a:cubicBezTo>
                  <a:pt x="1387" y="57"/>
                  <a:pt x="1387" y="56"/>
                  <a:pt x="1387" y="56"/>
                </a:cubicBezTo>
                <a:close/>
                <a:moveTo>
                  <a:pt x="1557" y="57"/>
                </a:moveTo>
                <a:cubicBezTo>
                  <a:pt x="1557" y="57"/>
                  <a:pt x="1557" y="57"/>
                  <a:pt x="1557" y="56"/>
                </a:cubicBezTo>
                <a:cubicBezTo>
                  <a:pt x="1557" y="56"/>
                  <a:pt x="1557" y="56"/>
                  <a:pt x="1557" y="57"/>
                </a:cubicBezTo>
                <a:close/>
                <a:moveTo>
                  <a:pt x="751" y="88"/>
                </a:moveTo>
                <a:cubicBezTo>
                  <a:pt x="751" y="88"/>
                  <a:pt x="751" y="88"/>
                  <a:pt x="751" y="87"/>
                </a:cubicBezTo>
                <a:cubicBezTo>
                  <a:pt x="751" y="88"/>
                  <a:pt x="751" y="88"/>
                  <a:pt x="751" y="88"/>
                </a:cubicBezTo>
                <a:close/>
                <a:moveTo>
                  <a:pt x="799" y="88"/>
                </a:moveTo>
                <a:cubicBezTo>
                  <a:pt x="799" y="88"/>
                  <a:pt x="799" y="88"/>
                  <a:pt x="799" y="88"/>
                </a:cubicBezTo>
                <a:cubicBezTo>
                  <a:pt x="799" y="88"/>
                  <a:pt x="799" y="88"/>
                  <a:pt x="799" y="88"/>
                </a:cubicBezTo>
                <a:close/>
                <a:moveTo>
                  <a:pt x="961" y="88"/>
                </a:moveTo>
                <a:cubicBezTo>
                  <a:pt x="961" y="88"/>
                  <a:pt x="961" y="88"/>
                  <a:pt x="960" y="87"/>
                </a:cubicBezTo>
                <a:cubicBezTo>
                  <a:pt x="960" y="88"/>
                  <a:pt x="961" y="88"/>
                  <a:pt x="961" y="88"/>
                </a:cubicBezTo>
                <a:close/>
                <a:moveTo>
                  <a:pt x="1571" y="56"/>
                </a:moveTo>
                <a:cubicBezTo>
                  <a:pt x="1571" y="56"/>
                  <a:pt x="1571" y="56"/>
                  <a:pt x="1571" y="57"/>
                </a:cubicBezTo>
                <a:cubicBezTo>
                  <a:pt x="1571" y="56"/>
                  <a:pt x="1571" y="56"/>
                  <a:pt x="1571" y="56"/>
                </a:cubicBezTo>
                <a:close/>
                <a:moveTo>
                  <a:pt x="549" y="10"/>
                </a:moveTo>
                <a:cubicBezTo>
                  <a:pt x="549" y="10"/>
                  <a:pt x="550" y="10"/>
                  <a:pt x="550" y="10"/>
                </a:cubicBezTo>
                <a:cubicBezTo>
                  <a:pt x="549" y="10"/>
                  <a:pt x="549" y="10"/>
                  <a:pt x="549" y="10"/>
                </a:cubicBezTo>
                <a:close/>
                <a:moveTo>
                  <a:pt x="1046" y="88"/>
                </a:moveTo>
                <a:cubicBezTo>
                  <a:pt x="1046" y="88"/>
                  <a:pt x="1046" y="88"/>
                  <a:pt x="1047" y="88"/>
                </a:cubicBezTo>
                <a:cubicBezTo>
                  <a:pt x="1047" y="88"/>
                  <a:pt x="1046" y="88"/>
                  <a:pt x="1046" y="88"/>
                </a:cubicBezTo>
                <a:close/>
                <a:moveTo>
                  <a:pt x="1725" y="57"/>
                </a:moveTo>
                <a:cubicBezTo>
                  <a:pt x="1725" y="57"/>
                  <a:pt x="1725" y="57"/>
                  <a:pt x="1725" y="56"/>
                </a:cubicBezTo>
                <a:cubicBezTo>
                  <a:pt x="1725" y="56"/>
                  <a:pt x="1725" y="56"/>
                  <a:pt x="1725" y="57"/>
                </a:cubicBezTo>
                <a:close/>
                <a:moveTo>
                  <a:pt x="1224" y="88"/>
                </a:moveTo>
                <a:cubicBezTo>
                  <a:pt x="1224" y="88"/>
                  <a:pt x="1224" y="88"/>
                  <a:pt x="1225" y="88"/>
                </a:cubicBezTo>
                <a:cubicBezTo>
                  <a:pt x="1224" y="88"/>
                  <a:pt x="1224" y="88"/>
                  <a:pt x="1224" y="88"/>
                </a:cubicBezTo>
                <a:close/>
                <a:moveTo>
                  <a:pt x="1739" y="56"/>
                </a:moveTo>
                <a:cubicBezTo>
                  <a:pt x="1739" y="56"/>
                  <a:pt x="1739" y="56"/>
                  <a:pt x="1739" y="57"/>
                </a:cubicBezTo>
                <a:cubicBezTo>
                  <a:pt x="1739" y="56"/>
                  <a:pt x="1739" y="56"/>
                  <a:pt x="1739" y="56"/>
                </a:cubicBezTo>
                <a:close/>
                <a:moveTo>
                  <a:pt x="1500" y="10"/>
                </a:moveTo>
                <a:cubicBezTo>
                  <a:pt x="1500" y="10"/>
                  <a:pt x="1500" y="10"/>
                  <a:pt x="1500" y="10"/>
                </a:cubicBezTo>
                <a:cubicBezTo>
                  <a:pt x="1500" y="10"/>
                  <a:pt x="1500" y="10"/>
                  <a:pt x="1500" y="10"/>
                </a:cubicBezTo>
                <a:close/>
                <a:moveTo>
                  <a:pt x="659" y="88"/>
                </a:moveTo>
                <a:cubicBezTo>
                  <a:pt x="659" y="88"/>
                  <a:pt x="659" y="88"/>
                  <a:pt x="660" y="88"/>
                </a:cubicBezTo>
                <a:cubicBezTo>
                  <a:pt x="660" y="88"/>
                  <a:pt x="659" y="88"/>
                  <a:pt x="659" y="88"/>
                </a:cubicBezTo>
                <a:close/>
                <a:moveTo>
                  <a:pt x="1537" y="10"/>
                </a:moveTo>
                <a:cubicBezTo>
                  <a:pt x="1537" y="10"/>
                  <a:pt x="1538" y="10"/>
                  <a:pt x="1538" y="10"/>
                </a:cubicBezTo>
                <a:cubicBezTo>
                  <a:pt x="1537" y="10"/>
                  <a:pt x="1537" y="10"/>
                  <a:pt x="1537" y="10"/>
                </a:cubicBezTo>
                <a:close/>
                <a:moveTo>
                  <a:pt x="1705" y="10"/>
                </a:moveTo>
                <a:cubicBezTo>
                  <a:pt x="1705" y="10"/>
                  <a:pt x="1706" y="10"/>
                  <a:pt x="1706" y="10"/>
                </a:cubicBezTo>
                <a:cubicBezTo>
                  <a:pt x="1706" y="10"/>
                  <a:pt x="1705" y="10"/>
                  <a:pt x="1705" y="10"/>
                </a:cubicBezTo>
                <a:close/>
                <a:moveTo>
                  <a:pt x="549" y="10"/>
                </a:moveTo>
                <a:cubicBezTo>
                  <a:pt x="549" y="10"/>
                  <a:pt x="549" y="10"/>
                  <a:pt x="549" y="10"/>
                </a:cubicBezTo>
                <a:cubicBezTo>
                  <a:pt x="549" y="10"/>
                  <a:pt x="549" y="10"/>
                  <a:pt x="549" y="10"/>
                </a:cubicBezTo>
                <a:close/>
                <a:moveTo>
                  <a:pt x="961" y="88"/>
                </a:moveTo>
                <a:cubicBezTo>
                  <a:pt x="961" y="88"/>
                  <a:pt x="961" y="88"/>
                  <a:pt x="961" y="88"/>
                </a:cubicBezTo>
                <a:cubicBezTo>
                  <a:pt x="961" y="88"/>
                  <a:pt x="961" y="88"/>
                  <a:pt x="961" y="88"/>
                </a:cubicBezTo>
                <a:close/>
                <a:moveTo>
                  <a:pt x="978" y="88"/>
                </a:moveTo>
                <a:cubicBezTo>
                  <a:pt x="978" y="88"/>
                  <a:pt x="978" y="88"/>
                  <a:pt x="978" y="88"/>
                </a:cubicBezTo>
                <a:cubicBezTo>
                  <a:pt x="978" y="88"/>
                  <a:pt x="978" y="88"/>
                  <a:pt x="978" y="88"/>
                </a:cubicBezTo>
                <a:close/>
                <a:moveTo>
                  <a:pt x="1018" y="88"/>
                </a:moveTo>
                <a:cubicBezTo>
                  <a:pt x="1018" y="88"/>
                  <a:pt x="1019" y="88"/>
                  <a:pt x="1019" y="88"/>
                </a:cubicBezTo>
                <a:cubicBezTo>
                  <a:pt x="1018" y="88"/>
                  <a:pt x="1018" y="88"/>
                  <a:pt x="1018" y="88"/>
                </a:cubicBezTo>
                <a:close/>
                <a:moveTo>
                  <a:pt x="1033" y="88"/>
                </a:moveTo>
                <a:cubicBezTo>
                  <a:pt x="1033" y="88"/>
                  <a:pt x="1033" y="88"/>
                  <a:pt x="1033" y="88"/>
                </a:cubicBezTo>
                <a:cubicBezTo>
                  <a:pt x="1033" y="88"/>
                  <a:pt x="1033" y="88"/>
                  <a:pt x="1033" y="88"/>
                </a:cubicBezTo>
                <a:close/>
                <a:moveTo>
                  <a:pt x="1047" y="88"/>
                </a:moveTo>
                <a:cubicBezTo>
                  <a:pt x="1047" y="88"/>
                  <a:pt x="1047" y="88"/>
                  <a:pt x="1047" y="88"/>
                </a:cubicBezTo>
                <a:cubicBezTo>
                  <a:pt x="1047" y="88"/>
                  <a:pt x="1047" y="88"/>
                  <a:pt x="1047" y="88"/>
                </a:cubicBezTo>
                <a:close/>
                <a:moveTo>
                  <a:pt x="1080" y="88"/>
                </a:moveTo>
                <a:cubicBezTo>
                  <a:pt x="1081" y="88"/>
                  <a:pt x="1081" y="88"/>
                  <a:pt x="1081" y="88"/>
                </a:cubicBezTo>
                <a:cubicBezTo>
                  <a:pt x="1081" y="88"/>
                  <a:pt x="1081" y="88"/>
                  <a:pt x="1080" y="88"/>
                </a:cubicBezTo>
                <a:close/>
                <a:moveTo>
                  <a:pt x="1352" y="10"/>
                </a:moveTo>
                <a:cubicBezTo>
                  <a:pt x="1353" y="10"/>
                  <a:pt x="1353" y="10"/>
                  <a:pt x="1353" y="10"/>
                </a:cubicBezTo>
                <a:cubicBezTo>
                  <a:pt x="1353" y="10"/>
                  <a:pt x="1352" y="10"/>
                  <a:pt x="1352" y="10"/>
                </a:cubicBezTo>
                <a:close/>
                <a:moveTo>
                  <a:pt x="1224" y="88"/>
                </a:moveTo>
                <a:cubicBezTo>
                  <a:pt x="1225" y="88"/>
                  <a:pt x="1225" y="88"/>
                  <a:pt x="1225" y="88"/>
                </a:cubicBezTo>
                <a:cubicBezTo>
                  <a:pt x="1225" y="88"/>
                  <a:pt x="1225" y="88"/>
                  <a:pt x="1224" y="88"/>
                </a:cubicBezTo>
                <a:close/>
                <a:moveTo>
                  <a:pt x="1258" y="88"/>
                </a:moveTo>
                <a:cubicBezTo>
                  <a:pt x="1259" y="88"/>
                  <a:pt x="1259" y="88"/>
                  <a:pt x="1259" y="88"/>
                </a:cubicBezTo>
                <a:cubicBezTo>
                  <a:pt x="1259" y="88"/>
                  <a:pt x="1258" y="88"/>
                  <a:pt x="1258" y="88"/>
                </a:cubicBezTo>
                <a:close/>
                <a:moveTo>
                  <a:pt x="1387" y="10"/>
                </a:moveTo>
                <a:cubicBezTo>
                  <a:pt x="1387" y="10"/>
                  <a:pt x="1387" y="10"/>
                  <a:pt x="1387" y="10"/>
                </a:cubicBezTo>
                <a:cubicBezTo>
                  <a:pt x="1387" y="10"/>
                  <a:pt x="1387" y="10"/>
                  <a:pt x="1387" y="10"/>
                </a:cubicBezTo>
                <a:close/>
                <a:moveTo>
                  <a:pt x="1739" y="10"/>
                </a:moveTo>
                <a:cubicBezTo>
                  <a:pt x="1739" y="10"/>
                  <a:pt x="1739" y="10"/>
                  <a:pt x="1739" y="10"/>
                </a:cubicBezTo>
                <a:cubicBezTo>
                  <a:pt x="1739" y="10"/>
                  <a:pt x="1739" y="10"/>
                  <a:pt x="1739" y="10"/>
                </a:cubicBezTo>
                <a:close/>
                <a:moveTo>
                  <a:pt x="1425" y="11"/>
                </a:moveTo>
                <a:cubicBezTo>
                  <a:pt x="1425" y="11"/>
                  <a:pt x="1425" y="11"/>
                  <a:pt x="1425" y="10"/>
                </a:cubicBezTo>
                <a:cubicBezTo>
                  <a:pt x="1425" y="10"/>
                  <a:pt x="1425" y="11"/>
                  <a:pt x="1425" y="11"/>
                </a:cubicBezTo>
                <a:close/>
                <a:moveTo>
                  <a:pt x="1387" y="57"/>
                </a:moveTo>
                <a:cubicBezTo>
                  <a:pt x="1387" y="57"/>
                  <a:pt x="1386" y="57"/>
                  <a:pt x="1386" y="57"/>
                </a:cubicBezTo>
                <a:cubicBezTo>
                  <a:pt x="1387" y="57"/>
                  <a:pt x="1387" y="57"/>
                  <a:pt x="1387" y="57"/>
                </a:cubicBezTo>
                <a:close/>
                <a:moveTo>
                  <a:pt x="1682" y="88"/>
                </a:moveTo>
                <a:cubicBezTo>
                  <a:pt x="1682" y="88"/>
                  <a:pt x="1682" y="88"/>
                  <a:pt x="1682" y="88"/>
                </a:cubicBezTo>
                <a:cubicBezTo>
                  <a:pt x="1682" y="88"/>
                  <a:pt x="1682" y="88"/>
                  <a:pt x="1682" y="88"/>
                </a:cubicBezTo>
                <a:close/>
                <a:moveTo>
                  <a:pt x="1556" y="57"/>
                </a:moveTo>
                <a:cubicBezTo>
                  <a:pt x="1557" y="57"/>
                  <a:pt x="1557" y="57"/>
                  <a:pt x="1557" y="57"/>
                </a:cubicBezTo>
                <a:cubicBezTo>
                  <a:pt x="1557" y="57"/>
                  <a:pt x="1556" y="57"/>
                  <a:pt x="1556" y="57"/>
                </a:cubicBezTo>
                <a:close/>
                <a:moveTo>
                  <a:pt x="1571" y="57"/>
                </a:moveTo>
                <a:cubicBezTo>
                  <a:pt x="1571" y="57"/>
                  <a:pt x="1571" y="57"/>
                  <a:pt x="1571" y="57"/>
                </a:cubicBezTo>
                <a:cubicBezTo>
                  <a:pt x="1571" y="57"/>
                  <a:pt x="1571" y="57"/>
                  <a:pt x="1571" y="57"/>
                </a:cubicBezTo>
                <a:close/>
                <a:moveTo>
                  <a:pt x="1457" y="10"/>
                </a:moveTo>
                <a:cubicBezTo>
                  <a:pt x="1457" y="11"/>
                  <a:pt x="1457" y="11"/>
                  <a:pt x="1457" y="11"/>
                </a:cubicBezTo>
                <a:cubicBezTo>
                  <a:pt x="1457" y="11"/>
                  <a:pt x="1457" y="10"/>
                  <a:pt x="1457" y="10"/>
                </a:cubicBezTo>
                <a:close/>
                <a:moveTo>
                  <a:pt x="1724" y="57"/>
                </a:moveTo>
                <a:cubicBezTo>
                  <a:pt x="1725" y="57"/>
                  <a:pt x="1725" y="57"/>
                  <a:pt x="1725" y="57"/>
                </a:cubicBezTo>
                <a:cubicBezTo>
                  <a:pt x="1725" y="57"/>
                  <a:pt x="1725" y="57"/>
                  <a:pt x="1724" y="57"/>
                </a:cubicBezTo>
                <a:close/>
                <a:moveTo>
                  <a:pt x="751" y="89"/>
                </a:moveTo>
                <a:cubicBezTo>
                  <a:pt x="752" y="88"/>
                  <a:pt x="751" y="88"/>
                  <a:pt x="751" y="88"/>
                </a:cubicBezTo>
                <a:cubicBezTo>
                  <a:pt x="751" y="88"/>
                  <a:pt x="751" y="89"/>
                  <a:pt x="751" y="89"/>
                </a:cubicBezTo>
                <a:close/>
                <a:moveTo>
                  <a:pt x="798" y="89"/>
                </a:moveTo>
                <a:cubicBezTo>
                  <a:pt x="798" y="89"/>
                  <a:pt x="798" y="89"/>
                  <a:pt x="798" y="88"/>
                </a:cubicBezTo>
                <a:cubicBezTo>
                  <a:pt x="798" y="88"/>
                  <a:pt x="798" y="88"/>
                  <a:pt x="798" y="89"/>
                </a:cubicBezTo>
                <a:close/>
                <a:moveTo>
                  <a:pt x="1739" y="57"/>
                </a:moveTo>
                <a:cubicBezTo>
                  <a:pt x="1739" y="57"/>
                  <a:pt x="1739" y="57"/>
                  <a:pt x="1739" y="57"/>
                </a:cubicBezTo>
                <a:cubicBezTo>
                  <a:pt x="1739" y="57"/>
                  <a:pt x="1739" y="57"/>
                  <a:pt x="1739" y="57"/>
                </a:cubicBezTo>
                <a:close/>
                <a:moveTo>
                  <a:pt x="979" y="88"/>
                </a:moveTo>
                <a:cubicBezTo>
                  <a:pt x="979" y="89"/>
                  <a:pt x="979" y="89"/>
                  <a:pt x="979" y="89"/>
                </a:cubicBezTo>
                <a:cubicBezTo>
                  <a:pt x="979" y="88"/>
                  <a:pt x="979" y="88"/>
                  <a:pt x="979" y="88"/>
                </a:cubicBezTo>
                <a:close/>
                <a:moveTo>
                  <a:pt x="1017" y="89"/>
                </a:moveTo>
                <a:cubicBezTo>
                  <a:pt x="1018" y="89"/>
                  <a:pt x="1018" y="89"/>
                  <a:pt x="1018" y="88"/>
                </a:cubicBezTo>
                <a:cubicBezTo>
                  <a:pt x="1018" y="88"/>
                  <a:pt x="1018" y="88"/>
                  <a:pt x="1017" y="89"/>
                </a:cubicBezTo>
                <a:close/>
                <a:moveTo>
                  <a:pt x="1047" y="88"/>
                </a:moveTo>
                <a:cubicBezTo>
                  <a:pt x="1047" y="89"/>
                  <a:pt x="1047" y="89"/>
                  <a:pt x="1047" y="89"/>
                </a:cubicBezTo>
                <a:cubicBezTo>
                  <a:pt x="1047" y="89"/>
                  <a:pt x="1047" y="88"/>
                  <a:pt x="1047" y="88"/>
                </a:cubicBezTo>
                <a:close/>
                <a:moveTo>
                  <a:pt x="577" y="57"/>
                </a:moveTo>
                <a:cubicBezTo>
                  <a:pt x="577" y="57"/>
                  <a:pt x="578" y="57"/>
                  <a:pt x="578" y="57"/>
                </a:cubicBezTo>
                <a:cubicBezTo>
                  <a:pt x="578" y="57"/>
                  <a:pt x="578" y="57"/>
                  <a:pt x="577" y="57"/>
                </a:cubicBezTo>
                <a:close/>
                <a:moveTo>
                  <a:pt x="548" y="11"/>
                </a:moveTo>
                <a:cubicBezTo>
                  <a:pt x="548" y="11"/>
                  <a:pt x="548" y="11"/>
                  <a:pt x="548" y="11"/>
                </a:cubicBezTo>
                <a:cubicBezTo>
                  <a:pt x="548" y="11"/>
                  <a:pt x="548" y="11"/>
                  <a:pt x="548" y="11"/>
                </a:cubicBezTo>
                <a:close/>
                <a:moveTo>
                  <a:pt x="1225" y="88"/>
                </a:moveTo>
                <a:cubicBezTo>
                  <a:pt x="1225" y="89"/>
                  <a:pt x="1225" y="89"/>
                  <a:pt x="1225" y="89"/>
                </a:cubicBezTo>
                <a:cubicBezTo>
                  <a:pt x="1225" y="88"/>
                  <a:pt x="1225" y="88"/>
                  <a:pt x="1225" y="88"/>
                </a:cubicBezTo>
                <a:close/>
                <a:moveTo>
                  <a:pt x="1388" y="11"/>
                </a:moveTo>
                <a:cubicBezTo>
                  <a:pt x="1388" y="11"/>
                  <a:pt x="1388" y="11"/>
                  <a:pt x="1388" y="11"/>
                </a:cubicBezTo>
                <a:cubicBezTo>
                  <a:pt x="1388" y="11"/>
                  <a:pt x="1388" y="11"/>
                  <a:pt x="1388" y="11"/>
                </a:cubicBezTo>
                <a:close/>
                <a:moveTo>
                  <a:pt x="1386" y="57"/>
                </a:moveTo>
                <a:cubicBezTo>
                  <a:pt x="1386" y="57"/>
                  <a:pt x="1386" y="57"/>
                  <a:pt x="1386" y="57"/>
                </a:cubicBezTo>
                <a:cubicBezTo>
                  <a:pt x="1386" y="57"/>
                  <a:pt x="1386" y="57"/>
                  <a:pt x="1386" y="57"/>
                </a:cubicBezTo>
                <a:close/>
                <a:moveTo>
                  <a:pt x="1556" y="57"/>
                </a:moveTo>
                <a:cubicBezTo>
                  <a:pt x="1556" y="57"/>
                  <a:pt x="1556" y="57"/>
                  <a:pt x="1556" y="57"/>
                </a:cubicBezTo>
                <a:cubicBezTo>
                  <a:pt x="1556" y="57"/>
                  <a:pt x="1556" y="57"/>
                  <a:pt x="1556" y="57"/>
                </a:cubicBezTo>
                <a:close/>
                <a:moveTo>
                  <a:pt x="1571" y="57"/>
                </a:moveTo>
                <a:cubicBezTo>
                  <a:pt x="1570" y="57"/>
                  <a:pt x="1570" y="57"/>
                  <a:pt x="1570" y="57"/>
                </a:cubicBezTo>
                <a:cubicBezTo>
                  <a:pt x="1570" y="57"/>
                  <a:pt x="1570" y="57"/>
                  <a:pt x="1571" y="57"/>
                </a:cubicBezTo>
                <a:close/>
                <a:moveTo>
                  <a:pt x="1424" y="11"/>
                </a:moveTo>
                <a:cubicBezTo>
                  <a:pt x="1425" y="11"/>
                  <a:pt x="1425" y="11"/>
                  <a:pt x="1425" y="11"/>
                </a:cubicBezTo>
                <a:cubicBezTo>
                  <a:pt x="1425" y="11"/>
                  <a:pt x="1424" y="11"/>
                  <a:pt x="1424" y="11"/>
                </a:cubicBezTo>
                <a:close/>
                <a:moveTo>
                  <a:pt x="1724" y="57"/>
                </a:moveTo>
                <a:cubicBezTo>
                  <a:pt x="1724" y="57"/>
                  <a:pt x="1724" y="57"/>
                  <a:pt x="1724" y="57"/>
                </a:cubicBezTo>
                <a:cubicBezTo>
                  <a:pt x="1724" y="57"/>
                  <a:pt x="1724" y="57"/>
                  <a:pt x="1724" y="57"/>
                </a:cubicBezTo>
                <a:close/>
                <a:moveTo>
                  <a:pt x="1739" y="57"/>
                </a:moveTo>
                <a:cubicBezTo>
                  <a:pt x="1738" y="57"/>
                  <a:pt x="1738" y="57"/>
                  <a:pt x="1738" y="57"/>
                </a:cubicBezTo>
                <a:cubicBezTo>
                  <a:pt x="1738" y="57"/>
                  <a:pt x="1739" y="57"/>
                  <a:pt x="1739" y="57"/>
                </a:cubicBezTo>
                <a:close/>
                <a:moveTo>
                  <a:pt x="578" y="57"/>
                </a:moveTo>
                <a:cubicBezTo>
                  <a:pt x="578" y="58"/>
                  <a:pt x="578" y="58"/>
                  <a:pt x="578" y="58"/>
                </a:cubicBezTo>
                <a:cubicBezTo>
                  <a:pt x="578" y="58"/>
                  <a:pt x="578" y="57"/>
                  <a:pt x="578" y="57"/>
                </a:cubicBezTo>
                <a:close/>
                <a:moveTo>
                  <a:pt x="1498" y="11"/>
                </a:moveTo>
                <a:cubicBezTo>
                  <a:pt x="1498" y="11"/>
                  <a:pt x="1498" y="11"/>
                  <a:pt x="1498" y="11"/>
                </a:cubicBezTo>
                <a:cubicBezTo>
                  <a:pt x="1498" y="11"/>
                  <a:pt x="1498" y="11"/>
                  <a:pt x="1498" y="11"/>
                </a:cubicBezTo>
                <a:close/>
                <a:moveTo>
                  <a:pt x="1535" y="11"/>
                </a:moveTo>
                <a:cubicBezTo>
                  <a:pt x="1536" y="11"/>
                  <a:pt x="1536" y="11"/>
                  <a:pt x="1536" y="11"/>
                </a:cubicBezTo>
                <a:cubicBezTo>
                  <a:pt x="1536" y="11"/>
                  <a:pt x="1535" y="11"/>
                  <a:pt x="1535" y="11"/>
                </a:cubicBezTo>
                <a:close/>
                <a:moveTo>
                  <a:pt x="1572" y="11"/>
                </a:moveTo>
                <a:cubicBezTo>
                  <a:pt x="1572" y="11"/>
                  <a:pt x="1572" y="11"/>
                  <a:pt x="1572" y="11"/>
                </a:cubicBezTo>
                <a:cubicBezTo>
                  <a:pt x="1572" y="11"/>
                  <a:pt x="1572" y="11"/>
                  <a:pt x="1572" y="11"/>
                </a:cubicBezTo>
                <a:close/>
                <a:moveTo>
                  <a:pt x="1034" y="89"/>
                </a:moveTo>
                <a:cubicBezTo>
                  <a:pt x="1034" y="89"/>
                  <a:pt x="1034" y="89"/>
                  <a:pt x="1034" y="88"/>
                </a:cubicBezTo>
                <a:cubicBezTo>
                  <a:pt x="1034" y="89"/>
                  <a:pt x="1034" y="89"/>
                  <a:pt x="1034" y="89"/>
                </a:cubicBezTo>
                <a:close/>
                <a:moveTo>
                  <a:pt x="1047" y="89"/>
                </a:moveTo>
                <a:cubicBezTo>
                  <a:pt x="1047" y="89"/>
                  <a:pt x="1048" y="89"/>
                  <a:pt x="1048" y="89"/>
                </a:cubicBezTo>
                <a:cubicBezTo>
                  <a:pt x="1048" y="89"/>
                  <a:pt x="1047" y="89"/>
                  <a:pt x="1047" y="89"/>
                </a:cubicBezTo>
                <a:close/>
                <a:moveTo>
                  <a:pt x="1079" y="89"/>
                </a:moveTo>
                <a:cubicBezTo>
                  <a:pt x="1080" y="89"/>
                  <a:pt x="1080" y="89"/>
                  <a:pt x="1080" y="89"/>
                </a:cubicBezTo>
                <a:cubicBezTo>
                  <a:pt x="1080" y="89"/>
                  <a:pt x="1080" y="89"/>
                  <a:pt x="1079" y="89"/>
                </a:cubicBezTo>
                <a:close/>
                <a:moveTo>
                  <a:pt x="671" y="57"/>
                </a:moveTo>
                <a:cubicBezTo>
                  <a:pt x="671" y="58"/>
                  <a:pt x="672" y="58"/>
                  <a:pt x="672" y="58"/>
                </a:cubicBezTo>
                <a:cubicBezTo>
                  <a:pt x="672" y="58"/>
                  <a:pt x="672" y="57"/>
                  <a:pt x="671" y="57"/>
                </a:cubicBezTo>
                <a:close/>
                <a:moveTo>
                  <a:pt x="1225" y="89"/>
                </a:moveTo>
                <a:cubicBezTo>
                  <a:pt x="1225" y="89"/>
                  <a:pt x="1225" y="89"/>
                  <a:pt x="1226" y="89"/>
                </a:cubicBezTo>
                <a:cubicBezTo>
                  <a:pt x="1226" y="89"/>
                  <a:pt x="1225" y="89"/>
                  <a:pt x="1225" y="89"/>
                </a:cubicBezTo>
                <a:close/>
                <a:moveTo>
                  <a:pt x="1257" y="89"/>
                </a:moveTo>
                <a:cubicBezTo>
                  <a:pt x="1257" y="89"/>
                  <a:pt x="1258" y="89"/>
                  <a:pt x="1258" y="89"/>
                </a:cubicBezTo>
                <a:cubicBezTo>
                  <a:pt x="1258" y="89"/>
                  <a:pt x="1257" y="89"/>
                  <a:pt x="1257" y="89"/>
                </a:cubicBezTo>
                <a:close/>
                <a:moveTo>
                  <a:pt x="1704" y="11"/>
                </a:moveTo>
                <a:cubicBezTo>
                  <a:pt x="1704" y="11"/>
                  <a:pt x="1704" y="11"/>
                  <a:pt x="1704" y="11"/>
                </a:cubicBezTo>
                <a:cubicBezTo>
                  <a:pt x="1704" y="11"/>
                  <a:pt x="1704" y="11"/>
                  <a:pt x="1704" y="11"/>
                </a:cubicBezTo>
                <a:close/>
                <a:moveTo>
                  <a:pt x="1740" y="11"/>
                </a:moveTo>
                <a:cubicBezTo>
                  <a:pt x="1740" y="11"/>
                  <a:pt x="1740" y="11"/>
                  <a:pt x="1740" y="11"/>
                </a:cubicBezTo>
                <a:cubicBezTo>
                  <a:pt x="1740" y="11"/>
                  <a:pt x="1740" y="11"/>
                  <a:pt x="1740" y="11"/>
                </a:cubicBezTo>
                <a:close/>
                <a:moveTo>
                  <a:pt x="1371" y="58"/>
                </a:moveTo>
                <a:cubicBezTo>
                  <a:pt x="1371" y="58"/>
                  <a:pt x="1371" y="58"/>
                  <a:pt x="1372" y="57"/>
                </a:cubicBezTo>
                <a:cubicBezTo>
                  <a:pt x="1371" y="57"/>
                  <a:pt x="1371" y="58"/>
                  <a:pt x="1371" y="58"/>
                </a:cubicBezTo>
                <a:close/>
                <a:moveTo>
                  <a:pt x="1386" y="57"/>
                </a:moveTo>
                <a:cubicBezTo>
                  <a:pt x="1386" y="57"/>
                  <a:pt x="1386" y="57"/>
                  <a:pt x="1386" y="58"/>
                </a:cubicBezTo>
                <a:cubicBezTo>
                  <a:pt x="1386" y="58"/>
                  <a:pt x="1386" y="57"/>
                  <a:pt x="1386" y="57"/>
                </a:cubicBezTo>
                <a:close/>
                <a:moveTo>
                  <a:pt x="1388" y="11"/>
                </a:moveTo>
                <a:cubicBezTo>
                  <a:pt x="1388" y="11"/>
                  <a:pt x="1388" y="11"/>
                  <a:pt x="1389" y="11"/>
                </a:cubicBezTo>
                <a:cubicBezTo>
                  <a:pt x="1388" y="11"/>
                  <a:pt x="1388" y="11"/>
                  <a:pt x="1388" y="11"/>
                </a:cubicBezTo>
                <a:close/>
                <a:moveTo>
                  <a:pt x="1570" y="57"/>
                </a:moveTo>
                <a:cubicBezTo>
                  <a:pt x="1570" y="57"/>
                  <a:pt x="1570" y="57"/>
                  <a:pt x="1570" y="58"/>
                </a:cubicBezTo>
                <a:cubicBezTo>
                  <a:pt x="1570" y="58"/>
                  <a:pt x="1570" y="57"/>
                  <a:pt x="1570" y="57"/>
                </a:cubicBezTo>
                <a:close/>
                <a:moveTo>
                  <a:pt x="661" y="89"/>
                </a:moveTo>
                <a:cubicBezTo>
                  <a:pt x="661" y="89"/>
                  <a:pt x="661" y="89"/>
                  <a:pt x="661" y="89"/>
                </a:cubicBezTo>
                <a:cubicBezTo>
                  <a:pt x="661" y="89"/>
                  <a:pt x="661" y="89"/>
                  <a:pt x="661" y="89"/>
                </a:cubicBezTo>
                <a:close/>
                <a:moveTo>
                  <a:pt x="687" y="89"/>
                </a:moveTo>
                <a:cubicBezTo>
                  <a:pt x="687" y="89"/>
                  <a:pt x="687" y="89"/>
                  <a:pt x="687" y="89"/>
                </a:cubicBezTo>
                <a:cubicBezTo>
                  <a:pt x="687" y="89"/>
                  <a:pt x="687" y="89"/>
                  <a:pt x="687" y="89"/>
                </a:cubicBezTo>
                <a:close/>
                <a:moveTo>
                  <a:pt x="766" y="89"/>
                </a:moveTo>
                <a:cubicBezTo>
                  <a:pt x="766" y="89"/>
                  <a:pt x="766" y="89"/>
                  <a:pt x="766" y="89"/>
                </a:cubicBezTo>
                <a:cubicBezTo>
                  <a:pt x="766" y="89"/>
                  <a:pt x="766" y="89"/>
                  <a:pt x="766" y="89"/>
                </a:cubicBezTo>
                <a:close/>
                <a:moveTo>
                  <a:pt x="797" y="89"/>
                </a:moveTo>
                <a:cubicBezTo>
                  <a:pt x="797" y="89"/>
                  <a:pt x="797" y="89"/>
                  <a:pt x="797" y="89"/>
                </a:cubicBezTo>
                <a:cubicBezTo>
                  <a:pt x="797" y="89"/>
                  <a:pt x="797" y="89"/>
                  <a:pt x="797" y="89"/>
                </a:cubicBezTo>
                <a:close/>
                <a:moveTo>
                  <a:pt x="1672" y="11"/>
                </a:moveTo>
                <a:cubicBezTo>
                  <a:pt x="1673" y="11"/>
                  <a:pt x="1673" y="11"/>
                  <a:pt x="1673" y="11"/>
                </a:cubicBezTo>
                <a:cubicBezTo>
                  <a:pt x="1673" y="11"/>
                  <a:pt x="1673" y="11"/>
                  <a:pt x="1672" y="11"/>
                </a:cubicBezTo>
                <a:close/>
                <a:moveTo>
                  <a:pt x="546" y="12"/>
                </a:moveTo>
                <a:cubicBezTo>
                  <a:pt x="547" y="12"/>
                  <a:pt x="547" y="12"/>
                  <a:pt x="547" y="11"/>
                </a:cubicBezTo>
                <a:cubicBezTo>
                  <a:pt x="547" y="11"/>
                  <a:pt x="547" y="12"/>
                  <a:pt x="546" y="12"/>
                </a:cubicBezTo>
                <a:close/>
                <a:moveTo>
                  <a:pt x="1738" y="57"/>
                </a:moveTo>
                <a:cubicBezTo>
                  <a:pt x="1738" y="57"/>
                  <a:pt x="1738" y="57"/>
                  <a:pt x="1738" y="58"/>
                </a:cubicBezTo>
                <a:cubicBezTo>
                  <a:pt x="1738" y="58"/>
                  <a:pt x="1738" y="57"/>
                  <a:pt x="1738" y="57"/>
                </a:cubicBezTo>
                <a:close/>
                <a:moveTo>
                  <a:pt x="1048" y="89"/>
                </a:moveTo>
                <a:cubicBezTo>
                  <a:pt x="1048" y="89"/>
                  <a:pt x="1048" y="89"/>
                  <a:pt x="1048" y="89"/>
                </a:cubicBezTo>
                <a:cubicBezTo>
                  <a:pt x="1048" y="89"/>
                  <a:pt x="1048" y="89"/>
                  <a:pt x="1048" y="89"/>
                </a:cubicBezTo>
                <a:close/>
                <a:moveTo>
                  <a:pt x="1350" y="12"/>
                </a:moveTo>
                <a:cubicBezTo>
                  <a:pt x="1350" y="12"/>
                  <a:pt x="1351" y="12"/>
                  <a:pt x="1351" y="11"/>
                </a:cubicBezTo>
                <a:cubicBezTo>
                  <a:pt x="1350" y="11"/>
                  <a:pt x="1350" y="12"/>
                  <a:pt x="1350" y="12"/>
                </a:cubicBezTo>
                <a:close/>
                <a:moveTo>
                  <a:pt x="1458" y="11"/>
                </a:moveTo>
                <a:cubicBezTo>
                  <a:pt x="1458" y="12"/>
                  <a:pt x="1458" y="12"/>
                  <a:pt x="1458" y="12"/>
                </a:cubicBezTo>
                <a:cubicBezTo>
                  <a:pt x="1458" y="12"/>
                  <a:pt x="1458" y="11"/>
                  <a:pt x="1458" y="11"/>
                </a:cubicBezTo>
                <a:close/>
                <a:moveTo>
                  <a:pt x="1226" y="89"/>
                </a:moveTo>
                <a:cubicBezTo>
                  <a:pt x="1226" y="89"/>
                  <a:pt x="1226" y="89"/>
                  <a:pt x="1226" y="89"/>
                </a:cubicBezTo>
                <a:cubicBezTo>
                  <a:pt x="1226" y="89"/>
                  <a:pt x="1226" y="89"/>
                  <a:pt x="1226" y="89"/>
                </a:cubicBezTo>
                <a:close/>
                <a:moveTo>
                  <a:pt x="1497" y="12"/>
                </a:moveTo>
                <a:cubicBezTo>
                  <a:pt x="1497" y="12"/>
                  <a:pt x="1497" y="12"/>
                  <a:pt x="1497" y="11"/>
                </a:cubicBezTo>
                <a:cubicBezTo>
                  <a:pt x="1497" y="11"/>
                  <a:pt x="1497" y="12"/>
                  <a:pt x="1497" y="12"/>
                </a:cubicBezTo>
                <a:close/>
                <a:moveTo>
                  <a:pt x="672" y="58"/>
                </a:moveTo>
                <a:cubicBezTo>
                  <a:pt x="672" y="58"/>
                  <a:pt x="672" y="58"/>
                  <a:pt x="672" y="58"/>
                </a:cubicBezTo>
                <a:cubicBezTo>
                  <a:pt x="672" y="58"/>
                  <a:pt x="672" y="58"/>
                  <a:pt x="672" y="58"/>
                </a:cubicBezTo>
                <a:close/>
                <a:moveTo>
                  <a:pt x="1674" y="54"/>
                </a:moveTo>
                <a:cubicBezTo>
                  <a:pt x="1673" y="54"/>
                  <a:pt x="1673" y="54"/>
                  <a:pt x="1673" y="54"/>
                </a:cubicBezTo>
                <a:cubicBezTo>
                  <a:pt x="1673" y="54"/>
                  <a:pt x="1674" y="54"/>
                  <a:pt x="1674" y="54"/>
                </a:cubicBezTo>
                <a:close/>
                <a:moveTo>
                  <a:pt x="1534" y="12"/>
                </a:moveTo>
                <a:cubicBezTo>
                  <a:pt x="1535" y="12"/>
                  <a:pt x="1535" y="12"/>
                  <a:pt x="1535" y="11"/>
                </a:cubicBezTo>
                <a:cubicBezTo>
                  <a:pt x="1535" y="11"/>
                  <a:pt x="1534" y="12"/>
                  <a:pt x="1534" y="12"/>
                </a:cubicBezTo>
                <a:close/>
                <a:moveTo>
                  <a:pt x="1573" y="11"/>
                </a:moveTo>
                <a:cubicBezTo>
                  <a:pt x="1573" y="12"/>
                  <a:pt x="1573" y="12"/>
                  <a:pt x="1573" y="12"/>
                </a:cubicBezTo>
                <a:cubicBezTo>
                  <a:pt x="1573" y="12"/>
                  <a:pt x="1573" y="11"/>
                  <a:pt x="1573" y="11"/>
                </a:cubicBezTo>
                <a:close/>
                <a:moveTo>
                  <a:pt x="1703" y="12"/>
                </a:moveTo>
                <a:cubicBezTo>
                  <a:pt x="1703" y="12"/>
                  <a:pt x="1703" y="12"/>
                  <a:pt x="1703" y="11"/>
                </a:cubicBezTo>
                <a:cubicBezTo>
                  <a:pt x="1703" y="11"/>
                  <a:pt x="1703" y="12"/>
                  <a:pt x="1703" y="12"/>
                </a:cubicBezTo>
                <a:close/>
                <a:moveTo>
                  <a:pt x="1423" y="12"/>
                </a:moveTo>
                <a:cubicBezTo>
                  <a:pt x="1423" y="12"/>
                  <a:pt x="1423" y="12"/>
                  <a:pt x="1423" y="12"/>
                </a:cubicBezTo>
                <a:cubicBezTo>
                  <a:pt x="1423" y="12"/>
                  <a:pt x="1423" y="12"/>
                  <a:pt x="1423" y="12"/>
                </a:cubicBezTo>
                <a:close/>
                <a:moveTo>
                  <a:pt x="1371" y="58"/>
                </a:moveTo>
                <a:cubicBezTo>
                  <a:pt x="1371" y="58"/>
                  <a:pt x="1371" y="58"/>
                  <a:pt x="1371" y="58"/>
                </a:cubicBezTo>
                <a:cubicBezTo>
                  <a:pt x="1371" y="58"/>
                  <a:pt x="1371" y="58"/>
                  <a:pt x="1371" y="58"/>
                </a:cubicBezTo>
                <a:close/>
                <a:moveTo>
                  <a:pt x="1386" y="58"/>
                </a:moveTo>
                <a:cubicBezTo>
                  <a:pt x="1385" y="58"/>
                  <a:pt x="1385" y="58"/>
                  <a:pt x="1385" y="58"/>
                </a:cubicBezTo>
                <a:cubicBezTo>
                  <a:pt x="1385" y="58"/>
                  <a:pt x="1386" y="58"/>
                  <a:pt x="1386" y="58"/>
                </a:cubicBezTo>
                <a:close/>
                <a:moveTo>
                  <a:pt x="766" y="89"/>
                </a:moveTo>
                <a:cubicBezTo>
                  <a:pt x="766" y="90"/>
                  <a:pt x="766" y="90"/>
                  <a:pt x="766" y="90"/>
                </a:cubicBezTo>
                <a:cubicBezTo>
                  <a:pt x="766" y="90"/>
                  <a:pt x="766" y="89"/>
                  <a:pt x="766" y="89"/>
                </a:cubicBezTo>
                <a:close/>
                <a:moveTo>
                  <a:pt x="1555" y="58"/>
                </a:moveTo>
                <a:cubicBezTo>
                  <a:pt x="1555" y="58"/>
                  <a:pt x="1555" y="58"/>
                  <a:pt x="1555" y="58"/>
                </a:cubicBezTo>
                <a:cubicBezTo>
                  <a:pt x="1555" y="58"/>
                  <a:pt x="1555" y="58"/>
                  <a:pt x="1555" y="58"/>
                </a:cubicBezTo>
                <a:close/>
                <a:moveTo>
                  <a:pt x="962" y="90"/>
                </a:moveTo>
                <a:cubicBezTo>
                  <a:pt x="962" y="89"/>
                  <a:pt x="962" y="89"/>
                  <a:pt x="962" y="89"/>
                </a:cubicBezTo>
                <a:cubicBezTo>
                  <a:pt x="962" y="89"/>
                  <a:pt x="962" y="90"/>
                  <a:pt x="962" y="90"/>
                </a:cubicBezTo>
                <a:close/>
                <a:moveTo>
                  <a:pt x="1570" y="58"/>
                </a:moveTo>
                <a:cubicBezTo>
                  <a:pt x="1570" y="58"/>
                  <a:pt x="1570" y="58"/>
                  <a:pt x="1569" y="58"/>
                </a:cubicBezTo>
                <a:cubicBezTo>
                  <a:pt x="1570" y="58"/>
                  <a:pt x="1570" y="58"/>
                  <a:pt x="1570" y="58"/>
                </a:cubicBezTo>
                <a:close/>
                <a:moveTo>
                  <a:pt x="1458" y="12"/>
                </a:moveTo>
                <a:cubicBezTo>
                  <a:pt x="1458" y="12"/>
                  <a:pt x="1459" y="12"/>
                  <a:pt x="1459" y="12"/>
                </a:cubicBezTo>
                <a:cubicBezTo>
                  <a:pt x="1459" y="12"/>
                  <a:pt x="1459" y="12"/>
                  <a:pt x="1458" y="12"/>
                </a:cubicBezTo>
                <a:close/>
                <a:moveTo>
                  <a:pt x="1723" y="58"/>
                </a:moveTo>
                <a:cubicBezTo>
                  <a:pt x="1723" y="58"/>
                  <a:pt x="1723" y="58"/>
                  <a:pt x="1723" y="58"/>
                </a:cubicBezTo>
                <a:cubicBezTo>
                  <a:pt x="1723" y="58"/>
                  <a:pt x="1723" y="58"/>
                  <a:pt x="1723" y="58"/>
                </a:cubicBezTo>
                <a:close/>
                <a:moveTo>
                  <a:pt x="1738" y="58"/>
                </a:moveTo>
                <a:cubicBezTo>
                  <a:pt x="1738" y="58"/>
                  <a:pt x="1738" y="58"/>
                  <a:pt x="1738" y="58"/>
                </a:cubicBezTo>
                <a:cubicBezTo>
                  <a:pt x="1738" y="58"/>
                  <a:pt x="1738" y="58"/>
                  <a:pt x="1738" y="58"/>
                </a:cubicBezTo>
                <a:close/>
                <a:moveTo>
                  <a:pt x="672" y="58"/>
                </a:moveTo>
                <a:cubicBezTo>
                  <a:pt x="672" y="58"/>
                  <a:pt x="672" y="58"/>
                  <a:pt x="672" y="58"/>
                </a:cubicBezTo>
                <a:cubicBezTo>
                  <a:pt x="672" y="58"/>
                  <a:pt x="672" y="58"/>
                  <a:pt x="672" y="58"/>
                </a:cubicBezTo>
                <a:close/>
                <a:moveTo>
                  <a:pt x="1212" y="90"/>
                </a:moveTo>
                <a:cubicBezTo>
                  <a:pt x="1212" y="89"/>
                  <a:pt x="1212" y="89"/>
                  <a:pt x="1212" y="89"/>
                </a:cubicBezTo>
                <a:cubicBezTo>
                  <a:pt x="1212" y="89"/>
                  <a:pt x="1212" y="90"/>
                  <a:pt x="1212" y="90"/>
                </a:cubicBezTo>
                <a:close/>
                <a:moveTo>
                  <a:pt x="1534" y="12"/>
                </a:moveTo>
                <a:cubicBezTo>
                  <a:pt x="1534" y="12"/>
                  <a:pt x="1534" y="12"/>
                  <a:pt x="1534" y="12"/>
                </a:cubicBezTo>
                <a:cubicBezTo>
                  <a:pt x="1534" y="12"/>
                  <a:pt x="1534" y="12"/>
                  <a:pt x="1534" y="12"/>
                </a:cubicBezTo>
                <a:close/>
                <a:moveTo>
                  <a:pt x="1573" y="12"/>
                </a:moveTo>
                <a:cubicBezTo>
                  <a:pt x="1573" y="12"/>
                  <a:pt x="1573" y="12"/>
                  <a:pt x="1574" y="12"/>
                </a:cubicBezTo>
                <a:cubicBezTo>
                  <a:pt x="1574" y="12"/>
                  <a:pt x="1573" y="12"/>
                  <a:pt x="1573" y="12"/>
                </a:cubicBezTo>
                <a:close/>
                <a:moveTo>
                  <a:pt x="1416" y="90"/>
                </a:moveTo>
                <a:cubicBezTo>
                  <a:pt x="1416" y="89"/>
                  <a:pt x="1416" y="89"/>
                  <a:pt x="1416" y="89"/>
                </a:cubicBezTo>
                <a:cubicBezTo>
                  <a:pt x="1416" y="89"/>
                  <a:pt x="1416" y="90"/>
                  <a:pt x="1416" y="90"/>
                </a:cubicBezTo>
                <a:close/>
                <a:moveTo>
                  <a:pt x="1463" y="89"/>
                </a:moveTo>
                <a:cubicBezTo>
                  <a:pt x="1463" y="89"/>
                  <a:pt x="1463" y="89"/>
                  <a:pt x="1463" y="90"/>
                </a:cubicBezTo>
                <a:cubicBezTo>
                  <a:pt x="1463" y="90"/>
                  <a:pt x="1463" y="89"/>
                  <a:pt x="1463" y="89"/>
                </a:cubicBezTo>
                <a:close/>
                <a:moveTo>
                  <a:pt x="1702" y="12"/>
                </a:moveTo>
                <a:cubicBezTo>
                  <a:pt x="1702" y="12"/>
                  <a:pt x="1702" y="12"/>
                  <a:pt x="1703" y="12"/>
                </a:cubicBezTo>
                <a:cubicBezTo>
                  <a:pt x="1702" y="12"/>
                  <a:pt x="1702" y="12"/>
                  <a:pt x="1702" y="12"/>
                </a:cubicBezTo>
                <a:close/>
                <a:moveTo>
                  <a:pt x="1741" y="12"/>
                </a:moveTo>
                <a:cubicBezTo>
                  <a:pt x="1741" y="12"/>
                  <a:pt x="1742" y="12"/>
                  <a:pt x="1742" y="12"/>
                </a:cubicBezTo>
                <a:cubicBezTo>
                  <a:pt x="1742" y="12"/>
                  <a:pt x="1742" y="12"/>
                  <a:pt x="1741" y="12"/>
                </a:cubicBezTo>
                <a:close/>
                <a:moveTo>
                  <a:pt x="1555" y="58"/>
                </a:moveTo>
                <a:cubicBezTo>
                  <a:pt x="1555" y="58"/>
                  <a:pt x="1555" y="58"/>
                  <a:pt x="1555" y="58"/>
                </a:cubicBezTo>
                <a:cubicBezTo>
                  <a:pt x="1555" y="58"/>
                  <a:pt x="1555" y="58"/>
                  <a:pt x="1555" y="58"/>
                </a:cubicBezTo>
                <a:close/>
                <a:moveTo>
                  <a:pt x="1569" y="58"/>
                </a:moveTo>
                <a:cubicBezTo>
                  <a:pt x="1569" y="58"/>
                  <a:pt x="1569" y="58"/>
                  <a:pt x="1569" y="58"/>
                </a:cubicBezTo>
                <a:cubicBezTo>
                  <a:pt x="1569" y="58"/>
                  <a:pt x="1569" y="58"/>
                  <a:pt x="1569" y="58"/>
                </a:cubicBezTo>
                <a:close/>
                <a:moveTo>
                  <a:pt x="963" y="90"/>
                </a:moveTo>
                <a:cubicBezTo>
                  <a:pt x="962" y="90"/>
                  <a:pt x="962" y="90"/>
                  <a:pt x="962" y="90"/>
                </a:cubicBezTo>
                <a:cubicBezTo>
                  <a:pt x="962" y="90"/>
                  <a:pt x="962" y="90"/>
                  <a:pt x="963" y="90"/>
                </a:cubicBezTo>
                <a:close/>
                <a:moveTo>
                  <a:pt x="974" y="12"/>
                </a:moveTo>
                <a:cubicBezTo>
                  <a:pt x="974" y="12"/>
                  <a:pt x="974" y="12"/>
                  <a:pt x="974" y="12"/>
                </a:cubicBezTo>
                <a:cubicBezTo>
                  <a:pt x="974" y="12"/>
                  <a:pt x="974" y="12"/>
                  <a:pt x="974" y="12"/>
                </a:cubicBezTo>
                <a:close/>
                <a:moveTo>
                  <a:pt x="1723" y="58"/>
                </a:moveTo>
                <a:cubicBezTo>
                  <a:pt x="1723" y="58"/>
                  <a:pt x="1723" y="58"/>
                  <a:pt x="1723" y="58"/>
                </a:cubicBezTo>
                <a:cubicBezTo>
                  <a:pt x="1723" y="58"/>
                  <a:pt x="1723" y="58"/>
                  <a:pt x="1723" y="58"/>
                </a:cubicBezTo>
                <a:close/>
                <a:moveTo>
                  <a:pt x="1738" y="58"/>
                </a:moveTo>
                <a:cubicBezTo>
                  <a:pt x="1737" y="58"/>
                  <a:pt x="1737" y="58"/>
                  <a:pt x="1737" y="58"/>
                </a:cubicBezTo>
                <a:cubicBezTo>
                  <a:pt x="1737" y="58"/>
                  <a:pt x="1738" y="58"/>
                  <a:pt x="1738" y="58"/>
                </a:cubicBezTo>
                <a:close/>
                <a:moveTo>
                  <a:pt x="1049" y="90"/>
                </a:moveTo>
                <a:cubicBezTo>
                  <a:pt x="1049" y="90"/>
                  <a:pt x="1049" y="90"/>
                  <a:pt x="1049" y="90"/>
                </a:cubicBezTo>
                <a:cubicBezTo>
                  <a:pt x="1049" y="90"/>
                  <a:pt x="1049" y="90"/>
                  <a:pt x="1049" y="90"/>
                </a:cubicBezTo>
                <a:close/>
                <a:moveTo>
                  <a:pt x="1078" y="90"/>
                </a:moveTo>
                <a:cubicBezTo>
                  <a:pt x="1078" y="90"/>
                  <a:pt x="1078" y="90"/>
                  <a:pt x="1078" y="90"/>
                </a:cubicBezTo>
                <a:cubicBezTo>
                  <a:pt x="1078" y="90"/>
                  <a:pt x="1078" y="90"/>
                  <a:pt x="1078" y="90"/>
                </a:cubicBezTo>
                <a:close/>
                <a:moveTo>
                  <a:pt x="579" y="58"/>
                </a:moveTo>
                <a:cubicBezTo>
                  <a:pt x="579" y="59"/>
                  <a:pt x="579" y="59"/>
                  <a:pt x="580" y="59"/>
                </a:cubicBezTo>
                <a:cubicBezTo>
                  <a:pt x="579" y="59"/>
                  <a:pt x="579" y="58"/>
                  <a:pt x="579" y="58"/>
                </a:cubicBezTo>
                <a:close/>
                <a:moveTo>
                  <a:pt x="1349" y="12"/>
                </a:moveTo>
                <a:cubicBezTo>
                  <a:pt x="1349" y="12"/>
                  <a:pt x="1350" y="12"/>
                  <a:pt x="1350" y="12"/>
                </a:cubicBezTo>
                <a:cubicBezTo>
                  <a:pt x="1349" y="12"/>
                  <a:pt x="1349" y="12"/>
                  <a:pt x="1349" y="12"/>
                </a:cubicBezTo>
                <a:close/>
                <a:moveTo>
                  <a:pt x="1389" y="12"/>
                </a:moveTo>
                <a:cubicBezTo>
                  <a:pt x="1390" y="12"/>
                  <a:pt x="1390" y="12"/>
                  <a:pt x="1390" y="12"/>
                </a:cubicBezTo>
                <a:cubicBezTo>
                  <a:pt x="1390" y="12"/>
                  <a:pt x="1390" y="12"/>
                  <a:pt x="1389" y="12"/>
                </a:cubicBezTo>
                <a:close/>
                <a:moveTo>
                  <a:pt x="1423" y="12"/>
                </a:moveTo>
                <a:cubicBezTo>
                  <a:pt x="1423" y="12"/>
                  <a:pt x="1423" y="12"/>
                  <a:pt x="1423" y="12"/>
                </a:cubicBezTo>
                <a:cubicBezTo>
                  <a:pt x="1423" y="12"/>
                  <a:pt x="1423" y="12"/>
                  <a:pt x="1423" y="12"/>
                </a:cubicBezTo>
                <a:close/>
                <a:moveTo>
                  <a:pt x="672" y="58"/>
                </a:moveTo>
                <a:cubicBezTo>
                  <a:pt x="673" y="59"/>
                  <a:pt x="673" y="59"/>
                  <a:pt x="673" y="59"/>
                </a:cubicBezTo>
                <a:cubicBezTo>
                  <a:pt x="673" y="59"/>
                  <a:pt x="673" y="58"/>
                  <a:pt x="672" y="58"/>
                </a:cubicBezTo>
                <a:close/>
                <a:moveTo>
                  <a:pt x="1459" y="12"/>
                </a:moveTo>
                <a:cubicBezTo>
                  <a:pt x="1459" y="12"/>
                  <a:pt x="1459" y="12"/>
                  <a:pt x="1459" y="12"/>
                </a:cubicBezTo>
                <a:cubicBezTo>
                  <a:pt x="1459" y="12"/>
                  <a:pt x="1459" y="12"/>
                  <a:pt x="1459" y="12"/>
                </a:cubicBezTo>
                <a:close/>
                <a:moveTo>
                  <a:pt x="1574" y="12"/>
                </a:moveTo>
                <a:cubicBezTo>
                  <a:pt x="1574" y="12"/>
                  <a:pt x="1574" y="12"/>
                  <a:pt x="1574" y="12"/>
                </a:cubicBezTo>
                <a:cubicBezTo>
                  <a:pt x="1574" y="12"/>
                  <a:pt x="1574" y="12"/>
                  <a:pt x="1574" y="12"/>
                </a:cubicBezTo>
                <a:close/>
                <a:moveTo>
                  <a:pt x="586" y="90"/>
                </a:moveTo>
                <a:cubicBezTo>
                  <a:pt x="586" y="90"/>
                  <a:pt x="586" y="90"/>
                  <a:pt x="586" y="90"/>
                </a:cubicBezTo>
                <a:cubicBezTo>
                  <a:pt x="586" y="90"/>
                  <a:pt x="586" y="90"/>
                  <a:pt x="586" y="90"/>
                </a:cubicBezTo>
                <a:close/>
                <a:moveTo>
                  <a:pt x="1370" y="59"/>
                </a:moveTo>
                <a:cubicBezTo>
                  <a:pt x="1370" y="59"/>
                  <a:pt x="1370" y="59"/>
                  <a:pt x="1370" y="58"/>
                </a:cubicBezTo>
                <a:cubicBezTo>
                  <a:pt x="1370" y="58"/>
                  <a:pt x="1370" y="59"/>
                  <a:pt x="1370" y="59"/>
                </a:cubicBezTo>
                <a:close/>
                <a:moveTo>
                  <a:pt x="662" y="90"/>
                </a:moveTo>
                <a:cubicBezTo>
                  <a:pt x="662" y="90"/>
                  <a:pt x="663" y="90"/>
                  <a:pt x="663" y="90"/>
                </a:cubicBezTo>
                <a:cubicBezTo>
                  <a:pt x="663" y="90"/>
                  <a:pt x="663" y="90"/>
                  <a:pt x="662" y="90"/>
                </a:cubicBezTo>
                <a:close/>
                <a:moveTo>
                  <a:pt x="686" y="90"/>
                </a:moveTo>
                <a:cubicBezTo>
                  <a:pt x="687" y="90"/>
                  <a:pt x="687" y="90"/>
                  <a:pt x="687" y="90"/>
                </a:cubicBezTo>
                <a:cubicBezTo>
                  <a:pt x="687" y="90"/>
                  <a:pt x="686" y="90"/>
                  <a:pt x="686" y="90"/>
                </a:cubicBezTo>
                <a:close/>
                <a:moveTo>
                  <a:pt x="1674" y="12"/>
                </a:moveTo>
                <a:cubicBezTo>
                  <a:pt x="1674" y="12"/>
                  <a:pt x="1674" y="12"/>
                  <a:pt x="1675" y="12"/>
                </a:cubicBezTo>
                <a:cubicBezTo>
                  <a:pt x="1675" y="12"/>
                  <a:pt x="1674" y="12"/>
                  <a:pt x="1674" y="12"/>
                </a:cubicBezTo>
                <a:close/>
                <a:moveTo>
                  <a:pt x="1569" y="58"/>
                </a:moveTo>
                <a:cubicBezTo>
                  <a:pt x="1569" y="58"/>
                  <a:pt x="1569" y="58"/>
                  <a:pt x="1569" y="59"/>
                </a:cubicBezTo>
                <a:cubicBezTo>
                  <a:pt x="1569" y="59"/>
                  <a:pt x="1569" y="58"/>
                  <a:pt x="1569" y="58"/>
                </a:cubicBezTo>
                <a:close/>
                <a:moveTo>
                  <a:pt x="1742" y="12"/>
                </a:moveTo>
                <a:cubicBezTo>
                  <a:pt x="1742" y="12"/>
                  <a:pt x="1742" y="12"/>
                  <a:pt x="1742" y="12"/>
                </a:cubicBezTo>
                <a:cubicBezTo>
                  <a:pt x="1742" y="12"/>
                  <a:pt x="1742" y="12"/>
                  <a:pt x="1742" y="12"/>
                </a:cubicBezTo>
                <a:close/>
                <a:moveTo>
                  <a:pt x="545" y="13"/>
                </a:moveTo>
                <a:cubicBezTo>
                  <a:pt x="545" y="13"/>
                  <a:pt x="545" y="13"/>
                  <a:pt x="546" y="12"/>
                </a:cubicBezTo>
                <a:cubicBezTo>
                  <a:pt x="545" y="12"/>
                  <a:pt x="545" y="13"/>
                  <a:pt x="545" y="13"/>
                </a:cubicBezTo>
                <a:close/>
                <a:moveTo>
                  <a:pt x="963" y="90"/>
                </a:moveTo>
                <a:cubicBezTo>
                  <a:pt x="963" y="90"/>
                  <a:pt x="963" y="90"/>
                  <a:pt x="962" y="90"/>
                </a:cubicBezTo>
                <a:cubicBezTo>
                  <a:pt x="963" y="90"/>
                  <a:pt x="963" y="90"/>
                  <a:pt x="963" y="90"/>
                </a:cubicBezTo>
                <a:close/>
                <a:moveTo>
                  <a:pt x="1737" y="58"/>
                </a:moveTo>
                <a:cubicBezTo>
                  <a:pt x="1737" y="58"/>
                  <a:pt x="1737" y="58"/>
                  <a:pt x="1737" y="59"/>
                </a:cubicBezTo>
                <a:cubicBezTo>
                  <a:pt x="1737" y="59"/>
                  <a:pt x="1737" y="58"/>
                  <a:pt x="1737" y="58"/>
                </a:cubicBezTo>
                <a:close/>
                <a:moveTo>
                  <a:pt x="580" y="59"/>
                </a:moveTo>
                <a:cubicBezTo>
                  <a:pt x="580" y="59"/>
                  <a:pt x="580" y="59"/>
                  <a:pt x="580" y="59"/>
                </a:cubicBezTo>
                <a:cubicBezTo>
                  <a:pt x="580" y="59"/>
                  <a:pt x="580" y="59"/>
                  <a:pt x="580" y="59"/>
                </a:cubicBezTo>
                <a:close/>
                <a:moveTo>
                  <a:pt x="1049" y="90"/>
                </a:moveTo>
                <a:cubicBezTo>
                  <a:pt x="1049" y="90"/>
                  <a:pt x="1049" y="90"/>
                  <a:pt x="1049" y="90"/>
                </a:cubicBezTo>
                <a:cubicBezTo>
                  <a:pt x="1049" y="90"/>
                  <a:pt x="1049" y="90"/>
                  <a:pt x="1049" y="90"/>
                </a:cubicBezTo>
                <a:close/>
                <a:moveTo>
                  <a:pt x="1077" y="90"/>
                </a:moveTo>
                <a:cubicBezTo>
                  <a:pt x="1077" y="90"/>
                  <a:pt x="1077" y="90"/>
                  <a:pt x="1077" y="90"/>
                </a:cubicBezTo>
                <a:cubicBezTo>
                  <a:pt x="1077" y="90"/>
                  <a:pt x="1077" y="90"/>
                  <a:pt x="1077" y="90"/>
                </a:cubicBezTo>
                <a:close/>
                <a:moveTo>
                  <a:pt x="1227" y="90"/>
                </a:moveTo>
                <a:cubicBezTo>
                  <a:pt x="1227" y="90"/>
                  <a:pt x="1227" y="90"/>
                  <a:pt x="1227" y="90"/>
                </a:cubicBezTo>
                <a:cubicBezTo>
                  <a:pt x="1227" y="90"/>
                  <a:pt x="1227" y="90"/>
                  <a:pt x="1227" y="90"/>
                </a:cubicBezTo>
                <a:close/>
                <a:moveTo>
                  <a:pt x="1255" y="90"/>
                </a:moveTo>
                <a:cubicBezTo>
                  <a:pt x="1255" y="90"/>
                  <a:pt x="1255" y="90"/>
                  <a:pt x="1255" y="90"/>
                </a:cubicBezTo>
                <a:cubicBezTo>
                  <a:pt x="1255" y="90"/>
                  <a:pt x="1255" y="90"/>
                  <a:pt x="1255" y="90"/>
                </a:cubicBezTo>
                <a:close/>
                <a:moveTo>
                  <a:pt x="1349" y="13"/>
                </a:moveTo>
                <a:cubicBezTo>
                  <a:pt x="1349" y="13"/>
                  <a:pt x="1349" y="13"/>
                  <a:pt x="1349" y="12"/>
                </a:cubicBezTo>
                <a:cubicBezTo>
                  <a:pt x="1349" y="13"/>
                  <a:pt x="1349" y="13"/>
                  <a:pt x="1349" y="13"/>
                </a:cubicBezTo>
                <a:close/>
                <a:moveTo>
                  <a:pt x="1390" y="12"/>
                </a:moveTo>
                <a:cubicBezTo>
                  <a:pt x="1390" y="13"/>
                  <a:pt x="1390" y="13"/>
                  <a:pt x="1390" y="13"/>
                </a:cubicBezTo>
                <a:cubicBezTo>
                  <a:pt x="1390" y="13"/>
                  <a:pt x="1390" y="12"/>
                  <a:pt x="1390" y="12"/>
                </a:cubicBezTo>
                <a:close/>
                <a:moveTo>
                  <a:pt x="1422" y="13"/>
                </a:moveTo>
                <a:cubicBezTo>
                  <a:pt x="1422" y="13"/>
                  <a:pt x="1423" y="13"/>
                  <a:pt x="1423" y="12"/>
                </a:cubicBezTo>
                <a:cubicBezTo>
                  <a:pt x="1423" y="13"/>
                  <a:pt x="1422" y="13"/>
                  <a:pt x="1422" y="13"/>
                </a:cubicBezTo>
                <a:close/>
                <a:moveTo>
                  <a:pt x="1459" y="12"/>
                </a:moveTo>
                <a:cubicBezTo>
                  <a:pt x="1459" y="13"/>
                  <a:pt x="1459" y="13"/>
                  <a:pt x="1460" y="13"/>
                </a:cubicBezTo>
                <a:cubicBezTo>
                  <a:pt x="1459" y="13"/>
                  <a:pt x="1459" y="13"/>
                  <a:pt x="1459" y="12"/>
                </a:cubicBezTo>
                <a:close/>
                <a:moveTo>
                  <a:pt x="1369" y="59"/>
                </a:moveTo>
                <a:cubicBezTo>
                  <a:pt x="1370" y="59"/>
                  <a:pt x="1370" y="59"/>
                  <a:pt x="1370" y="59"/>
                </a:cubicBezTo>
                <a:cubicBezTo>
                  <a:pt x="1370" y="59"/>
                  <a:pt x="1369" y="59"/>
                  <a:pt x="1369" y="59"/>
                </a:cubicBezTo>
                <a:close/>
                <a:moveTo>
                  <a:pt x="686" y="91"/>
                </a:moveTo>
                <a:cubicBezTo>
                  <a:pt x="686" y="91"/>
                  <a:pt x="686" y="91"/>
                  <a:pt x="686" y="90"/>
                </a:cubicBezTo>
                <a:cubicBezTo>
                  <a:pt x="686" y="90"/>
                  <a:pt x="686" y="91"/>
                  <a:pt x="686" y="91"/>
                </a:cubicBezTo>
                <a:close/>
                <a:moveTo>
                  <a:pt x="1554" y="59"/>
                </a:moveTo>
                <a:cubicBezTo>
                  <a:pt x="1554" y="59"/>
                  <a:pt x="1554" y="59"/>
                  <a:pt x="1554" y="59"/>
                </a:cubicBezTo>
                <a:cubicBezTo>
                  <a:pt x="1554" y="59"/>
                  <a:pt x="1554" y="59"/>
                  <a:pt x="1554" y="59"/>
                </a:cubicBezTo>
                <a:close/>
                <a:moveTo>
                  <a:pt x="1569" y="59"/>
                </a:moveTo>
                <a:cubicBezTo>
                  <a:pt x="1569" y="59"/>
                  <a:pt x="1568" y="59"/>
                  <a:pt x="1568" y="59"/>
                </a:cubicBezTo>
                <a:cubicBezTo>
                  <a:pt x="1569" y="59"/>
                  <a:pt x="1569" y="59"/>
                  <a:pt x="1569" y="59"/>
                </a:cubicBezTo>
                <a:close/>
                <a:moveTo>
                  <a:pt x="1722" y="59"/>
                </a:moveTo>
                <a:cubicBezTo>
                  <a:pt x="1722" y="59"/>
                  <a:pt x="1722" y="59"/>
                  <a:pt x="1722" y="59"/>
                </a:cubicBezTo>
                <a:cubicBezTo>
                  <a:pt x="1722" y="59"/>
                  <a:pt x="1722" y="59"/>
                  <a:pt x="1722" y="59"/>
                </a:cubicBezTo>
                <a:close/>
                <a:moveTo>
                  <a:pt x="963" y="91"/>
                </a:moveTo>
                <a:cubicBezTo>
                  <a:pt x="963" y="90"/>
                  <a:pt x="963" y="90"/>
                  <a:pt x="963" y="90"/>
                </a:cubicBezTo>
                <a:cubicBezTo>
                  <a:pt x="963" y="91"/>
                  <a:pt x="963" y="91"/>
                  <a:pt x="963" y="91"/>
                </a:cubicBezTo>
                <a:close/>
                <a:moveTo>
                  <a:pt x="1737" y="59"/>
                </a:moveTo>
                <a:cubicBezTo>
                  <a:pt x="1737" y="59"/>
                  <a:pt x="1737" y="59"/>
                  <a:pt x="1736" y="59"/>
                </a:cubicBezTo>
                <a:cubicBezTo>
                  <a:pt x="1737" y="59"/>
                  <a:pt x="1737" y="59"/>
                  <a:pt x="1737" y="59"/>
                </a:cubicBezTo>
                <a:close/>
                <a:moveTo>
                  <a:pt x="580" y="59"/>
                </a:moveTo>
                <a:cubicBezTo>
                  <a:pt x="580" y="59"/>
                  <a:pt x="580" y="59"/>
                  <a:pt x="580" y="59"/>
                </a:cubicBezTo>
                <a:cubicBezTo>
                  <a:pt x="580" y="59"/>
                  <a:pt x="580" y="59"/>
                  <a:pt x="580" y="59"/>
                </a:cubicBezTo>
                <a:close/>
                <a:moveTo>
                  <a:pt x="1035" y="91"/>
                </a:moveTo>
                <a:cubicBezTo>
                  <a:pt x="1035" y="91"/>
                  <a:pt x="1035" y="90"/>
                  <a:pt x="1035" y="90"/>
                </a:cubicBezTo>
                <a:cubicBezTo>
                  <a:pt x="1035" y="90"/>
                  <a:pt x="1035" y="91"/>
                  <a:pt x="1035" y="91"/>
                </a:cubicBezTo>
                <a:close/>
                <a:moveTo>
                  <a:pt x="1533" y="13"/>
                </a:moveTo>
                <a:cubicBezTo>
                  <a:pt x="1533" y="13"/>
                  <a:pt x="1533" y="13"/>
                  <a:pt x="1533" y="12"/>
                </a:cubicBezTo>
                <a:cubicBezTo>
                  <a:pt x="1533" y="12"/>
                  <a:pt x="1533" y="13"/>
                  <a:pt x="1533" y="13"/>
                </a:cubicBezTo>
                <a:close/>
                <a:moveTo>
                  <a:pt x="1574" y="12"/>
                </a:moveTo>
                <a:cubicBezTo>
                  <a:pt x="1574" y="13"/>
                  <a:pt x="1574" y="13"/>
                  <a:pt x="1574" y="13"/>
                </a:cubicBezTo>
                <a:cubicBezTo>
                  <a:pt x="1574" y="13"/>
                  <a:pt x="1574" y="13"/>
                  <a:pt x="1574" y="12"/>
                </a:cubicBezTo>
                <a:close/>
                <a:moveTo>
                  <a:pt x="1187" y="90"/>
                </a:moveTo>
                <a:cubicBezTo>
                  <a:pt x="1187" y="91"/>
                  <a:pt x="1187" y="91"/>
                  <a:pt x="1188" y="91"/>
                </a:cubicBezTo>
                <a:cubicBezTo>
                  <a:pt x="1188" y="91"/>
                  <a:pt x="1187" y="90"/>
                  <a:pt x="1187" y="90"/>
                </a:cubicBezTo>
                <a:close/>
                <a:moveTo>
                  <a:pt x="1701" y="13"/>
                </a:moveTo>
                <a:cubicBezTo>
                  <a:pt x="1701" y="13"/>
                  <a:pt x="1701" y="13"/>
                  <a:pt x="1702" y="12"/>
                </a:cubicBezTo>
                <a:cubicBezTo>
                  <a:pt x="1701" y="12"/>
                  <a:pt x="1701" y="13"/>
                  <a:pt x="1701" y="13"/>
                </a:cubicBezTo>
                <a:close/>
                <a:moveTo>
                  <a:pt x="673" y="59"/>
                </a:moveTo>
                <a:cubicBezTo>
                  <a:pt x="674" y="59"/>
                  <a:pt x="674" y="59"/>
                  <a:pt x="674" y="59"/>
                </a:cubicBezTo>
                <a:cubicBezTo>
                  <a:pt x="674" y="59"/>
                  <a:pt x="674" y="59"/>
                  <a:pt x="673" y="59"/>
                </a:cubicBezTo>
                <a:close/>
                <a:moveTo>
                  <a:pt x="1742" y="12"/>
                </a:moveTo>
                <a:cubicBezTo>
                  <a:pt x="1742" y="13"/>
                  <a:pt x="1742" y="13"/>
                  <a:pt x="1743" y="13"/>
                </a:cubicBezTo>
                <a:cubicBezTo>
                  <a:pt x="1742" y="13"/>
                  <a:pt x="1742" y="13"/>
                  <a:pt x="1742" y="12"/>
                </a:cubicBezTo>
                <a:close/>
                <a:moveTo>
                  <a:pt x="1384" y="59"/>
                </a:moveTo>
                <a:cubicBezTo>
                  <a:pt x="1384" y="59"/>
                  <a:pt x="1384" y="59"/>
                  <a:pt x="1384" y="59"/>
                </a:cubicBezTo>
                <a:cubicBezTo>
                  <a:pt x="1384" y="59"/>
                  <a:pt x="1384" y="59"/>
                  <a:pt x="1384" y="59"/>
                </a:cubicBezTo>
                <a:close/>
                <a:moveTo>
                  <a:pt x="1553" y="59"/>
                </a:moveTo>
                <a:cubicBezTo>
                  <a:pt x="1553" y="59"/>
                  <a:pt x="1554" y="59"/>
                  <a:pt x="1554" y="59"/>
                </a:cubicBezTo>
                <a:cubicBezTo>
                  <a:pt x="1553" y="59"/>
                  <a:pt x="1553" y="59"/>
                  <a:pt x="1553" y="59"/>
                </a:cubicBezTo>
                <a:close/>
                <a:moveTo>
                  <a:pt x="545" y="13"/>
                </a:moveTo>
                <a:cubicBezTo>
                  <a:pt x="545" y="13"/>
                  <a:pt x="545" y="13"/>
                  <a:pt x="545" y="13"/>
                </a:cubicBezTo>
                <a:cubicBezTo>
                  <a:pt x="545" y="13"/>
                  <a:pt x="545" y="13"/>
                  <a:pt x="545" y="13"/>
                </a:cubicBezTo>
                <a:close/>
                <a:moveTo>
                  <a:pt x="1390" y="13"/>
                </a:moveTo>
                <a:cubicBezTo>
                  <a:pt x="1390" y="13"/>
                  <a:pt x="1390" y="13"/>
                  <a:pt x="1391" y="13"/>
                </a:cubicBezTo>
                <a:cubicBezTo>
                  <a:pt x="1391" y="13"/>
                  <a:pt x="1390" y="13"/>
                  <a:pt x="1390" y="13"/>
                </a:cubicBezTo>
                <a:close/>
                <a:moveTo>
                  <a:pt x="1721" y="59"/>
                </a:moveTo>
                <a:cubicBezTo>
                  <a:pt x="1721" y="59"/>
                  <a:pt x="1722" y="59"/>
                  <a:pt x="1722" y="59"/>
                </a:cubicBezTo>
                <a:cubicBezTo>
                  <a:pt x="1722" y="59"/>
                  <a:pt x="1721" y="59"/>
                  <a:pt x="1721" y="59"/>
                </a:cubicBezTo>
                <a:close/>
                <a:moveTo>
                  <a:pt x="686" y="91"/>
                </a:moveTo>
                <a:cubicBezTo>
                  <a:pt x="686" y="91"/>
                  <a:pt x="686" y="91"/>
                  <a:pt x="686" y="91"/>
                </a:cubicBezTo>
                <a:cubicBezTo>
                  <a:pt x="686" y="91"/>
                  <a:pt x="686" y="91"/>
                  <a:pt x="686" y="91"/>
                </a:cubicBezTo>
                <a:close/>
                <a:moveTo>
                  <a:pt x="768" y="91"/>
                </a:moveTo>
                <a:cubicBezTo>
                  <a:pt x="768" y="91"/>
                  <a:pt x="768" y="91"/>
                  <a:pt x="769" y="91"/>
                </a:cubicBezTo>
                <a:cubicBezTo>
                  <a:pt x="768" y="91"/>
                  <a:pt x="768" y="91"/>
                  <a:pt x="768" y="91"/>
                </a:cubicBezTo>
                <a:close/>
                <a:moveTo>
                  <a:pt x="1422" y="13"/>
                </a:moveTo>
                <a:cubicBezTo>
                  <a:pt x="1422" y="13"/>
                  <a:pt x="1422" y="13"/>
                  <a:pt x="1422" y="13"/>
                </a:cubicBezTo>
                <a:cubicBezTo>
                  <a:pt x="1422" y="13"/>
                  <a:pt x="1422" y="13"/>
                  <a:pt x="1422" y="13"/>
                </a:cubicBezTo>
                <a:close/>
                <a:moveTo>
                  <a:pt x="964" y="91"/>
                </a:moveTo>
                <a:cubicBezTo>
                  <a:pt x="963" y="91"/>
                  <a:pt x="963" y="91"/>
                  <a:pt x="963" y="91"/>
                </a:cubicBezTo>
                <a:cubicBezTo>
                  <a:pt x="963" y="91"/>
                  <a:pt x="963" y="91"/>
                  <a:pt x="964" y="91"/>
                </a:cubicBezTo>
                <a:close/>
                <a:moveTo>
                  <a:pt x="1459" y="13"/>
                </a:moveTo>
                <a:cubicBezTo>
                  <a:pt x="1460" y="13"/>
                  <a:pt x="1460" y="13"/>
                  <a:pt x="1460" y="13"/>
                </a:cubicBezTo>
                <a:cubicBezTo>
                  <a:pt x="1460" y="13"/>
                  <a:pt x="1460" y="13"/>
                  <a:pt x="1459" y="13"/>
                </a:cubicBezTo>
                <a:close/>
                <a:moveTo>
                  <a:pt x="1494" y="13"/>
                </a:moveTo>
                <a:cubicBezTo>
                  <a:pt x="1495" y="13"/>
                  <a:pt x="1495" y="13"/>
                  <a:pt x="1495" y="13"/>
                </a:cubicBezTo>
                <a:cubicBezTo>
                  <a:pt x="1495" y="13"/>
                  <a:pt x="1494" y="13"/>
                  <a:pt x="1494" y="13"/>
                </a:cubicBezTo>
                <a:close/>
                <a:moveTo>
                  <a:pt x="1533" y="13"/>
                </a:moveTo>
                <a:cubicBezTo>
                  <a:pt x="1533" y="13"/>
                  <a:pt x="1533" y="13"/>
                  <a:pt x="1533" y="13"/>
                </a:cubicBezTo>
                <a:cubicBezTo>
                  <a:pt x="1533" y="13"/>
                  <a:pt x="1533" y="13"/>
                  <a:pt x="1533" y="13"/>
                </a:cubicBezTo>
                <a:close/>
                <a:moveTo>
                  <a:pt x="1574" y="13"/>
                </a:moveTo>
                <a:cubicBezTo>
                  <a:pt x="1574" y="13"/>
                  <a:pt x="1575" y="13"/>
                  <a:pt x="1575" y="13"/>
                </a:cubicBezTo>
                <a:cubicBezTo>
                  <a:pt x="1575" y="13"/>
                  <a:pt x="1575" y="13"/>
                  <a:pt x="1574" y="13"/>
                </a:cubicBezTo>
                <a:close/>
                <a:moveTo>
                  <a:pt x="1701" y="13"/>
                </a:moveTo>
                <a:cubicBezTo>
                  <a:pt x="1701" y="13"/>
                  <a:pt x="1701" y="13"/>
                  <a:pt x="1701" y="13"/>
                </a:cubicBezTo>
                <a:cubicBezTo>
                  <a:pt x="1701" y="13"/>
                  <a:pt x="1701" y="13"/>
                  <a:pt x="1701" y="13"/>
                </a:cubicBezTo>
                <a:close/>
                <a:moveTo>
                  <a:pt x="1368" y="60"/>
                </a:moveTo>
                <a:cubicBezTo>
                  <a:pt x="1369" y="60"/>
                  <a:pt x="1369" y="60"/>
                  <a:pt x="1369" y="59"/>
                </a:cubicBezTo>
                <a:cubicBezTo>
                  <a:pt x="1369" y="59"/>
                  <a:pt x="1368" y="60"/>
                  <a:pt x="1368" y="60"/>
                </a:cubicBezTo>
                <a:close/>
                <a:moveTo>
                  <a:pt x="1384" y="59"/>
                </a:moveTo>
                <a:cubicBezTo>
                  <a:pt x="1383" y="59"/>
                  <a:pt x="1383" y="60"/>
                  <a:pt x="1383" y="60"/>
                </a:cubicBezTo>
                <a:cubicBezTo>
                  <a:pt x="1383" y="60"/>
                  <a:pt x="1384" y="60"/>
                  <a:pt x="1384" y="59"/>
                </a:cubicBezTo>
                <a:close/>
                <a:moveTo>
                  <a:pt x="1743" y="13"/>
                </a:moveTo>
                <a:cubicBezTo>
                  <a:pt x="1743" y="13"/>
                  <a:pt x="1743" y="13"/>
                  <a:pt x="1743" y="13"/>
                </a:cubicBezTo>
                <a:cubicBezTo>
                  <a:pt x="1743" y="13"/>
                  <a:pt x="1743" y="13"/>
                  <a:pt x="1743" y="13"/>
                </a:cubicBezTo>
                <a:close/>
                <a:moveTo>
                  <a:pt x="544" y="13"/>
                </a:moveTo>
                <a:cubicBezTo>
                  <a:pt x="545" y="13"/>
                  <a:pt x="545" y="13"/>
                  <a:pt x="545" y="13"/>
                </a:cubicBezTo>
                <a:cubicBezTo>
                  <a:pt x="545" y="13"/>
                  <a:pt x="545" y="13"/>
                  <a:pt x="544" y="13"/>
                </a:cubicBezTo>
                <a:close/>
                <a:moveTo>
                  <a:pt x="972" y="13"/>
                </a:moveTo>
                <a:cubicBezTo>
                  <a:pt x="972" y="13"/>
                  <a:pt x="972" y="13"/>
                  <a:pt x="972" y="13"/>
                </a:cubicBezTo>
                <a:cubicBezTo>
                  <a:pt x="972" y="13"/>
                  <a:pt x="972" y="13"/>
                  <a:pt x="972" y="13"/>
                </a:cubicBezTo>
                <a:close/>
                <a:moveTo>
                  <a:pt x="1391" y="13"/>
                </a:moveTo>
                <a:cubicBezTo>
                  <a:pt x="1391" y="13"/>
                  <a:pt x="1391" y="13"/>
                  <a:pt x="1391" y="14"/>
                </a:cubicBezTo>
                <a:cubicBezTo>
                  <a:pt x="1391" y="13"/>
                  <a:pt x="1391" y="13"/>
                  <a:pt x="1391" y="13"/>
                </a:cubicBezTo>
                <a:close/>
                <a:moveTo>
                  <a:pt x="1422" y="13"/>
                </a:moveTo>
                <a:cubicBezTo>
                  <a:pt x="1422" y="13"/>
                  <a:pt x="1422" y="13"/>
                  <a:pt x="1422" y="13"/>
                </a:cubicBezTo>
                <a:cubicBezTo>
                  <a:pt x="1422" y="13"/>
                  <a:pt x="1422" y="13"/>
                  <a:pt x="1422" y="13"/>
                </a:cubicBezTo>
                <a:close/>
                <a:moveTo>
                  <a:pt x="685" y="91"/>
                </a:moveTo>
                <a:cubicBezTo>
                  <a:pt x="686" y="91"/>
                  <a:pt x="686" y="91"/>
                  <a:pt x="686" y="91"/>
                </a:cubicBezTo>
                <a:cubicBezTo>
                  <a:pt x="686" y="91"/>
                  <a:pt x="685" y="91"/>
                  <a:pt x="685" y="91"/>
                </a:cubicBezTo>
                <a:close/>
                <a:moveTo>
                  <a:pt x="675" y="60"/>
                </a:moveTo>
                <a:cubicBezTo>
                  <a:pt x="675" y="60"/>
                  <a:pt x="675" y="60"/>
                  <a:pt x="675" y="60"/>
                </a:cubicBezTo>
                <a:cubicBezTo>
                  <a:pt x="675" y="60"/>
                  <a:pt x="675" y="60"/>
                  <a:pt x="675" y="60"/>
                </a:cubicBezTo>
                <a:close/>
                <a:moveTo>
                  <a:pt x="728" y="91"/>
                </a:moveTo>
                <a:cubicBezTo>
                  <a:pt x="728" y="91"/>
                  <a:pt x="728" y="91"/>
                  <a:pt x="728" y="91"/>
                </a:cubicBezTo>
                <a:cubicBezTo>
                  <a:pt x="728" y="91"/>
                  <a:pt x="728" y="91"/>
                  <a:pt x="728" y="91"/>
                </a:cubicBezTo>
                <a:close/>
                <a:moveTo>
                  <a:pt x="1368" y="60"/>
                </a:moveTo>
                <a:cubicBezTo>
                  <a:pt x="1368" y="60"/>
                  <a:pt x="1368" y="60"/>
                  <a:pt x="1368" y="60"/>
                </a:cubicBezTo>
                <a:cubicBezTo>
                  <a:pt x="1368" y="60"/>
                  <a:pt x="1368" y="60"/>
                  <a:pt x="1368" y="60"/>
                </a:cubicBezTo>
                <a:close/>
                <a:moveTo>
                  <a:pt x="1383" y="60"/>
                </a:moveTo>
                <a:cubicBezTo>
                  <a:pt x="1383" y="60"/>
                  <a:pt x="1383" y="60"/>
                  <a:pt x="1383" y="60"/>
                </a:cubicBezTo>
                <a:cubicBezTo>
                  <a:pt x="1383" y="60"/>
                  <a:pt x="1383" y="60"/>
                  <a:pt x="1383" y="60"/>
                </a:cubicBezTo>
                <a:close/>
                <a:moveTo>
                  <a:pt x="1552" y="60"/>
                </a:moveTo>
                <a:cubicBezTo>
                  <a:pt x="1552" y="60"/>
                  <a:pt x="1552" y="60"/>
                  <a:pt x="1553" y="60"/>
                </a:cubicBezTo>
                <a:cubicBezTo>
                  <a:pt x="1552" y="60"/>
                  <a:pt x="1552" y="60"/>
                  <a:pt x="1552" y="60"/>
                </a:cubicBezTo>
                <a:close/>
                <a:moveTo>
                  <a:pt x="964" y="91"/>
                </a:moveTo>
                <a:cubicBezTo>
                  <a:pt x="964" y="91"/>
                  <a:pt x="964" y="91"/>
                  <a:pt x="964" y="91"/>
                </a:cubicBezTo>
                <a:cubicBezTo>
                  <a:pt x="964" y="91"/>
                  <a:pt x="964" y="91"/>
                  <a:pt x="964" y="91"/>
                </a:cubicBezTo>
                <a:close/>
                <a:moveTo>
                  <a:pt x="1666" y="60"/>
                </a:moveTo>
                <a:cubicBezTo>
                  <a:pt x="1666" y="60"/>
                  <a:pt x="1666" y="60"/>
                  <a:pt x="1666" y="60"/>
                </a:cubicBezTo>
                <a:cubicBezTo>
                  <a:pt x="1666" y="60"/>
                  <a:pt x="1666" y="60"/>
                  <a:pt x="1666" y="60"/>
                </a:cubicBezTo>
                <a:close/>
                <a:moveTo>
                  <a:pt x="1720" y="60"/>
                </a:moveTo>
                <a:cubicBezTo>
                  <a:pt x="1720" y="60"/>
                  <a:pt x="1721" y="60"/>
                  <a:pt x="1721" y="60"/>
                </a:cubicBezTo>
                <a:cubicBezTo>
                  <a:pt x="1720" y="60"/>
                  <a:pt x="1720" y="60"/>
                  <a:pt x="1720" y="60"/>
                </a:cubicBezTo>
                <a:close/>
                <a:moveTo>
                  <a:pt x="1051" y="91"/>
                </a:moveTo>
                <a:cubicBezTo>
                  <a:pt x="1051" y="91"/>
                  <a:pt x="1051" y="91"/>
                  <a:pt x="1051" y="91"/>
                </a:cubicBezTo>
                <a:cubicBezTo>
                  <a:pt x="1051" y="91"/>
                  <a:pt x="1051" y="91"/>
                  <a:pt x="1051" y="91"/>
                </a:cubicBezTo>
                <a:close/>
                <a:moveTo>
                  <a:pt x="1736" y="60"/>
                </a:moveTo>
                <a:cubicBezTo>
                  <a:pt x="1735" y="60"/>
                  <a:pt x="1735" y="60"/>
                  <a:pt x="1735" y="60"/>
                </a:cubicBezTo>
                <a:cubicBezTo>
                  <a:pt x="1735" y="60"/>
                  <a:pt x="1735" y="60"/>
                  <a:pt x="1736" y="60"/>
                </a:cubicBezTo>
                <a:close/>
                <a:moveTo>
                  <a:pt x="581" y="60"/>
                </a:moveTo>
                <a:cubicBezTo>
                  <a:pt x="581" y="60"/>
                  <a:pt x="581" y="61"/>
                  <a:pt x="582" y="61"/>
                </a:cubicBezTo>
                <a:cubicBezTo>
                  <a:pt x="582" y="60"/>
                  <a:pt x="581" y="60"/>
                  <a:pt x="581" y="60"/>
                </a:cubicBezTo>
                <a:close/>
                <a:moveTo>
                  <a:pt x="1229" y="91"/>
                </a:moveTo>
                <a:cubicBezTo>
                  <a:pt x="1229" y="91"/>
                  <a:pt x="1229" y="91"/>
                  <a:pt x="1229" y="91"/>
                </a:cubicBezTo>
                <a:cubicBezTo>
                  <a:pt x="1229" y="91"/>
                  <a:pt x="1229" y="91"/>
                  <a:pt x="1229" y="91"/>
                </a:cubicBezTo>
                <a:close/>
                <a:moveTo>
                  <a:pt x="1460" y="13"/>
                </a:moveTo>
                <a:cubicBezTo>
                  <a:pt x="1460" y="13"/>
                  <a:pt x="1460" y="13"/>
                  <a:pt x="1460" y="13"/>
                </a:cubicBezTo>
                <a:cubicBezTo>
                  <a:pt x="1460" y="13"/>
                  <a:pt x="1460" y="13"/>
                  <a:pt x="1460" y="13"/>
                </a:cubicBezTo>
                <a:close/>
                <a:moveTo>
                  <a:pt x="1417" y="91"/>
                </a:moveTo>
                <a:cubicBezTo>
                  <a:pt x="1417" y="91"/>
                  <a:pt x="1417" y="91"/>
                  <a:pt x="1417" y="91"/>
                </a:cubicBezTo>
                <a:cubicBezTo>
                  <a:pt x="1417" y="91"/>
                  <a:pt x="1417" y="91"/>
                  <a:pt x="1417" y="91"/>
                </a:cubicBezTo>
                <a:close/>
                <a:moveTo>
                  <a:pt x="1532" y="13"/>
                </a:moveTo>
                <a:cubicBezTo>
                  <a:pt x="1532" y="13"/>
                  <a:pt x="1533" y="13"/>
                  <a:pt x="1533" y="13"/>
                </a:cubicBezTo>
                <a:cubicBezTo>
                  <a:pt x="1533" y="13"/>
                  <a:pt x="1532" y="13"/>
                  <a:pt x="1532" y="13"/>
                </a:cubicBezTo>
                <a:close/>
                <a:moveTo>
                  <a:pt x="1575" y="13"/>
                </a:moveTo>
                <a:cubicBezTo>
                  <a:pt x="1575" y="13"/>
                  <a:pt x="1575" y="13"/>
                  <a:pt x="1575" y="13"/>
                </a:cubicBezTo>
                <a:cubicBezTo>
                  <a:pt x="1575" y="13"/>
                  <a:pt x="1575" y="13"/>
                  <a:pt x="1575" y="13"/>
                </a:cubicBezTo>
                <a:close/>
                <a:moveTo>
                  <a:pt x="1676" y="13"/>
                </a:moveTo>
                <a:cubicBezTo>
                  <a:pt x="1676" y="13"/>
                  <a:pt x="1676" y="13"/>
                  <a:pt x="1676" y="13"/>
                </a:cubicBezTo>
                <a:cubicBezTo>
                  <a:pt x="1676" y="13"/>
                  <a:pt x="1676" y="13"/>
                  <a:pt x="1676" y="13"/>
                </a:cubicBezTo>
                <a:close/>
                <a:moveTo>
                  <a:pt x="1573" y="54"/>
                </a:moveTo>
                <a:cubicBezTo>
                  <a:pt x="1573" y="54"/>
                  <a:pt x="1573" y="54"/>
                  <a:pt x="1573" y="54"/>
                </a:cubicBezTo>
                <a:cubicBezTo>
                  <a:pt x="1573" y="54"/>
                  <a:pt x="1573" y="54"/>
                  <a:pt x="1573" y="54"/>
                </a:cubicBezTo>
                <a:close/>
                <a:moveTo>
                  <a:pt x="1559" y="55"/>
                </a:moveTo>
                <a:cubicBezTo>
                  <a:pt x="1559" y="55"/>
                  <a:pt x="1559" y="54"/>
                  <a:pt x="1560" y="54"/>
                </a:cubicBezTo>
                <a:cubicBezTo>
                  <a:pt x="1559" y="54"/>
                  <a:pt x="1559" y="54"/>
                  <a:pt x="1559" y="55"/>
                </a:cubicBezTo>
                <a:close/>
                <a:moveTo>
                  <a:pt x="1700" y="13"/>
                </a:moveTo>
                <a:cubicBezTo>
                  <a:pt x="1701" y="13"/>
                  <a:pt x="1701" y="13"/>
                  <a:pt x="1701" y="13"/>
                </a:cubicBezTo>
                <a:cubicBezTo>
                  <a:pt x="1701" y="13"/>
                  <a:pt x="1701" y="13"/>
                  <a:pt x="1700" y="13"/>
                </a:cubicBezTo>
                <a:close/>
                <a:moveTo>
                  <a:pt x="728" y="91"/>
                </a:moveTo>
                <a:cubicBezTo>
                  <a:pt x="728" y="92"/>
                  <a:pt x="728" y="92"/>
                  <a:pt x="729" y="92"/>
                </a:cubicBezTo>
                <a:cubicBezTo>
                  <a:pt x="728" y="92"/>
                  <a:pt x="728" y="92"/>
                  <a:pt x="728" y="91"/>
                </a:cubicBezTo>
                <a:close/>
                <a:moveTo>
                  <a:pt x="1743" y="13"/>
                </a:moveTo>
                <a:cubicBezTo>
                  <a:pt x="1743" y="13"/>
                  <a:pt x="1743" y="13"/>
                  <a:pt x="1743" y="13"/>
                </a:cubicBezTo>
                <a:cubicBezTo>
                  <a:pt x="1743" y="13"/>
                  <a:pt x="1743" y="13"/>
                  <a:pt x="1743" y="13"/>
                </a:cubicBezTo>
                <a:close/>
                <a:moveTo>
                  <a:pt x="1383" y="60"/>
                </a:moveTo>
                <a:cubicBezTo>
                  <a:pt x="1383" y="60"/>
                  <a:pt x="1383" y="60"/>
                  <a:pt x="1383" y="60"/>
                </a:cubicBezTo>
                <a:cubicBezTo>
                  <a:pt x="1383" y="60"/>
                  <a:pt x="1383" y="60"/>
                  <a:pt x="1383" y="60"/>
                </a:cubicBezTo>
                <a:close/>
                <a:moveTo>
                  <a:pt x="1552" y="60"/>
                </a:moveTo>
                <a:cubicBezTo>
                  <a:pt x="1552" y="60"/>
                  <a:pt x="1552" y="60"/>
                  <a:pt x="1552" y="60"/>
                </a:cubicBezTo>
                <a:cubicBezTo>
                  <a:pt x="1552" y="60"/>
                  <a:pt x="1552" y="60"/>
                  <a:pt x="1552" y="60"/>
                </a:cubicBezTo>
                <a:close/>
                <a:moveTo>
                  <a:pt x="964" y="92"/>
                </a:moveTo>
                <a:cubicBezTo>
                  <a:pt x="964" y="92"/>
                  <a:pt x="964" y="91"/>
                  <a:pt x="964" y="91"/>
                </a:cubicBezTo>
                <a:cubicBezTo>
                  <a:pt x="964" y="92"/>
                  <a:pt x="964" y="92"/>
                  <a:pt x="964" y="92"/>
                </a:cubicBezTo>
                <a:close/>
                <a:moveTo>
                  <a:pt x="1567" y="60"/>
                </a:moveTo>
                <a:cubicBezTo>
                  <a:pt x="1567" y="60"/>
                  <a:pt x="1567" y="60"/>
                  <a:pt x="1567" y="60"/>
                </a:cubicBezTo>
                <a:cubicBezTo>
                  <a:pt x="1567" y="60"/>
                  <a:pt x="1567" y="60"/>
                  <a:pt x="1567" y="60"/>
                </a:cubicBezTo>
                <a:close/>
                <a:moveTo>
                  <a:pt x="544" y="14"/>
                </a:moveTo>
                <a:cubicBezTo>
                  <a:pt x="544" y="14"/>
                  <a:pt x="544" y="14"/>
                  <a:pt x="544" y="13"/>
                </a:cubicBezTo>
                <a:cubicBezTo>
                  <a:pt x="544" y="14"/>
                  <a:pt x="544" y="14"/>
                  <a:pt x="544" y="14"/>
                </a:cubicBezTo>
                <a:close/>
                <a:moveTo>
                  <a:pt x="1036" y="92"/>
                </a:moveTo>
                <a:cubicBezTo>
                  <a:pt x="1036" y="92"/>
                  <a:pt x="1035" y="91"/>
                  <a:pt x="1035" y="91"/>
                </a:cubicBezTo>
                <a:cubicBezTo>
                  <a:pt x="1035" y="92"/>
                  <a:pt x="1035" y="92"/>
                  <a:pt x="1036" y="92"/>
                </a:cubicBezTo>
                <a:close/>
                <a:moveTo>
                  <a:pt x="1347" y="14"/>
                </a:moveTo>
                <a:cubicBezTo>
                  <a:pt x="1348" y="14"/>
                  <a:pt x="1348" y="14"/>
                  <a:pt x="1348" y="14"/>
                </a:cubicBezTo>
                <a:cubicBezTo>
                  <a:pt x="1348" y="14"/>
                  <a:pt x="1348" y="14"/>
                  <a:pt x="1347" y="14"/>
                </a:cubicBezTo>
                <a:close/>
                <a:moveTo>
                  <a:pt x="1735" y="60"/>
                </a:moveTo>
                <a:cubicBezTo>
                  <a:pt x="1735" y="60"/>
                  <a:pt x="1735" y="60"/>
                  <a:pt x="1735" y="60"/>
                </a:cubicBezTo>
                <a:cubicBezTo>
                  <a:pt x="1735" y="60"/>
                  <a:pt x="1735" y="60"/>
                  <a:pt x="1735" y="60"/>
                </a:cubicBezTo>
                <a:close/>
                <a:moveTo>
                  <a:pt x="582" y="61"/>
                </a:moveTo>
                <a:cubicBezTo>
                  <a:pt x="582" y="61"/>
                  <a:pt x="582" y="61"/>
                  <a:pt x="582" y="61"/>
                </a:cubicBezTo>
                <a:cubicBezTo>
                  <a:pt x="582" y="61"/>
                  <a:pt x="582" y="61"/>
                  <a:pt x="582" y="61"/>
                </a:cubicBezTo>
                <a:close/>
                <a:moveTo>
                  <a:pt x="1213" y="92"/>
                </a:moveTo>
                <a:cubicBezTo>
                  <a:pt x="1213" y="92"/>
                  <a:pt x="1213" y="91"/>
                  <a:pt x="1213" y="91"/>
                </a:cubicBezTo>
                <a:cubicBezTo>
                  <a:pt x="1213" y="92"/>
                  <a:pt x="1213" y="92"/>
                  <a:pt x="1213" y="92"/>
                </a:cubicBezTo>
                <a:close/>
                <a:moveTo>
                  <a:pt x="1391" y="13"/>
                </a:moveTo>
                <a:cubicBezTo>
                  <a:pt x="1391" y="14"/>
                  <a:pt x="1391" y="14"/>
                  <a:pt x="1391" y="14"/>
                </a:cubicBezTo>
                <a:cubicBezTo>
                  <a:pt x="1391" y="14"/>
                  <a:pt x="1391" y="14"/>
                  <a:pt x="1391" y="13"/>
                </a:cubicBezTo>
                <a:close/>
                <a:moveTo>
                  <a:pt x="1421" y="14"/>
                </a:moveTo>
                <a:cubicBezTo>
                  <a:pt x="1421" y="14"/>
                  <a:pt x="1422" y="14"/>
                  <a:pt x="1422" y="13"/>
                </a:cubicBezTo>
                <a:cubicBezTo>
                  <a:pt x="1421" y="14"/>
                  <a:pt x="1421" y="14"/>
                  <a:pt x="1421" y="14"/>
                </a:cubicBezTo>
                <a:close/>
                <a:moveTo>
                  <a:pt x="1375" y="55"/>
                </a:moveTo>
                <a:cubicBezTo>
                  <a:pt x="1375" y="55"/>
                  <a:pt x="1375" y="54"/>
                  <a:pt x="1375" y="54"/>
                </a:cubicBezTo>
                <a:cubicBezTo>
                  <a:pt x="1375" y="54"/>
                  <a:pt x="1375" y="54"/>
                  <a:pt x="1375" y="55"/>
                </a:cubicBezTo>
                <a:close/>
                <a:moveTo>
                  <a:pt x="1462" y="91"/>
                </a:moveTo>
                <a:cubicBezTo>
                  <a:pt x="1462" y="91"/>
                  <a:pt x="1462" y="92"/>
                  <a:pt x="1462" y="92"/>
                </a:cubicBezTo>
                <a:cubicBezTo>
                  <a:pt x="1462" y="92"/>
                  <a:pt x="1462" y="92"/>
                  <a:pt x="1462" y="91"/>
                </a:cubicBezTo>
                <a:close/>
                <a:moveTo>
                  <a:pt x="573" y="54"/>
                </a:moveTo>
                <a:cubicBezTo>
                  <a:pt x="573" y="54"/>
                  <a:pt x="573" y="54"/>
                  <a:pt x="573" y="54"/>
                </a:cubicBezTo>
                <a:cubicBezTo>
                  <a:pt x="573" y="54"/>
                  <a:pt x="573" y="54"/>
                  <a:pt x="573" y="54"/>
                </a:cubicBezTo>
                <a:close/>
                <a:moveTo>
                  <a:pt x="1367" y="61"/>
                </a:moveTo>
                <a:cubicBezTo>
                  <a:pt x="1367" y="61"/>
                  <a:pt x="1367" y="61"/>
                  <a:pt x="1367" y="60"/>
                </a:cubicBezTo>
                <a:cubicBezTo>
                  <a:pt x="1367" y="61"/>
                  <a:pt x="1367" y="61"/>
                  <a:pt x="1367" y="61"/>
                </a:cubicBezTo>
                <a:close/>
                <a:moveTo>
                  <a:pt x="1460" y="13"/>
                </a:moveTo>
                <a:cubicBezTo>
                  <a:pt x="1460" y="14"/>
                  <a:pt x="1460" y="14"/>
                  <a:pt x="1461" y="14"/>
                </a:cubicBezTo>
                <a:cubicBezTo>
                  <a:pt x="1460" y="14"/>
                  <a:pt x="1460" y="14"/>
                  <a:pt x="1460" y="13"/>
                </a:cubicBezTo>
                <a:close/>
                <a:moveTo>
                  <a:pt x="1390" y="53"/>
                </a:moveTo>
                <a:cubicBezTo>
                  <a:pt x="1389" y="54"/>
                  <a:pt x="1389" y="54"/>
                  <a:pt x="1389" y="54"/>
                </a:cubicBezTo>
                <a:cubicBezTo>
                  <a:pt x="1389" y="54"/>
                  <a:pt x="1389" y="54"/>
                  <a:pt x="1390" y="53"/>
                </a:cubicBezTo>
                <a:close/>
                <a:moveTo>
                  <a:pt x="585" y="92"/>
                </a:moveTo>
                <a:cubicBezTo>
                  <a:pt x="585" y="92"/>
                  <a:pt x="585" y="92"/>
                  <a:pt x="585" y="92"/>
                </a:cubicBezTo>
                <a:cubicBezTo>
                  <a:pt x="585" y="92"/>
                  <a:pt x="585" y="92"/>
                  <a:pt x="585" y="92"/>
                </a:cubicBezTo>
                <a:close/>
                <a:moveTo>
                  <a:pt x="1575" y="13"/>
                </a:moveTo>
                <a:cubicBezTo>
                  <a:pt x="1575" y="14"/>
                  <a:pt x="1575" y="14"/>
                  <a:pt x="1575" y="14"/>
                </a:cubicBezTo>
                <a:cubicBezTo>
                  <a:pt x="1575" y="14"/>
                  <a:pt x="1575" y="14"/>
                  <a:pt x="1575" y="13"/>
                </a:cubicBezTo>
                <a:close/>
                <a:moveTo>
                  <a:pt x="1567" y="60"/>
                </a:moveTo>
                <a:cubicBezTo>
                  <a:pt x="1567" y="60"/>
                  <a:pt x="1566" y="61"/>
                  <a:pt x="1566" y="61"/>
                </a:cubicBezTo>
                <a:cubicBezTo>
                  <a:pt x="1567" y="61"/>
                  <a:pt x="1567" y="61"/>
                  <a:pt x="1567" y="60"/>
                </a:cubicBezTo>
                <a:close/>
                <a:moveTo>
                  <a:pt x="684" y="92"/>
                </a:moveTo>
                <a:cubicBezTo>
                  <a:pt x="685" y="92"/>
                  <a:pt x="685" y="92"/>
                  <a:pt x="685" y="92"/>
                </a:cubicBezTo>
                <a:cubicBezTo>
                  <a:pt x="685" y="92"/>
                  <a:pt x="684" y="92"/>
                  <a:pt x="684" y="92"/>
                </a:cubicBezTo>
                <a:close/>
                <a:moveTo>
                  <a:pt x="1735" y="60"/>
                </a:moveTo>
                <a:cubicBezTo>
                  <a:pt x="1735" y="60"/>
                  <a:pt x="1734" y="61"/>
                  <a:pt x="1734" y="61"/>
                </a:cubicBezTo>
                <a:cubicBezTo>
                  <a:pt x="1735" y="61"/>
                  <a:pt x="1735" y="61"/>
                  <a:pt x="1735" y="60"/>
                </a:cubicBezTo>
                <a:close/>
                <a:moveTo>
                  <a:pt x="582" y="61"/>
                </a:moveTo>
                <a:cubicBezTo>
                  <a:pt x="582" y="61"/>
                  <a:pt x="582" y="61"/>
                  <a:pt x="582" y="61"/>
                </a:cubicBezTo>
                <a:cubicBezTo>
                  <a:pt x="582" y="61"/>
                  <a:pt x="582" y="61"/>
                  <a:pt x="582" y="61"/>
                </a:cubicBezTo>
                <a:close/>
                <a:moveTo>
                  <a:pt x="1676" y="13"/>
                </a:moveTo>
                <a:cubicBezTo>
                  <a:pt x="1676" y="14"/>
                  <a:pt x="1676" y="14"/>
                  <a:pt x="1676" y="14"/>
                </a:cubicBezTo>
                <a:cubicBezTo>
                  <a:pt x="1676" y="14"/>
                  <a:pt x="1676" y="14"/>
                  <a:pt x="1676" y="13"/>
                </a:cubicBezTo>
                <a:close/>
                <a:moveTo>
                  <a:pt x="1376" y="54"/>
                </a:moveTo>
                <a:cubicBezTo>
                  <a:pt x="1376" y="54"/>
                  <a:pt x="1376" y="54"/>
                  <a:pt x="1376" y="54"/>
                </a:cubicBezTo>
                <a:cubicBezTo>
                  <a:pt x="1376" y="54"/>
                  <a:pt x="1376" y="54"/>
                  <a:pt x="1376" y="54"/>
                </a:cubicBezTo>
                <a:close/>
                <a:moveTo>
                  <a:pt x="1743" y="13"/>
                </a:moveTo>
                <a:cubicBezTo>
                  <a:pt x="1743" y="14"/>
                  <a:pt x="1743" y="14"/>
                  <a:pt x="1744" y="14"/>
                </a:cubicBezTo>
                <a:cubicBezTo>
                  <a:pt x="1743" y="14"/>
                  <a:pt x="1743" y="14"/>
                  <a:pt x="1743" y="13"/>
                </a:cubicBezTo>
                <a:close/>
                <a:moveTo>
                  <a:pt x="660" y="61"/>
                </a:moveTo>
                <a:cubicBezTo>
                  <a:pt x="660" y="61"/>
                  <a:pt x="660" y="61"/>
                  <a:pt x="660" y="61"/>
                </a:cubicBezTo>
                <a:cubicBezTo>
                  <a:pt x="660" y="61"/>
                  <a:pt x="660" y="61"/>
                  <a:pt x="660" y="61"/>
                </a:cubicBezTo>
                <a:close/>
                <a:moveTo>
                  <a:pt x="965" y="92"/>
                </a:moveTo>
                <a:cubicBezTo>
                  <a:pt x="965" y="92"/>
                  <a:pt x="964" y="92"/>
                  <a:pt x="964" y="92"/>
                </a:cubicBezTo>
                <a:cubicBezTo>
                  <a:pt x="964" y="92"/>
                  <a:pt x="964" y="92"/>
                  <a:pt x="965" y="92"/>
                </a:cubicBezTo>
                <a:close/>
                <a:moveTo>
                  <a:pt x="544" y="14"/>
                </a:moveTo>
                <a:cubicBezTo>
                  <a:pt x="544" y="14"/>
                  <a:pt x="544" y="14"/>
                  <a:pt x="544" y="14"/>
                </a:cubicBezTo>
                <a:cubicBezTo>
                  <a:pt x="544" y="14"/>
                  <a:pt x="544" y="14"/>
                  <a:pt x="544" y="14"/>
                </a:cubicBezTo>
                <a:close/>
                <a:moveTo>
                  <a:pt x="971" y="14"/>
                </a:moveTo>
                <a:cubicBezTo>
                  <a:pt x="971" y="14"/>
                  <a:pt x="971" y="14"/>
                  <a:pt x="971" y="14"/>
                </a:cubicBezTo>
                <a:cubicBezTo>
                  <a:pt x="971" y="14"/>
                  <a:pt x="971" y="14"/>
                  <a:pt x="971" y="14"/>
                </a:cubicBezTo>
                <a:close/>
                <a:moveTo>
                  <a:pt x="1347" y="14"/>
                </a:moveTo>
                <a:cubicBezTo>
                  <a:pt x="1347" y="14"/>
                  <a:pt x="1347" y="14"/>
                  <a:pt x="1348" y="14"/>
                </a:cubicBezTo>
                <a:cubicBezTo>
                  <a:pt x="1347" y="14"/>
                  <a:pt x="1347" y="14"/>
                  <a:pt x="1347" y="14"/>
                </a:cubicBezTo>
                <a:close/>
                <a:moveTo>
                  <a:pt x="1551" y="61"/>
                </a:moveTo>
                <a:cubicBezTo>
                  <a:pt x="1551" y="61"/>
                  <a:pt x="1551" y="61"/>
                  <a:pt x="1551" y="61"/>
                </a:cubicBezTo>
                <a:cubicBezTo>
                  <a:pt x="1551" y="61"/>
                  <a:pt x="1551" y="61"/>
                  <a:pt x="1551" y="61"/>
                </a:cubicBezTo>
                <a:close/>
                <a:moveTo>
                  <a:pt x="1566" y="61"/>
                </a:moveTo>
                <a:cubicBezTo>
                  <a:pt x="1566" y="61"/>
                  <a:pt x="1566" y="61"/>
                  <a:pt x="1566" y="61"/>
                </a:cubicBezTo>
                <a:cubicBezTo>
                  <a:pt x="1566" y="61"/>
                  <a:pt x="1566" y="61"/>
                  <a:pt x="1566" y="61"/>
                </a:cubicBezTo>
                <a:close/>
                <a:moveTo>
                  <a:pt x="1189" y="92"/>
                </a:moveTo>
                <a:cubicBezTo>
                  <a:pt x="1189" y="92"/>
                  <a:pt x="1189" y="92"/>
                  <a:pt x="1189" y="92"/>
                </a:cubicBezTo>
                <a:cubicBezTo>
                  <a:pt x="1189" y="92"/>
                  <a:pt x="1189" y="92"/>
                  <a:pt x="1189" y="92"/>
                </a:cubicBezTo>
                <a:close/>
                <a:moveTo>
                  <a:pt x="1201" y="92"/>
                </a:moveTo>
                <a:cubicBezTo>
                  <a:pt x="1201" y="92"/>
                  <a:pt x="1202" y="92"/>
                  <a:pt x="1202" y="92"/>
                </a:cubicBezTo>
                <a:cubicBezTo>
                  <a:pt x="1202" y="92"/>
                  <a:pt x="1201" y="92"/>
                  <a:pt x="1201" y="92"/>
                </a:cubicBezTo>
                <a:close/>
                <a:moveTo>
                  <a:pt x="1667" y="61"/>
                </a:moveTo>
                <a:cubicBezTo>
                  <a:pt x="1667" y="61"/>
                  <a:pt x="1667" y="61"/>
                  <a:pt x="1667" y="61"/>
                </a:cubicBezTo>
                <a:cubicBezTo>
                  <a:pt x="1667" y="61"/>
                  <a:pt x="1667" y="61"/>
                  <a:pt x="1667" y="61"/>
                </a:cubicBezTo>
                <a:close/>
                <a:moveTo>
                  <a:pt x="1719" y="61"/>
                </a:moveTo>
                <a:cubicBezTo>
                  <a:pt x="1719" y="61"/>
                  <a:pt x="1719" y="61"/>
                  <a:pt x="1719" y="61"/>
                </a:cubicBezTo>
                <a:cubicBezTo>
                  <a:pt x="1719" y="61"/>
                  <a:pt x="1719" y="61"/>
                  <a:pt x="1719" y="61"/>
                </a:cubicBezTo>
                <a:close/>
                <a:moveTo>
                  <a:pt x="1734" y="61"/>
                </a:moveTo>
                <a:cubicBezTo>
                  <a:pt x="1734" y="61"/>
                  <a:pt x="1734" y="61"/>
                  <a:pt x="1734" y="61"/>
                </a:cubicBezTo>
                <a:cubicBezTo>
                  <a:pt x="1734" y="61"/>
                  <a:pt x="1734" y="61"/>
                  <a:pt x="1734" y="61"/>
                </a:cubicBezTo>
                <a:close/>
                <a:moveTo>
                  <a:pt x="582" y="61"/>
                </a:moveTo>
                <a:cubicBezTo>
                  <a:pt x="582" y="61"/>
                  <a:pt x="582" y="62"/>
                  <a:pt x="583" y="62"/>
                </a:cubicBezTo>
                <a:cubicBezTo>
                  <a:pt x="583" y="61"/>
                  <a:pt x="582" y="61"/>
                  <a:pt x="582" y="61"/>
                </a:cubicBezTo>
                <a:close/>
                <a:moveTo>
                  <a:pt x="1391" y="14"/>
                </a:moveTo>
                <a:cubicBezTo>
                  <a:pt x="1391" y="14"/>
                  <a:pt x="1391" y="14"/>
                  <a:pt x="1392" y="14"/>
                </a:cubicBezTo>
                <a:cubicBezTo>
                  <a:pt x="1392" y="14"/>
                  <a:pt x="1391" y="14"/>
                  <a:pt x="1391" y="14"/>
                </a:cubicBezTo>
                <a:close/>
                <a:moveTo>
                  <a:pt x="1421" y="14"/>
                </a:moveTo>
                <a:cubicBezTo>
                  <a:pt x="1421" y="14"/>
                  <a:pt x="1421" y="14"/>
                  <a:pt x="1421" y="14"/>
                </a:cubicBezTo>
                <a:cubicBezTo>
                  <a:pt x="1421" y="14"/>
                  <a:pt x="1421" y="14"/>
                  <a:pt x="1421" y="14"/>
                </a:cubicBezTo>
                <a:close/>
                <a:moveTo>
                  <a:pt x="1461" y="14"/>
                </a:moveTo>
                <a:cubicBezTo>
                  <a:pt x="1461" y="14"/>
                  <a:pt x="1461" y="14"/>
                  <a:pt x="1461" y="14"/>
                </a:cubicBezTo>
                <a:cubicBezTo>
                  <a:pt x="1461" y="14"/>
                  <a:pt x="1461" y="14"/>
                  <a:pt x="1461" y="14"/>
                </a:cubicBezTo>
                <a:close/>
                <a:moveTo>
                  <a:pt x="585" y="92"/>
                </a:moveTo>
                <a:cubicBezTo>
                  <a:pt x="585" y="92"/>
                  <a:pt x="585" y="92"/>
                  <a:pt x="585" y="92"/>
                </a:cubicBezTo>
                <a:cubicBezTo>
                  <a:pt x="585" y="92"/>
                  <a:pt x="585" y="92"/>
                  <a:pt x="585" y="92"/>
                </a:cubicBezTo>
                <a:close/>
                <a:moveTo>
                  <a:pt x="1575" y="14"/>
                </a:moveTo>
                <a:cubicBezTo>
                  <a:pt x="1575" y="14"/>
                  <a:pt x="1576" y="14"/>
                  <a:pt x="1576" y="14"/>
                </a:cubicBezTo>
                <a:cubicBezTo>
                  <a:pt x="1576" y="14"/>
                  <a:pt x="1576" y="14"/>
                  <a:pt x="1575" y="14"/>
                </a:cubicBezTo>
                <a:close/>
                <a:moveTo>
                  <a:pt x="1744" y="14"/>
                </a:moveTo>
                <a:cubicBezTo>
                  <a:pt x="1744" y="14"/>
                  <a:pt x="1744" y="14"/>
                  <a:pt x="1744" y="14"/>
                </a:cubicBezTo>
                <a:cubicBezTo>
                  <a:pt x="1744" y="14"/>
                  <a:pt x="1744" y="14"/>
                  <a:pt x="1744" y="14"/>
                </a:cubicBezTo>
                <a:close/>
                <a:moveTo>
                  <a:pt x="1382" y="61"/>
                </a:moveTo>
                <a:cubicBezTo>
                  <a:pt x="1381" y="61"/>
                  <a:pt x="1381" y="61"/>
                  <a:pt x="1381" y="61"/>
                </a:cubicBezTo>
                <a:cubicBezTo>
                  <a:pt x="1381" y="61"/>
                  <a:pt x="1381" y="61"/>
                  <a:pt x="1382" y="61"/>
                </a:cubicBezTo>
                <a:close/>
                <a:moveTo>
                  <a:pt x="729" y="92"/>
                </a:moveTo>
                <a:cubicBezTo>
                  <a:pt x="729" y="92"/>
                  <a:pt x="729" y="92"/>
                  <a:pt x="730" y="92"/>
                </a:cubicBezTo>
                <a:cubicBezTo>
                  <a:pt x="729" y="92"/>
                  <a:pt x="729" y="92"/>
                  <a:pt x="729" y="92"/>
                </a:cubicBezTo>
                <a:close/>
                <a:moveTo>
                  <a:pt x="543" y="14"/>
                </a:moveTo>
                <a:cubicBezTo>
                  <a:pt x="544" y="14"/>
                  <a:pt x="544" y="14"/>
                  <a:pt x="544" y="14"/>
                </a:cubicBezTo>
                <a:cubicBezTo>
                  <a:pt x="544" y="14"/>
                  <a:pt x="543" y="14"/>
                  <a:pt x="543" y="14"/>
                </a:cubicBezTo>
                <a:close/>
                <a:moveTo>
                  <a:pt x="754" y="92"/>
                </a:moveTo>
                <a:cubicBezTo>
                  <a:pt x="754" y="92"/>
                  <a:pt x="754" y="92"/>
                  <a:pt x="754" y="92"/>
                </a:cubicBezTo>
                <a:cubicBezTo>
                  <a:pt x="754" y="92"/>
                  <a:pt x="754" y="92"/>
                  <a:pt x="754" y="92"/>
                </a:cubicBezTo>
                <a:close/>
                <a:moveTo>
                  <a:pt x="970" y="14"/>
                </a:moveTo>
                <a:cubicBezTo>
                  <a:pt x="971" y="14"/>
                  <a:pt x="971" y="14"/>
                  <a:pt x="971" y="14"/>
                </a:cubicBezTo>
                <a:cubicBezTo>
                  <a:pt x="971" y="14"/>
                  <a:pt x="971" y="14"/>
                  <a:pt x="970" y="14"/>
                </a:cubicBezTo>
                <a:close/>
                <a:moveTo>
                  <a:pt x="1667" y="61"/>
                </a:moveTo>
                <a:cubicBezTo>
                  <a:pt x="1667" y="61"/>
                  <a:pt x="1667" y="62"/>
                  <a:pt x="1668" y="62"/>
                </a:cubicBezTo>
                <a:cubicBezTo>
                  <a:pt x="1668" y="61"/>
                  <a:pt x="1667" y="61"/>
                  <a:pt x="1667" y="61"/>
                </a:cubicBezTo>
                <a:close/>
                <a:moveTo>
                  <a:pt x="965" y="92"/>
                </a:moveTo>
                <a:cubicBezTo>
                  <a:pt x="965" y="92"/>
                  <a:pt x="965" y="92"/>
                  <a:pt x="965" y="92"/>
                </a:cubicBezTo>
                <a:cubicBezTo>
                  <a:pt x="965" y="92"/>
                  <a:pt x="965" y="92"/>
                  <a:pt x="965" y="92"/>
                </a:cubicBezTo>
                <a:close/>
                <a:moveTo>
                  <a:pt x="1347" y="15"/>
                </a:moveTo>
                <a:cubicBezTo>
                  <a:pt x="1347" y="15"/>
                  <a:pt x="1347" y="14"/>
                  <a:pt x="1347" y="14"/>
                </a:cubicBezTo>
                <a:cubicBezTo>
                  <a:pt x="1347" y="14"/>
                  <a:pt x="1347" y="14"/>
                  <a:pt x="1347" y="15"/>
                </a:cubicBezTo>
                <a:close/>
                <a:moveTo>
                  <a:pt x="1392" y="14"/>
                </a:moveTo>
                <a:cubicBezTo>
                  <a:pt x="1392" y="14"/>
                  <a:pt x="1392" y="15"/>
                  <a:pt x="1392" y="15"/>
                </a:cubicBezTo>
                <a:cubicBezTo>
                  <a:pt x="1392" y="14"/>
                  <a:pt x="1392" y="14"/>
                  <a:pt x="1392" y="14"/>
                </a:cubicBezTo>
                <a:close/>
                <a:moveTo>
                  <a:pt x="583" y="62"/>
                </a:moveTo>
                <a:cubicBezTo>
                  <a:pt x="583" y="62"/>
                  <a:pt x="583" y="62"/>
                  <a:pt x="583" y="62"/>
                </a:cubicBezTo>
                <a:cubicBezTo>
                  <a:pt x="583" y="62"/>
                  <a:pt x="583" y="62"/>
                  <a:pt x="583" y="62"/>
                </a:cubicBezTo>
                <a:close/>
                <a:moveTo>
                  <a:pt x="661" y="62"/>
                </a:moveTo>
                <a:cubicBezTo>
                  <a:pt x="661" y="62"/>
                  <a:pt x="661" y="61"/>
                  <a:pt x="660" y="61"/>
                </a:cubicBezTo>
                <a:cubicBezTo>
                  <a:pt x="660" y="62"/>
                  <a:pt x="660" y="62"/>
                  <a:pt x="661" y="62"/>
                </a:cubicBezTo>
                <a:close/>
                <a:moveTo>
                  <a:pt x="1421" y="15"/>
                </a:moveTo>
                <a:cubicBezTo>
                  <a:pt x="1421" y="15"/>
                  <a:pt x="1421" y="14"/>
                  <a:pt x="1421" y="14"/>
                </a:cubicBezTo>
                <a:cubicBezTo>
                  <a:pt x="1421" y="14"/>
                  <a:pt x="1421" y="14"/>
                  <a:pt x="1421" y="15"/>
                </a:cubicBezTo>
                <a:close/>
                <a:moveTo>
                  <a:pt x="1576" y="14"/>
                </a:moveTo>
                <a:cubicBezTo>
                  <a:pt x="1576" y="14"/>
                  <a:pt x="1576" y="14"/>
                  <a:pt x="1576" y="15"/>
                </a:cubicBezTo>
                <a:cubicBezTo>
                  <a:pt x="1576" y="14"/>
                  <a:pt x="1576" y="14"/>
                  <a:pt x="1576" y="14"/>
                </a:cubicBezTo>
                <a:close/>
                <a:moveTo>
                  <a:pt x="1366" y="62"/>
                </a:moveTo>
                <a:cubicBezTo>
                  <a:pt x="1366" y="62"/>
                  <a:pt x="1366" y="62"/>
                  <a:pt x="1366" y="62"/>
                </a:cubicBezTo>
                <a:cubicBezTo>
                  <a:pt x="1366" y="62"/>
                  <a:pt x="1366" y="62"/>
                  <a:pt x="1366" y="62"/>
                </a:cubicBezTo>
                <a:close/>
                <a:moveTo>
                  <a:pt x="1381" y="61"/>
                </a:moveTo>
                <a:cubicBezTo>
                  <a:pt x="1381" y="61"/>
                  <a:pt x="1381" y="62"/>
                  <a:pt x="1381" y="62"/>
                </a:cubicBezTo>
                <a:cubicBezTo>
                  <a:pt x="1381" y="62"/>
                  <a:pt x="1381" y="62"/>
                  <a:pt x="1381" y="61"/>
                </a:cubicBezTo>
                <a:close/>
                <a:moveTo>
                  <a:pt x="1744" y="14"/>
                </a:moveTo>
                <a:cubicBezTo>
                  <a:pt x="1744" y="14"/>
                  <a:pt x="1744" y="14"/>
                  <a:pt x="1744" y="15"/>
                </a:cubicBezTo>
                <a:cubicBezTo>
                  <a:pt x="1744" y="14"/>
                  <a:pt x="1744" y="14"/>
                  <a:pt x="1744" y="14"/>
                </a:cubicBezTo>
                <a:close/>
                <a:moveTo>
                  <a:pt x="1418" y="92"/>
                </a:moveTo>
                <a:cubicBezTo>
                  <a:pt x="1418" y="92"/>
                  <a:pt x="1418" y="92"/>
                  <a:pt x="1418" y="92"/>
                </a:cubicBezTo>
                <a:cubicBezTo>
                  <a:pt x="1418" y="92"/>
                  <a:pt x="1418" y="92"/>
                  <a:pt x="1418" y="92"/>
                </a:cubicBezTo>
                <a:close/>
                <a:moveTo>
                  <a:pt x="1668" y="62"/>
                </a:moveTo>
                <a:cubicBezTo>
                  <a:pt x="1668" y="62"/>
                  <a:pt x="1668" y="62"/>
                  <a:pt x="1668" y="62"/>
                </a:cubicBezTo>
                <a:cubicBezTo>
                  <a:pt x="1668" y="62"/>
                  <a:pt x="1668" y="62"/>
                  <a:pt x="1668" y="62"/>
                </a:cubicBezTo>
                <a:close/>
                <a:moveTo>
                  <a:pt x="583" y="62"/>
                </a:moveTo>
                <a:cubicBezTo>
                  <a:pt x="583" y="62"/>
                  <a:pt x="583" y="62"/>
                  <a:pt x="583" y="62"/>
                </a:cubicBezTo>
                <a:cubicBezTo>
                  <a:pt x="583" y="62"/>
                  <a:pt x="583" y="62"/>
                  <a:pt x="583" y="62"/>
                </a:cubicBezTo>
                <a:close/>
                <a:moveTo>
                  <a:pt x="543" y="15"/>
                </a:moveTo>
                <a:cubicBezTo>
                  <a:pt x="543" y="15"/>
                  <a:pt x="543" y="15"/>
                  <a:pt x="543" y="14"/>
                </a:cubicBezTo>
                <a:cubicBezTo>
                  <a:pt x="543" y="15"/>
                  <a:pt x="543" y="15"/>
                  <a:pt x="543" y="15"/>
                </a:cubicBezTo>
                <a:close/>
                <a:moveTo>
                  <a:pt x="1420" y="15"/>
                </a:moveTo>
                <a:cubicBezTo>
                  <a:pt x="1420" y="15"/>
                  <a:pt x="1421" y="15"/>
                  <a:pt x="1421" y="15"/>
                </a:cubicBezTo>
                <a:cubicBezTo>
                  <a:pt x="1420" y="15"/>
                  <a:pt x="1420" y="15"/>
                  <a:pt x="1420" y="15"/>
                </a:cubicBezTo>
                <a:close/>
                <a:moveTo>
                  <a:pt x="1576" y="15"/>
                </a:moveTo>
                <a:cubicBezTo>
                  <a:pt x="1576" y="15"/>
                  <a:pt x="1576" y="15"/>
                  <a:pt x="1576" y="15"/>
                </a:cubicBezTo>
                <a:cubicBezTo>
                  <a:pt x="1576" y="15"/>
                  <a:pt x="1576" y="15"/>
                  <a:pt x="1576" y="15"/>
                </a:cubicBezTo>
                <a:close/>
                <a:moveTo>
                  <a:pt x="1744" y="15"/>
                </a:moveTo>
                <a:cubicBezTo>
                  <a:pt x="1744" y="15"/>
                  <a:pt x="1744" y="15"/>
                  <a:pt x="1745" y="15"/>
                </a:cubicBezTo>
                <a:cubicBezTo>
                  <a:pt x="1745" y="15"/>
                  <a:pt x="1744" y="15"/>
                  <a:pt x="1744" y="15"/>
                </a:cubicBezTo>
                <a:close/>
                <a:moveTo>
                  <a:pt x="543" y="15"/>
                </a:moveTo>
                <a:cubicBezTo>
                  <a:pt x="543" y="15"/>
                  <a:pt x="543" y="15"/>
                  <a:pt x="543" y="15"/>
                </a:cubicBezTo>
                <a:cubicBezTo>
                  <a:pt x="543" y="15"/>
                  <a:pt x="543" y="15"/>
                  <a:pt x="543" y="15"/>
                </a:cubicBezTo>
                <a:close/>
                <a:moveTo>
                  <a:pt x="969" y="15"/>
                </a:moveTo>
                <a:cubicBezTo>
                  <a:pt x="970" y="15"/>
                  <a:pt x="970" y="15"/>
                  <a:pt x="970" y="15"/>
                </a:cubicBezTo>
                <a:cubicBezTo>
                  <a:pt x="970" y="15"/>
                  <a:pt x="969" y="15"/>
                  <a:pt x="969" y="15"/>
                </a:cubicBezTo>
                <a:close/>
                <a:moveTo>
                  <a:pt x="542" y="16"/>
                </a:moveTo>
                <a:cubicBezTo>
                  <a:pt x="543" y="16"/>
                  <a:pt x="543" y="15"/>
                  <a:pt x="543" y="15"/>
                </a:cubicBezTo>
                <a:cubicBezTo>
                  <a:pt x="543" y="15"/>
                  <a:pt x="542" y="15"/>
                  <a:pt x="542" y="16"/>
                </a:cubicBezTo>
                <a:close/>
                <a:moveTo>
                  <a:pt x="1381" y="62"/>
                </a:moveTo>
                <a:cubicBezTo>
                  <a:pt x="1381" y="62"/>
                  <a:pt x="1380" y="62"/>
                  <a:pt x="1380" y="62"/>
                </a:cubicBezTo>
                <a:cubicBezTo>
                  <a:pt x="1381" y="62"/>
                  <a:pt x="1381" y="62"/>
                  <a:pt x="1381" y="62"/>
                </a:cubicBezTo>
                <a:close/>
                <a:moveTo>
                  <a:pt x="1549" y="62"/>
                </a:moveTo>
                <a:cubicBezTo>
                  <a:pt x="1550" y="62"/>
                  <a:pt x="1550" y="62"/>
                  <a:pt x="1550" y="62"/>
                </a:cubicBezTo>
                <a:cubicBezTo>
                  <a:pt x="1550" y="62"/>
                  <a:pt x="1549" y="62"/>
                  <a:pt x="1549" y="62"/>
                </a:cubicBezTo>
                <a:close/>
                <a:moveTo>
                  <a:pt x="1565" y="62"/>
                </a:moveTo>
                <a:cubicBezTo>
                  <a:pt x="1565" y="62"/>
                  <a:pt x="1565" y="62"/>
                  <a:pt x="1565" y="62"/>
                </a:cubicBezTo>
                <a:cubicBezTo>
                  <a:pt x="1565" y="62"/>
                  <a:pt x="1565" y="62"/>
                  <a:pt x="1565" y="62"/>
                </a:cubicBezTo>
                <a:close/>
                <a:moveTo>
                  <a:pt x="1392" y="15"/>
                </a:moveTo>
                <a:cubicBezTo>
                  <a:pt x="1392" y="15"/>
                  <a:pt x="1392" y="16"/>
                  <a:pt x="1393" y="16"/>
                </a:cubicBezTo>
                <a:cubicBezTo>
                  <a:pt x="1393" y="15"/>
                  <a:pt x="1392" y="15"/>
                  <a:pt x="1392" y="15"/>
                </a:cubicBezTo>
                <a:close/>
                <a:moveTo>
                  <a:pt x="965" y="93"/>
                </a:moveTo>
                <a:cubicBezTo>
                  <a:pt x="965" y="93"/>
                  <a:pt x="965" y="92"/>
                  <a:pt x="965" y="92"/>
                </a:cubicBezTo>
                <a:cubicBezTo>
                  <a:pt x="965" y="93"/>
                  <a:pt x="965" y="93"/>
                  <a:pt x="965" y="93"/>
                </a:cubicBezTo>
                <a:close/>
                <a:moveTo>
                  <a:pt x="1462" y="15"/>
                </a:moveTo>
                <a:cubicBezTo>
                  <a:pt x="1462" y="15"/>
                  <a:pt x="1462" y="16"/>
                  <a:pt x="1462" y="16"/>
                </a:cubicBezTo>
                <a:cubicBezTo>
                  <a:pt x="1462" y="15"/>
                  <a:pt x="1462" y="15"/>
                  <a:pt x="1462" y="15"/>
                </a:cubicBezTo>
                <a:close/>
                <a:moveTo>
                  <a:pt x="1668" y="62"/>
                </a:moveTo>
                <a:cubicBezTo>
                  <a:pt x="1668" y="62"/>
                  <a:pt x="1668" y="62"/>
                  <a:pt x="1668" y="62"/>
                </a:cubicBezTo>
                <a:cubicBezTo>
                  <a:pt x="1668" y="62"/>
                  <a:pt x="1668" y="62"/>
                  <a:pt x="1668" y="62"/>
                </a:cubicBezTo>
                <a:close/>
                <a:moveTo>
                  <a:pt x="1036" y="93"/>
                </a:moveTo>
                <a:cubicBezTo>
                  <a:pt x="1036" y="93"/>
                  <a:pt x="1036" y="92"/>
                  <a:pt x="1036" y="92"/>
                </a:cubicBezTo>
                <a:cubicBezTo>
                  <a:pt x="1036" y="93"/>
                  <a:pt x="1036" y="93"/>
                  <a:pt x="1036" y="93"/>
                </a:cubicBezTo>
                <a:close/>
                <a:moveTo>
                  <a:pt x="1717" y="62"/>
                </a:moveTo>
                <a:cubicBezTo>
                  <a:pt x="1718" y="62"/>
                  <a:pt x="1718" y="62"/>
                  <a:pt x="1718" y="62"/>
                </a:cubicBezTo>
                <a:cubicBezTo>
                  <a:pt x="1718" y="62"/>
                  <a:pt x="1718" y="62"/>
                  <a:pt x="1717" y="62"/>
                </a:cubicBezTo>
                <a:close/>
                <a:moveTo>
                  <a:pt x="1733" y="62"/>
                </a:moveTo>
                <a:cubicBezTo>
                  <a:pt x="1733" y="62"/>
                  <a:pt x="1733" y="62"/>
                  <a:pt x="1733" y="62"/>
                </a:cubicBezTo>
                <a:cubicBezTo>
                  <a:pt x="1733" y="62"/>
                  <a:pt x="1733" y="62"/>
                  <a:pt x="1733" y="62"/>
                </a:cubicBezTo>
                <a:close/>
                <a:moveTo>
                  <a:pt x="542" y="16"/>
                </a:moveTo>
                <a:cubicBezTo>
                  <a:pt x="542" y="16"/>
                  <a:pt x="542" y="16"/>
                  <a:pt x="542" y="16"/>
                </a:cubicBezTo>
                <a:cubicBezTo>
                  <a:pt x="542" y="16"/>
                  <a:pt x="542" y="16"/>
                  <a:pt x="542" y="16"/>
                </a:cubicBezTo>
                <a:close/>
                <a:moveTo>
                  <a:pt x="1393" y="16"/>
                </a:moveTo>
                <a:cubicBezTo>
                  <a:pt x="1393" y="16"/>
                  <a:pt x="1393" y="16"/>
                  <a:pt x="1393" y="16"/>
                </a:cubicBezTo>
                <a:cubicBezTo>
                  <a:pt x="1393" y="16"/>
                  <a:pt x="1393" y="16"/>
                  <a:pt x="1393" y="16"/>
                </a:cubicBezTo>
                <a:close/>
                <a:moveTo>
                  <a:pt x="1214" y="93"/>
                </a:moveTo>
                <a:cubicBezTo>
                  <a:pt x="1214" y="93"/>
                  <a:pt x="1214" y="92"/>
                  <a:pt x="1214" y="92"/>
                </a:cubicBezTo>
                <a:cubicBezTo>
                  <a:pt x="1214" y="93"/>
                  <a:pt x="1214" y="93"/>
                  <a:pt x="1214" y="93"/>
                </a:cubicBezTo>
                <a:close/>
                <a:moveTo>
                  <a:pt x="1462" y="16"/>
                </a:moveTo>
                <a:cubicBezTo>
                  <a:pt x="1462" y="16"/>
                  <a:pt x="1462" y="16"/>
                  <a:pt x="1462" y="16"/>
                </a:cubicBezTo>
                <a:cubicBezTo>
                  <a:pt x="1462" y="16"/>
                  <a:pt x="1462" y="16"/>
                  <a:pt x="1462" y="16"/>
                </a:cubicBezTo>
                <a:close/>
                <a:moveTo>
                  <a:pt x="542" y="16"/>
                </a:moveTo>
                <a:cubicBezTo>
                  <a:pt x="542" y="16"/>
                  <a:pt x="542" y="16"/>
                  <a:pt x="542" y="16"/>
                </a:cubicBezTo>
                <a:cubicBezTo>
                  <a:pt x="542" y="16"/>
                  <a:pt x="542" y="16"/>
                  <a:pt x="542" y="16"/>
                </a:cubicBezTo>
                <a:close/>
                <a:moveTo>
                  <a:pt x="968" y="16"/>
                </a:moveTo>
                <a:cubicBezTo>
                  <a:pt x="968" y="16"/>
                  <a:pt x="968" y="16"/>
                  <a:pt x="968" y="16"/>
                </a:cubicBezTo>
                <a:cubicBezTo>
                  <a:pt x="968" y="16"/>
                  <a:pt x="968" y="16"/>
                  <a:pt x="968" y="16"/>
                </a:cubicBezTo>
                <a:close/>
                <a:moveTo>
                  <a:pt x="1461" y="92"/>
                </a:moveTo>
                <a:cubicBezTo>
                  <a:pt x="1461" y="92"/>
                  <a:pt x="1461" y="93"/>
                  <a:pt x="1461" y="93"/>
                </a:cubicBezTo>
                <a:cubicBezTo>
                  <a:pt x="1461" y="93"/>
                  <a:pt x="1461" y="93"/>
                  <a:pt x="1461" y="92"/>
                </a:cubicBezTo>
                <a:close/>
                <a:moveTo>
                  <a:pt x="1419" y="16"/>
                </a:moveTo>
                <a:cubicBezTo>
                  <a:pt x="1419" y="16"/>
                  <a:pt x="1419" y="16"/>
                  <a:pt x="1419" y="16"/>
                </a:cubicBezTo>
                <a:cubicBezTo>
                  <a:pt x="1419" y="16"/>
                  <a:pt x="1419" y="16"/>
                  <a:pt x="1419" y="16"/>
                </a:cubicBezTo>
                <a:close/>
                <a:moveTo>
                  <a:pt x="1565" y="62"/>
                </a:moveTo>
                <a:cubicBezTo>
                  <a:pt x="1564" y="62"/>
                  <a:pt x="1564" y="62"/>
                  <a:pt x="1564" y="62"/>
                </a:cubicBezTo>
                <a:cubicBezTo>
                  <a:pt x="1564" y="62"/>
                  <a:pt x="1565" y="62"/>
                  <a:pt x="1565" y="62"/>
                </a:cubicBezTo>
                <a:close/>
                <a:moveTo>
                  <a:pt x="1577" y="16"/>
                </a:moveTo>
                <a:cubicBezTo>
                  <a:pt x="1577" y="16"/>
                  <a:pt x="1577" y="16"/>
                  <a:pt x="1577" y="16"/>
                </a:cubicBezTo>
                <a:cubicBezTo>
                  <a:pt x="1577" y="16"/>
                  <a:pt x="1577" y="16"/>
                  <a:pt x="1577" y="16"/>
                </a:cubicBezTo>
                <a:close/>
                <a:moveTo>
                  <a:pt x="1745" y="16"/>
                </a:moveTo>
                <a:cubicBezTo>
                  <a:pt x="1745" y="16"/>
                  <a:pt x="1745" y="16"/>
                  <a:pt x="1746" y="16"/>
                </a:cubicBezTo>
                <a:cubicBezTo>
                  <a:pt x="1746" y="16"/>
                  <a:pt x="1745" y="16"/>
                  <a:pt x="1745" y="16"/>
                </a:cubicBezTo>
                <a:close/>
                <a:moveTo>
                  <a:pt x="968" y="17"/>
                </a:moveTo>
                <a:cubicBezTo>
                  <a:pt x="968" y="17"/>
                  <a:pt x="968" y="16"/>
                  <a:pt x="968" y="16"/>
                </a:cubicBezTo>
                <a:cubicBezTo>
                  <a:pt x="968" y="16"/>
                  <a:pt x="968" y="16"/>
                  <a:pt x="968" y="17"/>
                </a:cubicBezTo>
                <a:close/>
                <a:moveTo>
                  <a:pt x="1733" y="62"/>
                </a:moveTo>
                <a:cubicBezTo>
                  <a:pt x="1733" y="62"/>
                  <a:pt x="1732" y="62"/>
                  <a:pt x="1732" y="62"/>
                </a:cubicBezTo>
                <a:cubicBezTo>
                  <a:pt x="1733" y="62"/>
                  <a:pt x="1733" y="62"/>
                  <a:pt x="1733" y="62"/>
                </a:cubicBezTo>
                <a:close/>
                <a:moveTo>
                  <a:pt x="1419" y="17"/>
                </a:moveTo>
                <a:cubicBezTo>
                  <a:pt x="1419" y="17"/>
                  <a:pt x="1419" y="16"/>
                  <a:pt x="1419" y="16"/>
                </a:cubicBezTo>
                <a:cubicBezTo>
                  <a:pt x="1419" y="16"/>
                  <a:pt x="1419" y="16"/>
                  <a:pt x="1419" y="17"/>
                </a:cubicBezTo>
                <a:close/>
                <a:moveTo>
                  <a:pt x="661" y="63"/>
                </a:moveTo>
                <a:cubicBezTo>
                  <a:pt x="661" y="63"/>
                  <a:pt x="661" y="63"/>
                  <a:pt x="661" y="62"/>
                </a:cubicBezTo>
                <a:cubicBezTo>
                  <a:pt x="661" y="63"/>
                  <a:pt x="661" y="63"/>
                  <a:pt x="661" y="63"/>
                </a:cubicBezTo>
                <a:close/>
                <a:moveTo>
                  <a:pt x="1037" y="93"/>
                </a:moveTo>
                <a:cubicBezTo>
                  <a:pt x="1037" y="93"/>
                  <a:pt x="1036" y="93"/>
                  <a:pt x="1036" y="93"/>
                </a:cubicBezTo>
                <a:cubicBezTo>
                  <a:pt x="1036" y="93"/>
                  <a:pt x="1036" y="93"/>
                  <a:pt x="1037" y="93"/>
                </a:cubicBezTo>
                <a:close/>
                <a:moveTo>
                  <a:pt x="1679" y="16"/>
                </a:moveTo>
                <a:cubicBezTo>
                  <a:pt x="1679" y="16"/>
                  <a:pt x="1679" y="17"/>
                  <a:pt x="1679" y="17"/>
                </a:cubicBezTo>
                <a:cubicBezTo>
                  <a:pt x="1679" y="16"/>
                  <a:pt x="1679" y="16"/>
                  <a:pt x="1679" y="16"/>
                </a:cubicBezTo>
                <a:close/>
                <a:moveTo>
                  <a:pt x="1364" y="63"/>
                </a:moveTo>
                <a:cubicBezTo>
                  <a:pt x="1364" y="63"/>
                  <a:pt x="1365" y="63"/>
                  <a:pt x="1365" y="63"/>
                </a:cubicBezTo>
                <a:cubicBezTo>
                  <a:pt x="1364" y="63"/>
                  <a:pt x="1364" y="63"/>
                  <a:pt x="1364" y="63"/>
                </a:cubicBezTo>
                <a:close/>
                <a:moveTo>
                  <a:pt x="1380" y="63"/>
                </a:moveTo>
                <a:cubicBezTo>
                  <a:pt x="1380" y="63"/>
                  <a:pt x="1379" y="63"/>
                  <a:pt x="1379" y="63"/>
                </a:cubicBezTo>
                <a:cubicBezTo>
                  <a:pt x="1380" y="63"/>
                  <a:pt x="1380" y="63"/>
                  <a:pt x="1380" y="63"/>
                </a:cubicBezTo>
                <a:close/>
                <a:moveTo>
                  <a:pt x="967" y="17"/>
                </a:moveTo>
                <a:cubicBezTo>
                  <a:pt x="968" y="17"/>
                  <a:pt x="968" y="17"/>
                  <a:pt x="968" y="17"/>
                </a:cubicBezTo>
                <a:cubicBezTo>
                  <a:pt x="968" y="17"/>
                  <a:pt x="967" y="17"/>
                  <a:pt x="967" y="17"/>
                </a:cubicBezTo>
                <a:close/>
                <a:moveTo>
                  <a:pt x="1214" y="93"/>
                </a:moveTo>
                <a:cubicBezTo>
                  <a:pt x="1214" y="93"/>
                  <a:pt x="1214" y="93"/>
                  <a:pt x="1214" y="93"/>
                </a:cubicBezTo>
                <a:cubicBezTo>
                  <a:pt x="1214" y="93"/>
                  <a:pt x="1214" y="93"/>
                  <a:pt x="1214" y="93"/>
                </a:cubicBezTo>
                <a:close/>
                <a:moveTo>
                  <a:pt x="1393" y="17"/>
                </a:moveTo>
                <a:cubicBezTo>
                  <a:pt x="1393" y="17"/>
                  <a:pt x="1393" y="17"/>
                  <a:pt x="1394" y="17"/>
                </a:cubicBezTo>
                <a:cubicBezTo>
                  <a:pt x="1394" y="17"/>
                  <a:pt x="1393" y="17"/>
                  <a:pt x="1393" y="17"/>
                </a:cubicBezTo>
                <a:close/>
                <a:moveTo>
                  <a:pt x="1463" y="17"/>
                </a:moveTo>
                <a:cubicBezTo>
                  <a:pt x="1463" y="17"/>
                  <a:pt x="1463" y="17"/>
                  <a:pt x="1463" y="17"/>
                </a:cubicBezTo>
                <a:cubicBezTo>
                  <a:pt x="1463" y="17"/>
                  <a:pt x="1463" y="17"/>
                  <a:pt x="1463" y="17"/>
                </a:cubicBezTo>
                <a:close/>
                <a:moveTo>
                  <a:pt x="1461" y="93"/>
                </a:moveTo>
                <a:cubicBezTo>
                  <a:pt x="1461" y="93"/>
                  <a:pt x="1461" y="93"/>
                  <a:pt x="1461" y="93"/>
                </a:cubicBezTo>
                <a:cubicBezTo>
                  <a:pt x="1461" y="93"/>
                  <a:pt x="1461" y="93"/>
                  <a:pt x="1461" y="93"/>
                </a:cubicBezTo>
                <a:close/>
                <a:moveTo>
                  <a:pt x="1679" y="17"/>
                </a:moveTo>
                <a:cubicBezTo>
                  <a:pt x="1679" y="17"/>
                  <a:pt x="1679" y="17"/>
                  <a:pt x="1679" y="17"/>
                </a:cubicBezTo>
                <a:cubicBezTo>
                  <a:pt x="1679" y="17"/>
                  <a:pt x="1679" y="17"/>
                  <a:pt x="1679" y="17"/>
                </a:cubicBezTo>
                <a:close/>
                <a:moveTo>
                  <a:pt x="541" y="17"/>
                </a:moveTo>
                <a:cubicBezTo>
                  <a:pt x="541" y="17"/>
                  <a:pt x="541" y="17"/>
                  <a:pt x="541" y="17"/>
                </a:cubicBezTo>
                <a:cubicBezTo>
                  <a:pt x="541" y="17"/>
                  <a:pt x="541" y="17"/>
                  <a:pt x="541" y="17"/>
                </a:cubicBezTo>
                <a:close/>
                <a:moveTo>
                  <a:pt x="584" y="93"/>
                </a:moveTo>
                <a:cubicBezTo>
                  <a:pt x="584" y="93"/>
                  <a:pt x="584" y="93"/>
                  <a:pt x="584" y="93"/>
                </a:cubicBezTo>
                <a:cubicBezTo>
                  <a:pt x="584" y="93"/>
                  <a:pt x="584" y="93"/>
                  <a:pt x="584" y="93"/>
                </a:cubicBezTo>
                <a:close/>
                <a:moveTo>
                  <a:pt x="1578" y="17"/>
                </a:moveTo>
                <a:cubicBezTo>
                  <a:pt x="1578" y="17"/>
                  <a:pt x="1578" y="17"/>
                  <a:pt x="1578" y="17"/>
                </a:cubicBezTo>
                <a:cubicBezTo>
                  <a:pt x="1578" y="17"/>
                  <a:pt x="1578" y="17"/>
                  <a:pt x="1578" y="17"/>
                </a:cubicBezTo>
                <a:close/>
                <a:moveTo>
                  <a:pt x="1679" y="17"/>
                </a:moveTo>
                <a:cubicBezTo>
                  <a:pt x="1679" y="17"/>
                  <a:pt x="1680" y="17"/>
                  <a:pt x="1680" y="17"/>
                </a:cubicBezTo>
                <a:cubicBezTo>
                  <a:pt x="1680" y="17"/>
                  <a:pt x="1680" y="17"/>
                  <a:pt x="1679" y="17"/>
                </a:cubicBezTo>
                <a:close/>
                <a:moveTo>
                  <a:pt x="1746" y="17"/>
                </a:moveTo>
                <a:cubicBezTo>
                  <a:pt x="1746" y="17"/>
                  <a:pt x="1746" y="17"/>
                  <a:pt x="1746" y="17"/>
                </a:cubicBezTo>
                <a:cubicBezTo>
                  <a:pt x="1746" y="17"/>
                  <a:pt x="1746" y="17"/>
                  <a:pt x="1746" y="17"/>
                </a:cubicBezTo>
                <a:close/>
                <a:moveTo>
                  <a:pt x="697" y="93"/>
                </a:moveTo>
                <a:cubicBezTo>
                  <a:pt x="697" y="93"/>
                  <a:pt x="697" y="93"/>
                  <a:pt x="697" y="94"/>
                </a:cubicBezTo>
                <a:cubicBezTo>
                  <a:pt x="697" y="93"/>
                  <a:pt x="697" y="93"/>
                  <a:pt x="697" y="93"/>
                </a:cubicBezTo>
                <a:close/>
                <a:moveTo>
                  <a:pt x="541" y="18"/>
                </a:moveTo>
                <a:cubicBezTo>
                  <a:pt x="541" y="18"/>
                  <a:pt x="541" y="17"/>
                  <a:pt x="541" y="17"/>
                </a:cubicBezTo>
                <a:cubicBezTo>
                  <a:pt x="541" y="17"/>
                  <a:pt x="541" y="18"/>
                  <a:pt x="541" y="18"/>
                </a:cubicBezTo>
                <a:close/>
                <a:moveTo>
                  <a:pt x="1418" y="18"/>
                </a:moveTo>
                <a:cubicBezTo>
                  <a:pt x="1418" y="18"/>
                  <a:pt x="1418" y="17"/>
                  <a:pt x="1418" y="17"/>
                </a:cubicBezTo>
                <a:cubicBezTo>
                  <a:pt x="1418" y="17"/>
                  <a:pt x="1418" y="18"/>
                  <a:pt x="1418" y="18"/>
                </a:cubicBezTo>
                <a:close/>
                <a:moveTo>
                  <a:pt x="966" y="18"/>
                </a:moveTo>
                <a:cubicBezTo>
                  <a:pt x="966" y="18"/>
                  <a:pt x="966" y="18"/>
                  <a:pt x="966" y="18"/>
                </a:cubicBezTo>
                <a:cubicBezTo>
                  <a:pt x="966" y="18"/>
                  <a:pt x="966" y="18"/>
                  <a:pt x="966" y="18"/>
                </a:cubicBezTo>
                <a:close/>
                <a:moveTo>
                  <a:pt x="1380" y="18"/>
                </a:moveTo>
                <a:cubicBezTo>
                  <a:pt x="1379" y="18"/>
                  <a:pt x="1379" y="18"/>
                  <a:pt x="1379" y="18"/>
                </a:cubicBezTo>
                <a:cubicBezTo>
                  <a:pt x="1379" y="18"/>
                  <a:pt x="1379" y="18"/>
                  <a:pt x="1380" y="18"/>
                </a:cubicBezTo>
                <a:close/>
                <a:moveTo>
                  <a:pt x="1037" y="94"/>
                </a:moveTo>
                <a:cubicBezTo>
                  <a:pt x="1037" y="93"/>
                  <a:pt x="1037" y="93"/>
                  <a:pt x="1037" y="93"/>
                </a:cubicBezTo>
                <a:cubicBezTo>
                  <a:pt x="1037" y="93"/>
                  <a:pt x="1037" y="93"/>
                  <a:pt x="1037" y="94"/>
                </a:cubicBezTo>
                <a:close/>
                <a:moveTo>
                  <a:pt x="1564" y="18"/>
                </a:moveTo>
                <a:cubicBezTo>
                  <a:pt x="1564" y="18"/>
                  <a:pt x="1563" y="18"/>
                  <a:pt x="1563" y="18"/>
                </a:cubicBezTo>
                <a:cubicBezTo>
                  <a:pt x="1563" y="18"/>
                  <a:pt x="1563" y="18"/>
                  <a:pt x="1564" y="18"/>
                </a:cubicBezTo>
                <a:close/>
                <a:moveTo>
                  <a:pt x="1379" y="63"/>
                </a:moveTo>
                <a:cubicBezTo>
                  <a:pt x="1379" y="63"/>
                  <a:pt x="1379" y="63"/>
                  <a:pt x="1379" y="63"/>
                </a:cubicBezTo>
                <a:cubicBezTo>
                  <a:pt x="1379" y="63"/>
                  <a:pt x="1379" y="63"/>
                  <a:pt x="1379" y="63"/>
                </a:cubicBezTo>
                <a:close/>
                <a:moveTo>
                  <a:pt x="1548" y="63"/>
                </a:moveTo>
                <a:cubicBezTo>
                  <a:pt x="1548" y="63"/>
                  <a:pt x="1548" y="63"/>
                  <a:pt x="1548" y="63"/>
                </a:cubicBezTo>
                <a:cubicBezTo>
                  <a:pt x="1548" y="63"/>
                  <a:pt x="1548" y="63"/>
                  <a:pt x="1548" y="63"/>
                </a:cubicBezTo>
                <a:close/>
                <a:moveTo>
                  <a:pt x="1564" y="63"/>
                </a:moveTo>
                <a:cubicBezTo>
                  <a:pt x="1563" y="63"/>
                  <a:pt x="1563" y="63"/>
                  <a:pt x="1563" y="63"/>
                </a:cubicBezTo>
                <a:cubicBezTo>
                  <a:pt x="1563" y="63"/>
                  <a:pt x="1563" y="63"/>
                  <a:pt x="1564" y="63"/>
                </a:cubicBezTo>
                <a:close/>
                <a:moveTo>
                  <a:pt x="1654" y="63"/>
                </a:moveTo>
                <a:cubicBezTo>
                  <a:pt x="1654" y="63"/>
                  <a:pt x="1654" y="63"/>
                  <a:pt x="1654" y="63"/>
                </a:cubicBezTo>
                <a:cubicBezTo>
                  <a:pt x="1654" y="63"/>
                  <a:pt x="1654" y="63"/>
                  <a:pt x="1654" y="63"/>
                </a:cubicBezTo>
                <a:close/>
                <a:moveTo>
                  <a:pt x="1716" y="63"/>
                </a:moveTo>
                <a:cubicBezTo>
                  <a:pt x="1716" y="63"/>
                  <a:pt x="1716" y="63"/>
                  <a:pt x="1716" y="63"/>
                </a:cubicBezTo>
                <a:cubicBezTo>
                  <a:pt x="1716" y="63"/>
                  <a:pt x="1716" y="63"/>
                  <a:pt x="1716" y="63"/>
                </a:cubicBezTo>
                <a:close/>
                <a:moveTo>
                  <a:pt x="1732" y="63"/>
                </a:moveTo>
                <a:cubicBezTo>
                  <a:pt x="1732" y="63"/>
                  <a:pt x="1731" y="63"/>
                  <a:pt x="1731" y="63"/>
                </a:cubicBezTo>
                <a:cubicBezTo>
                  <a:pt x="1731" y="63"/>
                  <a:pt x="1732" y="63"/>
                  <a:pt x="1732" y="63"/>
                </a:cubicBezTo>
                <a:close/>
                <a:moveTo>
                  <a:pt x="584" y="63"/>
                </a:moveTo>
                <a:cubicBezTo>
                  <a:pt x="584" y="63"/>
                  <a:pt x="584" y="64"/>
                  <a:pt x="584" y="64"/>
                </a:cubicBezTo>
                <a:cubicBezTo>
                  <a:pt x="584" y="63"/>
                  <a:pt x="584" y="63"/>
                  <a:pt x="584" y="63"/>
                </a:cubicBezTo>
                <a:close/>
                <a:moveTo>
                  <a:pt x="1732" y="18"/>
                </a:moveTo>
                <a:cubicBezTo>
                  <a:pt x="1732" y="18"/>
                  <a:pt x="1732" y="18"/>
                  <a:pt x="1731" y="18"/>
                </a:cubicBezTo>
                <a:cubicBezTo>
                  <a:pt x="1731" y="18"/>
                  <a:pt x="1732" y="18"/>
                  <a:pt x="1732" y="18"/>
                </a:cubicBezTo>
                <a:close/>
                <a:moveTo>
                  <a:pt x="584" y="93"/>
                </a:moveTo>
                <a:cubicBezTo>
                  <a:pt x="584" y="93"/>
                  <a:pt x="584" y="94"/>
                  <a:pt x="584" y="94"/>
                </a:cubicBezTo>
                <a:cubicBezTo>
                  <a:pt x="584" y="94"/>
                  <a:pt x="584" y="94"/>
                  <a:pt x="584" y="93"/>
                </a:cubicBezTo>
                <a:close/>
                <a:moveTo>
                  <a:pt x="966" y="18"/>
                </a:moveTo>
                <a:cubicBezTo>
                  <a:pt x="966" y="18"/>
                  <a:pt x="966" y="18"/>
                  <a:pt x="966" y="18"/>
                </a:cubicBezTo>
                <a:cubicBezTo>
                  <a:pt x="966" y="18"/>
                  <a:pt x="966" y="18"/>
                  <a:pt x="966" y="18"/>
                </a:cubicBezTo>
                <a:close/>
                <a:moveTo>
                  <a:pt x="1680" y="18"/>
                </a:moveTo>
                <a:cubicBezTo>
                  <a:pt x="1680" y="18"/>
                  <a:pt x="1680" y="18"/>
                  <a:pt x="1681" y="18"/>
                </a:cubicBezTo>
                <a:cubicBezTo>
                  <a:pt x="1680" y="18"/>
                  <a:pt x="1680" y="18"/>
                  <a:pt x="1680" y="18"/>
                </a:cubicBezTo>
                <a:close/>
                <a:moveTo>
                  <a:pt x="1563" y="63"/>
                </a:moveTo>
                <a:cubicBezTo>
                  <a:pt x="1563" y="63"/>
                  <a:pt x="1563" y="63"/>
                  <a:pt x="1563" y="64"/>
                </a:cubicBezTo>
                <a:cubicBezTo>
                  <a:pt x="1563" y="63"/>
                  <a:pt x="1563" y="63"/>
                  <a:pt x="1563" y="63"/>
                </a:cubicBezTo>
                <a:close/>
                <a:moveTo>
                  <a:pt x="1655" y="64"/>
                </a:moveTo>
                <a:cubicBezTo>
                  <a:pt x="1655" y="63"/>
                  <a:pt x="1655" y="63"/>
                  <a:pt x="1654" y="63"/>
                </a:cubicBezTo>
                <a:cubicBezTo>
                  <a:pt x="1655" y="63"/>
                  <a:pt x="1655" y="64"/>
                  <a:pt x="1655" y="64"/>
                </a:cubicBezTo>
                <a:close/>
                <a:moveTo>
                  <a:pt x="1669" y="63"/>
                </a:moveTo>
                <a:cubicBezTo>
                  <a:pt x="1669" y="63"/>
                  <a:pt x="1669" y="64"/>
                  <a:pt x="1669" y="64"/>
                </a:cubicBezTo>
                <a:cubicBezTo>
                  <a:pt x="1669" y="63"/>
                  <a:pt x="1669" y="63"/>
                  <a:pt x="1669" y="63"/>
                </a:cubicBezTo>
                <a:close/>
                <a:moveTo>
                  <a:pt x="755" y="94"/>
                </a:moveTo>
                <a:cubicBezTo>
                  <a:pt x="755" y="94"/>
                  <a:pt x="755" y="93"/>
                  <a:pt x="755" y="93"/>
                </a:cubicBezTo>
                <a:cubicBezTo>
                  <a:pt x="755" y="94"/>
                  <a:pt x="755" y="94"/>
                  <a:pt x="755" y="94"/>
                </a:cubicBezTo>
                <a:close/>
                <a:moveTo>
                  <a:pt x="965" y="19"/>
                </a:moveTo>
                <a:cubicBezTo>
                  <a:pt x="965" y="19"/>
                  <a:pt x="966" y="19"/>
                  <a:pt x="966" y="18"/>
                </a:cubicBezTo>
                <a:cubicBezTo>
                  <a:pt x="965" y="18"/>
                  <a:pt x="965" y="19"/>
                  <a:pt x="965" y="19"/>
                </a:cubicBezTo>
                <a:close/>
                <a:moveTo>
                  <a:pt x="967" y="94"/>
                </a:moveTo>
                <a:cubicBezTo>
                  <a:pt x="967" y="94"/>
                  <a:pt x="966" y="94"/>
                  <a:pt x="966" y="94"/>
                </a:cubicBezTo>
                <a:cubicBezTo>
                  <a:pt x="966" y="94"/>
                  <a:pt x="967" y="94"/>
                  <a:pt x="967" y="94"/>
                </a:cubicBezTo>
                <a:close/>
                <a:moveTo>
                  <a:pt x="1731" y="63"/>
                </a:moveTo>
                <a:cubicBezTo>
                  <a:pt x="1731" y="63"/>
                  <a:pt x="1731" y="63"/>
                  <a:pt x="1731" y="64"/>
                </a:cubicBezTo>
                <a:cubicBezTo>
                  <a:pt x="1731" y="63"/>
                  <a:pt x="1731" y="63"/>
                  <a:pt x="1731" y="63"/>
                </a:cubicBezTo>
                <a:close/>
                <a:moveTo>
                  <a:pt x="574" y="55"/>
                </a:moveTo>
                <a:cubicBezTo>
                  <a:pt x="574" y="55"/>
                  <a:pt x="574" y="55"/>
                  <a:pt x="574" y="55"/>
                </a:cubicBezTo>
                <a:cubicBezTo>
                  <a:pt x="574" y="55"/>
                  <a:pt x="574" y="55"/>
                  <a:pt x="574" y="55"/>
                </a:cubicBezTo>
                <a:close/>
                <a:moveTo>
                  <a:pt x="584" y="64"/>
                </a:moveTo>
                <a:cubicBezTo>
                  <a:pt x="584" y="64"/>
                  <a:pt x="585" y="64"/>
                  <a:pt x="585" y="64"/>
                </a:cubicBezTo>
                <a:cubicBezTo>
                  <a:pt x="585" y="64"/>
                  <a:pt x="585" y="64"/>
                  <a:pt x="584" y="64"/>
                </a:cubicBezTo>
                <a:close/>
                <a:moveTo>
                  <a:pt x="1394" y="18"/>
                </a:moveTo>
                <a:cubicBezTo>
                  <a:pt x="1394" y="19"/>
                  <a:pt x="1395" y="19"/>
                  <a:pt x="1395" y="19"/>
                </a:cubicBezTo>
                <a:cubicBezTo>
                  <a:pt x="1395" y="19"/>
                  <a:pt x="1395" y="18"/>
                  <a:pt x="1394" y="18"/>
                </a:cubicBezTo>
                <a:close/>
                <a:moveTo>
                  <a:pt x="1417" y="19"/>
                </a:moveTo>
                <a:cubicBezTo>
                  <a:pt x="1418" y="19"/>
                  <a:pt x="1418" y="19"/>
                  <a:pt x="1418" y="18"/>
                </a:cubicBezTo>
                <a:cubicBezTo>
                  <a:pt x="1418" y="18"/>
                  <a:pt x="1417" y="19"/>
                  <a:pt x="1417" y="19"/>
                </a:cubicBezTo>
                <a:close/>
                <a:moveTo>
                  <a:pt x="1419" y="94"/>
                </a:moveTo>
                <a:cubicBezTo>
                  <a:pt x="1419" y="94"/>
                  <a:pt x="1419" y="93"/>
                  <a:pt x="1419" y="93"/>
                </a:cubicBezTo>
                <a:cubicBezTo>
                  <a:pt x="1419" y="94"/>
                  <a:pt x="1419" y="94"/>
                  <a:pt x="1419" y="94"/>
                </a:cubicBezTo>
                <a:close/>
                <a:moveTo>
                  <a:pt x="662" y="64"/>
                </a:moveTo>
                <a:cubicBezTo>
                  <a:pt x="662" y="64"/>
                  <a:pt x="662" y="64"/>
                  <a:pt x="662" y="63"/>
                </a:cubicBezTo>
                <a:cubicBezTo>
                  <a:pt x="662" y="64"/>
                  <a:pt x="662" y="64"/>
                  <a:pt x="662" y="64"/>
                </a:cubicBezTo>
                <a:close/>
                <a:moveTo>
                  <a:pt x="1464" y="18"/>
                </a:moveTo>
                <a:cubicBezTo>
                  <a:pt x="1464" y="19"/>
                  <a:pt x="1464" y="19"/>
                  <a:pt x="1464" y="19"/>
                </a:cubicBezTo>
                <a:cubicBezTo>
                  <a:pt x="1464" y="19"/>
                  <a:pt x="1464" y="18"/>
                  <a:pt x="1464" y="18"/>
                </a:cubicBezTo>
                <a:close/>
                <a:moveTo>
                  <a:pt x="584" y="94"/>
                </a:moveTo>
                <a:cubicBezTo>
                  <a:pt x="583" y="94"/>
                  <a:pt x="583" y="94"/>
                  <a:pt x="583" y="94"/>
                </a:cubicBezTo>
                <a:cubicBezTo>
                  <a:pt x="584" y="94"/>
                  <a:pt x="584" y="94"/>
                  <a:pt x="584" y="94"/>
                </a:cubicBezTo>
                <a:close/>
                <a:moveTo>
                  <a:pt x="1363" y="64"/>
                </a:moveTo>
                <a:cubicBezTo>
                  <a:pt x="1363" y="64"/>
                  <a:pt x="1363" y="64"/>
                  <a:pt x="1363" y="64"/>
                </a:cubicBezTo>
                <a:cubicBezTo>
                  <a:pt x="1363" y="64"/>
                  <a:pt x="1363" y="64"/>
                  <a:pt x="1363" y="64"/>
                </a:cubicBezTo>
                <a:close/>
                <a:moveTo>
                  <a:pt x="755" y="94"/>
                </a:moveTo>
                <a:cubicBezTo>
                  <a:pt x="755" y="94"/>
                  <a:pt x="755" y="94"/>
                  <a:pt x="755" y="94"/>
                </a:cubicBezTo>
                <a:cubicBezTo>
                  <a:pt x="755" y="94"/>
                  <a:pt x="755" y="94"/>
                  <a:pt x="755" y="94"/>
                </a:cubicBezTo>
                <a:close/>
                <a:moveTo>
                  <a:pt x="967" y="94"/>
                </a:moveTo>
                <a:cubicBezTo>
                  <a:pt x="967" y="94"/>
                  <a:pt x="967" y="94"/>
                  <a:pt x="967" y="94"/>
                </a:cubicBezTo>
                <a:cubicBezTo>
                  <a:pt x="967" y="94"/>
                  <a:pt x="967" y="94"/>
                  <a:pt x="967" y="94"/>
                </a:cubicBezTo>
                <a:close/>
                <a:moveTo>
                  <a:pt x="1419" y="94"/>
                </a:moveTo>
                <a:cubicBezTo>
                  <a:pt x="1419" y="94"/>
                  <a:pt x="1419" y="94"/>
                  <a:pt x="1419" y="94"/>
                </a:cubicBezTo>
                <a:cubicBezTo>
                  <a:pt x="1419" y="94"/>
                  <a:pt x="1419" y="94"/>
                  <a:pt x="1419" y="94"/>
                </a:cubicBezTo>
                <a:close/>
                <a:moveTo>
                  <a:pt x="1460" y="94"/>
                </a:moveTo>
                <a:cubicBezTo>
                  <a:pt x="1460" y="94"/>
                  <a:pt x="1460" y="94"/>
                  <a:pt x="1460" y="94"/>
                </a:cubicBezTo>
                <a:cubicBezTo>
                  <a:pt x="1460" y="94"/>
                  <a:pt x="1460" y="94"/>
                  <a:pt x="1460" y="94"/>
                </a:cubicBezTo>
                <a:close/>
                <a:moveTo>
                  <a:pt x="583" y="94"/>
                </a:moveTo>
                <a:cubicBezTo>
                  <a:pt x="583" y="94"/>
                  <a:pt x="583" y="94"/>
                  <a:pt x="583" y="95"/>
                </a:cubicBezTo>
                <a:cubicBezTo>
                  <a:pt x="583" y="94"/>
                  <a:pt x="583" y="94"/>
                  <a:pt x="583" y="94"/>
                </a:cubicBezTo>
                <a:close/>
                <a:moveTo>
                  <a:pt x="1378" y="64"/>
                </a:moveTo>
                <a:cubicBezTo>
                  <a:pt x="1378" y="64"/>
                  <a:pt x="1378" y="64"/>
                  <a:pt x="1378" y="64"/>
                </a:cubicBezTo>
                <a:cubicBezTo>
                  <a:pt x="1378" y="64"/>
                  <a:pt x="1378" y="64"/>
                  <a:pt x="1378" y="64"/>
                </a:cubicBezTo>
                <a:close/>
                <a:moveTo>
                  <a:pt x="696" y="94"/>
                </a:moveTo>
                <a:cubicBezTo>
                  <a:pt x="696" y="94"/>
                  <a:pt x="696" y="94"/>
                  <a:pt x="696" y="95"/>
                </a:cubicBezTo>
                <a:cubicBezTo>
                  <a:pt x="696" y="94"/>
                  <a:pt x="696" y="94"/>
                  <a:pt x="696" y="94"/>
                </a:cubicBezTo>
                <a:close/>
                <a:moveTo>
                  <a:pt x="1565" y="19"/>
                </a:moveTo>
                <a:cubicBezTo>
                  <a:pt x="1565" y="18"/>
                  <a:pt x="1565" y="18"/>
                  <a:pt x="1564" y="18"/>
                </a:cubicBezTo>
                <a:cubicBezTo>
                  <a:pt x="1564" y="18"/>
                  <a:pt x="1565" y="19"/>
                  <a:pt x="1565" y="19"/>
                </a:cubicBezTo>
                <a:close/>
                <a:moveTo>
                  <a:pt x="756" y="95"/>
                </a:moveTo>
                <a:cubicBezTo>
                  <a:pt x="756" y="94"/>
                  <a:pt x="756" y="94"/>
                  <a:pt x="755" y="94"/>
                </a:cubicBezTo>
                <a:cubicBezTo>
                  <a:pt x="755" y="94"/>
                  <a:pt x="756" y="94"/>
                  <a:pt x="756" y="95"/>
                </a:cubicBezTo>
                <a:close/>
                <a:moveTo>
                  <a:pt x="967" y="94"/>
                </a:moveTo>
                <a:cubicBezTo>
                  <a:pt x="967" y="94"/>
                  <a:pt x="967" y="94"/>
                  <a:pt x="967" y="94"/>
                </a:cubicBezTo>
                <a:cubicBezTo>
                  <a:pt x="967" y="94"/>
                  <a:pt x="967" y="94"/>
                  <a:pt x="967" y="94"/>
                </a:cubicBezTo>
                <a:close/>
                <a:moveTo>
                  <a:pt x="1733" y="19"/>
                </a:moveTo>
                <a:cubicBezTo>
                  <a:pt x="1733" y="18"/>
                  <a:pt x="1733" y="18"/>
                  <a:pt x="1732" y="18"/>
                </a:cubicBezTo>
                <a:cubicBezTo>
                  <a:pt x="1733" y="18"/>
                  <a:pt x="1733" y="19"/>
                  <a:pt x="1733" y="19"/>
                </a:cubicBezTo>
                <a:close/>
                <a:moveTo>
                  <a:pt x="1216" y="94"/>
                </a:moveTo>
                <a:cubicBezTo>
                  <a:pt x="1216" y="94"/>
                  <a:pt x="1215" y="94"/>
                  <a:pt x="1215" y="94"/>
                </a:cubicBezTo>
                <a:cubicBezTo>
                  <a:pt x="1215" y="94"/>
                  <a:pt x="1215" y="94"/>
                  <a:pt x="1216" y="94"/>
                </a:cubicBezTo>
                <a:close/>
                <a:moveTo>
                  <a:pt x="1669" y="64"/>
                </a:moveTo>
                <a:cubicBezTo>
                  <a:pt x="1669" y="64"/>
                  <a:pt x="1669" y="64"/>
                  <a:pt x="1670" y="64"/>
                </a:cubicBezTo>
                <a:cubicBezTo>
                  <a:pt x="1670" y="64"/>
                  <a:pt x="1670" y="64"/>
                  <a:pt x="1669" y="64"/>
                </a:cubicBezTo>
                <a:close/>
                <a:moveTo>
                  <a:pt x="1460" y="94"/>
                </a:moveTo>
                <a:cubicBezTo>
                  <a:pt x="1460" y="94"/>
                  <a:pt x="1459" y="94"/>
                  <a:pt x="1459" y="95"/>
                </a:cubicBezTo>
                <a:cubicBezTo>
                  <a:pt x="1460" y="94"/>
                  <a:pt x="1460" y="94"/>
                  <a:pt x="1460" y="94"/>
                </a:cubicBezTo>
                <a:close/>
                <a:moveTo>
                  <a:pt x="965" y="19"/>
                </a:moveTo>
                <a:cubicBezTo>
                  <a:pt x="965" y="19"/>
                  <a:pt x="965" y="19"/>
                  <a:pt x="965" y="19"/>
                </a:cubicBezTo>
                <a:cubicBezTo>
                  <a:pt x="965" y="19"/>
                  <a:pt x="965" y="19"/>
                  <a:pt x="965" y="19"/>
                </a:cubicBezTo>
                <a:close/>
                <a:moveTo>
                  <a:pt x="583" y="95"/>
                </a:moveTo>
                <a:cubicBezTo>
                  <a:pt x="583" y="95"/>
                  <a:pt x="583" y="95"/>
                  <a:pt x="583" y="95"/>
                </a:cubicBezTo>
                <a:cubicBezTo>
                  <a:pt x="583" y="95"/>
                  <a:pt x="583" y="95"/>
                  <a:pt x="583" y="95"/>
                </a:cubicBezTo>
                <a:close/>
                <a:moveTo>
                  <a:pt x="696" y="95"/>
                </a:moveTo>
                <a:cubicBezTo>
                  <a:pt x="696" y="95"/>
                  <a:pt x="696" y="95"/>
                  <a:pt x="696" y="95"/>
                </a:cubicBezTo>
                <a:cubicBezTo>
                  <a:pt x="696" y="95"/>
                  <a:pt x="696" y="95"/>
                  <a:pt x="696" y="95"/>
                </a:cubicBezTo>
                <a:close/>
                <a:moveTo>
                  <a:pt x="756" y="95"/>
                </a:moveTo>
                <a:cubicBezTo>
                  <a:pt x="756" y="95"/>
                  <a:pt x="756" y="95"/>
                  <a:pt x="756" y="95"/>
                </a:cubicBezTo>
                <a:cubicBezTo>
                  <a:pt x="756" y="95"/>
                  <a:pt x="756" y="95"/>
                  <a:pt x="756" y="95"/>
                </a:cubicBezTo>
                <a:close/>
                <a:moveTo>
                  <a:pt x="1381" y="19"/>
                </a:moveTo>
                <a:cubicBezTo>
                  <a:pt x="1381" y="19"/>
                  <a:pt x="1381" y="19"/>
                  <a:pt x="1381" y="19"/>
                </a:cubicBezTo>
                <a:cubicBezTo>
                  <a:pt x="1381" y="19"/>
                  <a:pt x="1381" y="19"/>
                  <a:pt x="1381" y="19"/>
                </a:cubicBezTo>
                <a:close/>
                <a:moveTo>
                  <a:pt x="1038" y="95"/>
                </a:moveTo>
                <a:cubicBezTo>
                  <a:pt x="1038" y="95"/>
                  <a:pt x="1038" y="94"/>
                  <a:pt x="1038" y="94"/>
                </a:cubicBezTo>
                <a:cubicBezTo>
                  <a:pt x="1038" y="95"/>
                  <a:pt x="1038" y="95"/>
                  <a:pt x="1038" y="95"/>
                </a:cubicBezTo>
                <a:close/>
                <a:moveTo>
                  <a:pt x="1216" y="95"/>
                </a:moveTo>
                <a:cubicBezTo>
                  <a:pt x="1216" y="95"/>
                  <a:pt x="1216" y="95"/>
                  <a:pt x="1216" y="94"/>
                </a:cubicBezTo>
                <a:cubicBezTo>
                  <a:pt x="1216" y="95"/>
                  <a:pt x="1216" y="95"/>
                  <a:pt x="1216" y="95"/>
                </a:cubicBezTo>
                <a:close/>
                <a:moveTo>
                  <a:pt x="1459" y="94"/>
                </a:moveTo>
                <a:cubicBezTo>
                  <a:pt x="1459" y="95"/>
                  <a:pt x="1459" y="95"/>
                  <a:pt x="1459" y="95"/>
                </a:cubicBezTo>
                <a:cubicBezTo>
                  <a:pt x="1459" y="95"/>
                  <a:pt x="1459" y="95"/>
                  <a:pt x="1459" y="94"/>
                </a:cubicBezTo>
                <a:close/>
                <a:moveTo>
                  <a:pt x="1541" y="19"/>
                </a:moveTo>
                <a:cubicBezTo>
                  <a:pt x="1540" y="19"/>
                  <a:pt x="1540" y="19"/>
                  <a:pt x="1540" y="19"/>
                </a:cubicBezTo>
                <a:cubicBezTo>
                  <a:pt x="1540" y="19"/>
                  <a:pt x="1541" y="19"/>
                  <a:pt x="1541" y="19"/>
                </a:cubicBezTo>
                <a:close/>
                <a:moveTo>
                  <a:pt x="583" y="95"/>
                </a:moveTo>
                <a:cubicBezTo>
                  <a:pt x="582" y="95"/>
                  <a:pt x="582" y="95"/>
                  <a:pt x="582" y="95"/>
                </a:cubicBezTo>
                <a:cubicBezTo>
                  <a:pt x="582" y="95"/>
                  <a:pt x="583" y="95"/>
                  <a:pt x="583" y="95"/>
                </a:cubicBezTo>
                <a:close/>
                <a:moveTo>
                  <a:pt x="1565" y="19"/>
                </a:moveTo>
                <a:cubicBezTo>
                  <a:pt x="1565" y="19"/>
                  <a:pt x="1565" y="19"/>
                  <a:pt x="1565" y="19"/>
                </a:cubicBezTo>
                <a:cubicBezTo>
                  <a:pt x="1565" y="19"/>
                  <a:pt x="1565" y="19"/>
                  <a:pt x="1565" y="19"/>
                </a:cubicBezTo>
                <a:close/>
                <a:moveTo>
                  <a:pt x="662" y="64"/>
                </a:moveTo>
                <a:cubicBezTo>
                  <a:pt x="662" y="64"/>
                  <a:pt x="662" y="64"/>
                  <a:pt x="662" y="64"/>
                </a:cubicBezTo>
                <a:cubicBezTo>
                  <a:pt x="662" y="64"/>
                  <a:pt x="662" y="64"/>
                  <a:pt x="662" y="64"/>
                </a:cubicBezTo>
                <a:close/>
                <a:moveTo>
                  <a:pt x="1709" y="19"/>
                </a:moveTo>
                <a:cubicBezTo>
                  <a:pt x="1709" y="19"/>
                  <a:pt x="1708" y="19"/>
                  <a:pt x="1708" y="19"/>
                </a:cubicBezTo>
                <a:cubicBezTo>
                  <a:pt x="1709" y="19"/>
                  <a:pt x="1709" y="19"/>
                  <a:pt x="1709" y="19"/>
                </a:cubicBezTo>
                <a:close/>
                <a:moveTo>
                  <a:pt x="756" y="95"/>
                </a:moveTo>
                <a:cubicBezTo>
                  <a:pt x="756" y="95"/>
                  <a:pt x="756" y="95"/>
                  <a:pt x="756" y="95"/>
                </a:cubicBezTo>
                <a:cubicBezTo>
                  <a:pt x="756" y="95"/>
                  <a:pt x="756" y="95"/>
                  <a:pt x="756" y="95"/>
                </a:cubicBezTo>
                <a:close/>
                <a:moveTo>
                  <a:pt x="968" y="95"/>
                </a:moveTo>
                <a:cubicBezTo>
                  <a:pt x="968" y="95"/>
                  <a:pt x="968" y="95"/>
                  <a:pt x="968" y="95"/>
                </a:cubicBezTo>
                <a:cubicBezTo>
                  <a:pt x="968" y="95"/>
                  <a:pt x="968" y="95"/>
                  <a:pt x="968" y="95"/>
                </a:cubicBezTo>
                <a:close/>
                <a:moveTo>
                  <a:pt x="1038" y="95"/>
                </a:moveTo>
                <a:cubicBezTo>
                  <a:pt x="1038" y="95"/>
                  <a:pt x="1038" y="95"/>
                  <a:pt x="1038" y="95"/>
                </a:cubicBezTo>
                <a:cubicBezTo>
                  <a:pt x="1038" y="95"/>
                  <a:pt x="1038" y="95"/>
                  <a:pt x="1038" y="95"/>
                </a:cubicBezTo>
                <a:close/>
                <a:moveTo>
                  <a:pt x="1733" y="19"/>
                </a:moveTo>
                <a:cubicBezTo>
                  <a:pt x="1733" y="19"/>
                  <a:pt x="1733" y="19"/>
                  <a:pt x="1733" y="19"/>
                </a:cubicBezTo>
                <a:cubicBezTo>
                  <a:pt x="1733" y="19"/>
                  <a:pt x="1733" y="19"/>
                  <a:pt x="1733" y="19"/>
                </a:cubicBezTo>
                <a:close/>
                <a:moveTo>
                  <a:pt x="1216" y="95"/>
                </a:moveTo>
                <a:cubicBezTo>
                  <a:pt x="1216" y="95"/>
                  <a:pt x="1216" y="95"/>
                  <a:pt x="1216" y="95"/>
                </a:cubicBezTo>
                <a:cubicBezTo>
                  <a:pt x="1216" y="95"/>
                  <a:pt x="1216" y="95"/>
                  <a:pt x="1216" y="95"/>
                </a:cubicBezTo>
                <a:close/>
                <a:moveTo>
                  <a:pt x="1459" y="95"/>
                </a:moveTo>
                <a:cubicBezTo>
                  <a:pt x="1459" y="95"/>
                  <a:pt x="1459" y="95"/>
                  <a:pt x="1459" y="95"/>
                </a:cubicBezTo>
                <a:cubicBezTo>
                  <a:pt x="1459" y="95"/>
                  <a:pt x="1459" y="95"/>
                  <a:pt x="1459" y="95"/>
                </a:cubicBezTo>
                <a:close/>
                <a:moveTo>
                  <a:pt x="582" y="95"/>
                </a:moveTo>
                <a:cubicBezTo>
                  <a:pt x="582" y="95"/>
                  <a:pt x="582" y="95"/>
                  <a:pt x="582" y="96"/>
                </a:cubicBezTo>
                <a:cubicBezTo>
                  <a:pt x="582" y="96"/>
                  <a:pt x="582" y="95"/>
                  <a:pt x="582" y="95"/>
                </a:cubicBezTo>
                <a:close/>
                <a:moveTo>
                  <a:pt x="1362" y="64"/>
                </a:moveTo>
                <a:cubicBezTo>
                  <a:pt x="1363" y="64"/>
                  <a:pt x="1363" y="64"/>
                  <a:pt x="1363" y="64"/>
                </a:cubicBezTo>
                <a:cubicBezTo>
                  <a:pt x="1363" y="64"/>
                  <a:pt x="1363" y="64"/>
                  <a:pt x="1362" y="64"/>
                </a:cubicBezTo>
                <a:close/>
                <a:moveTo>
                  <a:pt x="757" y="96"/>
                </a:moveTo>
                <a:cubicBezTo>
                  <a:pt x="757" y="95"/>
                  <a:pt x="757" y="95"/>
                  <a:pt x="756" y="95"/>
                </a:cubicBezTo>
                <a:cubicBezTo>
                  <a:pt x="756" y="95"/>
                  <a:pt x="757" y="95"/>
                  <a:pt x="757" y="96"/>
                </a:cubicBezTo>
                <a:close/>
                <a:moveTo>
                  <a:pt x="1378" y="64"/>
                </a:moveTo>
                <a:cubicBezTo>
                  <a:pt x="1378" y="64"/>
                  <a:pt x="1378" y="64"/>
                  <a:pt x="1378" y="64"/>
                </a:cubicBezTo>
                <a:cubicBezTo>
                  <a:pt x="1378" y="64"/>
                  <a:pt x="1378" y="64"/>
                  <a:pt x="1378" y="64"/>
                </a:cubicBezTo>
                <a:close/>
                <a:moveTo>
                  <a:pt x="1039" y="96"/>
                </a:moveTo>
                <a:cubicBezTo>
                  <a:pt x="1039" y="95"/>
                  <a:pt x="1039" y="95"/>
                  <a:pt x="1038" y="95"/>
                </a:cubicBezTo>
                <a:cubicBezTo>
                  <a:pt x="1038" y="95"/>
                  <a:pt x="1039" y="96"/>
                  <a:pt x="1039" y="96"/>
                </a:cubicBezTo>
                <a:close/>
                <a:moveTo>
                  <a:pt x="1217" y="96"/>
                </a:moveTo>
                <a:cubicBezTo>
                  <a:pt x="1217" y="95"/>
                  <a:pt x="1216" y="95"/>
                  <a:pt x="1216" y="95"/>
                </a:cubicBezTo>
                <a:cubicBezTo>
                  <a:pt x="1216" y="95"/>
                  <a:pt x="1216" y="96"/>
                  <a:pt x="1217" y="96"/>
                </a:cubicBezTo>
                <a:close/>
                <a:moveTo>
                  <a:pt x="1421" y="96"/>
                </a:moveTo>
                <a:cubicBezTo>
                  <a:pt x="1421" y="95"/>
                  <a:pt x="1420" y="95"/>
                  <a:pt x="1420" y="95"/>
                </a:cubicBezTo>
                <a:cubicBezTo>
                  <a:pt x="1420" y="95"/>
                  <a:pt x="1420" y="95"/>
                  <a:pt x="1421" y="96"/>
                </a:cubicBezTo>
                <a:close/>
                <a:moveTo>
                  <a:pt x="1459" y="95"/>
                </a:moveTo>
                <a:cubicBezTo>
                  <a:pt x="1459" y="95"/>
                  <a:pt x="1458" y="95"/>
                  <a:pt x="1458" y="96"/>
                </a:cubicBezTo>
                <a:cubicBezTo>
                  <a:pt x="1459" y="95"/>
                  <a:pt x="1459" y="95"/>
                  <a:pt x="1459" y="95"/>
                </a:cubicBezTo>
                <a:close/>
                <a:moveTo>
                  <a:pt x="1547" y="64"/>
                </a:moveTo>
                <a:cubicBezTo>
                  <a:pt x="1547" y="64"/>
                  <a:pt x="1547" y="64"/>
                  <a:pt x="1547" y="64"/>
                </a:cubicBezTo>
                <a:cubicBezTo>
                  <a:pt x="1547" y="64"/>
                  <a:pt x="1547" y="64"/>
                  <a:pt x="1547" y="64"/>
                </a:cubicBezTo>
                <a:close/>
                <a:moveTo>
                  <a:pt x="1685" y="95"/>
                </a:moveTo>
                <a:cubicBezTo>
                  <a:pt x="1685" y="95"/>
                  <a:pt x="1685" y="96"/>
                  <a:pt x="1685" y="96"/>
                </a:cubicBezTo>
                <a:cubicBezTo>
                  <a:pt x="1685" y="96"/>
                  <a:pt x="1685" y="95"/>
                  <a:pt x="1685" y="95"/>
                </a:cubicBezTo>
                <a:close/>
                <a:moveTo>
                  <a:pt x="582" y="96"/>
                </a:moveTo>
                <a:cubicBezTo>
                  <a:pt x="582" y="96"/>
                  <a:pt x="582" y="96"/>
                  <a:pt x="582" y="96"/>
                </a:cubicBezTo>
                <a:cubicBezTo>
                  <a:pt x="582" y="96"/>
                  <a:pt x="582" y="96"/>
                  <a:pt x="582" y="96"/>
                </a:cubicBezTo>
                <a:close/>
                <a:moveTo>
                  <a:pt x="1562" y="64"/>
                </a:moveTo>
                <a:cubicBezTo>
                  <a:pt x="1562" y="64"/>
                  <a:pt x="1562" y="64"/>
                  <a:pt x="1562" y="64"/>
                </a:cubicBezTo>
                <a:cubicBezTo>
                  <a:pt x="1562" y="64"/>
                  <a:pt x="1562" y="64"/>
                  <a:pt x="1562" y="64"/>
                </a:cubicBezTo>
                <a:close/>
                <a:moveTo>
                  <a:pt x="1656" y="64"/>
                </a:moveTo>
                <a:cubicBezTo>
                  <a:pt x="1656" y="64"/>
                  <a:pt x="1656" y="64"/>
                  <a:pt x="1655" y="64"/>
                </a:cubicBezTo>
                <a:cubicBezTo>
                  <a:pt x="1656" y="64"/>
                  <a:pt x="1656" y="64"/>
                  <a:pt x="1656" y="64"/>
                </a:cubicBezTo>
                <a:close/>
                <a:moveTo>
                  <a:pt x="757" y="96"/>
                </a:moveTo>
                <a:cubicBezTo>
                  <a:pt x="757" y="96"/>
                  <a:pt x="757" y="96"/>
                  <a:pt x="757" y="96"/>
                </a:cubicBezTo>
                <a:cubicBezTo>
                  <a:pt x="757" y="96"/>
                  <a:pt x="757" y="96"/>
                  <a:pt x="757" y="96"/>
                </a:cubicBezTo>
                <a:close/>
                <a:moveTo>
                  <a:pt x="1039" y="96"/>
                </a:moveTo>
                <a:cubicBezTo>
                  <a:pt x="1039" y="96"/>
                  <a:pt x="1039" y="96"/>
                  <a:pt x="1039" y="96"/>
                </a:cubicBezTo>
                <a:cubicBezTo>
                  <a:pt x="1039" y="96"/>
                  <a:pt x="1039" y="96"/>
                  <a:pt x="1039" y="96"/>
                </a:cubicBezTo>
                <a:close/>
                <a:moveTo>
                  <a:pt x="1177" y="96"/>
                </a:moveTo>
                <a:cubicBezTo>
                  <a:pt x="1177" y="96"/>
                  <a:pt x="1177" y="96"/>
                  <a:pt x="1177" y="96"/>
                </a:cubicBezTo>
                <a:cubicBezTo>
                  <a:pt x="1177" y="96"/>
                  <a:pt x="1177" y="96"/>
                  <a:pt x="1177" y="96"/>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82" y="96"/>
                </a:moveTo>
                <a:cubicBezTo>
                  <a:pt x="581" y="96"/>
                  <a:pt x="581" y="96"/>
                  <a:pt x="581" y="96"/>
                </a:cubicBezTo>
                <a:cubicBezTo>
                  <a:pt x="581" y="96"/>
                  <a:pt x="582" y="96"/>
                  <a:pt x="582" y="96"/>
                </a:cubicBezTo>
                <a:close/>
                <a:moveTo>
                  <a:pt x="540" y="19"/>
                </a:moveTo>
                <a:cubicBezTo>
                  <a:pt x="540" y="19"/>
                  <a:pt x="540" y="19"/>
                  <a:pt x="540" y="19"/>
                </a:cubicBezTo>
                <a:cubicBezTo>
                  <a:pt x="540" y="19"/>
                  <a:pt x="540" y="19"/>
                  <a:pt x="540" y="19"/>
                </a:cubicBezTo>
                <a:close/>
                <a:moveTo>
                  <a:pt x="695" y="96"/>
                </a:moveTo>
                <a:cubicBezTo>
                  <a:pt x="695" y="96"/>
                  <a:pt x="695" y="96"/>
                  <a:pt x="695" y="96"/>
                </a:cubicBezTo>
                <a:cubicBezTo>
                  <a:pt x="695" y="96"/>
                  <a:pt x="695" y="96"/>
                  <a:pt x="695" y="96"/>
                </a:cubicBezTo>
                <a:close/>
                <a:moveTo>
                  <a:pt x="757" y="96"/>
                </a:moveTo>
                <a:cubicBezTo>
                  <a:pt x="757" y="96"/>
                  <a:pt x="757" y="96"/>
                  <a:pt x="757" y="96"/>
                </a:cubicBezTo>
                <a:cubicBezTo>
                  <a:pt x="757" y="96"/>
                  <a:pt x="757" y="96"/>
                  <a:pt x="757" y="96"/>
                </a:cubicBezTo>
                <a:close/>
                <a:moveTo>
                  <a:pt x="1715" y="64"/>
                </a:moveTo>
                <a:cubicBezTo>
                  <a:pt x="1715" y="64"/>
                  <a:pt x="1715" y="64"/>
                  <a:pt x="1715" y="64"/>
                </a:cubicBezTo>
                <a:cubicBezTo>
                  <a:pt x="1715" y="64"/>
                  <a:pt x="1715" y="64"/>
                  <a:pt x="1715" y="64"/>
                </a:cubicBezTo>
                <a:close/>
                <a:moveTo>
                  <a:pt x="1039" y="96"/>
                </a:moveTo>
                <a:cubicBezTo>
                  <a:pt x="1039" y="96"/>
                  <a:pt x="1039" y="96"/>
                  <a:pt x="1039" y="96"/>
                </a:cubicBezTo>
                <a:cubicBezTo>
                  <a:pt x="1039" y="96"/>
                  <a:pt x="1039" y="96"/>
                  <a:pt x="1039" y="96"/>
                </a:cubicBezTo>
                <a:close/>
                <a:moveTo>
                  <a:pt x="1730" y="64"/>
                </a:moveTo>
                <a:cubicBezTo>
                  <a:pt x="1730" y="64"/>
                  <a:pt x="1730" y="64"/>
                  <a:pt x="1730" y="64"/>
                </a:cubicBezTo>
                <a:cubicBezTo>
                  <a:pt x="1730" y="64"/>
                  <a:pt x="1730" y="64"/>
                  <a:pt x="1730" y="64"/>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54" y="19"/>
                </a:moveTo>
                <a:cubicBezTo>
                  <a:pt x="554" y="19"/>
                  <a:pt x="554" y="19"/>
                  <a:pt x="554" y="19"/>
                </a:cubicBezTo>
                <a:cubicBezTo>
                  <a:pt x="554" y="19"/>
                  <a:pt x="554" y="19"/>
                  <a:pt x="554" y="19"/>
                </a:cubicBezTo>
                <a:close/>
                <a:moveTo>
                  <a:pt x="663" y="65"/>
                </a:moveTo>
                <a:cubicBezTo>
                  <a:pt x="663" y="64"/>
                  <a:pt x="663" y="64"/>
                  <a:pt x="662" y="64"/>
                </a:cubicBezTo>
                <a:cubicBezTo>
                  <a:pt x="663" y="64"/>
                  <a:pt x="663" y="64"/>
                  <a:pt x="663" y="65"/>
                </a:cubicBezTo>
                <a:close/>
                <a:moveTo>
                  <a:pt x="965" y="19"/>
                </a:moveTo>
                <a:cubicBezTo>
                  <a:pt x="965" y="19"/>
                  <a:pt x="965" y="19"/>
                  <a:pt x="965" y="19"/>
                </a:cubicBezTo>
                <a:cubicBezTo>
                  <a:pt x="965" y="19"/>
                  <a:pt x="965" y="19"/>
                  <a:pt x="965" y="19"/>
                </a:cubicBezTo>
                <a:close/>
                <a:moveTo>
                  <a:pt x="695" y="96"/>
                </a:moveTo>
                <a:cubicBezTo>
                  <a:pt x="694" y="96"/>
                  <a:pt x="694" y="96"/>
                  <a:pt x="694" y="97"/>
                </a:cubicBezTo>
                <a:cubicBezTo>
                  <a:pt x="695" y="97"/>
                  <a:pt x="695" y="96"/>
                  <a:pt x="695" y="96"/>
                </a:cubicBezTo>
                <a:close/>
                <a:moveTo>
                  <a:pt x="1356" y="19"/>
                </a:moveTo>
                <a:cubicBezTo>
                  <a:pt x="1356" y="19"/>
                  <a:pt x="1355" y="19"/>
                  <a:pt x="1355" y="19"/>
                </a:cubicBezTo>
                <a:cubicBezTo>
                  <a:pt x="1356" y="19"/>
                  <a:pt x="1356" y="19"/>
                  <a:pt x="1356" y="19"/>
                </a:cubicBezTo>
                <a:close/>
                <a:moveTo>
                  <a:pt x="758" y="97"/>
                </a:moveTo>
                <a:cubicBezTo>
                  <a:pt x="758" y="96"/>
                  <a:pt x="758" y="96"/>
                  <a:pt x="757" y="96"/>
                </a:cubicBezTo>
                <a:cubicBezTo>
                  <a:pt x="758" y="96"/>
                  <a:pt x="758" y="96"/>
                  <a:pt x="758" y="97"/>
                </a:cubicBezTo>
                <a:close/>
                <a:moveTo>
                  <a:pt x="1381" y="19"/>
                </a:moveTo>
                <a:cubicBezTo>
                  <a:pt x="1381" y="19"/>
                  <a:pt x="1381" y="19"/>
                  <a:pt x="1381" y="19"/>
                </a:cubicBezTo>
                <a:cubicBezTo>
                  <a:pt x="1381" y="19"/>
                  <a:pt x="1381" y="19"/>
                  <a:pt x="1381" y="19"/>
                </a:cubicBezTo>
                <a:close/>
                <a:moveTo>
                  <a:pt x="1218" y="97"/>
                </a:moveTo>
                <a:cubicBezTo>
                  <a:pt x="1218" y="96"/>
                  <a:pt x="1218" y="96"/>
                  <a:pt x="1217" y="96"/>
                </a:cubicBezTo>
                <a:cubicBezTo>
                  <a:pt x="1217" y="96"/>
                  <a:pt x="1217" y="97"/>
                  <a:pt x="1218" y="97"/>
                </a:cubicBezTo>
                <a:close/>
                <a:moveTo>
                  <a:pt x="1422" y="97"/>
                </a:moveTo>
                <a:cubicBezTo>
                  <a:pt x="1422" y="96"/>
                  <a:pt x="1421" y="96"/>
                  <a:pt x="1421" y="96"/>
                </a:cubicBezTo>
                <a:cubicBezTo>
                  <a:pt x="1421" y="96"/>
                  <a:pt x="1421" y="97"/>
                  <a:pt x="1422" y="97"/>
                </a:cubicBezTo>
                <a:close/>
                <a:moveTo>
                  <a:pt x="1458" y="96"/>
                </a:moveTo>
                <a:cubicBezTo>
                  <a:pt x="1458" y="96"/>
                  <a:pt x="1457" y="96"/>
                  <a:pt x="1457" y="97"/>
                </a:cubicBezTo>
                <a:cubicBezTo>
                  <a:pt x="1458" y="97"/>
                  <a:pt x="1458" y="96"/>
                  <a:pt x="1458" y="96"/>
                </a:cubicBezTo>
                <a:close/>
                <a:moveTo>
                  <a:pt x="581" y="97"/>
                </a:moveTo>
                <a:cubicBezTo>
                  <a:pt x="580" y="97"/>
                  <a:pt x="580" y="97"/>
                  <a:pt x="580" y="97"/>
                </a:cubicBezTo>
                <a:cubicBezTo>
                  <a:pt x="580" y="97"/>
                  <a:pt x="580" y="97"/>
                  <a:pt x="581" y="97"/>
                </a:cubicBezTo>
                <a:close/>
                <a:moveTo>
                  <a:pt x="1395" y="19"/>
                </a:moveTo>
                <a:cubicBezTo>
                  <a:pt x="1395" y="19"/>
                  <a:pt x="1395" y="19"/>
                  <a:pt x="1395" y="20"/>
                </a:cubicBezTo>
                <a:cubicBezTo>
                  <a:pt x="1395" y="19"/>
                  <a:pt x="1395" y="19"/>
                  <a:pt x="1395" y="19"/>
                </a:cubicBezTo>
                <a:close/>
                <a:moveTo>
                  <a:pt x="1546" y="65"/>
                </a:moveTo>
                <a:cubicBezTo>
                  <a:pt x="1546" y="65"/>
                  <a:pt x="1547" y="64"/>
                  <a:pt x="1547" y="64"/>
                </a:cubicBezTo>
                <a:cubicBezTo>
                  <a:pt x="1546" y="64"/>
                  <a:pt x="1546" y="64"/>
                  <a:pt x="1546" y="65"/>
                </a:cubicBezTo>
                <a:close/>
                <a:moveTo>
                  <a:pt x="758" y="97"/>
                </a:moveTo>
                <a:cubicBezTo>
                  <a:pt x="758" y="97"/>
                  <a:pt x="758" y="97"/>
                  <a:pt x="758" y="97"/>
                </a:cubicBezTo>
                <a:cubicBezTo>
                  <a:pt x="758" y="97"/>
                  <a:pt x="758" y="97"/>
                  <a:pt x="758" y="97"/>
                </a:cubicBezTo>
                <a:close/>
                <a:moveTo>
                  <a:pt x="1562" y="64"/>
                </a:moveTo>
                <a:cubicBezTo>
                  <a:pt x="1562" y="64"/>
                  <a:pt x="1561" y="64"/>
                  <a:pt x="1561" y="65"/>
                </a:cubicBezTo>
                <a:cubicBezTo>
                  <a:pt x="1562" y="65"/>
                  <a:pt x="1562" y="64"/>
                  <a:pt x="1562" y="64"/>
                </a:cubicBezTo>
                <a:close/>
                <a:moveTo>
                  <a:pt x="1083" y="97"/>
                </a:moveTo>
                <a:cubicBezTo>
                  <a:pt x="1083" y="97"/>
                  <a:pt x="1083" y="97"/>
                  <a:pt x="1083" y="97"/>
                </a:cubicBezTo>
                <a:cubicBezTo>
                  <a:pt x="1083" y="97"/>
                  <a:pt x="1083" y="97"/>
                  <a:pt x="1083" y="97"/>
                </a:cubicBezTo>
                <a:close/>
                <a:moveTo>
                  <a:pt x="1178" y="97"/>
                </a:moveTo>
                <a:cubicBezTo>
                  <a:pt x="1178" y="97"/>
                  <a:pt x="1178" y="97"/>
                  <a:pt x="1178" y="97"/>
                </a:cubicBezTo>
                <a:cubicBezTo>
                  <a:pt x="1178" y="97"/>
                  <a:pt x="1178" y="97"/>
                  <a:pt x="1178" y="97"/>
                </a:cubicBezTo>
                <a:close/>
                <a:moveTo>
                  <a:pt x="1656" y="65"/>
                </a:moveTo>
                <a:cubicBezTo>
                  <a:pt x="1656" y="64"/>
                  <a:pt x="1656" y="64"/>
                  <a:pt x="1656" y="64"/>
                </a:cubicBezTo>
                <a:cubicBezTo>
                  <a:pt x="1656" y="64"/>
                  <a:pt x="1656" y="65"/>
                  <a:pt x="1656" y="65"/>
                </a:cubicBezTo>
                <a:close/>
                <a:moveTo>
                  <a:pt x="1422" y="97"/>
                </a:moveTo>
                <a:cubicBezTo>
                  <a:pt x="1422" y="97"/>
                  <a:pt x="1422" y="97"/>
                  <a:pt x="1422" y="97"/>
                </a:cubicBezTo>
                <a:cubicBezTo>
                  <a:pt x="1422" y="97"/>
                  <a:pt x="1422" y="97"/>
                  <a:pt x="1422" y="97"/>
                </a:cubicBezTo>
                <a:close/>
                <a:moveTo>
                  <a:pt x="1457" y="97"/>
                </a:moveTo>
                <a:cubicBezTo>
                  <a:pt x="1457" y="97"/>
                  <a:pt x="1457" y="97"/>
                  <a:pt x="1457" y="97"/>
                </a:cubicBezTo>
                <a:cubicBezTo>
                  <a:pt x="1457" y="97"/>
                  <a:pt x="1457" y="97"/>
                  <a:pt x="1457" y="97"/>
                </a:cubicBezTo>
                <a:close/>
                <a:moveTo>
                  <a:pt x="1714" y="65"/>
                </a:moveTo>
                <a:cubicBezTo>
                  <a:pt x="1715" y="65"/>
                  <a:pt x="1715" y="64"/>
                  <a:pt x="1715" y="64"/>
                </a:cubicBezTo>
                <a:cubicBezTo>
                  <a:pt x="1715" y="64"/>
                  <a:pt x="1714" y="64"/>
                  <a:pt x="1714" y="65"/>
                </a:cubicBezTo>
                <a:close/>
                <a:moveTo>
                  <a:pt x="580" y="97"/>
                </a:moveTo>
                <a:cubicBezTo>
                  <a:pt x="580" y="97"/>
                  <a:pt x="580" y="97"/>
                  <a:pt x="580" y="97"/>
                </a:cubicBezTo>
                <a:cubicBezTo>
                  <a:pt x="580" y="97"/>
                  <a:pt x="580" y="97"/>
                  <a:pt x="580" y="97"/>
                </a:cubicBezTo>
                <a:close/>
                <a:moveTo>
                  <a:pt x="1730" y="64"/>
                </a:moveTo>
                <a:cubicBezTo>
                  <a:pt x="1730" y="64"/>
                  <a:pt x="1730" y="64"/>
                  <a:pt x="1730" y="65"/>
                </a:cubicBezTo>
                <a:cubicBezTo>
                  <a:pt x="1730" y="65"/>
                  <a:pt x="1730" y="64"/>
                  <a:pt x="1730" y="64"/>
                </a:cubicBezTo>
                <a:close/>
                <a:moveTo>
                  <a:pt x="554" y="19"/>
                </a:moveTo>
                <a:cubicBezTo>
                  <a:pt x="554" y="19"/>
                  <a:pt x="554" y="19"/>
                  <a:pt x="554" y="20"/>
                </a:cubicBezTo>
                <a:cubicBezTo>
                  <a:pt x="554" y="20"/>
                  <a:pt x="554" y="20"/>
                  <a:pt x="554" y="19"/>
                </a:cubicBezTo>
                <a:close/>
                <a:moveTo>
                  <a:pt x="972" y="97"/>
                </a:moveTo>
                <a:cubicBezTo>
                  <a:pt x="972" y="97"/>
                  <a:pt x="971" y="97"/>
                  <a:pt x="971" y="97"/>
                </a:cubicBezTo>
                <a:cubicBezTo>
                  <a:pt x="971" y="97"/>
                  <a:pt x="971" y="97"/>
                  <a:pt x="972" y="97"/>
                </a:cubicBezTo>
                <a:close/>
                <a:moveTo>
                  <a:pt x="1041" y="97"/>
                </a:moveTo>
                <a:cubicBezTo>
                  <a:pt x="1041" y="97"/>
                  <a:pt x="1041" y="97"/>
                  <a:pt x="1040" y="97"/>
                </a:cubicBezTo>
                <a:cubicBezTo>
                  <a:pt x="1041" y="97"/>
                  <a:pt x="1041" y="97"/>
                  <a:pt x="1041" y="97"/>
                </a:cubicBezTo>
                <a:close/>
                <a:moveTo>
                  <a:pt x="1083" y="97"/>
                </a:moveTo>
                <a:cubicBezTo>
                  <a:pt x="1083" y="97"/>
                  <a:pt x="1083" y="97"/>
                  <a:pt x="1082" y="97"/>
                </a:cubicBezTo>
                <a:cubicBezTo>
                  <a:pt x="1083" y="97"/>
                  <a:pt x="1083" y="97"/>
                  <a:pt x="1083" y="97"/>
                </a:cubicBezTo>
                <a:close/>
                <a:moveTo>
                  <a:pt x="964" y="20"/>
                </a:moveTo>
                <a:cubicBezTo>
                  <a:pt x="964" y="20"/>
                  <a:pt x="965" y="20"/>
                  <a:pt x="965" y="19"/>
                </a:cubicBezTo>
                <a:cubicBezTo>
                  <a:pt x="964" y="19"/>
                  <a:pt x="964" y="20"/>
                  <a:pt x="964" y="20"/>
                </a:cubicBezTo>
                <a:close/>
                <a:moveTo>
                  <a:pt x="663" y="65"/>
                </a:moveTo>
                <a:cubicBezTo>
                  <a:pt x="663" y="65"/>
                  <a:pt x="663" y="65"/>
                  <a:pt x="663" y="65"/>
                </a:cubicBezTo>
                <a:cubicBezTo>
                  <a:pt x="663" y="65"/>
                  <a:pt x="663" y="65"/>
                  <a:pt x="663" y="65"/>
                </a:cubicBezTo>
                <a:close/>
                <a:moveTo>
                  <a:pt x="1382" y="20"/>
                </a:moveTo>
                <a:cubicBezTo>
                  <a:pt x="1382" y="19"/>
                  <a:pt x="1381" y="19"/>
                  <a:pt x="1381" y="19"/>
                </a:cubicBezTo>
                <a:cubicBezTo>
                  <a:pt x="1381" y="20"/>
                  <a:pt x="1381" y="20"/>
                  <a:pt x="1382" y="20"/>
                </a:cubicBezTo>
                <a:close/>
                <a:moveTo>
                  <a:pt x="1457" y="97"/>
                </a:moveTo>
                <a:cubicBezTo>
                  <a:pt x="1457" y="97"/>
                  <a:pt x="1457" y="97"/>
                  <a:pt x="1457" y="97"/>
                </a:cubicBezTo>
                <a:cubicBezTo>
                  <a:pt x="1457" y="97"/>
                  <a:pt x="1457" y="97"/>
                  <a:pt x="1457" y="97"/>
                </a:cubicBezTo>
                <a:close/>
                <a:moveTo>
                  <a:pt x="1361" y="65"/>
                </a:moveTo>
                <a:cubicBezTo>
                  <a:pt x="1362" y="65"/>
                  <a:pt x="1362" y="65"/>
                  <a:pt x="1362" y="65"/>
                </a:cubicBezTo>
                <a:cubicBezTo>
                  <a:pt x="1362" y="65"/>
                  <a:pt x="1361" y="65"/>
                  <a:pt x="1361" y="65"/>
                </a:cubicBezTo>
                <a:close/>
                <a:moveTo>
                  <a:pt x="1377" y="65"/>
                </a:moveTo>
                <a:cubicBezTo>
                  <a:pt x="1377" y="65"/>
                  <a:pt x="1377" y="65"/>
                  <a:pt x="1377" y="65"/>
                </a:cubicBezTo>
                <a:cubicBezTo>
                  <a:pt x="1377" y="65"/>
                  <a:pt x="1377" y="65"/>
                  <a:pt x="1377" y="65"/>
                </a:cubicBezTo>
                <a:close/>
                <a:moveTo>
                  <a:pt x="583" y="20"/>
                </a:moveTo>
                <a:cubicBezTo>
                  <a:pt x="583" y="20"/>
                  <a:pt x="583" y="20"/>
                  <a:pt x="582" y="20"/>
                </a:cubicBezTo>
                <a:cubicBezTo>
                  <a:pt x="582" y="20"/>
                  <a:pt x="583" y="20"/>
                  <a:pt x="583" y="20"/>
                </a:cubicBezTo>
                <a:close/>
                <a:moveTo>
                  <a:pt x="718" y="98"/>
                </a:moveTo>
                <a:cubicBezTo>
                  <a:pt x="718" y="97"/>
                  <a:pt x="718" y="97"/>
                  <a:pt x="718" y="97"/>
                </a:cubicBezTo>
                <a:cubicBezTo>
                  <a:pt x="718" y="97"/>
                  <a:pt x="718" y="98"/>
                  <a:pt x="718" y="98"/>
                </a:cubicBezTo>
                <a:close/>
                <a:moveTo>
                  <a:pt x="800" y="97"/>
                </a:moveTo>
                <a:cubicBezTo>
                  <a:pt x="800" y="97"/>
                  <a:pt x="800" y="97"/>
                  <a:pt x="800" y="98"/>
                </a:cubicBezTo>
                <a:cubicBezTo>
                  <a:pt x="800" y="98"/>
                  <a:pt x="800" y="98"/>
                  <a:pt x="800" y="97"/>
                </a:cubicBezTo>
                <a:close/>
                <a:moveTo>
                  <a:pt x="964" y="20"/>
                </a:moveTo>
                <a:cubicBezTo>
                  <a:pt x="964" y="20"/>
                  <a:pt x="964" y="20"/>
                  <a:pt x="964" y="20"/>
                </a:cubicBezTo>
                <a:cubicBezTo>
                  <a:pt x="964" y="20"/>
                  <a:pt x="964" y="20"/>
                  <a:pt x="964" y="20"/>
                </a:cubicBezTo>
                <a:close/>
                <a:moveTo>
                  <a:pt x="1041" y="98"/>
                </a:moveTo>
                <a:cubicBezTo>
                  <a:pt x="1041" y="97"/>
                  <a:pt x="1041" y="97"/>
                  <a:pt x="1041" y="97"/>
                </a:cubicBezTo>
                <a:cubicBezTo>
                  <a:pt x="1041" y="97"/>
                  <a:pt x="1041" y="98"/>
                  <a:pt x="1041" y="98"/>
                </a:cubicBezTo>
                <a:close/>
                <a:moveTo>
                  <a:pt x="1382" y="20"/>
                </a:moveTo>
                <a:cubicBezTo>
                  <a:pt x="1382" y="20"/>
                  <a:pt x="1382" y="20"/>
                  <a:pt x="1382" y="20"/>
                </a:cubicBezTo>
                <a:cubicBezTo>
                  <a:pt x="1382" y="20"/>
                  <a:pt x="1382" y="20"/>
                  <a:pt x="1382" y="20"/>
                </a:cubicBezTo>
                <a:close/>
                <a:moveTo>
                  <a:pt x="1219" y="98"/>
                </a:moveTo>
                <a:cubicBezTo>
                  <a:pt x="1219" y="97"/>
                  <a:pt x="1219" y="97"/>
                  <a:pt x="1219" y="97"/>
                </a:cubicBezTo>
                <a:cubicBezTo>
                  <a:pt x="1219" y="97"/>
                  <a:pt x="1219" y="98"/>
                  <a:pt x="1219" y="98"/>
                </a:cubicBezTo>
                <a:close/>
                <a:moveTo>
                  <a:pt x="1260" y="97"/>
                </a:moveTo>
                <a:cubicBezTo>
                  <a:pt x="1260" y="97"/>
                  <a:pt x="1260" y="97"/>
                  <a:pt x="1260" y="98"/>
                </a:cubicBezTo>
                <a:cubicBezTo>
                  <a:pt x="1260" y="98"/>
                  <a:pt x="1260" y="97"/>
                  <a:pt x="1260" y="97"/>
                </a:cubicBezTo>
                <a:close/>
                <a:moveTo>
                  <a:pt x="1670" y="65"/>
                </a:moveTo>
                <a:cubicBezTo>
                  <a:pt x="1670" y="65"/>
                  <a:pt x="1670" y="65"/>
                  <a:pt x="1670" y="65"/>
                </a:cubicBezTo>
                <a:cubicBezTo>
                  <a:pt x="1670" y="65"/>
                  <a:pt x="1670" y="65"/>
                  <a:pt x="1670" y="65"/>
                </a:cubicBezTo>
                <a:close/>
                <a:moveTo>
                  <a:pt x="1539" y="20"/>
                </a:moveTo>
                <a:cubicBezTo>
                  <a:pt x="1539" y="20"/>
                  <a:pt x="1539" y="20"/>
                  <a:pt x="1538" y="20"/>
                </a:cubicBezTo>
                <a:cubicBezTo>
                  <a:pt x="1539" y="20"/>
                  <a:pt x="1539" y="20"/>
                  <a:pt x="1539" y="20"/>
                </a:cubicBezTo>
                <a:close/>
                <a:moveTo>
                  <a:pt x="579" y="98"/>
                </a:moveTo>
                <a:cubicBezTo>
                  <a:pt x="579" y="98"/>
                  <a:pt x="579" y="98"/>
                  <a:pt x="579" y="98"/>
                </a:cubicBezTo>
                <a:cubicBezTo>
                  <a:pt x="579" y="98"/>
                  <a:pt x="579" y="98"/>
                  <a:pt x="579" y="98"/>
                </a:cubicBezTo>
                <a:close/>
                <a:moveTo>
                  <a:pt x="1681" y="20"/>
                </a:moveTo>
                <a:cubicBezTo>
                  <a:pt x="1681" y="20"/>
                  <a:pt x="1681" y="20"/>
                  <a:pt x="1682" y="20"/>
                </a:cubicBezTo>
                <a:cubicBezTo>
                  <a:pt x="1681" y="20"/>
                  <a:pt x="1681" y="20"/>
                  <a:pt x="1681" y="20"/>
                </a:cubicBezTo>
                <a:close/>
                <a:moveTo>
                  <a:pt x="693" y="98"/>
                </a:moveTo>
                <a:cubicBezTo>
                  <a:pt x="693" y="98"/>
                  <a:pt x="693" y="98"/>
                  <a:pt x="693" y="98"/>
                </a:cubicBezTo>
                <a:cubicBezTo>
                  <a:pt x="693" y="98"/>
                  <a:pt x="693" y="98"/>
                  <a:pt x="693" y="98"/>
                </a:cubicBezTo>
                <a:close/>
                <a:moveTo>
                  <a:pt x="719" y="98"/>
                </a:moveTo>
                <a:cubicBezTo>
                  <a:pt x="719" y="98"/>
                  <a:pt x="719" y="98"/>
                  <a:pt x="718" y="98"/>
                </a:cubicBezTo>
                <a:cubicBezTo>
                  <a:pt x="719" y="98"/>
                  <a:pt x="719" y="98"/>
                  <a:pt x="719" y="98"/>
                </a:cubicBezTo>
                <a:close/>
                <a:moveTo>
                  <a:pt x="760" y="98"/>
                </a:moveTo>
                <a:cubicBezTo>
                  <a:pt x="760" y="98"/>
                  <a:pt x="759" y="98"/>
                  <a:pt x="759" y="98"/>
                </a:cubicBezTo>
                <a:cubicBezTo>
                  <a:pt x="759" y="98"/>
                  <a:pt x="759" y="98"/>
                  <a:pt x="760" y="98"/>
                </a:cubicBezTo>
                <a:close/>
                <a:moveTo>
                  <a:pt x="585" y="65"/>
                </a:moveTo>
                <a:cubicBezTo>
                  <a:pt x="585" y="65"/>
                  <a:pt x="586" y="65"/>
                  <a:pt x="586" y="65"/>
                </a:cubicBezTo>
                <a:cubicBezTo>
                  <a:pt x="586" y="65"/>
                  <a:pt x="586" y="65"/>
                  <a:pt x="585" y="65"/>
                </a:cubicBezTo>
                <a:close/>
                <a:moveTo>
                  <a:pt x="1707" y="20"/>
                </a:moveTo>
                <a:cubicBezTo>
                  <a:pt x="1707" y="20"/>
                  <a:pt x="1707" y="20"/>
                  <a:pt x="1707" y="20"/>
                </a:cubicBezTo>
                <a:cubicBezTo>
                  <a:pt x="1707" y="20"/>
                  <a:pt x="1707" y="20"/>
                  <a:pt x="1707" y="20"/>
                </a:cubicBezTo>
                <a:close/>
                <a:moveTo>
                  <a:pt x="1021" y="98"/>
                </a:moveTo>
                <a:cubicBezTo>
                  <a:pt x="1021" y="98"/>
                  <a:pt x="1021" y="98"/>
                  <a:pt x="1020" y="98"/>
                </a:cubicBezTo>
                <a:cubicBezTo>
                  <a:pt x="1021" y="98"/>
                  <a:pt x="1021" y="98"/>
                  <a:pt x="1021" y="98"/>
                </a:cubicBezTo>
                <a:close/>
                <a:moveTo>
                  <a:pt x="663" y="65"/>
                </a:moveTo>
                <a:cubicBezTo>
                  <a:pt x="663" y="65"/>
                  <a:pt x="663" y="65"/>
                  <a:pt x="663" y="65"/>
                </a:cubicBezTo>
                <a:cubicBezTo>
                  <a:pt x="663" y="65"/>
                  <a:pt x="663" y="65"/>
                  <a:pt x="663" y="65"/>
                </a:cubicBezTo>
                <a:close/>
                <a:moveTo>
                  <a:pt x="964" y="21"/>
                </a:moveTo>
                <a:cubicBezTo>
                  <a:pt x="964" y="20"/>
                  <a:pt x="964" y="20"/>
                  <a:pt x="964" y="20"/>
                </a:cubicBezTo>
                <a:cubicBezTo>
                  <a:pt x="964" y="20"/>
                  <a:pt x="964" y="20"/>
                  <a:pt x="964" y="21"/>
                </a:cubicBezTo>
                <a:close/>
                <a:moveTo>
                  <a:pt x="1179" y="98"/>
                </a:moveTo>
                <a:cubicBezTo>
                  <a:pt x="1179" y="98"/>
                  <a:pt x="1179" y="98"/>
                  <a:pt x="1178" y="98"/>
                </a:cubicBezTo>
                <a:cubicBezTo>
                  <a:pt x="1178" y="98"/>
                  <a:pt x="1178" y="98"/>
                  <a:pt x="1179" y="98"/>
                </a:cubicBezTo>
                <a:close/>
                <a:moveTo>
                  <a:pt x="1219" y="98"/>
                </a:moveTo>
                <a:cubicBezTo>
                  <a:pt x="1219" y="98"/>
                  <a:pt x="1219" y="98"/>
                  <a:pt x="1219" y="98"/>
                </a:cubicBezTo>
                <a:cubicBezTo>
                  <a:pt x="1219" y="98"/>
                  <a:pt x="1219" y="98"/>
                  <a:pt x="1219" y="98"/>
                </a:cubicBezTo>
                <a:close/>
                <a:moveTo>
                  <a:pt x="1382" y="20"/>
                </a:moveTo>
                <a:cubicBezTo>
                  <a:pt x="1382" y="20"/>
                  <a:pt x="1382" y="20"/>
                  <a:pt x="1382" y="20"/>
                </a:cubicBezTo>
                <a:cubicBezTo>
                  <a:pt x="1382" y="20"/>
                  <a:pt x="1382" y="20"/>
                  <a:pt x="1382" y="20"/>
                </a:cubicBezTo>
                <a:close/>
                <a:moveTo>
                  <a:pt x="1423" y="98"/>
                </a:moveTo>
                <a:cubicBezTo>
                  <a:pt x="1423" y="98"/>
                  <a:pt x="1423" y="98"/>
                  <a:pt x="1423" y="98"/>
                </a:cubicBezTo>
                <a:cubicBezTo>
                  <a:pt x="1423" y="98"/>
                  <a:pt x="1423" y="98"/>
                  <a:pt x="1423" y="98"/>
                </a:cubicBezTo>
                <a:close/>
                <a:moveTo>
                  <a:pt x="1361" y="65"/>
                </a:moveTo>
                <a:cubicBezTo>
                  <a:pt x="1361" y="65"/>
                  <a:pt x="1361" y="65"/>
                  <a:pt x="1361" y="65"/>
                </a:cubicBezTo>
                <a:cubicBezTo>
                  <a:pt x="1361" y="65"/>
                  <a:pt x="1361" y="65"/>
                  <a:pt x="1361" y="65"/>
                </a:cubicBezTo>
                <a:close/>
                <a:moveTo>
                  <a:pt x="1377" y="65"/>
                </a:moveTo>
                <a:cubicBezTo>
                  <a:pt x="1376" y="65"/>
                  <a:pt x="1376" y="65"/>
                  <a:pt x="1376" y="65"/>
                </a:cubicBezTo>
                <a:cubicBezTo>
                  <a:pt x="1376" y="65"/>
                  <a:pt x="1377" y="65"/>
                  <a:pt x="1377" y="65"/>
                </a:cubicBezTo>
                <a:close/>
                <a:moveTo>
                  <a:pt x="693" y="98"/>
                </a:moveTo>
                <a:cubicBezTo>
                  <a:pt x="692" y="98"/>
                  <a:pt x="692" y="98"/>
                  <a:pt x="692" y="98"/>
                </a:cubicBezTo>
                <a:cubicBezTo>
                  <a:pt x="692" y="98"/>
                  <a:pt x="693" y="98"/>
                  <a:pt x="693" y="98"/>
                </a:cubicBezTo>
                <a:close/>
                <a:moveTo>
                  <a:pt x="1545" y="65"/>
                </a:moveTo>
                <a:cubicBezTo>
                  <a:pt x="1545" y="65"/>
                  <a:pt x="1546" y="65"/>
                  <a:pt x="1546" y="65"/>
                </a:cubicBezTo>
                <a:cubicBezTo>
                  <a:pt x="1545" y="65"/>
                  <a:pt x="1545" y="65"/>
                  <a:pt x="1545" y="65"/>
                </a:cubicBezTo>
                <a:close/>
                <a:moveTo>
                  <a:pt x="1561" y="65"/>
                </a:moveTo>
                <a:cubicBezTo>
                  <a:pt x="1561" y="65"/>
                  <a:pt x="1560" y="65"/>
                  <a:pt x="1560" y="65"/>
                </a:cubicBezTo>
                <a:cubicBezTo>
                  <a:pt x="1561" y="65"/>
                  <a:pt x="1561" y="65"/>
                  <a:pt x="1561" y="65"/>
                </a:cubicBezTo>
                <a:close/>
                <a:moveTo>
                  <a:pt x="1416" y="21"/>
                </a:moveTo>
                <a:cubicBezTo>
                  <a:pt x="1417" y="20"/>
                  <a:pt x="1417" y="20"/>
                  <a:pt x="1417" y="20"/>
                </a:cubicBezTo>
                <a:cubicBezTo>
                  <a:pt x="1417" y="20"/>
                  <a:pt x="1416" y="20"/>
                  <a:pt x="1416" y="21"/>
                </a:cubicBezTo>
                <a:close/>
                <a:moveTo>
                  <a:pt x="1713" y="65"/>
                </a:moveTo>
                <a:cubicBezTo>
                  <a:pt x="1714" y="65"/>
                  <a:pt x="1714" y="65"/>
                  <a:pt x="1714" y="65"/>
                </a:cubicBezTo>
                <a:cubicBezTo>
                  <a:pt x="1714" y="65"/>
                  <a:pt x="1713" y="65"/>
                  <a:pt x="1713" y="65"/>
                </a:cubicBezTo>
                <a:close/>
                <a:moveTo>
                  <a:pt x="1020" y="98"/>
                </a:moveTo>
                <a:cubicBezTo>
                  <a:pt x="1020" y="98"/>
                  <a:pt x="1020" y="98"/>
                  <a:pt x="1020" y="98"/>
                </a:cubicBezTo>
                <a:cubicBezTo>
                  <a:pt x="1020" y="98"/>
                  <a:pt x="1020" y="98"/>
                  <a:pt x="1020" y="98"/>
                </a:cubicBezTo>
                <a:close/>
                <a:moveTo>
                  <a:pt x="1042" y="98"/>
                </a:moveTo>
                <a:cubicBezTo>
                  <a:pt x="1042" y="98"/>
                  <a:pt x="1042" y="98"/>
                  <a:pt x="1042" y="98"/>
                </a:cubicBezTo>
                <a:cubicBezTo>
                  <a:pt x="1042" y="98"/>
                  <a:pt x="1042" y="98"/>
                  <a:pt x="1042" y="98"/>
                </a:cubicBezTo>
                <a:close/>
                <a:moveTo>
                  <a:pt x="1081" y="98"/>
                </a:moveTo>
                <a:cubicBezTo>
                  <a:pt x="1081" y="98"/>
                  <a:pt x="1081" y="98"/>
                  <a:pt x="1081" y="98"/>
                </a:cubicBezTo>
                <a:cubicBezTo>
                  <a:pt x="1081" y="98"/>
                  <a:pt x="1081" y="98"/>
                  <a:pt x="1081" y="98"/>
                </a:cubicBezTo>
                <a:close/>
                <a:moveTo>
                  <a:pt x="1179" y="98"/>
                </a:moveTo>
                <a:cubicBezTo>
                  <a:pt x="1179" y="98"/>
                  <a:pt x="1179" y="98"/>
                  <a:pt x="1179" y="98"/>
                </a:cubicBezTo>
                <a:cubicBezTo>
                  <a:pt x="1179" y="98"/>
                  <a:pt x="1179" y="98"/>
                  <a:pt x="1179" y="98"/>
                </a:cubicBezTo>
                <a:close/>
                <a:moveTo>
                  <a:pt x="1729" y="65"/>
                </a:moveTo>
                <a:cubicBezTo>
                  <a:pt x="1729" y="65"/>
                  <a:pt x="1729" y="65"/>
                  <a:pt x="1729" y="65"/>
                </a:cubicBezTo>
                <a:cubicBezTo>
                  <a:pt x="1729" y="65"/>
                  <a:pt x="1729" y="65"/>
                  <a:pt x="1729" y="65"/>
                </a:cubicBezTo>
                <a:close/>
                <a:moveTo>
                  <a:pt x="1259" y="98"/>
                </a:moveTo>
                <a:cubicBezTo>
                  <a:pt x="1259" y="98"/>
                  <a:pt x="1259" y="98"/>
                  <a:pt x="1259" y="98"/>
                </a:cubicBezTo>
                <a:cubicBezTo>
                  <a:pt x="1259" y="98"/>
                  <a:pt x="1259" y="98"/>
                  <a:pt x="1259" y="98"/>
                </a:cubicBezTo>
                <a:close/>
                <a:moveTo>
                  <a:pt x="1424" y="98"/>
                </a:moveTo>
                <a:cubicBezTo>
                  <a:pt x="1424" y="98"/>
                  <a:pt x="1424" y="98"/>
                  <a:pt x="1423" y="98"/>
                </a:cubicBezTo>
                <a:cubicBezTo>
                  <a:pt x="1423" y="98"/>
                  <a:pt x="1424" y="98"/>
                  <a:pt x="1424" y="98"/>
                </a:cubicBezTo>
                <a:close/>
                <a:moveTo>
                  <a:pt x="1456" y="98"/>
                </a:moveTo>
                <a:cubicBezTo>
                  <a:pt x="1455" y="98"/>
                  <a:pt x="1455" y="98"/>
                  <a:pt x="1455" y="98"/>
                </a:cubicBezTo>
                <a:cubicBezTo>
                  <a:pt x="1455" y="98"/>
                  <a:pt x="1456" y="98"/>
                  <a:pt x="1456" y="98"/>
                </a:cubicBezTo>
                <a:close/>
                <a:moveTo>
                  <a:pt x="553" y="20"/>
                </a:moveTo>
                <a:cubicBezTo>
                  <a:pt x="553" y="20"/>
                  <a:pt x="552" y="21"/>
                  <a:pt x="552" y="21"/>
                </a:cubicBezTo>
                <a:cubicBezTo>
                  <a:pt x="553" y="21"/>
                  <a:pt x="553" y="21"/>
                  <a:pt x="553" y="20"/>
                </a:cubicBezTo>
                <a:close/>
                <a:moveTo>
                  <a:pt x="578" y="98"/>
                </a:moveTo>
                <a:cubicBezTo>
                  <a:pt x="578" y="98"/>
                  <a:pt x="578" y="98"/>
                  <a:pt x="578" y="99"/>
                </a:cubicBezTo>
                <a:cubicBezTo>
                  <a:pt x="578" y="99"/>
                  <a:pt x="578" y="99"/>
                  <a:pt x="578" y="98"/>
                </a:cubicBezTo>
                <a:close/>
                <a:moveTo>
                  <a:pt x="1354" y="20"/>
                </a:moveTo>
                <a:cubicBezTo>
                  <a:pt x="1353" y="20"/>
                  <a:pt x="1353" y="20"/>
                  <a:pt x="1353" y="21"/>
                </a:cubicBezTo>
                <a:cubicBezTo>
                  <a:pt x="1353" y="21"/>
                  <a:pt x="1354" y="21"/>
                  <a:pt x="1354" y="20"/>
                </a:cubicBezTo>
                <a:close/>
                <a:moveTo>
                  <a:pt x="1383" y="21"/>
                </a:moveTo>
                <a:cubicBezTo>
                  <a:pt x="1383" y="21"/>
                  <a:pt x="1382" y="20"/>
                  <a:pt x="1382" y="20"/>
                </a:cubicBezTo>
                <a:cubicBezTo>
                  <a:pt x="1382" y="21"/>
                  <a:pt x="1382" y="21"/>
                  <a:pt x="1383" y="21"/>
                </a:cubicBezTo>
                <a:close/>
                <a:moveTo>
                  <a:pt x="798" y="98"/>
                </a:moveTo>
                <a:cubicBezTo>
                  <a:pt x="798" y="98"/>
                  <a:pt x="798" y="98"/>
                  <a:pt x="798" y="99"/>
                </a:cubicBezTo>
                <a:cubicBezTo>
                  <a:pt x="798" y="99"/>
                  <a:pt x="798" y="99"/>
                  <a:pt x="798" y="98"/>
                </a:cubicBezTo>
                <a:close/>
                <a:moveTo>
                  <a:pt x="664" y="66"/>
                </a:moveTo>
                <a:cubicBezTo>
                  <a:pt x="664" y="65"/>
                  <a:pt x="664" y="65"/>
                  <a:pt x="663" y="65"/>
                </a:cubicBezTo>
                <a:cubicBezTo>
                  <a:pt x="664" y="65"/>
                  <a:pt x="664" y="66"/>
                  <a:pt x="664" y="66"/>
                </a:cubicBezTo>
                <a:close/>
                <a:moveTo>
                  <a:pt x="1020" y="98"/>
                </a:moveTo>
                <a:cubicBezTo>
                  <a:pt x="1019" y="98"/>
                  <a:pt x="1019" y="98"/>
                  <a:pt x="1019" y="99"/>
                </a:cubicBezTo>
                <a:cubicBezTo>
                  <a:pt x="1019" y="99"/>
                  <a:pt x="1019" y="99"/>
                  <a:pt x="1020" y="98"/>
                </a:cubicBezTo>
                <a:close/>
                <a:moveTo>
                  <a:pt x="1538" y="20"/>
                </a:moveTo>
                <a:cubicBezTo>
                  <a:pt x="1538" y="20"/>
                  <a:pt x="1537" y="21"/>
                  <a:pt x="1537" y="21"/>
                </a:cubicBezTo>
                <a:cubicBezTo>
                  <a:pt x="1538" y="21"/>
                  <a:pt x="1538" y="21"/>
                  <a:pt x="1538" y="20"/>
                </a:cubicBezTo>
                <a:close/>
                <a:moveTo>
                  <a:pt x="1706" y="20"/>
                </a:moveTo>
                <a:cubicBezTo>
                  <a:pt x="1706" y="20"/>
                  <a:pt x="1706" y="21"/>
                  <a:pt x="1706" y="21"/>
                </a:cubicBezTo>
                <a:cubicBezTo>
                  <a:pt x="1706" y="21"/>
                  <a:pt x="1706" y="21"/>
                  <a:pt x="1706" y="20"/>
                </a:cubicBezTo>
                <a:close/>
                <a:moveTo>
                  <a:pt x="1179" y="99"/>
                </a:moveTo>
                <a:cubicBezTo>
                  <a:pt x="1179" y="99"/>
                  <a:pt x="1179" y="98"/>
                  <a:pt x="1179" y="98"/>
                </a:cubicBezTo>
                <a:cubicBezTo>
                  <a:pt x="1179" y="99"/>
                  <a:pt x="1179" y="99"/>
                  <a:pt x="1179" y="99"/>
                </a:cubicBezTo>
                <a:close/>
                <a:moveTo>
                  <a:pt x="1220" y="99"/>
                </a:moveTo>
                <a:cubicBezTo>
                  <a:pt x="1220" y="98"/>
                  <a:pt x="1220" y="98"/>
                  <a:pt x="1220" y="98"/>
                </a:cubicBezTo>
                <a:cubicBezTo>
                  <a:pt x="1220" y="99"/>
                  <a:pt x="1220" y="99"/>
                  <a:pt x="1220" y="99"/>
                </a:cubicBezTo>
                <a:close/>
                <a:moveTo>
                  <a:pt x="552" y="21"/>
                </a:moveTo>
                <a:cubicBezTo>
                  <a:pt x="552" y="21"/>
                  <a:pt x="552" y="21"/>
                  <a:pt x="552" y="21"/>
                </a:cubicBezTo>
                <a:cubicBezTo>
                  <a:pt x="552" y="21"/>
                  <a:pt x="552" y="21"/>
                  <a:pt x="552" y="21"/>
                </a:cubicBezTo>
                <a:close/>
                <a:moveTo>
                  <a:pt x="1545" y="66"/>
                </a:moveTo>
                <a:cubicBezTo>
                  <a:pt x="1545" y="66"/>
                  <a:pt x="1545" y="66"/>
                  <a:pt x="1545" y="65"/>
                </a:cubicBezTo>
                <a:cubicBezTo>
                  <a:pt x="1545" y="65"/>
                  <a:pt x="1545" y="65"/>
                  <a:pt x="1545" y="66"/>
                </a:cubicBezTo>
                <a:close/>
                <a:moveTo>
                  <a:pt x="1560" y="65"/>
                </a:moveTo>
                <a:cubicBezTo>
                  <a:pt x="1560" y="65"/>
                  <a:pt x="1560" y="65"/>
                  <a:pt x="1560" y="66"/>
                </a:cubicBezTo>
                <a:cubicBezTo>
                  <a:pt x="1560" y="66"/>
                  <a:pt x="1560" y="65"/>
                  <a:pt x="1560" y="65"/>
                </a:cubicBezTo>
                <a:close/>
                <a:moveTo>
                  <a:pt x="1713" y="66"/>
                </a:moveTo>
                <a:cubicBezTo>
                  <a:pt x="1713" y="66"/>
                  <a:pt x="1713" y="66"/>
                  <a:pt x="1713" y="65"/>
                </a:cubicBezTo>
                <a:cubicBezTo>
                  <a:pt x="1713" y="65"/>
                  <a:pt x="1713" y="65"/>
                  <a:pt x="1713" y="66"/>
                </a:cubicBezTo>
                <a:close/>
                <a:moveTo>
                  <a:pt x="584" y="21"/>
                </a:moveTo>
                <a:cubicBezTo>
                  <a:pt x="584" y="21"/>
                  <a:pt x="584" y="21"/>
                  <a:pt x="584" y="21"/>
                </a:cubicBezTo>
                <a:cubicBezTo>
                  <a:pt x="584" y="21"/>
                  <a:pt x="584" y="21"/>
                  <a:pt x="584" y="21"/>
                </a:cubicBezTo>
                <a:close/>
                <a:moveTo>
                  <a:pt x="980" y="21"/>
                </a:moveTo>
                <a:cubicBezTo>
                  <a:pt x="980" y="21"/>
                  <a:pt x="979" y="21"/>
                  <a:pt x="979" y="21"/>
                </a:cubicBezTo>
                <a:cubicBezTo>
                  <a:pt x="980" y="21"/>
                  <a:pt x="980" y="21"/>
                  <a:pt x="980" y="21"/>
                </a:cubicBezTo>
                <a:close/>
                <a:moveTo>
                  <a:pt x="692" y="99"/>
                </a:moveTo>
                <a:cubicBezTo>
                  <a:pt x="691" y="99"/>
                  <a:pt x="691" y="99"/>
                  <a:pt x="691" y="99"/>
                </a:cubicBezTo>
                <a:cubicBezTo>
                  <a:pt x="691" y="99"/>
                  <a:pt x="691" y="99"/>
                  <a:pt x="692" y="99"/>
                </a:cubicBezTo>
                <a:close/>
                <a:moveTo>
                  <a:pt x="1383" y="21"/>
                </a:moveTo>
                <a:cubicBezTo>
                  <a:pt x="1383" y="21"/>
                  <a:pt x="1383" y="21"/>
                  <a:pt x="1383" y="21"/>
                </a:cubicBezTo>
                <a:cubicBezTo>
                  <a:pt x="1383" y="21"/>
                  <a:pt x="1383" y="21"/>
                  <a:pt x="1383" y="21"/>
                </a:cubicBezTo>
                <a:close/>
                <a:moveTo>
                  <a:pt x="664" y="66"/>
                </a:moveTo>
                <a:cubicBezTo>
                  <a:pt x="664" y="66"/>
                  <a:pt x="664" y="66"/>
                  <a:pt x="664" y="66"/>
                </a:cubicBezTo>
                <a:cubicBezTo>
                  <a:pt x="664" y="66"/>
                  <a:pt x="664" y="66"/>
                  <a:pt x="664" y="66"/>
                </a:cubicBezTo>
                <a:close/>
                <a:moveTo>
                  <a:pt x="1416" y="21"/>
                </a:moveTo>
                <a:cubicBezTo>
                  <a:pt x="1416" y="21"/>
                  <a:pt x="1416" y="21"/>
                  <a:pt x="1416" y="21"/>
                </a:cubicBezTo>
                <a:cubicBezTo>
                  <a:pt x="1416" y="21"/>
                  <a:pt x="1416" y="21"/>
                  <a:pt x="1416" y="21"/>
                </a:cubicBezTo>
                <a:close/>
                <a:moveTo>
                  <a:pt x="1567" y="21"/>
                </a:moveTo>
                <a:cubicBezTo>
                  <a:pt x="1567" y="21"/>
                  <a:pt x="1567" y="21"/>
                  <a:pt x="1567" y="21"/>
                </a:cubicBezTo>
                <a:cubicBezTo>
                  <a:pt x="1567" y="21"/>
                  <a:pt x="1567" y="21"/>
                  <a:pt x="1567" y="21"/>
                </a:cubicBezTo>
                <a:close/>
                <a:moveTo>
                  <a:pt x="1043" y="99"/>
                </a:moveTo>
                <a:cubicBezTo>
                  <a:pt x="1043" y="99"/>
                  <a:pt x="1043" y="99"/>
                  <a:pt x="1043" y="99"/>
                </a:cubicBezTo>
                <a:cubicBezTo>
                  <a:pt x="1043" y="99"/>
                  <a:pt x="1043" y="99"/>
                  <a:pt x="1043" y="99"/>
                </a:cubicBezTo>
                <a:close/>
                <a:moveTo>
                  <a:pt x="1376" y="66"/>
                </a:moveTo>
                <a:cubicBezTo>
                  <a:pt x="1375" y="66"/>
                  <a:pt x="1375" y="66"/>
                  <a:pt x="1375" y="66"/>
                </a:cubicBezTo>
                <a:cubicBezTo>
                  <a:pt x="1375" y="66"/>
                  <a:pt x="1376" y="66"/>
                  <a:pt x="1376" y="66"/>
                </a:cubicBezTo>
                <a:close/>
                <a:moveTo>
                  <a:pt x="1180" y="99"/>
                </a:moveTo>
                <a:cubicBezTo>
                  <a:pt x="1180" y="99"/>
                  <a:pt x="1180" y="99"/>
                  <a:pt x="1179" y="99"/>
                </a:cubicBezTo>
                <a:cubicBezTo>
                  <a:pt x="1179" y="99"/>
                  <a:pt x="1180" y="99"/>
                  <a:pt x="1180" y="99"/>
                </a:cubicBezTo>
                <a:close/>
                <a:moveTo>
                  <a:pt x="1544" y="66"/>
                </a:moveTo>
                <a:cubicBezTo>
                  <a:pt x="1545" y="66"/>
                  <a:pt x="1545" y="66"/>
                  <a:pt x="1545" y="66"/>
                </a:cubicBezTo>
                <a:cubicBezTo>
                  <a:pt x="1545" y="66"/>
                  <a:pt x="1545" y="66"/>
                  <a:pt x="1544" y="66"/>
                </a:cubicBezTo>
                <a:close/>
                <a:moveTo>
                  <a:pt x="1735" y="21"/>
                </a:moveTo>
                <a:cubicBezTo>
                  <a:pt x="1735" y="21"/>
                  <a:pt x="1735" y="21"/>
                  <a:pt x="1735" y="21"/>
                </a:cubicBezTo>
                <a:cubicBezTo>
                  <a:pt x="1735" y="21"/>
                  <a:pt x="1735" y="21"/>
                  <a:pt x="1735" y="21"/>
                </a:cubicBezTo>
                <a:close/>
                <a:moveTo>
                  <a:pt x="1455" y="99"/>
                </a:moveTo>
                <a:cubicBezTo>
                  <a:pt x="1454" y="99"/>
                  <a:pt x="1454" y="99"/>
                  <a:pt x="1454" y="99"/>
                </a:cubicBezTo>
                <a:cubicBezTo>
                  <a:pt x="1454" y="99"/>
                  <a:pt x="1455" y="99"/>
                  <a:pt x="1455" y="99"/>
                </a:cubicBezTo>
                <a:close/>
                <a:moveTo>
                  <a:pt x="552" y="21"/>
                </a:moveTo>
                <a:cubicBezTo>
                  <a:pt x="552" y="21"/>
                  <a:pt x="552" y="21"/>
                  <a:pt x="552" y="21"/>
                </a:cubicBezTo>
                <a:cubicBezTo>
                  <a:pt x="552" y="21"/>
                  <a:pt x="552" y="21"/>
                  <a:pt x="552" y="21"/>
                </a:cubicBezTo>
                <a:close/>
                <a:moveTo>
                  <a:pt x="585" y="21"/>
                </a:moveTo>
                <a:cubicBezTo>
                  <a:pt x="585" y="21"/>
                  <a:pt x="585" y="21"/>
                  <a:pt x="584" y="21"/>
                </a:cubicBezTo>
                <a:cubicBezTo>
                  <a:pt x="585" y="21"/>
                  <a:pt x="585" y="21"/>
                  <a:pt x="585" y="21"/>
                </a:cubicBezTo>
                <a:close/>
                <a:moveTo>
                  <a:pt x="659" y="99"/>
                </a:moveTo>
                <a:cubicBezTo>
                  <a:pt x="659" y="99"/>
                  <a:pt x="658" y="99"/>
                  <a:pt x="658" y="99"/>
                </a:cubicBezTo>
                <a:cubicBezTo>
                  <a:pt x="658" y="99"/>
                  <a:pt x="658" y="99"/>
                  <a:pt x="659" y="99"/>
                </a:cubicBezTo>
                <a:close/>
                <a:moveTo>
                  <a:pt x="1353" y="21"/>
                </a:moveTo>
                <a:cubicBezTo>
                  <a:pt x="1352" y="21"/>
                  <a:pt x="1352" y="21"/>
                  <a:pt x="1352" y="21"/>
                </a:cubicBezTo>
                <a:cubicBezTo>
                  <a:pt x="1352" y="21"/>
                  <a:pt x="1353" y="21"/>
                  <a:pt x="1353" y="21"/>
                </a:cubicBezTo>
                <a:close/>
                <a:moveTo>
                  <a:pt x="762" y="99"/>
                </a:moveTo>
                <a:cubicBezTo>
                  <a:pt x="762" y="99"/>
                  <a:pt x="761" y="99"/>
                  <a:pt x="761" y="99"/>
                </a:cubicBezTo>
                <a:cubicBezTo>
                  <a:pt x="761" y="99"/>
                  <a:pt x="762" y="99"/>
                  <a:pt x="762" y="99"/>
                </a:cubicBezTo>
                <a:close/>
                <a:moveTo>
                  <a:pt x="1498" y="21"/>
                </a:moveTo>
                <a:cubicBezTo>
                  <a:pt x="1498" y="21"/>
                  <a:pt x="1498" y="21"/>
                  <a:pt x="1498" y="21"/>
                </a:cubicBezTo>
                <a:cubicBezTo>
                  <a:pt x="1498" y="21"/>
                  <a:pt x="1498" y="21"/>
                  <a:pt x="1498" y="21"/>
                </a:cubicBezTo>
                <a:close/>
                <a:moveTo>
                  <a:pt x="665" y="66"/>
                </a:moveTo>
                <a:cubicBezTo>
                  <a:pt x="665" y="66"/>
                  <a:pt x="664" y="66"/>
                  <a:pt x="664" y="66"/>
                </a:cubicBezTo>
                <a:cubicBezTo>
                  <a:pt x="664" y="66"/>
                  <a:pt x="664" y="66"/>
                  <a:pt x="665" y="66"/>
                </a:cubicBezTo>
                <a:close/>
                <a:moveTo>
                  <a:pt x="1567" y="21"/>
                </a:moveTo>
                <a:cubicBezTo>
                  <a:pt x="1567" y="21"/>
                  <a:pt x="1567" y="21"/>
                  <a:pt x="1567" y="21"/>
                </a:cubicBezTo>
                <a:cubicBezTo>
                  <a:pt x="1567" y="21"/>
                  <a:pt x="1567" y="21"/>
                  <a:pt x="1567" y="21"/>
                </a:cubicBezTo>
                <a:close/>
                <a:moveTo>
                  <a:pt x="1736" y="21"/>
                </a:moveTo>
                <a:cubicBezTo>
                  <a:pt x="1736" y="21"/>
                  <a:pt x="1735" y="21"/>
                  <a:pt x="1735" y="21"/>
                </a:cubicBezTo>
                <a:cubicBezTo>
                  <a:pt x="1735" y="21"/>
                  <a:pt x="1735" y="21"/>
                  <a:pt x="1736" y="21"/>
                </a:cubicBezTo>
                <a:close/>
                <a:moveTo>
                  <a:pt x="1360" y="66"/>
                </a:moveTo>
                <a:cubicBezTo>
                  <a:pt x="1360" y="66"/>
                  <a:pt x="1360" y="66"/>
                  <a:pt x="1360" y="66"/>
                </a:cubicBezTo>
                <a:cubicBezTo>
                  <a:pt x="1360" y="66"/>
                  <a:pt x="1360" y="66"/>
                  <a:pt x="1360" y="66"/>
                </a:cubicBezTo>
                <a:close/>
                <a:moveTo>
                  <a:pt x="1180" y="99"/>
                </a:moveTo>
                <a:cubicBezTo>
                  <a:pt x="1180" y="99"/>
                  <a:pt x="1180" y="99"/>
                  <a:pt x="1180" y="99"/>
                </a:cubicBezTo>
                <a:cubicBezTo>
                  <a:pt x="1180" y="99"/>
                  <a:pt x="1180" y="99"/>
                  <a:pt x="1180" y="99"/>
                </a:cubicBezTo>
                <a:close/>
                <a:moveTo>
                  <a:pt x="962" y="22"/>
                </a:moveTo>
                <a:cubicBezTo>
                  <a:pt x="963" y="22"/>
                  <a:pt x="963" y="22"/>
                  <a:pt x="963" y="21"/>
                </a:cubicBezTo>
                <a:cubicBezTo>
                  <a:pt x="963" y="22"/>
                  <a:pt x="963" y="22"/>
                  <a:pt x="962" y="22"/>
                </a:cubicBezTo>
                <a:close/>
                <a:moveTo>
                  <a:pt x="1021" y="22"/>
                </a:moveTo>
                <a:cubicBezTo>
                  <a:pt x="1021" y="22"/>
                  <a:pt x="1021" y="21"/>
                  <a:pt x="1021" y="21"/>
                </a:cubicBezTo>
                <a:cubicBezTo>
                  <a:pt x="1021" y="21"/>
                  <a:pt x="1021" y="21"/>
                  <a:pt x="1021" y="21"/>
                </a:cubicBezTo>
                <a:cubicBezTo>
                  <a:pt x="1021" y="21"/>
                  <a:pt x="1021" y="22"/>
                  <a:pt x="1021" y="22"/>
                </a:cubicBezTo>
                <a:close/>
                <a:moveTo>
                  <a:pt x="1425" y="99"/>
                </a:moveTo>
                <a:cubicBezTo>
                  <a:pt x="1425" y="99"/>
                  <a:pt x="1425" y="99"/>
                  <a:pt x="1425" y="99"/>
                </a:cubicBezTo>
                <a:cubicBezTo>
                  <a:pt x="1425" y="99"/>
                  <a:pt x="1425" y="99"/>
                  <a:pt x="1425" y="99"/>
                </a:cubicBezTo>
                <a:close/>
                <a:moveTo>
                  <a:pt x="1352" y="21"/>
                </a:moveTo>
                <a:cubicBezTo>
                  <a:pt x="1352" y="21"/>
                  <a:pt x="1352" y="21"/>
                  <a:pt x="1352" y="22"/>
                </a:cubicBezTo>
                <a:cubicBezTo>
                  <a:pt x="1352" y="22"/>
                  <a:pt x="1352" y="22"/>
                  <a:pt x="1352" y="21"/>
                </a:cubicBezTo>
                <a:close/>
                <a:moveTo>
                  <a:pt x="1559" y="66"/>
                </a:moveTo>
                <a:cubicBezTo>
                  <a:pt x="1559" y="66"/>
                  <a:pt x="1559" y="66"/>
                  <a:pt x="1559" y="66"/>
                </a:cubicBezTo>
                <a:cubicBezTo>
                  <a:pt x="1559" y="66"/>
                  <a:pt x="1559" y="66"/>
                  <a:pt x="1559" y="66"/>
                </a:cubicBezTo>
                <a:close/>
                <a:moveTo>
                  <a:pt x="1728" y="66"/>
                </a:moveTo>
                <a:cubicBezTo>
                  <a:pt x="1727" y="66"/>
                  <a:pt x="1727" y="66"/>
                  <a:pt x="1727" y="66"/>
                </a:cubicBezTo>
                <a:cubicBezTo>
                  <a:pt x="1727" y="66"/>
                  <a:pt x="1727" y="66"/>
                  <a:pt x="1728" y="66"/>
                </a:cubicBezTo>
                <a:close/>
                <a:moveTo>
                  <a:pt x="1536" y="21"/>
                </a:moveTo>
                <a:cubicBezTo>
                  <a:pt x="1536" y="21"/>
                  <a:pt x="1536" y="22"/>
                  <a:pt x="1536" y="22"/>
                </a:cubicBezTo>
                <a:cubicBezTo>
                  <a:pt x="1536" y="22"/>
                  <a:pt x="1536" y="22"/>
                  <a:pt x="1536" y="21"/>
                </a:cubicBezTo>
                <a:close/>
                <a:moveTo>
                  <a:pt x="1705" y="21"/>
                </a:moveTo>
                <a:cubicBezTo>
                  <a:pt x="1704" y="21"/>
                  <a:pt x="1704" y="22"/>
                  <a:pt x="1704" y="22"/>
                </a:cubicBezTo>
                <a:cubicBezTo>
                  <a:pt x="1704" y="22"/>
                  <a:pt x="1704" y="22"/>
                  <a:pt x="1705" y="21"/>
                </a:cubicBezTo>
                <a:close/>
                <a:moveTo>
                  <a:pt x="962" y="22"/>
                </a:moveTo>
                <a:cubicBezTo>
                  <a:pt x="962" y="22"/>
                  <a:pt x="962" y="22"/>
                  <a:pt x="962" y="22"/>
                </a:cubicBezTo>
                <a:cubicBezTo>
                  <a:pt x="962" y="22"/>
                  <a:pt x="962" y="22"/>
                  <a:pt x="962" y="22"/>
                </a:cubicBezTo>
                <a:close/>
                <a:moveTo>
                  <a:pt x="691" y="99"/>
                </a:moveTo>
                <a:cubicBezTo>
                  <a:pt x="690" y="99"/>
                  <a:pt x="690" y="100"/>
                  <a:pt x="690" y="100"/>
                </a:cubicBezTo>
                <a:cubicBezTo>
                  <a:pt x="690" y="100"/>
                  <a:pt x="690" y="100"/>
                  <a:pt x="691" y="99"/>
                </a:cubicBezTo>
                <a:close/>
                <a:moveTo>
                  <a:pt x="721" y="100"/>
                </a:moveTo>
                <a:cubicBezTo>
                  <a:pt x="721" y="100"/>
                  <a:pt x="720" y="99"/>
                  <a:pt x="720" y="99"/>
                </a:cubicBezTo>
                <a:cubicBezTo>
                  <a:pt x="720" y="100"/>
                  <a:pt x="720" y="100"/>
                  <a:pt x="721" y="100"/>
                </a:cubicBezTo>
                <a:close/>
                <a:moveTo>
                  <a:pt x="1359" y="67"/>
                </a:moveTo>
                <a:cubicBezTo>
                  <a:pt x="1359" y="67"/>
                  <a:pt x="1360" y="67"/>
                  <a:pt x="1360" y="66"/>
                </a:cubicBezTo>
                <a:cubicBezTo>
                  <a:pt x="1360" y="66"/>
                  <a:pt x="1359" y="67"/>
                  <a:pt x="1359" y="67"/>
                </a:cubicBezTo>
                <a:close/>
                <a:moveTo>
                  <a:pt x="1375" y="66"/>
                </a:moveTo>
                <a:cubicBezTo>
                  <a:pt x="1374" y="66"/>
                  <a:pt x="1374" y="66"/>
                  <a:pt x="1374" y="67"/>
                </a:cubicBezTo>
                <a:cubicBezTo>
                  <a:pt x="1374" y="67"/>
                  <a:pt x="1374" y="66"/>
                  <a:pt x="1375" y="66"/>
                </a:cubicBezTo>
                <a:close/>
                <a:moveTo>
                  <a:pt x="1384" y="22"/>
                </a:moveTo>
                <a:cubicBezTo>
                  <a:pt x="1384" y="22"/>
                  <a:pt x="1384" y="22"/>
                  <a:pt x="1383" y="22"/>
                </a:cubicBezTo>
                <a:cubicBezTo>
                  <a:pt x="1383" y="22"/>
                  <a:pt x="1383" y="22"/>
                  <a:pt x="1384" y="22"/>
                </a:cubicBezTo>
                <a:close/>
                <a:moveTo>
                  <a:pt x="1543" y="67"/>
                </a:moveTo>
                <a:cubicBezTo>
                  <a:pt x="1544" y="67"/>
                  <a:pt x="1544" y="67"/>
                  <a:pt x="1544" y="66"/>
                </a:cubicBezTo>
                <a:cubicBezTo>
                  <a:pt x="1544" y="66"/>
                  <a:pt x="1544" y="67"/>
                  <a:pt x="1543" y="67"/>
                </a:cubicBezTo>
                <a:close/>
                <a:moveTo>
                  <a:pt x="1536" y="22"/>
                </a:moveTo>
                <a:cubicBezTo>
                  <a:pt x="1536" y="22"/>
                  <a:pt x="1536" y="22"/>
                  <a:pt x="1536" y="22"/>
                </a:cubicBezTo>
                <a:cubicBezTo>
                  <a:pt x="1536" y="22"/>
                  <a:pt x="1536" y="22"/>
                  <a:pt x="1536" y="22"/>
                </a:cubicBezTo>
                <a:close/>
                <a:moveTo>
                  <a:pt x="1671" y="66"/>
                </a:moveTo>
                <a:cubicBezTo>
                  <a:pt x="1671" y="67"/>
                  <a:pt x="1671" y="67"/>
                  <a:pt x="1671" y="67"/>
                </a:cubicBezTo>
                <a:cubicBezTo>
                  <a:pt x="1671" y="67"/>
                  <a:pt x="1671" y="66"/>
                  <a:pt x="1671" y="66"/>
                </a:cubicBezTo>
                <a:close/>
                <a:moveTo>
                  <a:pt x="1180" y="100"/>
                </a:moveTo>
                <a:cubicBezTo>
                  <a:pt x="1180" y="99"/>
                  <a:pt x="1180" y="99"/>
                  <a:pt x="1180" y="99"/>
                </a:cubicBezTo>
                <a:cubicBezTo>
                  <a:pt x="1180" y="100"/>
                  <a:pt x="1180" y="100"/>
                  <a:pt x="1180" y="100"/>
                </a:cubicBezTo>
                <a:close/>
                <a:moveTo>
                  <a:pt x="1222" y="100"/>
                </a:moveTo>
                <a:cubicBezTo>
                  <a:pt x="1222" y="100"/>
                  <a:pt x="1222" y="99"/>
                  <a:pt x="1222" y="99"/>
                </a:cubicBezTo>
                <a:cubicBezTo>
                  <a:pt x="1222" y="100"/>
                  <a:pt x="1222" y="100"/>
                  <a:pt x="1222" y="100"/>
                </a:cubicBezTo>
                <a:close/>
                <a:moveTo>
                  <a:pt x="1712" y="67"/>
                </a:moveTo>
                <a:cubicBezTo>
                  <a:pt x="1712" y="67"/>
                  <a:pt x="1712" y="67"/>
                  <a:pt x="1712" y="66"/>
                </a:cubicBezTo>
                <a:cubicBezTo>
                  <a:pt x="1712" y="66"/>
                  <a:pt x="1712" y="67"/>
                  <a:pt x="1712" y="67"/>
                </a:cubicBezTo>
                <a:close/>
                <a:moveTo>
                  <a:pt x="1704" y="22"/>
                </a:moveTo>
                <a:cubicBezTo>
                  <a:pt x="1704" y="22"/>
                  <a:pt x="1704" y="22"/>
                  <a:pt x="1704" y="22"/>
                </a:cubicBezTo>
                <a:cubicBezTo>
                  <a:pt x="1704" y="22"/>
                  <a:pt x="1704" y="22"/>
                  <a:pt x="1704" y="22"/>
                </a:cubicBezTo>
                <a:close/>
                <a:moveTo>
                  <a:pt x="1454" y="99"/>
                </a:moveTo>
                <a:cubicBezTo>
                  <a:pt x="1453" y="99"/>
                  <a:pt x="1453" y="100"/>
                  <a:pt x="1453" y="100"/>
                </a:cubicBezTo>
                <a:cubicBezTo>
                  <a:pt x="1453" y="100"/>
                  <a:pt x="1454" y="100"/>
                  <a:pt x="1454" y="99"/>
                </a:cubicBezTo>
                <a:close/>
                <a:moveTo>
                  <a:pt x="587" y="67"/>
                </a:moveTo>
                <a:cubicBezTo>
                  <a:pt x="587" y="67"/>
                  <a:pt x="587" y="67"/>
                  <a:pt x="587" y="67"/>
                </a:cubicBezTo>
                <a:cubicBezTo>
                  <a:pt x="587" y="67"/>
                  <a:pt x="587" y="67"/>
                  <a:pt x="587" y="67"/>
                </a:cubicBezTo>
                <a:close/>
                <a:moveTo>
                  <a:pt x="962" y="23"/>
                </a:moveTo>
                <a:cubicBezTo>
                  <a:pt x="962" y="23"/>
                  <a:pt x="962" y="22"/>
                  <a:pt x="962" y="22"/>
                </a:cubicBezTo>
                <a:cubicBezTo>
                  <a:pt x="962" y="22"/>
                  <a:pt x="962" y="22"/>
                  <a:pt x="962" y="23"/>
                </a:cubicBezTo>
                <a:close/>
                <a:moveTo>
                  <a:pt x="978" y="22"/>
                </a:moveTo>
                <a:cubicBezTo>
                  <a:pt x="978" y="22"/>
                  <a:pt x="977" y="22"/>
                  <a:pt x="977" y="22"/>
                </a:cubicBezTo>
                <a:cubicBezTo>
                  <a:pt x="978" y="22"/>
                  <a:pt x="978" y="22"/>
                  <a:pt x="978" y="22"/>
                </a:cubicBezTo>
                <a:close/>
                <a:moveTo>
                  <a:pt x="690" y="100"/>
                </a:moveTo>
                <a:cubicBezTo>
                  <a:pt x="690" y="100"/>
                  <a:pt x="690" y="100"/>
                  <a:pt x="689" y="100"/>
                </a:cubicBezTo>
                <a:cubicBezTo>
                  <a:pt x="690" y="100"/>
                  <a:pt x="690" y="100"/>
                  <a:pt x="690" y="100"/>
                </a:cubicBezTo>
                <a:close/>
                <a:moveTo>
                  <a:pt x="721" y="100"/>
                </a:moveTo>
                <a:cubicBezTo>
                  <a:pt x="721" y="100"/>
                  <a:pt x="721" y="100"/>
                  <a:pt x="721" y="100"/>
                </a:cubicBezTo>
                <a:cubicBezTo>
                  <a:pt x="721" y="100"/>
                  <a:pt x="721" y="100"/>
                  <a:pt x="721" y="100"/>
                </a:cubicBezTo>
                <a:close/>
                <a:moveTo>
                  <a:pt x="666" y="67"/>
                </a:moveTo>
                <a:cubicBezTo>
                  <a:pt x="666" y="67"/>
                  <a:pt x="665" y="67"/>
                  <a:pt x="665" y="67"/>
                </a:cubicBezTo>
                <a:cubicBezTo>
                  <a:pt x="665" y="67"/>
                  <a:pt x="665" y="67"/>
                  <a:pt x="666" y="67"/>
                </a:cubicBezTo>
                <a:close/>
                <a:moveTo>
                  <a:pt x="689" y="67"/>
                </a:moveTo>
                <a:cubicBezTo>
                  <a:pt x="689" y="67"/>
                  <a:pt x="689" y="67"/>
                  <a:pt x="689" y="67"/>
                </a:cubicBezTo>
                <a:cubicBezTo>
                  <a:pt x="689" y="67"/>
                  <a:pt x="689" y="67"/>
                  <a:pt x="689" y="67"/>
                </a:cubicBezTo>
                <a:close/>
                <a:moveTo>
                  <a:pt x="1351" y="22"/>
                </a:moveTo>
                <a:cubicBezTo>
                  <a:pt x="1351" y="22"/>
                  <a:pt x="1351" y="22"/>
                  <a:pt x="1351" y="22"/>
                </a:cubicBezTo>
                <a:cubicBezTo>
                  <a:pt x="1351" y="22"/>
                  <a:pt x="1351" y="22"/>
                  <a:pt x="1351" y="22"/>
                </a:cubicBezTo>
                <a:close/>
                <a:moveTo>
                  <a:pt x="1374" y="67"/>
                </a:moveTo>
                <a:cubicBezTo>
                  <a:pt x="1374" y="67"/>
                  <a:pt x="1374" y="67"/>
                  <a:pt x="1374" y="67"/>
                </a:cubicBezTo>
                <a:cubicBezTo>
                  <a:pt x="1374" y="67"/>
                  <a:pt x="1374" y="67"/>
                  <a:pt x="1374" y="67"/>
                </a:cubicBezTo>
                <a:close/>
                <a:moveTo>
                  <a:pt x="1045" y="100"/>
                </a:moveTo>
                <a:cubicBezTo>
                  <a:pt x="1045" y="100"/>
                  <a:pt x="1045" y="100"/>
                  <a:pt x="1045" y="100"/>
                </a:cubicBezTo>
                <a:cubicBezTo>
                  <a:pt x="1045" y="100"/>
                  <a:pt x="1045" y="100"/>
                  <a:pt x="1045" y="100"/>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223" y="100"/>
                </a:moveTo>
                <a:cubicBezTo>
                  <a:pt x="1223" y="100"/>
                  <a:pt x="1223" y="100"/>
                  <a:pt x="1222" y="100"/>
                </a:cubicBezTo>
                <a:cubicBezTo>
                  <a:pt x="1223" y="100"/>
                  <a:pt x="1223" y="100"/>
                  <a:pt x="1223" y="100"/>
                </a:cubicBezTo>
                <a:close/>
                <a:moveTo>
                  <a:pt x="1659" y="67"/>
                </a:moveTo>
                <a:cubicBezTo>
                  <a:pt x="1659" y="67"/>
                  <a:pt x="1659" y="67"/>
                  <a:pt x="1658" y="67"/>
                </a:cubicBezTo>
                <a:cubicBezTo>
                  <a:pt x="1658" y="67"/>
                  <a:pt x="1658" y="67"/>
                  <a:pt x="1659" y="67"/>
                </a:cubicBezTo>
                <a:close/>
                <a:moveTo>
                  <a:pt x="1497" y="22"/>
                </a:moveTo>
                <a:cubicBezTo>
                  <a:pt x="1497" y="22"/>
                  <a:pt x="1497" y="22"/>
                  <a:pt x="1497" y="22"/>
                </a:cubicBezTo>
                <a:cubicBezTo>
                  <a:pt x="1497" y="22"/>
                  <a:pt x="1497" y="22"/>
                  <a:pt x="1497" y="22"/>
                </a:cubicBezTo>
                <a:close/>
                <a:moveTo>
                  <a:pt x="1711" y="67"/>
                </a:moveTo>
                <a:cubicBezTo>
                  <a:pt x="1711" y="67"/>
                  <a:pt x="1712" y="67"/>
                  <a:pt x="1712" y="67"/>
                </a:cubicBezTo>
                <a:cubicBezTo>
                  <a:pt x="1711" y="67"/>
                  <a:pt x="1711" y="67"/>
                  <a:pt x="1711" y="67"/>
                </a:cubicBezTo>
                <a:close/>
                <a:moveTo>
                  <a:pt x="1727" y="67"/>
                </a:moveTo>
                <a:cubicBezTo>
                  <a:pt x="1726" y="67"/>
                  <a:pt x="1726" y="67"/>
                  <a:pt x="1726" y="67"/>
                </a:cubicBezTo>
                <a:cubicBezTo>
                  <a:pt x="1726" y="67"/>
                  <a:pt x="1726" y="67"/>
                  <a:pt x="1727" y="67"/>
                </a:cubicBezTo>
                <a:close/>
                <a:moveTo>
                  <a:pt x="1568" y="23"/>
                </a:moveTo>
                <a:cubicBezTo>
                  <a:pt x="1568" y="22"/>
                  <a:pt x="1568" y="22"/>
                  <a:pt x="1568" y="22"/>
                </a:cubicBezTo>
                <a:cubicBezTo>
                  <a:pt x="1568" y="22"/>
                  <a:pt x="1568" y="22"/>
                  <a:pt x="1568" y="23"/>
                </a:cubicBezTo>
                <a:close/>
                <a:moveTo>
                  <a:pt x="666" y="67"/>
                </a:moveTo>
                <a:cubicBezTo>
                  <a:pt x="666" y="67"/>
                  <a:pt x="666" y="67"/>
                  <a:pt x="666" y="67"/>
                </a:cubicBezTo>
                <a:cubicBezTo>
                  <a:pt x="666" y="67"/>
                  <a:pt x="666" y="67"/>
                  <a:pt x="666" y="67"/>
                </a:cubicBezTo>
                <a:close/>
                <a:moveTo>
                  <a:pt x="1736" y="23"/>
                </a:moveTo>
                <a:cubicBezTo>
                  <a:pt x="1736" y="22"/>
                  <a:pt x="1736" y="22"/>
                  <a:pt x="1736" y="22"/>
                </a:cubicBezTo>
                <a:cubicBezTo>
                  <a:pt x="1736" y="22"/>
                  <a:pt x="1736" y="22"/>
                  <a:pt x="1736" y="23"/>
                </a:cubicBezTo>
                <a:close/>
                <a:moveTo>
                  <a:pt x="551" y="22"/>
                </a:moveTo>
                <a:cubicBezTo>
                  <a:pt x="551" y="22"/>
                  <a:pt x="551" y="23"/>
                  <a:pt x="551" y="23"/>
                </a:cubicBezTo>
                <a:cubicBezTo>
                  <a:pt x="551" y="23"/>
                  <a:pt x="551" y="23"/>
                  <a:pt x="551" y="22"/>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659" y="67"/>
                </a:moveTo>
                <a:cubicBezTo>
                  <a:pt x="1659" y="67"/>
                  <a:pt x="1659" y="67"/>
                  <a:pt x="1659" y="67"/>
                </a:cubicBezTo>
                <a:cubicBezTo>
                  <a:pt x="1659" y="67"/>
                  <a:pt x="1659" y="67"/>
                  <a:pt x="1659" y="67"/>
                </a:cubicBezTo>
                <a:close/>
                <a:moveTo>
                  <a:pt x="1711" y="67"/>
                </a:moveTo>
                <a:cubicBezTo>
                  <a:pt x="1711" y="67"/>
                  <a:pt x="1711" y="67"/>
                  <a:pt x="1711" y="67"/>
                </a:cubicBezTo>
                <a:cubicBezTo>
                  <a:pt x="1711" y="67"/>
                  <a:pt x="1711" y="67"/>
                  <a:pt x="1711" y="67"/>
                </a:cubicBezTo>
                <a:close/>
                <a:moveTo>
                  <a:pt x="1046" y="100"/>
                </a:moveTo>
                <a:cubicBezTo>
                  <a:pt x="1046" y="100"/>
                  <a:pt x="1046" y="100"/>
                  <a:pt x="1045" y="100"/>
                </a:cubicBezTo>
                <a:cubicBezTo>
                  <a:pt x="1045" y="100"/>
                  <a:pt x="1046" y="100"/>
                  <a:pt x="1046" y="100"/>
                </a:cubicBezTo>
                <a:close/>
                <a:moveTo>
                  <a:pt x="1726" y="67"/>
                </a:moveTo>
                <a:cubicBezTo>
                  <a:pt x="1726" y="67"/>
                  <a:pt x="1726" y="67"/>
                  <a:pt x="1726" y="67"/>
                </a:cubicBezTo>
                <a:cubicBezTo>
                  <a:pt x="1726" y="67"/>
                  <a:pt x="1726" y="67"/>
                  <a:pt x="1726" y="67"/>
                </a:cubicBezTo>
                <a:close/>
                <a:moveTo>
                  <a:pt x="1181" y="100"/>
                </a:moveTo>
                <a:cubicBezTo>
                  <a:pt x="1181" y="100"/>
                  <a:pt x="1181" y="100"/>
                  <a:pt x="1181" y="100"/>
                </a:cubicBezTo>
                <a:cubicBezTo>
                  <a:pt x="1181" y="100"/>
                  <a:pt x="1181" y="100"/>
                  <a:pt x="1181" y="100"/>
                </a:cubicBezTo>
                <a:close/>
                <a:moveTo>
                  <a:pt x="587" y="67"/>
                </a:moveTo>
                <a:cubicBezTo>
                  <a:pt x="587" y="68"/>
                  <a:pt x="587" y="68"/>
                  <a:pt x="587" y="68"/>
                </a:cubicBezTo>
                <a:cubicBezTo>
                  <a:pt x="587" y="68"/>
                  <a:pt x="587" y="68"/>
                  <a:pt x="587" y="67"/>
                </a:cubicBezTo>
                <a:close/>
                <a:moveTo>
                  <a:pt x="1351" y="22"/>
                </a:moveTo>
                <a:cubicBezTo>
                  <a:pt x="1351" y="22"/>
                  <a:pt x="1351" y="23"/>
                  <a:pt x="1351" y="23"/>
                </a:cubicBezTo>
                <a:cubicBezTo>
                  <a:pt x="1351" y="23"/>
                  <a:pt x="1351" y="23"/>
                  <a:pt x="1351" y="22"/>
                </a:cubicBezTo>
                <a:close/>
                <a:moveTo>
                  <a:pt x="1535" y="23"/>
                </a:moveTo>
                <a:cubicBezTo>
                  <a:pt x="1535" y="23"/>
                  <a:pt x="1535" y="23"/>
                  <a:pt x="1535" y="23"/>
                </a:cubicBezTo>
                <a:cubicBezTo>
                  <a:pt x="1535" y="23"/>
                  <a:pt x="1535" y="23"/>
                  <a:pt x="1535" y="23"/>
                </a:cubicBezTo>
                <a:close/>
                <a:moveTo>
                  <a:pt x="1703" y="23"/>
                </a:moveTo>
                <a:cubicBezTo>
                  <a:pt x="1703" y="23"/>
                  <a:pt x="1703" y="23"/>
                  <a:pt x="1703" y="23"/>
                </a:cubicBezTo>
                <a:cubicBezTo>
                  <a:pt x="1703" y="23"/>
                  <a:pt x="1703" y="23"/>
                  <a:pt x="1703" y="23"/>
                </a:cubicBezTo>
                <a:close/>
                <a:moveTo>
                  <a:pt x="977" y="23"/>
                </a:moveTo>
                <a:cubicBezTo>
                  <a:pt x="977" y="23"/>
                  <a:pt x="976" y="23"/>
                  <a:pt x="976" y="23"/>
                </a:cubicBezTo>
                <a:cubicBezTo>
                  <a:pt x="976" y="23"/>
                  <a:pt x="977" y="23"/>
                  <a:pt x="977" y="23"/>
                </a:cubicBezTo>
                <a:close/>
                <a:moveTo>
                  <a:pt x="1358" y="68"/>
                </a:moveTo>
                <a:cubicBezTo>
                  <a:pt x="1358" y="68"/>
                  <a:pt x="1358" y="68"/>
                  <a:pt x="1358" y="67"/>
                </a:cubicBezTo>
                <a:cubicBezTo>
                  <a:pt x="1358" y="67"/>
                  <a:pt x="1358" y="68"/>
                  <a:pt x="1358" y="68"/>
                </a:cubicBezTo>
                <a:close/>
                <a:moveTo>
                  <a:pt x="1373" y="67"/>
                </a:moveTo>
                <a:cubicBezTo>
                  <a:pt x="1373" y="67"/>
                  <a:pt x="1373" y="68"/>
                  <a:pt x="1373" y="68"/>
                </a:cubicBezTo>
                <a:cubicBezTo>
                  <a:pt x="1373" y="68"/>
                  <a:pt x="1373" y="68"/>
                  <a:pt x="1373" y="67"/>
                </a:cubicBezTo>
                <a:close/>
                <a:moveTo>
                  <a:pt x="1351" y="23"/>
                </a:moveTo>
                <a:cubicBezTo>
                  <a:pt x="1350" y="23"/>
                  <a:pt x="1350" y="23"/>
                  <a:pt x="1350" y="23"/>
                </a:cubicBezTo>
                <a:cubicBezTo>
                  <a:pt x="1350" y="23"/>
                  <a:pt x="1350" y="23"/>
                  <a:pt x="1351" y="23"/>
                </a:cubicBezTo>
                <a:close/>
                <a:moveTo>
                  <a:pt x="1496" y="23"/>
                </a:moveTo>
                <a:cubicBezTo>
                  <a:pt x="1496" y="23"/>
                  <a:pt x="1496" y="23"/>
                  <a:pt x="1496" y="23"/>
                </a:cubicBezTo>
                <a:cubicBezTo>
                  <a:pt x="1496" y="23"/>
                  <a:pt x="1496" y="23"/>
                  <a:pt x="1496" y="23"/>
                </a:cubicBezTo>
                <a:close/>
                <a:moveTo>
                  <a:pt x="1535" y="23"/>
                </a:moveTo>
                <a:cubicBezTo>
                  <a:pt x="1534" y="23"/>
                  <a:pt x="1534" y="23"/>
                  <a:pt x="1534" y="23"/>
                </a:cubicBezTo>
                <a:cubicBezTo>
                  <a:pt x="1534" y="23"/>
                  <a:pt x="1535" y="23"/>
                  <a:pt x="1535" y="23"/>
                </a:cubicBezTo>
                <a:close/>
                <a:moveTo>
                  <a:pt x="722" y="101"/>
                </a:moveTo>
                <a:cubicBezTo>
                  <a:pt x="722" y="101"/>
                  <a:pt x="722" y="100"/>
                  <a:pt x="722" y="100"/>
                </a:cubicBezTo>
                <a:cubicBezTo>
                  <a:pt x="722" y="101"/>
                  <a:pt x="722" y="101"/>
                  <a:pt x="722" y="101"/>
                </a:cubicBezTo>
                <a:close/>
                <a:moveTo>
                  <a:pt x="1703" y="23"/>
                </a:moveTo>
                <a:cubicBezTo>
                  <a:pt x="1703" y="23"/>
                  <a:pt x="1702" y="23"/>
                  <a:pt x="1702" y="23"/>
                </a:cubicBezTo>
                <a:cubicBezTo>
                  <a:pt x="1703" y="23"/>
                  <a:pt x="1703" y="23"/>
                  <a:pt x="1703" y="23"/>
                </a:cubicBezTo>
                <a:close/>
                <a:moveTo>
                  <a:pt x="976" y="23"/>
                </a:moveTo>
                <a:cubicBezTo>
                  <a:pt x="976" y="23"/>
                  <a:pt x="976" y="23"/>
                  <a:pt x="976" y="23"/>
                </a:cubicBezTo>
                <a:cubicBezTo>
                  <a:pt x="976" y="23"/>
                  <a:pt x="976" y="23"/>
                  <a:pt x="976" y="23"/>
                </a:cubicBezTo>
                <a:close/>
                <a:moveTo>
                  <a:pt x="1350" y="23"/>
                </a:moveTo>
                <a:cubicBezTo>
                  <a:pt x="1350" y="23"/>
                  <a:pt x="1350" y="23"/>
                  <a:pt x="1350" y="23"/>
                </a:cubicBezTo>
                <a:cubicBezTo>
                  <a:pt x="1350" y="23"/>
                  <a:pt x="1350" y="23"/>
                  <a:pt x="1350" y="23"/>
                </a:cubicBezTo>
                <a:close/>
                <a:moveTo>
                  <a:pt x="1534" y="23"/>
                </a:moveTo>
                <a:cubicBezTo>
                  <a:pt x="1534" y="23"/>
                  <a:pt x="1534" y="23"/>
                  <a:pt x="1534" y="24"/>
                </a:cubicBezTo>
                <a:cubicBezTo>
                  <a:pt x="1534" y="23"/>
                  <a:pt x="1534" y="23"/>
                  <a:pt x="1534" y="23"/>
                </a:cubicBezTo>
                <a:close/>
                <a:moveTo>
                  <a:pt x="1702" y="23"/>
                </a:moveTo>
                <a:cubicBezTo>
                  <a:pt x="1702" y="23"/>
                  <a:pt x="1702" y="23"/>
                  <a:pt x="1702" y="24"/>
                </a:cubicBezTo>
                <a:cubicBezTo>
                  <a:pt x="1702" y="23"/>
                  <a:pt x="1702" y="23"/>
                  <a:pt x="1702" y="23"/>
                </a:cubicBezTo>
                <a:close/>
                <a:moveTo>
                  <a:pt x="961" y="24"/>
                </a:moveTo>
                <a:cubicBezTo>
                  <a:pt x="961" y="24"/>
                  <a:pt x="961" y="24"/>
                  <a:pt x="961" y="24"/>
                </a:cubicBezTo>
                <a:cubicBezTo>
                  <a:pt x="961" y="24"/>
                  <a:pt x="961" y="24"/>
                  <a:pt x="961" y="24"/>
                </a:cubicBezTo>
                <a:close/>
                <a:moveTo>
                  <a:pt x="667" y="68"/>
                </a:moveTo>
                <a:cubicBezTo>
                  <a:pt x="667" y="68"/>
                  <a:pt x="667" y="68"/>
                  <a:pt x="667" y="68"/>
                </a:cubicBezTo>
                <a:cubicBezTo>
                  <a:pt x="667" y="68"/>
                  <a:pt x="667" y="68"/>
                  <a:pt x="667" y="68"/>
                </a:cubicBezTo>
                <a:close/>
                <a:moveTo>
                  <a:pt x="690" y="68"/>
                </a:moveTo>
                <a:cubicBezTo>
                  <a:pt x="691" y="68"/>
                  <a:pt x="691" y="68"/>
                  <a:pt x="691" y="68"/>
                </a:cubicBezTo>
                <a:cubicBezTo>
                  <a:pt x="691" y="68"/>
                  <a:pt x="691" y="68"/>
                  <a:pt x="690" y="68"/>
                </a:cubicBezTo>
                <a:close/>
                <a:moveTo>
                  <a:pt x="1495" y="24"/>
                </a:moveTo>
                <a:cubicBezTo>
                  <a:pt x="1495" y="24"/>
                  <a:pt x="1495" y="24"/>
                  <a:pt x="1495" y="24"/>
                </a:cubicBezTo>
                <a:cubicBezTo>
                  <a:pt x="1495" y="24"/>
                  <a:pt x="1495" y="24"/>
                  <a:pt x="1495" y="24"/>
                </a:cubicBezTo>
                <a:close/>
                <a:moveTo>
                  <a:pt x="1358" y="68"/>
                </a:moveTo>
                <a:cubicBezTo>
                  <a:pt x="1358" y="68"/>
                  <a:pt x="1358" y="68"/>
                  <a:pt x="1358" y="68"/>
                </a:cubicBezTo>
                <a:cubicBezTo>
                  <a:pt x="1358" y="68"/>
                  <a:pt x="1358" y="68"/>
                  <a:pt x="1358" y="68"/>
                </a:cubicBezTo>
                <a:close/>
                <a:moveTo>
                  <a:pt x="1534" y="23"/>
                </a:moveTo>
                <a:cubicBezTo>
                  <a:pt x="1534" y="24"/>
                  <a:pt x="1534" y="24"/>
                  <a:pt x="1534" y="24"/>
                </a:cubicBezTo>
                <a:cubicBezTo>
                  <a:pt x="1534" y="24"/>
                  <a:pt x="1534" y="24"/>
                  <a:pt x="1534" y="23"/>
                </a:cubicBezTo>
                <a:close/>
                <a:moveTo>
                  <a:pt x="1557" y="68"/>
                </a:moveTo>
                <a:cubicBezTo>
                  <a:pt x="1557" y="68"/>
                  <a:pt x="1557" y="68"/>
                  <a:pt x="1557" y="68"/>
                </a:cubicBezTo>
                <a:cubicBezTo>
                  <a:pt x="1557" y="68"/>
                  <a:pt x="1557" y="68"/>
                  <a:pt x="1557" y="68"/>
                </a:cubicBezTo>
                <a:close/>
                <a:moveTo>
                  <a:pt x="1710" y="68"/>
                </a:moveTo>
                <a:cubicBezTo>
                  <a:pt x="1710" y="68"/>
                  <a:pt x="1710" y="68"/>
                  <a:pt x="1710" y="68"/>
                </a:cubicBezTo>
                <a:cubicBezTo>
                  <a:pt x="1710" y="68"/>
                  <a:pt x="1710" y="68"/>
                  <a:pt x="1710" y="68"/>
                </a:cubicBezTo>
                <a:close/>
                <a:moveTo>
                  <a:pt x="1725" y="68"/>
                </a:moveTo>
                <a:cubicBezTo>
                  <a:pt x="1725" y="68"/>
                  <a:pt x="1725" y="68"/>
                  <a:pt x="1725" y="68"/>
                </a:cubicBezTo>
                <a:cubicBezTo>
                  <a:pt x="1725" y="68"/>
                  <a:pt x="1725" y="68"/>
                  <a:pt x="1725" y="68"/>
                </a:cubicBezTo>
                <a:close/>
                <a:moveTo>
                  <a:pt x="1702" y="23"/>
                </a:moveTo>
                <a:cubicBezTo>
                  <a:pt x="1702" y="24"/>
                  <a:pt x="1702" y="24"/>
                  <a:pt x="1702" y="24"/>
                </a:cubicBezTo>
                <a:cubicBezTo>
                  <a:pt x="1702" y="24"/>
                  <a:pt x="1702" y="24"/>
                  <a:pt x="1702" y="23"/>
                </a:cubicBezTo>
                <a:close/>
                <a:moveTo>
                  <a:pt x="960" y="24"/>
                </a:moveTo>
                <a:cubicBezTo>
                  <a:pt x="961" y="24"/>
                  <a:pt x="961" y="24"/>
                  <a:pt x="961" y="24"/>
                </a:cubicBezTo>
                <a:cubicBezTo>
                  <a:pt x="961" y="24"/>
                  <a:pt x="960" y="24"/>
                  <a:pt x="960" y="24"/>
                </a:cubicBezTo>
                <a:close/>
                <a:moveTo>
                  <a:pt x="1534" y="24"/>
                </a:moveTo>
                <a:cubicBezTo>
                  <a:pt x="1533" y="24"/>
                  <a:pt x="1533" y="24"/>
                  <a:pt x="1533" y="24"/>
                </a:cubicBezTo>
                <a:cubicBezTo>
                  <a:pt x="1533" y="24"/>
                  <a:pt x="1534" y="24"/>
                  <a:pt x="1534" y="24"/>
                </a:cubicBezTo>
                <a:close/>
                <a:moveTo>
                  <a:pt x="1702" y="24"/>
                </a:moveTo>
                <a:cubicBezTo>
                  <a:pt x="1702" y="24"/>
                  <a:pt x="1701" y="24"/>
                  <a:pt x="1701" y="24"/>
                </a:cubicBezTo>
                <a:cubicBezTo>
                  <a:pt x="1702" y="24"/>
                  <a:pt x="1702" y="24"/>
                  <a:pt x="1702" y="24"/>
                </a:cubicBezTo>
                <a:close/>
                <a:moveTo>
                  <a:pt x="1357" y="68"/>
                </a:moveTo>
                <a:cubicBezTo>
                  <a:pt x="1357" y="68"/>
                  <a:pt x="1358" y="68"/>
                  <a:pt x="1358" y="68"/>
                </a:cubicBezTo>
                <a:cubicBezTo>
                  <a:pt x="1357" y="68"/>
                  <a:pt x="1357" y="68"/>
                  <a:pt x="1357" y="68"/>
                </a:cubicBezTo>
                <a:close/>
                <a:moveTo>
                  <a:pt x="1541" y="68"/>
                </a:moveTo>
                <a:cubicBezTo>
                  <a:pt x="1542" y="68"/>
                  <a:pt x="1542" y="68"/>
                  <a:pt x="1542" y="68"/>
                </a:cubicBezTo>
                <a:cubicBezTo>
                  <a:pt x="1542" y="68"/>
                  <a:pt x="1541" y="68"/>
                  <a:pt x="1541" y="68"/>
                </a:cubicBezTo>
                <a:close/>
                <a:moveTo>
                  <a:pt x="975" y="24"/>
                </a:moveTo>
                <a:cubicBezTo>
                  <a:pt x="975" y="24"/>
                  <a:pt x="975" y="24"/>
                  <a:pt x="975" y="25"/>
                </a:cubicBezTo>
                <a:cubicBezTo>
                  <a:pt x="975" y="24"/>
                  <a:pt x="975" y="24"/>
                  <a:pt x="975" y="24"/>
                </a:cubicBezTo>
                <a:close/>
                <a:moveTo>
                  <a:pt x="1494" y="24"/>
                </a:moveTo>
                <a:cubicBezTo>
                  <a:pt x="1494" y="24"/>
                  <a:pt x="1494" y="24"/>
                  <a:pt x="1494" y="25"/>
                </a:cubicBezTo>
                <a:cubicBezTo>
                  <a:pt x="1494" y="25"/>
                  <a:pt x="1494" y="24"/>
                  <a:pt x="1494" y="24"/>
                </a:cubicBezTo>
                <a:close/>
                <a:moveTo>
                  <a:pt x="1202" y="101"/>
                </a:moveTo>
                <a:cubicBezTo>
                  <a:pt x="1202" y="101"/>
                  <a:pt x="1202" y="101"/>
                  <a:pt x="1202" y="101"/>
                </a:cubicBezTo>
                <a:cubicBezTo>
                  <a:pt x="1202" y="101"/>
                  <a:pt x="1202" y="101"/>
                  <a:pt x="1202" y="101"/>
                </a:cubicBezTo>
                <a:close/>
                <a:moveTo>
                  <a:pt x="1709" y="68"/>
                </a:moveTo>
                <a:cubicBezTo>
                  <a:pt x="1710" y="68"/>
                  <a:pt x="1710" y="68"/>
                  <a:pt x="1710" y="68"/>
                </a:cubicBezTo>
                <a:cubicBezTo>
                  <a:pt x="1710" y="68"/>
                  <a:pt x="1710" y="68"/>
                  <a:pt x="1709" y="68"/>
                </a:cubicBezTo>
                <a:close/>
                <a:moveTo>
                  <a:pt x="1533" y="24"/>
                </a:moveTo>
                <a:cubicBezTo>
                  <a:pt x="1533" y="24"/>
                  <a:pt x="1533" y="24"/>
                  <a:pt x="1533" y="25"/>
                </a:cubicBezTo>
                <a:cubicBezTo>
                  <a:pt x="1533" y="24"/>
                  <a:pt x="1533" y="24"/>
                  <a:pt x="1533" y="24"/>
                </a:cubicBezTo>
                <a:close/>
                <a:moveTo>
                  <a:pt x="1701" y="24"/>
                </a:moveTo>
                <a:cubicBezTo>
                  <a:pt x="1701" y="24"/>
                  <a:pt x="1701" y="24"/>
                  <a:pt x="1701" y="25"/>
                </a:cubicBezTo>
                <a:cubicBezTo>
                  <a:pt x="1701" y="24"/>
                  <a:pt x="1701" y="24"/>
                  <a:pt x="1701" y="24"/>
                </a:cubicBezTo>
                <a:close/>
                <a:moveTo>
                  <a:pt x="692" y="69"/>
                </a:moveTo>
                <a:cubicBezTo>
                  <a:pt x="692" y="69"/>
                  <a:pt x="692" y="69"/>
                  <a:pt x="692" y="69"/>
                </a:cubicBezTo>
                <a:cubicBezTo>
                  <a:pt x="692" y="69"/>
                  <a:pt x="692" y="69"/>
                  <a:pt x="692" y="69"/>
                </a:cubicBezTo>
                <a:close/>
                <a:moveTo>
                  <a:pt x="975" y="25"/>
                </a:moveTo>
                <a:cubicBezTo>
                  <a:pt x="974" y="25"/>
                  <a:pt x="974" y="25"/>
                  <a:pt x="974" y="25"/>
                </a:cubicBezTo>
                <a:cubicBezTo>
                  <a:pt x="974" y="25"/>
                  <a:pt x="975" y="25"/>
                  <a:pt x="975" y="25"/>
                </a:cubicBezTo>
                <a:close/>
                <a:moveTo>
                  <a:pt x="1675" y="53"/>
                </a:moveTo>
                <a:cubicBezTo>
                  <a:pt x="1675" y="53"/>
                  <a:pt x="1675" y="53"/>
                  <a:pt x="1675" y="53"/>
                </a:cubicBezTo>
                <a:cubicBezTo>
                  <a:pt x="1675" y="53"/>
                  <a:pt x="1675" y="53"/>
                  <a:pt x="1675" y="53"/>
                </a:cubicBezTo>
                <a:close/>
                <a:moveTo>
                  <a:pt x="1372" y="68"/>
                </a:moveTo>
                <a:cubicBezTo>
                  <a:pt x="1372" y="68"/>
                  <a:pt x="1371" y="69"/>
                  <a:pt x="1371" y="69"/>
                </a:cubicBezTo>
                <a:cubicBezTo>
                  <a:pt x="1372" y="69"/>
                  <a:pt x="1372" y="69"/>
                  <a:pt x="1372" y="68"/>
                </a:cubicBezTo>
                <a:close/>
                <a:moveTo>
                  <a:pt x="1541" y="69"/>
                </a:moveTo>
                <a:cubicBezTo>
                  <a:pt x="1541" y="69"/>
                  <a:pt x="1541" y="69"/>
                  <a:pt x="1541" y="68"/>
                </a:cubicBezTo>
                <a:cubicBezTo>
                  <a:pt x="1541" y="69"/>
                  <a:pt x="1541" y="69"/>
                  <a:pt x="1541" y="69"/>
                </a:cubicBezTo>
                <a:close/>
                <a:moveTo>
                  <a:pt x="1660" y="69"/>
                </a:moveTo>
                <a:cubicBezTo>
                  <a:pt x="1660" y="69"/>
                  <a:pt x="1660" y="68"/>
                  <a:pt x="1660" y="68"/>
                </a:cubicBezTo>
                <a:cubicBezTo>
                  <a:pt x="1660" y="69"/>
                  <a:pt x="1660" y="69"/>
                  <a:pt x="1660" y="69"/>
                </a:cubicBezTo>
                <a:close/>
                <a:moveTo>
                  <a:pt x="1709" y="69"/>
                </a:moveTo>
                <a:cubicBezTo>
                  <a:pt x="1709" y="69"/>
                  <a:pt x="1709" y="69"/>
                  <a:pt x="1710" y="68"/>
                </a:cubicBezTo>
                <a:cubicBezTo>
                  <a:pt x="1709" y="69"/>
                  <a:pt x="1709" y="69"/>
                  <a:pt x="1709" y="69"/>
                </a:cubicBezTo>
                <a:close/>
                <a:moveTo>
                  <a:pt x="1724" y="68"/>
                </a:moveTo>
                <a:cubicBezTo>
                  <a:pt x="1724" y="68"/>
                  <a:pt x="1724" y="69"/>
                  <a:pt x="1724" y="69"/>
                </a:cubicBezTo>
                <a:cubicBezTo>
                  <a:pt x="1724" y="69"/>
                  <a:pt x="1724" y="69"/>
                  <a:pt x="1724" y="68"/>
                </a:cubicBezTo>
                <a:close/>
                <a:moveTo>
                  <a:pt x="1533" y="24"/>
                </a:moveTo>
                <a:cubicBezTo>
                  <a:pt x="1533" y="25"/>
                  <a:pt x="1533" y="25"/>
                  <a:pt x="1533" y="25"/>
                </a:cubicBezTo>
                <a:cubicBezTo>
                  <a:pt x="1533" y="25"/>
                  <a:pt x="1533" y="25"/>
                  <a:pt x="1533" y="24"/>
                </a:cubicBezTo>
                <a:close/>
                <a:moveTo>
                  <a:pt x="1701" y="24"/>
                </a:moveTo>
                <a:cubicBezTo>
                  <a:pt x="1701" y="25"/>
                  <a:pt x="1701" y="25"/>
                  <a:pt x="1701" y="25"/>
                </a:cubicBezTo>
                <a:cubicBezTo>
                  <a:pt x="1701" y="25"/>
                  <a:pt x="1701" y="25"/>
                  <a:pt x="1701" y="24"/>
                </a:cubicBezTo>
                <a:close/>
                <a:moveTo>
                  <a:pt x="960" y="25"/>
                </a:moveTo>
                <a:cubicBezTo>
                  <a:pt x="960" y="25"/>
                  <a:pt x="960" y="25"/>
                  <a:pt x="960" y="25"/>
                </a:cubicBezTo>
                <a:cubicBezTo>
                  <a:pt x="960" y="25"/>
                  <a:pt x="960" y="25"/>
                  <a:pt x="960" y="25"/>
                </a:cubicBezTo>
                <a:close/>
                <a:moveTo>
                  <a:pt x="974" y="25"/>
                </a:moveTo>
                <a:cubicBezTo>
                  <a:pt x="974" y="25"/>
                  <a:pt x="974" y="25"/>
                  <a:pt x="974" y="25"/>
                </a:cubicBezTo>
                <a:cubicBezTo>
                  <a:pt x="974" y="25"/>
                  <a:pt x="974" y="25"/>
                  <a:pt x="974" y="25"/>
                </a:cubicBezTo>
                <a:close/>
                <a:moveTo>
                  <a:pt x="669" y="69"/>
                </a:moveTo>
                <a:cubicBezTo>
                  <a:pt x="669" y="69"/>
                  <a:pt x="669" y="69"/>
                  <a:pt x="668" y="69"/>
                </a:cubicBezTo>
                <a:cubicBezTo>
                  <a:pt x="668" y="69"/>
                  <a:pt x="669" y="69"/>
                  <a:pt x="669" y="69"/>
                </a:cubicBezTo>
                <a:close/>
                <a:moveTo>
                  <a:pt x="1533" y="25"/>
                </a:moveTo>
                <a:cubicBezTo>
                  <a:pt x="1532" y="25"/>
                  <a:pt x="1532" y="25"/>
                  <a:pt x="1532" y="25"/>
                </a:cubicBezTo>
                <a:cubicBezTo>
                  <a:pt x="1532" y="25"/>
                  <a:pt x="1533" y="25"/>
                  <a:pt x="1533" y="25"/>
                </a:cubicBezTo>
                <a:close/>
                <a:moveTo>
                  <a:pt x="1701" y="25"/>
                </a:moveTo>
                <a:cubicBezTo>
                  <a:pt x="1700" y="25"/>
                  <a:pt x="1700" y="25"/>
                  <a:pt x="1700" y="25"/>
                </a:cubicBezTo>
                <a:cubicBezTo>
                  <a:pt x="1701" y="25"/>
                  <a:pt x="1701" y="25"/>
                  <a:pt x="1701" y="25"/>
                </a:cubicBezTo>
                <a:close/>
                <a:moveTo>
                  <a:pt x="974" y="25"/>
                </a:moveTo>
                <a:cubicBezTo>
                  <a:pt x="974" y="25"/>
                  <a:pt x="974" y="25"/>
                  <a:pt x="974" y="26"/>
                </a:cubicBezTo>
                <a:cubicBezTo>
                  <a:pt x="974" y="25"/>
                  <a:pt x="974" y="25"/>
                  <a:pt x="974" y="25"/>
                </a:cubicBezTo>
                <a:close/>
                <a:moveTo>
                  <a:pt x="1532" y="25"/>
                </a:moveTo>
                <a:cubicBezTo>
                  <a:pt x="1532" y="25"/>
                  <a:pt x="1532" y="25"/>
                  <a:pt x="1532" y="26"/>
                </a:cubicBezTo>
                <a:cubicBezTo>
                  <a:pt x="1532" y="26"/>
                  <a:pt x="1532" y="25"/>
                  <a:pt x="1532" y="25"/>
                </a:cubicBezTo>
                <a:close/>
                <a:moveTo>
                  <a:pt x="1541" y="69"/>
                </a:moveTo>
                <a:cubicBezTo>
                  <a:pt x="1541" y="69"/>
                  <a:pt x="1541" y="69"/>
                  <a:pt x="1541" y="69"/>
                </a:cubicBezTo>
                <a:cubicBezTo>
                  <a:pt x="1541" y="69"/>
                  <a:pt x="1541" y="69"/>
                  <a:pt x="1541" y="69"/>
                </a:cubicBezTo>
                <a:close/>
                <a:moveTo>
                  <a:pt x="1556" y="69"/>
                </a:moveTo>
                <a:cubicBezTo>
                  <a:pt x="1555" y="69"/>
                  <a:pt x="1555" y="69"/>
                  <a:pt x="1555" y="69"/>
                </a:cubicBezTo>
                <a:cubicBezTo>
                  <a:pt x="1555" y="69"/>
                  <a:pt x="1556" y="69"/>
                  <a:pt x="1556" y="69"/>
                </a:cubicBezTo>
                <a:close/>
                <a:moveTo>
                  <a:pt x="1700" y="25"/>
                </a:moveTo>
                <a:cubicBezTo>
                  <a:pt x="1700" y="25"/>
                  <a:pt x="1700" y="25"/>
                  <a:pt x="1700" y="26"/>
                </a:cubicBezTo>
                <a:cubicBezTo>
                  <a:pt x="1700" y="26"/>
                  <a:pt x="1700" y="25"/>
                  <a:pt x="1700" y="25"/>
                </a:cubicBezTo>
                <a:close/>
                <a:moveTo>
                  <a:pt x="974" y="26"/>
                </a:moveTo>
                <a:cubicBezTo>
                  <a:pt x="973" y="26"/>
                  <a:pt x="973" y="26"/>
                  <a:pt x="973" y="26"/>
                </a:cubicBezTo>
                <a:cubicBezTo>
                  <a:pt x="973" y="26"/>
                  <a:pt x="973" y="26"/>
                  <a:pt x="974" y="26"/>
                </a:cubicBezTo>
                <a:close/>
                <a:moveTo>
                  <a:pt x="1709" y="69"/>
                </a:moveTo>
                <a:cubicBezTo>
                  <a:pt x="1709" y="69"/>
                  <a:pt x="1709" y="69"/>
                  <a:pt x="1709" y="69"/>
                </a:cubicBezTo>
                <a:cubicBezTo>
                  <a:pt x="1709" y="69"/>
                  <a:pt x="1709" y="69"/>
                  <a:pt x="1709" y="69"/>
                </a:cubicBezTo>
                <a:close/>
                <a:moveTo>
                  <a:pt x="1724" y="69"/>
                </a:moveTo>
                <a:cubicBezTo>
                  <a:pt x="1724" y="69"/>
                  <a:pt x="1723" y="69"/>
                  <a:pt x="1723" y="69"/>
                </a:cubicBezTo>
                <a:cubicBezTo>
                  <a:pt x="1723" y="69"/>
                  <a:pt x="1724" y="69"/>
                  <a:pt x="1724" y="69"/>
                </a:cubicBezTo>
                <a:close/>
                <a:moveTo>
                  <a:pt x="1492" y="26"/>
                </a:moveTo>
                <a:cubicBezTo>
                  <a:pt x="1491" y="26"/>
                  <a:pt x="1491" y="26"/>
                  <a:pt x="1491" y="26"/>
                </a:cubicBezTo>
                <a:cubicBezTo>
                  <a:pt x="1491" y="26"/>
                  <a:pt x="1491" y="26"/>
                  <a:pt x="1492" y="26"/>
                </a:cubicBezTo>
                <a:close/>
                <a:moveTo>
                  <a:pt x="1532" y="26"/>
                </a:moveTo>
                <a:cubicBezTo>
                  <a:pt x="1532" y="26"/>
                  <a:pt x="1532" y="26"/>
                  <a:pt x="1531" y="26"/>
                </a:cubicBezTo>
                <a:cubicBezTo>
                  <a:pt x="1532" y="26"/>
                  <a:pt x="1532" y="26"/>
                  <a:pt x="1532" y="26"/>
                </a:cubicBezTo>
                <a:close/>
                <a:moveTo>
                  <a:pt x="1356" y="70"/>
                </a:moveTo>
                <a:cubicBezTo>
                  <a:pt x="1356" y="70"/>
                  <a:pt x="1356" y="69"/>
                  <a:pt x="1356" y="69"/>
                </a:cubicBezTo>
                <a:cubicBezTo>
                  <a:pt x="1356" y="69"/>
                  <a:pt x="1356" y="69"/>
                  <a:pt x="1356" y="70"/>
                </a:cubicBezTo>
                <a:close/>
                <a:moveTo>
                  <a:pt x="1371" y="69"/>
                </a:moveTo>
                <a:cubicBezTo>
                  <a:pt x="1371" y="69"/>
                  <a:pt x="1370" y="69"/>
                  <a:pt x="1370" y="69"/>
                </a:cubicBezTo>
                <a:cubicBezTo>
                  <a:pt x="1371" y="69"/>
                  <a:pt x="1371" y="69"/>
                  <a:pt x="1371" y="69"/>
                </a:cubicBezTo>
                <a:close/>
                <a:moveTo>
                  <a:pt x="1700" y="26"/>
                </a:moveTo>
                <a:cubicBezTo>
                  <a:pt x="1700" y="26"/>
                  <a:pt x="1700" y="26"/>
                  <a:pt x="1700" y="26"/>
                </a:cubicBezTo>
                <a:cubicBezTo>
                  <a:pt x="1700" y="26"/>
                  <a:pt x="1700" y="26"/>
                  <a:pt x="1700" y="26"/>
                </a:cubicBezTo>
                <a:close/>
                <a:moveTo>
                  <a:pt x="959" y="26"/>
                </a:moveTo>
                <a:cubicBezTo>
                  <a:pt x="959" y="26"/>
                  <a:pt x="959" y="26"/>
                  <a:pt x="959" y="26"/>
                </a:cubicBezTo>
                <a:cubicBezTo>
                  <a:pt x="959" y="26"/>
                  <a:pt x="959" y="26"/>
                  <a:pt x="959" y="26"/>
                </a:cubicBezTo>
                <a:close/>
                <a:moveTo>
                  <a:pt x="973" y="26"/>
                </a:moveTo>
                <a:cubicBezTo>
                  <a:pt x="973" y="26"/>
                  <a:pt x="973" y="26"/>
                  <a:pt x="973" y="26"/>
                </a:cubicBezTo>
                <a:cubicBezTo>
                  <a:pt x="973" y="26"/>
                  <a:pt x="973" y="26"/>
                  <a:pt x="973" y="26"/>
                </a:cubicBezTo>
                <a:close/>
                <a:moveTo>
                  <a:pt x="1491" y="26"/>
                </a:moveTo>
                <a:cubicBezTo>
                  <a:pt x="1491" y="26"/>
                  <a:pt x="1490" y="26"/>
                  <a:pt x="1490" y="26"/>
                </a:cubicBezTo>
                <a:cubicBezTo>
                  <a:pt x="1491" y="26"/>
                  <a:pt x="1491" y="26"/>
                  <a:pt x="1491" y="26"/>
                </a:cubicBezTo>
                <a:close/>
                <a:moveTo>
                  <a:pt x="1532" y="26"/>
                </a:moveTo>
                <a:cubicBezTo>
                  <a:pt x="1531" y="26"/>
                  <a:pt x="1531" y="26"/>
                  <a:pt x="1531" y="26"/>
                </a:cubicBezTo>
                <a:cubicBezTo>
                  <a:pt x="1531" y="26"/>
                  <a:pt x="1531" y="26"/>
                  <a:pt x="1532" y="26"/>
                </a:cubicBezTo>
                <a:close/>
                <a:moveTo>
                  <a:pt x="1700" y="26"/>
                </a:moveTo>
                <a:cubicBezTo>
                  <a:pt x="1699" y="26"/>
                  <a:pt x="1699" y="26"/>
                  <a:pt x="1699" y="26"/>
                </a:cubicBezTo>
                <a:cubicBezTo>
                  <a:pt x="1699" y="26"/>
                  <a:pt x="1700" y="26"/>
                  <a:pt x="1700" y="26"/>
                </a:cubicBezTo>
                <a:close/>
                <a:moveTo>
                  <a:pt x="973" y="26"/>
                </a:moveTo>
                <a:cubicBezTo>
                  <a:pt x="973" y="26"/>
                  <a:pt x="973" y="26"/>
                  <a:pt x="973" y="27"/>
                </a:cubicBezTo>
                <a:cubicBezTo>
                  <a:pt x="973" y="27"/>
                  <a:pt x="973" y="26"/>
                  <a:pt x="973" y="26"/>
                </a:cubicBezTo>
                <a:close/>
                <a:moveTo>
                  <a:pt x="1390" y="53"/>
                </a:moveTo>
                <a:cubicBezTo>
                  <a:pt x="1390" y="53"/>
                  <a:pt x="1390" y="53"/>
                  <a:pt x="1390" y="53"/>
                </a:cubicBezTo>
                <a:cubicBezTo>
                  <a:pt x="1390" y="53"/>
                  <a:pt x="1390" y="53"/>
                  <a:pt x="1390" y="53"/>
                </a:cubicBezTo>
                <a:close/>
                <a:moveTo>
                  <a:pt x="693" y="70"/>
                </a:moveTo>
                <a:cubicBezTo>
                  <a:pt x="693" y="70"/>
                  <a:pt x="693" y="70"/>
                  <a:pt x="693" y="70"/>
                </a:cubicBezTo>
                <a:cubicBezTo>
                  <a:pt x="693" y="70"/>
                  <a:pt x="693" y="70"/>
                  <a:pt x="693" y="70"/>
                </a:cubicBezTo>
                <a:close/>
                <a:moveTo>
                  <a:pt x="973" y="27"/>
                </a:moveTo>
                <a:cubicBezTo>
                  <a:pt x="972" y="27"/>
                  <a:pt x="972" y="27"/>
                  <a:pt x="972" y="27"/>
                </a:cubicBezTo>
                <a:cubicBezTo>
                  <a:pt x="972" y="27"/>
                  <a:pt x="972" y="27"/>
                  <a:pt x="973" y="27"/>
                </a:cubicBezTo>
                <a:close/>
                <a:moveTo>
                  <a:pt x="958" y="27"/>
                </a:moveTo>
                <a:cubicBezTo>
                  <a:pt x="959" y="27"/>
                  <a:pt x="959" y="27"/>
                  <a:pt x="959" y="27"/>
                </a:cubicBezTo>
                <a:cubicBezTo>
                  <a:pt x="958" y="27"/>
                  <a:pt x="958" y="27"/>
                  <a:pt x="958" y="27"/>
                </a:cubicBezTo>
                <a:close/>
                <a:moveTo>
                  <a:pt x="1355" y="70"/>
                </a:moveTo>
                <a:cubicBezTo>
                  <a:pt x="1356" y="70"/>
                  <a:pt x="1356" y="70"/>
                  <a:pt x="1356" y="70"/>
                </a:cubicBezTo>
                <a:cubicBezTo>
                  <a:pt x="1356" y="70"/>
                  <a:pt x="1356" y="70"/>
                  <a:pt x="1355" y="70"/>
                </a:cubicBezTo>
                <a:close/>
                <a:moveTo>
                  <a:pt x="1370" y="69"/>
                </a:moveTo>
                <a:cubicBezTo>
                  <a:pt x="1370" y="69"/>
                  <a:pt x="1370" y="70"/>
                  <a:pt x="1370" y="70"/>
                </a:cubicBezTo>
                <a:cubicBezTo>
                  <a:pt x="1370" y="70"/>
                  <a:pt x="1370" y="70"/>
                  <a:pt x="1370" y="69"/>
                </a:cubicBezTo>
                <a:close/>
                <a:moveTo>
                  <a:pt x="971" y="28"/>
                </a:moveTo>
                <a:cubicBezTo>
                  <a:pt x="971" y="28"/>
                  <a:pt x="971" y="28"/>
                  <a:pt x="971" y="28"/>
                </a:cubicBezTo>
                <a:cubicBezTo>
                  <a:pt x="971" y="28"/>
                  <a:pt x="971" y="28"/>
                  <a:pt x="971" y="28"/>
                </a:cubicBezTo>
                <a:close/>
                <a:moveTo>
                  <a:pt x="1376" y="54"/>
                </a:moveTo>
                <a:cubicBezTo>
                  <a:pt x="1376" y="54"/>
                  <a:pt x="1376" y="53"/>
                  <a:pt x="1376" y="53"/>
                </a:cubicBezTo>
                <a:cubicBezTo>
                  <a:pt x="1376" y="53"/>
                  <a:pt x="1376" y="53"/>
                  <a:pt x="1376" y="54"/>
                </a:cubicBezTo>
                <a:close/>
                <a:moveTo>
                  <a:pt x="1555" y="70"/>
                </a:moveTo>
                <a:cubicBezTo>
                  <a:pt x="1554" y="70"/>
                  <a:pt x="1554" y="70"/>
                  <a:pt x="1554" y="70"/>
                </a:cubicBezTo>
                <a:cubicBezTo>
                  <a:pt x="1554" y="70"/>
                  <a:pt x="1554" y="70"/>
                  <a:pt x="1555" y="70"/>
                </a:cubicBezTo>
                <a:close/>
                <a:moveTo>
                  <a:pt x="1487" y="28"/>
                </a:moveTo>
                <a:cubicBezTo>
                  <a:pt x="1486" y="28"/>
                  <a:pt x="1486" y="28"/>
                  <a:pt x="1486" y="28"/>
                </a:cubicBezTo>
                <a:cubicBezTo>
                  <a:pt x="1486" y="28"/>
                  <a:pt x="1487" y="28"/>
                  <a:pt x="1487" y="28"/>
                </a:cubicBezTo>
                <a:close/>
                <a:moveTo>
                  <a:pt x="971" y="28"/>
                </a:moveTo>
                <a:cubicBezTo>
                  <a:pt x="971" y="28"/>
                  <a:pt x="971" y="29"/>
                  <a:pt x="971" y="29"/>
                </a:cubicBezTo>
                <a:cubicBezTo>
                  <a:pt x="971" y="29"/>
                  <a:pt x="971" y="29"/>
                  <a:pt x="971" y="28"/>
                </a:cubicBezTo>
                <a:close/>
                <a:moveTo>
                  <a:pt x="1723" y="70"/>
                </a:moveTo>
                <a:cubicBezTo>
                  <a:pt x="1722" y="70"/>
                  <a:pt x="1722" y="70"/>
                  <a:pt x="1722" y="70"/>
                </a:cubicBezTo>
                <a:cubicBezTo>
                  <a:pt x="1722" y="70"/>
                  <a:pt x="1723" y="70"/>
                  <a:pt x="1723" y="70"/>
                </a:cubicBezTo>
                <a:close/>
                <a:moveTo>
                  <a:pt x="957" y="30"/>
                </a:moveTo>
                <a:cubicBezTo>
                  <a:pt x="957" y="30"/>
                  <a:pt x="957" y="30"/>
                  <a:pt x="957" y="29"/>
                </a:cubicBezTo>
                <a:cubicBezTo>
                  <a:pt x="957" y="30"/>
                  <a:pt x="957" y="30"/>
                  <a:pt x="957" y="30"/>
                </a:cubicBezTo>
                <a:close/>
                <a:moveTo>
                  <a:pt x="970" y="30"/>
                </a:moveTo>
                <a:cubicBezTo>
                  <a:pt x="970" y="30"/>
                  <a:pt x="970" y="30"/>
                  <a:pt x="970" y="30"/>
                </a:cubicBezTo>
                <a:cubicBezTo>
                  <a:pt x="970" y="30"/>
                  <a:pt x="970" y="30"/>
                  <a:pt x="970" y="30"/>
                </a:cubicBezTo>
                <a:close/>
                <a:moveTo>
                  <a:pt x="957" y="31"/>
                </a:moveTo>
                <a:cubicBezTo>
                  <a:pt x="957" y="31"/>
                  <a:pt x="957" y="30"/>
                  <a:pt x="957" y="30"/>
                </a:cubicBezTo>
                <a:cubicBezTo>
                  <a:pt x="957" y="30"/>
                  <a:pt x="957" y="30"/>
                  <a:pt x="957" y="31"/>
                </a:cubicBezTo>
                <a:close/>
                <a:moveTo>
                  <a:pt x="969" y="31"/>
                </a:moveTo>
                <a:cubicBezTo>
                  <a:pt x="969" y="31"/>
                  <a:pt x="969" y="31"/>
                  <a:pt x="969" y="31"/>
                </a:cubicBezTo>
                <a:cubicBezTo>
                  <a:pt x="969" y="31"/>
                  <a:pt x="969" y="31"/>
                  <a:pt x="969" y="31"/>
                </a:cubicBezTo>
                <a:close/>
                <a:moveTo>
                  <a:pt x="693" y="70"/>
                </a:moveTo>
                <a:cubicBezTo>
                  <a:pt x="693" y="70"/>
                  <a:pt x="694" y="70"/>
                  <a:pt x="694" y="70"/>
                </a:cubicBezTo>
                <a:cubicBezTo>
                  <a:pt x="694" y="70"/>
                  <a:pt x="693" y="70"/>
                  <a:pt x="693" y="70"/>
                </a:cubicBezTo>
                <a:close/>
                <a:moveTo>
                  <a:pt x="969" y="32"/>
                </a:moveTo>
                <a:cubicBezTo>
                  <a:pt x="968" y="32"/>
                  <a:pt x="968" y="32"/>
                  <a:pt x="968" y="32"/>
                </a:cubicBezTo>
                <a:cubicBezTo>
                  <a:pt x="968" y="32"/>
                  <a:pt x="969" y="32"/>
                  <a:pt x="969" y="32"/>
                </a:cubicBezTo>
                <a:close/>
                <a:moveTo>
                  <a:pt x="1355" y="70"/>
                </a:moveTo>
                <a:cubicBezTo>
                  <a:pt x="1355" y="70"/>
                  <a:pt x="1355" y="70"/>
                  <a:pt x="1355" y="70"/>
                </a:cubicBezTo>
                <a:cubicBezTo>
                  <a:pt x="1355" y="70"/>
                  <a:pt x="1355" y="70"/>
                  <a:pt x="1355" y="70"/>
                </a:cubicBezTo>
                <a:close/>
                <a:moveTo>
                  <a:pt x="956" y="33"/>
                </a:moveTo>
                <a:cubicBezTo>
                  <a:pt x="956" y="33"/>
                  <a:pt x="956" y="32"/>
                  <a:pt x="956" y="32"/>
                </a:cubicBezTo>
                <a:cubicBezTo>
                  <a:pt x="956" y="32"/>
                  <a:pt x="956" y="33"/>
                  <a:pt x="956" y="33"/>
                </a:cubicBezTo>
                <a:close/>
                <a:moveTo>
                  <a:pt x="1539" y="70"/>
                </a:moveTo>
                <a:cubicBezTo>
                  <a:pt x="1539" y="70"/>
                  <a:pt x="1540" y="70"/>
                  <a:pt x="1540" y="70"/>
                </a:cubicBezTo>
                <a:cubicBezTo>
                  <a:pt x="1539" y="70"/>
                  <a:pt x="1539" y="70"/>
                  <a:pt x="1539" y="70"/>
                </a:cubicBezTo>
                <a:close/>
                <a:moveTo>
                  <a:pt x="1554" y="70"/>
                </a:moveTo>
                <a:cubicBezTo>
                  <a:pt x="1554" y="70"/>
                  <a:pt x="1554" y="70"/>
                  <a:pt x="1554" y="70"/>
                </a:cubicBezTo>
                <a:cubicBezTo>
                  <a:pt x="1554" y="70"/>
                  <a:pt x="1554" y="70"/>
                  <a:pt x="1554" y="70"/>
                </a:cubicBezTo>
                <a:close/>
                <a:moveTo>
                  <a:pt x="1707" y="70"/>
                </a:moveTo>
                <a:cubicBezTo>
                  <a:pt x="1708" y="70"/>
                  <a:pt x="1708" y="70"/>
                  <a:pt x="1708" y="70"/>
                </a:cubicBezTo>
                <a:cubicBezTo>
                  <a:pt x="1708" y="70"/>
                  <a:pt x="1707" y="70"/>
                  <a:pt x="1707" y="70"/>
                </a:cubicBezTo>
                <a:close/>
                <a:moveTo>
                  <a:pt x="1722" y="70"/>
                </a:moveTo>
                <a:cubicBezTo>
                  <a:pt x="1722" y="70"/>
                  <a:pt x="1722" y="70"/>
                  <a:pt x="1722" y="70"/>
                </a:cubicBezTo>
                <a:cubicBezTo>
                  <a:pt x="1722" y="70"/>
                  <a:pt x="1722" y="70"/>
                  <a:pt x="1722" y="70"/>
                </a:cubicBezTo>
                <a:close/>
                <a:moveTo>
                  <a:pt x="1143" y="35"/>
                </a:moveTo>
                <a:cubicBezTo>
                  <a:pt x="1143" y="35"/>
                  <a:pt x="1143" y="35"/>
                  <a:pt x="1143" y="35"/>
                </a:cubicBezTo>
                <a:cubicBezTo>
                  <a:pt x="1143" y="35"/>
                  <a:pt x="1143" y="35"/>
                  <a:pt x="1143" y="35"/>
                </a:cubicBezTo>
                <a:close/>
                <a:moveTo>
                  <a:pt x="669" y="35"/>
                </a:moveTo>
                <a:cubicBezTo>
                  <a:pt x="670" y="35"/>
                  <a:pt x="670" y="35"/>
                  <a:pt x="670" y="35"/>
                </a:cubicBezTo>
                <a:cubicBezTo>
                  <a:pt x="670" y="35"/>
                  <a:pt x="669" y="35"/>
                  <a:pt x="669" y="35"/>
                </a:cubicBezTo>
                <a:close/>
                <a:moveTo>
                  <a:pt x="1355" y="71"/>
                </a:moveTo>
                <a:cubicBezTo>
                  <a:pt x="1355" y="71"/>
                  <a:pt x="1355" y="70"/>
                  <a:pt x="1355" y="70"/>
                </a:cubicBezTo>
                <a:cubicBezTo>
                  <a:pt x="1355" y="70"/>
                  <a:pt x="1355" y="70"/>
                  <a:pt x="1355" y="71"/>
                </a:cubicBezTo>
                <a:close/>
                <a:moveTo>
                  <a:pt x="1369" y="70"/>
                </a:moveTo>
                <a:cubicBezTo>
                  <a:pt x="1369" y="70"/>
                  <a:pt x="1369" y="70"/>
                  <a:pt x="1369" y="71"/>
                </a:cubicBezTo>
                <a:cubicBezTo>
                  <a:pt x="1369" y="70"/>
                  <a:pt x="1369" y="70"/>
                  <a:pt x="1369" y="70"/>
                </a:cubicBezTo>
                <a:close/>
                <a:moveTo>
                  <a:pt x="1539" y="71"/>
                </a:moveTo>
                <a:cubicBezTo>
                  <a:pt x="1539" y="71"/>
                  <a:pt x="1539" y="70"/>
                  <a:pt x="1539" y="70"/>
                </a:cubicBezTo>
                <a:cubicBezTo>
                  <a:pt x="1539" y="70"/>
                  <a:pt x="1539" y="70"/>
                  <a:pt x="1539" y="71"/>
                </a:cubicBezTo>
                <a:close/>
                <a:moveTo>
                  <a:pt x="859" y="35"/>
                </a:moveTo>
                <a:cubicBezTo>
                  <a:pt x="859" y="35"/>
                  <a:pt x="859" y="35"/>
                  <a:pt x="859" y="35"/>
                </a:cubicBezTo>
                <a:cubicBezTo>
                  <a:pt x="859" y="35"/>
                  <a:pt x="859" y="35"/>
                  <a:pt x="859" y="35"/>
                </a:cubicBezTo>
                <a:close/>
                <a:moveTo>
                  <a:pt x="1661" y="71"/>
                </a:moveTo>
                <a:cubicBezTo>
                  <a:pt x="1661" y="70"/>
                  <a:pt x="1661" y="70"/>
                  <a:pt x="1661" y="70"/>
                </a:cubicBezTo>
                <a:cubicBezTo>
                  <a:pt x="1661" y="70"/>
                  <a:pt x="1661" y="70"/>
                  <a:pt x="1661" y="71"/>
                </a:cubicBezTo>
                <a:close/>
                <a:moveTo>
                  <a:pt x="879" y="35"/>
                </a:moveTo>
                <a:cubicBezTo>
                  <a:pt x="879" y="35"/>
                  <a:pt x="879" y="35"/>
                  <a:pt x="879" y="35"/>
                </a:cubicBezTo>
                <a:cubicBezTo>
                  <a:pt x="879" y="35"/>
                  <a:pt x="879" y="35"/>
                  <a:pt x="879" y="35"/>
                </a:cubicBezTo>
                <a:close/>
                <a:moveTo>
                  <a:pt x="1707" y="71"/>
                </a:moveTo>
                <a:cubicBezTo>
                  <a:pt x="1707" y="71"/>
                  <a:pt x="1707" y="70"/>
                  <a:pt x="1707" y="70"/>
                </a:cubicBezTo>
                <a:cubicBezTo>
                  <a:pt x="1707" y="70"/>
                  <a:pt x="1707" y="70"/>
                  <a:pt x="1707" y="71"/>
                </a:cubicBezTo>
                <a:close/>
                <a:moveTo>
                  <a:pt x="902" y="35"/>
                </a:moveTo>
                <a:cubicBezTo>
                  <a:pt x="902" y="35"/>
                  <a:pt x="902" y="35"/>
                  <a:pt x="902" y="35"/>
                </a:cubicBezTo>
                <a:cubicBezTo>
                  <a:pt x="902" y="35"/>
                  <a:pt x="902" y="35"/>
                  <a:pt x="902" y="35"/>
                </a:cubicBezTo>
                <a:close/>
                <a:moveTo>
                  <a:pt x="1144" y="35"/>
                </a:moveTo>
                <a:cubicBezTo>
                  <a:pt x="1144" y="35"/>
                  <a:pt x="1144" y="35"/>
                  <a:pt x="1144" y="35"/>
                </a:cubicBezTo>
                <a:cubicBezTo>
                  <a:pt x="1144" y="35"/>
                  <a:pt x="1144" y="35"/>
                  <a:pt x="1144" y="35"/>
                </a:cubicBezTo>
                <a:close/>
                <a:moveTo>
                  <a:pt x="1297" y="35"/>
                </a:moveTo>
                <a:cubicBezTo>
                  <a:pt x="1298" y="35"/>
                  <a:pt x="1298" y="35"/>
                  <a:pt x="1298" y="35"/>
                </a:cubicBezTo>
                <a:cubicBezTo>
                  <a:pt x="1298" y="35"/>
                  <a:pt x="1297" y="35"/>
                  <a:pt x="1297" y="35"/>
                </a:cubicBezTo>
                <a:close/>
                <a:moveTo>
                  <a:pt x="669" y="36"/>
                </a:moveTo>
                <a:cubicBezTo>
                  <a:pt x="669" y="36"/>
                  <a:pt x="669" y="36"/>
                  <a:pt x="669" y="35"/>
                </a:cubicBezTo>
                <a:cubicBezTo>
                  <a:pt x="669" y="35"/>
                  <a:pt x="669" y="36"/>
                  <a:pt x="669" y="36"/>
                </a:cubicBezTo>
                <a:close/>
                <a:moveTo>
                  <a:pt x="837" y="36"/>
                </a:moveTo>
                <a:cubicBezTo>
                  <a:pt x="837" y="36"/>
                  <a:pt x="837" y="36"/>
                  <a:pt x="837" y="35"/>
                </a:cubicBezTo>
                <a:cubicBezTo>
                  <a:pt x="837" y="36"/>
                  <a:pt x="837" y="36"/>
                  <a:pt x="837" y="36"/>
                </a:cubicBezTo>
                <a:close/>
                <a:moveTo>
                  <a:pt x="878" y="36"/>
                </a:moveTo>
                <a:cubicBezTo>
                  <a:pt x="878" y="36"/>
                  <a:pt x="878" y="36"/>
                  <a:pt x="878" y="35"/>
                </a:cubicBezTo>
                <a:cubicBezTo>
                  <a:pt x="878" y="35"/>
                  <a:pt x="878" y="36"/>
                  <a:pt x="878" y="36"/>
                </a:cubicBezTo>
                <a:close/>
                <a:moveTo>
                  <a:pt x="1354" y="71"/>
                </a:moveTo>
                <a:cubicBezTo>
                  <a:pt x="1355" y="71"/>
                  <a:pt x="1355" y="71"/>
                  <a:pt x="1355" y="71"/>
                </a:cubicBezTo>
                <a:cubicBezTo>
                  <a:pt x="1355" y="71"/>
                  <a:pt x="1355" y="71"/>
                  <a:pt x="1354" y="71"/>
                </a:cubicBezTo>
                <a:close/>
                <a:moveTo>
                  <a:pt x="1369" y="70"/>
                </a:moveTo>
                <a:cubicBezTo>
                  <a:pt x="1369" y="71"/>
                  <a:pt x="1369" y="71"/>
                  <a:pt x="1369" y="71"/>
                </a:cubicBezTo>
                <a:cubicBezTo>
                  <a:pt x="1369" y="71"/>
                  <a:pt x="1369" y="71"/>
                  <a:pt x="1369" y="70"/>
                </a:cubicBezTo>
                <a:close/>
                <a:moveTo>
                  <a:pt x="1539" y="71"/>
                </a:moveTo>
                <a:cubicBezTo>
                  <a:pt x="1539" y="71"/>
                  <a:pt x="1539" y="71"/>
                  <a:pt x="1539" y="71"/>
                </a:cubicBezTo>
                <a:cubicBezTo>
                  <a:pt x="1539" y="71"/>
                  <a:pt x="1539" y="71"/>
                  <a:pt x="1539" y="71"/>
                </a:cubicBezTo>
                <a:close/>
                <a:moveTo>
                  <a:pt x="1553" y="71"/>
                </a:moveTo>
                <a:cubicBezTo>
                  <a:pt x="1553" y="71"/>
                  <a:pt x="1553" y="71"/>
                  <a:pt x="1553" y="71"/>
                </a:cubicBezTo>
                <a:cubicBezTo>
                  <a:pt x="1553" y="71"/>
                  <a:pt x="1553" y="71"/>
                  <a:pt x="1553" y="71"/>
                </a:cubicBezTo>
                <a:close/>
                <a:moveTo>
                  <a:pt x="1707" y="71"/>
                </a:moveTo>
                <a:cubicBezTo>
                  <a:pt x="1707" y="71"/>
                  <a:pt x="1707" y="71"/>
                  <a:pt x="1707" y="71"/>
                </a:cubicBezTo>
                <a:cubicBezTo>
                  <a:pt x="1707" y="71"/>
                  <a:pt x="1707" y="71"/>
                  <a:pt x="1707" y="71"/>
                </a:cubicBezTo>
                <a:close/>
                <a:moveTo>
                  <a:pt x="1721" y="71"/>
                </a:moveTo>
                <a:cubicBezTo>
                  <a:pt x="1721" y="71"/>
                  <a:pt x="1721" y="71"/>
                  <a:pt x="1721" y="71"/>
                </a:cubicBezTo>
                <a:cubicBezTo>
                  <a:pt x="1721" y="71"/>
                  <a:pt x="1721" y="71"/>
                  <a:pt x="1721" y="71"/>
                </a:cubicBezTo>
                <a:close/>
                <a:moveTo>
                  <a:pt x="902" y="35"/>
                </a:moveTo>
                <a:cubicBezTo>
                  <a:pt x="903" y="36"/>
                  <a:pt x="903" y="36"/>
                  <a:pt x="903" y="36"/>
                </a:cubicBezTo>
                <a:cubicBezTo>
                  <a:pt x="903" y="36"/>
                  <a:pt x="903" y="35"/>
                  <a:pt x="902" y="35"/>
                </a:cubicBezTo>
                <a:close/>
                <a:moveTo>
                  <a:pt x="764" y="36"/>
                </a:moveTo>
                <a:cubicBezTo>
                  <a:pt x="764" y="36"/>
                  <a:pt x="764" y="36"/>
                  <a:pt x="764" y="36"/>
                </a:cubicBezTo>
                <a:cubicBezTo>
                  <a:pt x="764" y="36"/>
                  <a:pt x="764" y="36"/>
                  <a:pt x="764" y="36"/>
                </a:cubicBezTo>
                <a:close/>
                <a:moveTo>
                  <a:pt x="1074" y="36"/>
                </a:moveTo>
                <a:cubicBezTo>
                  <a:pt x="1074" y="36"/>
                  <a:pt x="1074" y="36"/>
                  <a:pt x="1075" y="36"/>
                </a:cubicBezTo>
                <a:cubicBezTo>
                  <a:pt x="1074" y="36"/>
                  <a:pt x="1074" y="36"/>
                  <a:pt x="1074" y="36"/>
                </a:cubicBezTo>
                <a:close/>
                <a:moveTo>
                  <a:pt x="1145" y="36"/>
                </a:moveTo>
                <a:cubicBezTo>
                  <a:pt x="1145" y="36"/>
                  <a:pt x="1145" y="36"/>
                  <a:pt x="1145" y="36"/>
                </a:cubicBezTo>
                <a:cubicBezTo>
                  <a:pt x="1145" y="36"/>
                  <a:pt x="1145" y="36"/>
                  <a:pt x="1145" y="36"/>
                </a:cubicBezTo>
                <a:close/>
                <a:moveTo>
                  <a:pt x="1252" y="36"/>
                </a:moveTo>
                <a:cubicBezTo>
                  <a:pt x="1252" y="36"/>
                  <a:pt x="1252" y="36"/>
                  <a:pt x="1252" y="36"/>
                </a:cubicBezTo>
                <a:cubicBezTo>
                  <a:pt x="1252" y="36"/>
                  <a:pt x="1252" y="36"/>
                  <a:pt x="1252" y="36"/>
                </a:cubicBezTo>
                <a:close/>
                <a:moveTo>
                  <a:pt x="763" y="36"/>
                </a:moveTo>
                <a:cubicBezTo>
                  <a:pt x="764" y="36"/>
                  <a:pt x="764" y="36"/>
                  <a:pt x="764" y="36"/>
                </a:cubicBezTo>
                <a:cubicBezTo>
                  <a:pt x="764" y="36"/>
                  <a:pt x="763" y="36"/>
                  <a:pt x="763" y="36"/>
                </a:cubicBezTo>
                <a:close/>
                <a:moveTo>
                  <a:pt x="861" y="36"/>
                </a:moveTo>
                <a:cubicBezTo>
                  <a:pt x="861" y="36"/>
                  <a:pt x="861" y="36"/>
                  <a:pt x="861" y="36"/>
                </a:cubicBezTo>
                <a:cubicBezTo>
                  <a:pt x="861" y="36"/>
                  <a:pt x="861" y="36"/>
                  <a:pt x="861" y="36"/>
                </a:cubicBezTo>
                <a:close/>
                <a:moveTo>
                  <a:pt x="904" y="36"/>
                </a:moveTo>
                <a:cubicBezTo>
                  <a:pt x="904" y="36"/>
                  <a:pt x="904" y="36"/>
                  <a:pt x="904" y="36"/>
                </a:cubicBezTo>
                <a:cubicBezTo>
                  <a:pt x="904" y="36"/>
                  <a:pt x="904" y="36"/>
                  <a:pt x="904" y="36"/>
                </a:cubicBezTo>
                <a:close/>
                <a:moveTo>
                  <a:pt x="1538" y="71"/>
                </a:moveTo>
                <a:cubicBezTo>
                  <a:pt x="1538" y="71"/>
                  <a:pt x="1539" y="71"/>
                  <a:pt x="1539" y="71"/>
                </a:cubicBezTo>
                <a:cubicBezTo>
                  <a:pt x="1538" y="71"/>
                  <a:pt x="1538" y="71"/>
                  <a:pt x="1538" y="71"/>
                </a:cubicBezTo>
                <a:close/>
                <a:moveTo>
                  <a:pt x="1553" y="71"/>
                </a:moveTo>
                <a:cubicBezTo>
                  <a:pt x="1553" y="71"/>
                  <a:pt x="1552" y="71"/>
                  <a:pt x="1552" y="71"/>
                </a:cubicBezTo>
                <a:cubicBezTo>
                  <a:pt x="1553" y="71"/>
                  <a:pt x="1553" y="71"/>
                  <a:pt x="1553" y="71"/>
                </a:cubicBezTo>
                <a:close/>
                <a:moveTo>
                  <a:pt x="1661" y="71"/>
                </a:moveTo>
                <a:cubicBezTo>
                  <a:pt x="1661" y="71"/>
                  <a:pt x="1661" y="71"/>
                  <a:pt x="1661" y="71"/>
                </a:cubicBezTo>
                <a:cubicBezTo>
                  <a:pt x="1661" y="71"/>
                  <a:pt x="1661" y="71"/>
                  <a:pt x="1661" y="71"/>
                </a:cubicBezTo>
                <a:close/>
                <a:moveTo>
                  <a:pt x="1075" y="36"/>
                </a:moveTo>
                <a:cubicBezTo>
                  <a:pt x="1075" y="36"/>
                  <a:pt x="1075" y="36"/>
                  <a:pt x="1075" y="36"/>
                </a:cubicBezTo>
                <a:cubicBezTo>
                  <a:pt x="1075" y="36"/>
                  <a:pt x="1075" y="36"/>
                  <a:pt x="1075" y="36"/>
                </a:cubicBezTo>
                <a:close/>
                <a:moveTo>
                  <a:pt x="1706" y="71"/>
                </a:moveTo>
                <a:cubicBezTo>
                  <a:pt x="1707" y="71"/>
                  <a:pt x="1707" y="71"/>
                  <a:pt x="1707" y="71"/>
                </a:cubicBezTo>
                <a:cubicBezTo>
                  <a:pt x="1707" y="71"/>
                  <a:pt x="1706" y="71"/>
                  <a:pt x="1706" y="71"/>
                </a:cubicBezTo>
                <a:close/>
                <a:moveTo>
                  <a:pt x="1721" y="71"/>
                </a:moveTo>
                <a:cubicBezTo>
                  <a:pt x="1721" y="71"/>
                  <a:pt x="1721" y="71"/>
                  <a:pt x="1720" y="71"/>
                </a:cubicBezTo>
                <a:cubicBezTo>
                  <a:pt x="1721" y="71"/>
                  <a:pt x="1721" y="71"/>
                  <a:pt x="1721" y="71"/>
                </a:cubicBezTo>
                <a:close/>
                <a:moveTo>
                  <a:pt x="1118" y="36"/>
                </a:moveTo>
                <a:cubicBezTo>
                  <a:pt x="1119" y="36"/>
                  <a:pt x="1119" y="36"/>
                  <a:pt x="1119" y="36"/>
                </a:cubicBezTo>
                <a:cubicBezTo>
                  <a:pt x="1119" y="36"/>
                  <a:pt x="1118" y="36"/>
                  <a:pt x="1118" y="36"/>
                </a:cubicBezTo>
                <a:close/>
                <a:moveTo>
                  <a:pt x="1368" y="71"/>
                </a:moveTo>
                <a:cubicBezTo>
                  <a:pt x="1368" y="71"/>
                  <a:pt x="1368" y="71"/>
                  <a:pt x="1368" y="72"/>
                </a:cubicBezTo>
                <a:cubicBezTo>
                  <a:pt x="1368" y="71"/>
                  <a:pt x="1368" y="71"/>
                  <a:pt x="1368" y="71"/>
                </a:cubicBezTo>
                <a:close/>
                <a:moveTo>
                  <a:pt x="1538" y="72"/>
                </a:moveTo>
                <a:cubicBezTo>
                  <a:pt x="1538" y="72"/>
                  <a:pt x="1538" y="71"/>
                  <a:pt x="1538" y="71"/>
                </a:cubicBezTo>
                <a:cubicBezTo>
                  <a:pt x="1538" y="71"/>
                  <a:pt x="1538" y="71"/>
                  <a:pt x="1538" y="72"/>
                </a:cubicBezTo>
                <a:close/>
                <a:moveTo>
                  <a:pt x="667" y="37"/>
                </a:moveTo>
                <a:cubicBezTo>
                  <a:pt x="667" y="37"/>
                  <a:pt x="667" y="37"/>
                  <a:pt x="667" y="36"/>
                </a:cubicBezTo>
                <a:cubicBezTo>
                  <a:pt x="667" y="36"/>
                  <a:pt x="667" y="37"/>
                  <a:pt x="667" y="37"/>
                </a:cubicBezTo>
                <a:close/>
                <a:moveTo>
                  <a:pt x="793" y="36"/>
                </a:moveTo>
                <a:cubicBezTo>
                  <a:pt x="793" y="37"/>
                  <a:pt x="793" y="37"/>
                  <a:pt x="794" y="37"/>
                </a:cubicBezTo>
                <a:cubicBezTo>
                  <a:pt x="794" y="37"/>
                  <a:pt x="793" y="36"/>
                  <a:pt x="793" y="36"/>
                </a:cubicBezTo>
                <a:close/>
                <a:moveTo>
                  <a:pt x="1706" y="72"/>
                </a:moveTo>
                <a:cubicBezTo>
                  <a:pt x="1706" y="72"/>
                  <a:pt x="1706" y="71"/>
                  <a:pt x="1706" y="71"/>
                </a:cubicBezTo>
                <a:cubicBezTo>
                  <a:pt x="1706" y="71"/>
                  <a:pt x="1706" y="71"/>
                  <a:pt x="1706" y="72"/>
                </a:cubicBezTo>
                <a:close/>
                <a:moveTo>
                  <a:pt x="861" y="36"/>
                </a:moveTo>
                <a:cubicBezTo>
                  <a:pt x="861" y="37"/>
                  <a:pt x="861" y="37"/>
                  <a:pt x="862" y="37"/>
                </a:cubicBezTo>
                <a:cubicBezTo>
                  <a:pt x="861" y="37"/>
                  <a:pt x="861" y="37"/>
                  <a:pt x="861" y="36"/>
                </a:cubicBezTo>
                <a:close/>
                <a:moveTo>
                  <a:pt x="904" y="36"/>
                </a:moveTo>
                <a:cubicBezTo>
                  <a:pt x="904" y="37"/>
                  <a:pt x="904" y="37"/>
                  <a:pt x="904" y="37"/>
                </a:cubicBezTo>
                <a:cubicBezTo>
                  <a:pt x="904" y="37"/>
                  <a:pt x="904" y="37"/>
                  <a:pt x="904" y="36"/>
                </a:cubicBezTo>
                <a:close/>
                <a:moveTo>
                  <a:pt x="1045" y="37"/>
                </a:moveTo>
                <a:cubicBezTo>
                  <a:pt x="1045" y="37"/>
                  <a:pt x="1045" y="37"/>
                  <a:pt x="1045" y="36"/>
                </a:cubicBezTo>
                <a:cubicBezTo>
                  <a:pt x="1045" y="37"/>
                  <a:pt x="1045" y="37"/>
                  <a:pt x="1045" y="37"/>
                </a:cubicBezTo>
                <a:close/>
                <a:moveTo>
                  <a:pt x="1146" y="36"/>
                </a:moveTo>
                <a:cubicBezTo>
                  <a:pt x="1146" y="37"/>
                  <a:pt x="1146" y="37"/>
                  <a:pt x="1146" y="37"/>
                </a:cubicBezTo>
                <a:cubicBezTo>
                  <a:pt x="1146" y="37"/>
                  <a:pt x="1146" y="36"/>
                  <a:pt x="1146" y="36"/>
                </a:cubicBezTo>
                <a:close/>
                <a:moveTo>
                  <a:pt x="1295" y="37"/>
                </a:moveTo>
                <a:cubicBezTo>
                  <a:pt x="1295" y="37"/>
                  <a:pt x="1296" y="37"/>
                  <a:pt x="1296" y="36"/>
                </a:cubicBezTo>
                <a:cubicBezTo>
                  <a:pt x="1295" y="36"/>
                  <a:pt x="1295" y="37"/>
                  <a:pt x="1295" y="37"/>
                </a:cubicBezTo>
                <a:close/>
                <a:moveTo>
                  <a:pt x="835" y="37"/>
                </a:moveTo>
                <a:cubicBezTo>
                  <a:pt x="835" y="37"/>
                  <a:pt x="835" y="37"/>
                  <a:pt x="835" y="37"/>
                </a:cubicBezTo>
                <a:cubicBezTo>
                  <a:pt x="835" y="37"/>
                  <a:pt x="835" y="37"/>
                  <a:pt x="835" y="37"/>
                </a:cubicBezTo>
                <a:close/>
                <a:moveTo>
                  <a:pt x="1368" y="72"/>
                </a:moveTo>
                <a:cubicBezTo>
                  <a:pt x="1367" y="72"/>
                  <a:pt x="1367" y="72"/>
                  <a:pt x="1367" y="72"/>
                </a:cubicBezTo>
                <a:cubicBezTo>
                  <a:pt x="1367" y="72"/>
                  <a:pt x="1368" y="72"/>
                  <a:pt x="1368" y="72"/>
                </a:cubicBezTo>
                <a:close/>
                <a:moveTo>
                  <a:pt x="1537" y="72"/>
                </a:moveTo>
                <a:cubicBezTo>
                  <a:pt x="1538" y="72"/>
                  <a:pt x="1538" y="72"/>
                  <a:pt x="1538" y="72"/>
                </a:cubicBezTo>
                <a:cubicBezTo>
                  <a:pt x="1538" y="72"/>
                  <a:pt x="1538" y="72"/>
                  <a:pt x="1537" y="72"/>
                </a:cubicBezTo>
                <a:close/>
                <a:moveTo>
                  <a:pt x="1552" y="72"/>
                </a:moveTo>
                <a:cubicBezTo>
                  <a:pt x="1552" y="72"/>
                  <a:pt x="1551" y="72"/>
                  <a:pt x="1551" y="72"/>
                </a:cubicBezTo>
                <a:cubicBezTo>
                  <a:pt x="1552" y="72"/>
                  <a:pt x="1552" y="72"/>
                  <a:pt x="1552" y="72"/>
                </a:cubicBezTo>
                <a:close/>
                <a:moveTo>
                  <a:pt x="876" y="37"/>
                </a:moveTo>
                <a:cubicBezTo>
                  <a:pt x="876" y="37"/>
                  <a:pt x="876" y="37"/>
                  <a:pt x="876" y="37"/>
                </a:cubicBezTo>
                <a:cubicBezTo>
                  <a:pt x="876" y="37"/>
                  <a:pt x="876" y="37"/>
                  <a:pt x="876" y="37"/>
                </a:cubicBezTo>
                <a:close/>
                <a:moveTo>
                  <a:pt x="1706" y="72"/>
                </a:moveTo>
                <a:cubicBezTo>
                  <a:pt x="1706" y="72"/>
                  <a:pt x="1706" y="72"/>
                  <a:pt x="1706" y="72"/>
                </a:cubicBezTo>
                <a:cubicBezTo>
                  <a:pt x="1706" y="72"/>
                  <a:pt x="1706" y="72"/>
                  <a:pt x="1706" y="72"/>
                </a:cubicBezTo>
                <a:close/>
                <a:moveTo>
                  <a:pt x="1720" y="72"/>
                </a:moveTo>
                <a:cubicBezTo>
                  <a:pt x="1720" y="72"/>
                  <a:pt x="1720" y="72"/>
                  <a:pt x="1720" y="72"/>
                </a:cubicBezTo>
                <a:cubicBezTo>
                  <a:pt x="1720" y="72"/>
                  <a:pt x="1720" y="72"/>
                  <a:pt x="1720" y="72"/>
                </a:cubicBezTo>
                <a:close/>
                <a:moveTo>
                  <a:pt x="1076" y="37"/>
                </a:moveTo>
                <a:cubicBezTo>
                  <a:pt x="1076" y="37"/>
                  <a:pt x="1076" y="37"/>
                  <a:pt x="1076" y="37"/>
                </a:cubicBezTo>
                <a:cubicBezTo>
                  <a:pt x="1076" y="37"/>
                  <a:pt x="1076" y="37"/>
                  <a:pt x="1076" y="37"/>
                </a:cubicBezTo>
                <a:close/>
                <a:moveTo>
                  <a:pt x="1117" y="37"/>
                </a:moveTo>
                <a:cubicBezTo>
                  <a:pt x="1118" y="37"/>
                  <a:pt x="1118" y="37"/>
                  <a:pt x="1118" y="37"/>
                </a:cubicBezTo>
                <a:cubicBezTo>
                  <a:pt x="1118" y="37"/>
                  <a:pt x="1117" y="37"/>
                  <a:pt x="1117" y="37"/>
                </a:cubicBezTo>
                <a:close/>
                <a:moveTo>
                  <a:pt x="1222" y="37"/>
                </a:moveTo>
                <a:cubicBezTo>
                  <a:pt x="1222" y="37"/>
                  <a:pt x="1222" y="37"/>
                  <a:pt x="1223" y="37"/>
                </a:cubicBezTo>
                <a:cubicBezTo>
                  <a:pt x="1222" y="37"/>
                  <a:pt x="1222" y="37"/>
                  <a:pt x="1222" y="37"/>
                </a:cubicBezTo>
                <a:close/>
                <a:moveTo>
                  <a:pt x="1254" y="37"/>
                </a:moveTo>
                <a:cubicBezTo>
                  <a:pt x="1254" y="37"/>
                  <a:pt x="1254" y="37"/>
                  <a:pt x="1254" y="37"/>
                </a:cubicBezTo>
                <a:cubicBezTo>
                  <a:pt x="1254" y="37"/>
                  <a:pt x="1254" y="37"/>
                  <a:pt x="1254" y="37"/>
                </a:cubicBezTo>
                <a:close/>
                <a:moveTo>
                  <a:pt x="1295" y="37"/>
                </a:moveTo>
                <a:cubicBezTo>
                  <a:pt x="1295" y="37"/>
                  <a:pt x="1295" y="37"/>
                  <a:pt x="1295" y="37"/>
                </a:cubicBezTo>
                <a:cubicBezTo>
                  <a:pt x="1295" y="37"/>
                  <a:pt x="1295" y="37"/>
                  <a:pt x="1295" y="37"/>
                </a:cubicBezTo>
                <a:close/>
                <a:moveTo>
                  <a:pt x="666" y="38"/>
                </a:moveTo>
                <a:cubicBezTo>
                  <a:pt x="666" y="37"/>
                  <a:pt x="666" y="37"/>
                  <a:pt x="666" y="37"/>
                </a:cubicBezTo>
                <a:cubicBezTo>
                  <a:pt x="666" y="37"/>
                  <a:pt x="666" y="37"/>
                  <a:pt x="666" y="38"/>
                </a:cubicBezTo>
                <a:close/>
                <a:moveTo>
                  <a:pt x="1537" y="72"/>
                </a:moveTo>
                <a:cubicBezTo>
                  <a:pt x="1537" y="72"/>
                  <a:pt x="1537" y="72"/>
                  <a:pt x="1538" y="72"/>
                </a:cubicBezTo>
                <a:cubicBezTo>
                  <a:pt x="1537" y="72"/>
                  <a:pt x="1537" y="72"/>
                  <a:pt x="1537" y="72"/>
                </a:cubicBezTo>
                <a:close/>
                <a:moveTo>
                  <a:pt x="1551" y="72"/>
                </a:moveTo>
                <a:cubicBezTo>
                  <a:pt x="1551" y="72"/>
                  <a:pt x="1551" y="72"/>
                  <a:pt x="1551" y="72"/>
                </a:cubicBezTo>
                <a:cubicBezTo>
                  <a:pt x="1551" y="72"/>
                  <a:pt x="1551" y="72"/>
                  <a:pt x="1551" y="72"/>
                </a:cubicBezTo>
                <a:close/>
                <a:moveTo>
                  <a:pt x="762" y="37"/>
                </a:moveTo>
                <a:cubicBezTo>
                  <a:pt x="762" y="37"/>
                  <a:pt x="762" y="37"/>
                  <a:pt x="762" y="37"/>
                </a:cubicBezTo>
                <a:cubicBezTo>
                  <a:pt x="762" y="37"/>
                  <a:pt x="762" y="37"/>
                  <a:pt x="762" y="37"/>
                </a:cubicBezTo>
                <a:close/>
                <a:moveTo>
                  <a:pt x="1705" y="72"/>
                </a:moveTo>
                <a:cubicBezTo>
                  <a:pt x="1705" y="72"/>
                  <a:pt x="1706" y="72"/>
                  <a:pt x="1706" y="72"/>
                </a:cubicBezTo>
                <a:cubicBezTo>
                  <a:pt x="1706" y="72"/>
                  <a:pt x="1705" y="72"/>
                  <a:pt x="1705" y="72"/>
                </a:cubicBezTo>
                <a:close/>
                <a:moveTo>
                  <a:pt x="1720" y="72"/>
                </a:moveTo>
                <a:cubicBezTo>
                  <a:pt x="1719" y="72"/>
                  <a:pt x="1719" y="72"/>
                  <a:pt x="1719" y="72"/>
                </a:cubicBezTo>
                <a:cubicBezTo>
                  <a:pt x="1719" y="72"/>
                  <a:pt x="1719" y="72"/>
                  <a:pt x="1720" y="72"/>
                </a:cubicBezTo>
                <a:close/>
                <a:moveTo>
                  <a:pt x="794" y="37"/>
                </a:moveTo>
                <a:cubicBezTo>
                  <a:pt x="794" y="37"/>
                  <a:pt x="794" y="37"/>
                  <a:pt x="795" y="37"/>
                </a:cubicBezTo>
                <a:cubicBezTo>
                  <a:pt x="795" y="37"/>
                  <a:pt x="794" y="37"/>
                  <a:pt x="794" y="37"/>
                </a:cubicBezTo>
                <a:close/>
                <a:moveTo>
                  <a:pt x="862" y="37"/>
                </a:moveTo>
                <a:cubicBezTo>
                  <a:pt x="862" y="37"/>
                  <a:pt x="862" y="38"/>
                  <a:pt x="862" y="38"/>
                </a:cubicBezTo>
                <a:cubicBezTo>
                  <a:pt x="862" y="37"/>
                  <a:pt x="862" y="37"/>
                  <a:pt x="862" y="37"/>
                </a:cubicBezTo>
                <a:close/>
                <a:moveTo>
                  <a:pt x="1117" y="37"/>
                </a:moveTo>
                <a:cubicBezTo>
                  <a:pt x="1117" y="37"/>
                  <a:pt x="1117" y="37"/>
                  <a:pt x="1117" y="37"/>
                </a:cubicBezTo>
                <a:cubicBezTo>
                  <a:pt x="1117" y="37"/>
                  <a:pt x="1117" y="37"/>
                  <a:pt x="1117" y="37"/>
                </a:cubicBezTo>
                <a:close/>
                <a:moveTo>
                  <a:pt x="1537" y="73"/>
                </a:moveTo>
                <a:cubicBezTo>
                  <a:pt x="1537" y="73"/>
                  <a:pt x="1537" y="72"/>
                  <a:pt x="1537" y="72"/>
                </a:cubicBezTo>
                <a:cubicBezTo>
                  <a:pt x="1537" y="72"/>
                  <a:pt x="1537" y="73"/>
                  <a:pt x="1537" y="73"/>
                </a:cubicBezTo>
                <a:close/>
                <a:moveTo>
                  <a:pt x="1254" y="37"/>
                </a:moveTo>
                <a:cubicBezTo>
                  <a:pt x="1254" y="37"/>
                  <a:pt x="1254" y="37"/>
                  <a:pt x="1255" y="37"/>
                </a:cubicBezTo>
                <a:cubicBezTo>
                  <a:pt x="1254" y="37"/>
                  <a:pt x="1254" y="37"/>
                  <a:pt x="1254" y="37"/>
                </a:cubicBezTo>
                <a:close/>
                <a:moveTo>
                  <a:pt x="1295" y="37"/>
                </a:moveTo>
                <a:cubicBezTo>
                  <a:pt x="1295" y="37"/>
                  <a:pt x="1295" y="37"/>
                  <a:pt x="1295" y="37"/>
                </a:cubicBezTo>
                <a:cubicBezTo>
                  <a:pt x="1295" y="37"/>
                  <a:pt x="1295" y="37"/>
                  <a:pt x="1295" y="37"/>
                </a:cubicBezTo>
                <a:close/>
                <a:moveTo>
                  <a:pt x="1705" y="73"/>
                </a:moveTo>
                <a:cubicBezTo>
                  <a:pt x="1705" y="73"/>
                  <a:pt x="1705" y="72"/>
                  <a:pt x="1705" y="72"/>
                </a:cubicBezTo>
                <a:cubicBezTo>
                  <a:pt x="1705" y="72"/>
                  <a:pt x="1705" y="72"/>
                  <a:pt x="1705" y="73"/>
                </a:cubicBezTo>
                <a:close/>
                <a:moveTo>
                  <a:pt x="666" y="38"/>
                </a:moveTo>
                <a:cubicBezTo>
                  <a:pt x="666" y="38"/>
                  <a:pt x="666" y="38"/>
                  <a:pt x="666" y="37"/>
                </a:cubicBezTo>
                <a:cubicBezTo>
                  <a:pt x="666" y="38"/>
                  <a:pt x="666" y="38"/>
                  <a:pt x="666" y="38"/>
                </a:cubicBezTo>
                <a:close/>
                <a:moveTo>
                  <a:pt x="795" y="37"/>
                </a:moveTo>
                <a:cubicBezTo>
                  <a:pt x="795" y="38"/>
                  <a:pt x="795" y="38"/>
                  <a:pt x="795" y="38"/>
                </a:cubicBezTo>
                <a:cubicBezTo>
                  <a:pt x="795" y="38"/>
                  <a:pt x="795" y="38"/>
                  <a:pt x="795" y="37"/>
                </a:cubicBezTo>
                <a:close/>
                <a:moveTo>
                  <a:pt x="862" y="38"/>
                </a:moveTo>
                <a:cubicBezTo>
                  <a:pt x="863" y="38"/>
                  <a:pt x="863" y="38"/>
                  <a:pt x="863" y="38"/>
                </a:cubicBezTo>
                <a:cubicBezTo>
                  <a:pt x="863" y="38"/>
                  <a:pt x="863" y="38"/>
                  <a:pt x="862" y="38"/>
                </a:cubicBezTo>
                <a:close/>
                <a:moveTo>
                  <a:pt x="875" y="38"/>
                </a:moveTo>
                <a:cubicBezTo>
                  <a:pt x="875" y="38"/>
                  <a:pt x="875" y="38"/>
                  <a:pt x="875" y="38"/>
                </a:cubicBezTo>
                <a:cubicBezTo>
                  <a:pt x="875" y="38"/>
                  <a:pt x="875" y="38"/>
                  <a:pt x="875" y="38"/>
                </a:cubicBezTo>
                <a:close/>
                <a:moveTo>
                  <a:pt x="905" y="38"/>
                </a:moveTo>
                <a:cubicBezTo>
                  <a:pt x="905" y="38"/>
                  <a:pt x="905" y="38"/>
                  <a:pt x="906" y="38"/>
                </a:cubicBezTo>
                <a:cubicBezTo>
                  <a:pt x="906" y="38"/>
                  <a:pt x="905" y="38"/>
                  <a:pt x="905" y="38"/>
                </a:cubicBezTo>
                <a:close/>
                <a:moveTo>
                  <a:pt x="696" y="73"/>
                </a:moveTo>
                <a:cubicBezTo>
                  <a:pt x="696" y="73"/>
                  <a:pt x="696" y="73"/>
                  <a:pt x="696" y="73"/>
                </a:cubicBezTo>
                <a:cubicBezTo>
                  <a:pt x="696" y="73"/>
                  <a:pt x="696" y="73"/>
                  <a:pt x="696" y="73"/>
                </a:cubicBezTo>
                <a:close/>
                <a:moveTo>
                  <a:pt x="1043" y="38"/>
                </a:moveTo>
                <a:cubicBezTo>
                  <a:pt x="1043" y="38"/>
                  <a:pt x="1044" y="38"/>
                  <a:pt x="1044" y="38"/>
                </a:cubicBezTo>
                <a:cubicBezTo>
                  <a:pt x="1043" y="38"/>
                  <a:pt x="1043" y="38"/>
                  <a:pt x="1043" y="38"/>
                </a:cubicBezTo>
                <a:close/>
                <a:moveTo>
                  <a:pt x="1366" y="73"/>
                </a:moveTo>
                <a:cubicBezTo>
                  <a:pt x="1366" y="73"/>
                  <a:pt x="1366" y="73"/>
                  <a:pt x="1366" y="73"/>
                </a:cubicBezTo>
                <a:cubicBezTo>
                  <a:pt x="1366" y="73"/>
                  <a:pt x="1366" y="73"/>
                  <a:pt x="1366" y="73"/>
                </a:cubicBezTo>
                <a:close/>
                <a:moveTo>
                  <a:pt x="1536" y="73"/>
                </a:moveTo>
                <a:cubicBezTo>
                  <a:pt x="1537" y="73"/>
                  <a:pt x="1537" y="73"/>
                  <a:pt x="1537" y="73"/>
                </a:cubicBezTo>
                <a:cubicBezTo>
                  <a:pt x="1537" y="73"/>
                  <a:pt x="1537" y="73"/>
                  <a:pt x="1536" y="73"/>
                </a:cubicBezTo>
                <a:close/>
                <a:moveTo>
                  <a:pt x="1705" y="73"/>
                </a:moveTo>
                <a:cubicBezTo>
                  <a:pt x="1705" y="73"/>
                  <a:pt x="1705" y="73"/>
                  <a:pt x="1705" y="73"/>
                </a:cubicBezTo>
                <a:cubicBezTo>
                  <a:pt x="1705" y="73"/>
                  <a:pt x="1705" y="73"/>
                  <a:pt x="1705" y="73"/>
                </a:cubicBezTo>
                <a:close/>
                <a:moveTo>
                  <a:pt x="1147" y="38"/>
                </a:moveTo>
                <a:cubicBezTo>
                  <a:pt x="1147" y="38"/>
                  <a:pt x="1147" y="38"/>
                  <a:pt x="1148" y="38"/>
                </a:cubicBezTo>
                <a:cubicBezTo>
                  <a:pt x="1148" y="38"/>
                  <a:pt x="1147" y="38"/>
                  <a:pt x="1147" y="38"/>
                </a:cubicBezTo>
                <a:close/>
                <a:moveTo>
                  <a:pt x="696" y="73"/>
                </a:moveTo>
                <a:cubicBezTo>
                  <a:pt x="696" y="73"/>
                  <a:pt x="697" y="73"/>
                  <a:pt x="697" y="73"/>
                </a:cubicBezTo>
                <a:cubicBezTo>
                  <a:pt x="697" y="73"/>
                  <a:pt x="697" y="73"/>
                  <a:pt x="696" y="73"/>
                </a:cubicBezTo>
                <a:close/>
                <a:moveTo>
                  <a:pt x="1366" y="73"/>
                </a:moveTo>
                <a:cubicBezTo>
                  <a:pt x="1366" y="73"/>
                  <a:pt x="1365" y="73"/>
                  <a:pt x="1365" y="73"/>
                </a:cubicBezTo>
                <a:cubicBezTo>
                  <a:pt x="1366" y="73"/>
                  <a:pt x="1366" y="73"/>
                  <a:pt x="1366" y="73"/>
                </a:cubicBezTo>
                <a:close/>
                <a:moveTo>
                  <a:pt x="1221" y="38"/>
                </a:moveTo>
                <a:cubicBezTo>
                  <a:pt x="1221" y="38"/>
                  <a:pt x="1221" y="38"/>
                  <a:pt x="1222" y="38"/>
                </a:cubicBezTo>
                <a:cubicBezTo>
                  <a:pt x="1221" y="38"/>
                  <a:pt x="1221" y="38"/>
                  <a:pt x="1221" y="38"/>
                </a:cubicBezTo>
                <a:close/>
                <a:moveTo>
                  <a:pt x="1536" y="73"/>
                </a:moveTo>
                <a:cubicBezTo>
                  <a:pt x="1536" y="73"/>
                  <a:pt x="1536" y="73"/>
                  <a:pt x="1536" y="73"/>
                </a:cubicBezTo>
                <a:cubicBezTo>
                  <a:pt x="1536" y="73"/>
                  <a:pt x="1536" y="73"/>
                  <a:pt x="1536" y="73"/>
                </a:cubicBezTo>
                <a:close/>
                <a:moveTo>
                  <a:pt x="1550" y="73"/>
                </a:moveTo>
                <a:cubicBezTo>
                  <a:pt x="1550" y="73"/>
                  <a:pt x="1550" y="73"/>
                  <a:pt x="1550" y="73"/>
                </a:cubicBezTo>
                <a:cubicBezTo>
                  <a:pt x="1550" y="73"/>
                  <a:pt x="1550" y="73"/>
                  <a:pt x="1550" y="73"/>
                </a:cubicBezTo>
                <a:close/>
                <a:moveTo>
                  <a:pt x="550" y="38"/>
                </a:moveTo>
                <a:cubicBezTo>
                  <a:pt x="550" y="38"/>
                  <a:pt x="550" y="38"/>
                  <a:pt x="551" y="38"/>
                </a:cubicBezTo>
                <a:cubicBezTo>
                  <a:pt x="551" y="38"/>
                  <a:pt x="550" y="38"/>
                  <a:pt x="550" y="38"/>
                </a:cubicBezTo>
                <a:close/>
                <a:moveTo>
                  <a:pt x="1704" y="73"/>
                </a:moveTo>
                <a:cubicBezTo>
                  <a:pt x="1704" y="73"/>
                  <a:pt x="1705" y="73"/>
                  <a:pt x="1705" y="73"/>
                </a:cubicBezTo>
                <a:cubicBezTo>
                  <a:pt x="1704" y="73"/>
                  <a:pt x="1704" y="73"/>
                  <a:pt x="1704" y="73"/>
                </a:cubicBezTo>
                <a:close/>
                <a:moveTo>
                  <a:pt x="1718" y="73"/>
                </a:moveTo>
                <a:cubicBezTo>
                  <a:pt x="1718" y="73"/>
                  <a:pt x="1718" y="73"/>
                  <a:pt x="1718" y="73"/>
                </a:cubicBezTo>
                <a:cubicBezTo>
                  <a:pt x="1718" y="73"/>
                  <a:pt x="1718" y="73"/>
                  <a:pt x="1718" y="73"/>
                </a:cubicBezTo>
                <a:close/>
                <a:moveTo>
                  <a:pt x="611" y="118"/>
                </a:moveTo>
                <a:cubicBezTo>
                  <a:pt x="611" y="118"/>
                  <a:pt x="611" y="118"/>
                  <a:pt x="611" y="118"/>
                </a:cubicBezTo>
                <a:cubicBezTo>
                  <a:pt x="611" y="118"/>
                  <a:pt x="611" y="118"/>
                  <a:pt x="611" y="118"/>
                </a:cubicBezTo>
                <a:close/>
                <a:moveTo>
                  <a:pt x="833" y="38"/>
                </a:moveTo>
                <a:cubicBezTo>
                  <a:pt x="834" y="38"/>
                  <a:pt x="834" y="38"/>
                  <a:pt x="834" y="38"/>
                </a:cubicBezTo>
                <a:cubicBezTo>
                  <a:pt x="834" y="38"/>
                  <a:pt x="833" y="38"/>
                  <a:pt x="833" y="38"/>
                </a:cubicBezTo>
                <a:close/>
                <a:moveTo>
                  <a:pt x="863" y="38"/>
                </a:moveTo>
                <a:cubicBezTo>
                  <a:pt x="863" y="38"/>
                  <a:pt x="863" y="38"/>
                  <a:pt x="863" y="38"/>
                </a:cubicBezTo>
                <a:cubicBezTo>
                  <a:pt x="863" y="38"/>
                  <a:pt x="863" y="38"/>
                  <a:pt x="863" y="38"/>
                </a:cubicBezTo>
                <a:close/>
                <a:moveTo>
                  <a:pt x="610" y="119"/>
                </a:moveTo>
                <a:cubicBezTo>
                  <a:pt x="610" y="119"/>
                  <a:pt x="611" y="119"/>
                  <a:pt x="611" y="119"/>
                </a:cubicBezTo>
                <a:cubicBezTo>
                  <a:pt x="610" y="119"/>
                  <a:pt x="610" y="119"/>
                  <a:pt x="610" y="119"/>
                </a:cubicBezTo>
                <a:close/>
                <a:moveTo>
                  <a:pt x="874" y="38"/>
                </a:moveTo>
                <a:cubicBezTo>
                  <a:pt x="875" y="38"/>
                  <a:pt x="875" y="38"/>
                  <a:pt x="875" y="38"/>
                </a:cubicBezTo>
                <a:cubicBezTo>
                  <a:pt x="875" y="38"/>
                  <a:pt x="874" y="38"/>
                  <a:pt x="874" y="38"/>
                </a:cubicBezTo>
                <a:close/>
                <a:moveTo>
                  <a:pt x="610" y="119"/>
                </a:moveTo>
                <a:cubicBezTo>
                  <a:pt x="610" y="119"/>
                  <a:pt x="610" y="119"/>
                  <a:pt x="610" y="119"/>
                </a:cubicBezTo>
                <a:cubicBezTo>
                  <a:pt x="610" y="119"/>
                  <a:pt x="610" y="119"/>
                  <a:pt x="610" y="119"/>
                </a:cubicBezTo>
                <a:close/>
                <a:moveTo>
                  <a:pt x="610" y="120"/>
                </a:moveTo>
                <a:cubicBezTo>
                  <a:pt x="610" y="120"/>
                  <a:pt x="610" y="120"/>
                  <a:pt x="610" y="119"/>
                </a:cubicBezTo>
                <a:cubicBezTo>
                  <a:pt x="610" y="119"/>
                  <a:pt x="610" y="119"/>
                  <a:pt x="610" y="120"/>
                </a:cubicBezTo>
                <a:close/>
                <a:moveTo>
                  <a:pt x="906" y="38"/>
                </a:moveTo>
                <a:cubicBezTo>
                  <a:pt x="906" y="38"/>
                  <a:pt x="906" y="38"/>
                  <a:pt x="906" y="38"/>
                </a:cubicBezTo>
                <a:cubicBezTo>
                  <a:pt x="906" y="38"/>
                  <a:pt x="906" y="38"/>
                  <a:pt x="906" y="38"/>
                </a:cubicBezTo>
                <a:close/>
                <a:moveTo>
                  <a:pt x="609" y="120"/>
                </a:moveTo>
                <a:cubicBezTo>
                  <a:pt x="609" y="120"/>
                  <a:pt x="610" y="120"/>
                  <a:pt x="610" y="120"/>
                </a:cubicBezTo>
                <a:cubicBezTo>
                  <a:pt x="609" y="120"/>
                  <a:pt x="609" y="120"/>
                  <a:pt x="609" y="120"/>
                </a:cubicBezTo>
                <a:close/>
                <a:moveTo>
                  <a:pt x="609" y="120"/>
                </a:moveTo>
                <a:cubicBezTo>
                  <a:pt x="609" y="120"/>
                  <a:pt x="609" y="120"/>
                  <a:pt x="609" y="120"/>
                </a:cubicBezTo>
                <a:cubicBezTo>
                  <a:pt x="609" y="120"/>
                  <a:pt x="609" y="120"/>
                  <a:pt x="609" y="120"/>
                </a:cubicBezTo>
                <a:close/>
                <a:moveTo>
                  <a:pt x="621" y="120"/>
                </a:moveTo>
                <a:cubicBezTo>
                  <a:pt x="621" y="120"/>
                  <a:pt x="621" y="120"/>
                  <a:pt x="621" y="120"/>
                </a:cubicBezTo>
                <a:cubicBezTo>
                  <a:pt x="621" y="120"/>
                  <a:pt x="621" y="120"/>
                  <a:pt x="621" y="120"/>
                </a:cubicBezTo>
                <a:close/>
                <a:moveTo>
                  <a:pt x="609" y="121"/>
                </a:moveTo>
                <a:cubicBezTo>
                  <a:pt x="609" y="121"/>
                  <a:pt x="609" y="121"/>
                  <a:pt x="609" y="120"/>
                </a:cubicBezTo>
                <a:cubicBezTo>
                  <a:pt x="609" y="120"/>
                  <a:pt x="609" y="121"/>
                  <a:pt x="609" y="121"/>
                </a:cubicBezTo>
                <a:close/>
                <a:moveTo>
                  <a:pt x="1043" y="38"/>
                </a:moveTo>
                <a:cubicBezTo>
                  <a:pt x="1043" y="38"/>
                  <a:pt x="1043" y="38"/>
                  <a:pt x="1043" y="38"/>
                </a:cubicBezTo>
                <a:cubicBezTo>
                  <a:pt x="1043" y="38"/>
                  <a:pt x="1043" y="38"/>
                  <a:pt x="1043" y="38"/>
                </a:cubicBezTo>
                <a:close/>
                <a:moveTo>
                  <a:pt x="608" y="121"/>
                </a:moveTo>
                <a:cubicBezTo>
                  <a:pt x="608" y="121"/>
                  <a:pt x="608" y="121"/>
                  <a:pt x="609" y="121"/>
                </a:cubicBezTo>
                <a:cubicBezTo>
                  <a:pt x="608" y="121"/>
                  <a:pt x="608" y="121"/>
                  <a:pt x="608" y="121"/>
                </a:cubicBezTo>
                <a:close/>
                <a:moveTo>
                  <a:pt x="608" y="121"/>
                </a:moveTo>
                <a:cubicBezTo>
                  <a:pt x="608" y="121"/>
                  <a:pt x="608" y="121"/>
                  <a:pt x="608" y="121"/>
                </a:cubicBezTo>
                <a:cubicBezTo>
                  <a:pt x="608" y="121"/>
                  <a:pt x="608" y="121"/>
                  <a:pt x="608" y="121"/>
                </a:cubicBezTo>
                <a:close/>
                <a:moveTo>
                  <a:pt x="1077" y="38"/>
                </a:moveTo>
                <a:cubicBezTo>
                  <a:pt x="1077" y="38"/>
                  <a:pt x="1077" y="38"/>
                  <a:pt x="1078" y="38"/>
                </a:cubicBezTo>
                <a:cubicBezTo>
                  <a:pt x="1078" y="38"/>
                  <a:pt x="1077" y="38"/>
                  <a:pt x="1077" y="38"/>
                </a:cubicBezTo>
                <a:close/>
                <a:moveTo>
                  <a:pt x="1148" y="38"/>
                </a:moveTo>
                <a:cubicBezTo>
                  <a:pt x="1148" y="38"/>
                  <a:pt x="1148" y="38"/>
                  <a:pt x="1148" y="38"/>
                </a:cubicBezTo>
                <a:cubicBezTo>
                  <a:pt x="1148" y="38"/>
                  <a:pt x="1148" y="38"/>
                  <a:pt x="1148" y="38"/>
                </a:cubicBezTo>
                <a:close/>
                <a:moveTo>
                  <a:pt x="620" y="122"/>
                </a:moveTo>
                <a:cubicBezTo>
                  <a:pt x="620" y="122"/>
                  <a:pt x="620" y="122"/>
                  <a:pt x="620" y="122"/>
                </a:cubicBezTo>
                <a:cubicBezTo>
                  <a:pt x="620" y="122"/>
                  <a:pt x="620" y="122"/>
                  <a:pt x="620" y="122"/>
                </a:cubicBezTo>
                <a:close/>
                <a:moveTo>
                  <a:pt x="1255" y="38"/>
                </a:moveTo>
                <a:cubicBezTo>
                  <a:pt x="1255" y="38"/>
                  <a:pt x="1255" y="38"/>
                  <a:pt x="1256" y="38"/>
                </a:cubicBezTo>
                <a:cubicBezTo>
                  <a:pt x="1255" y="38"/>
                  <a:pt x="1255" y="38"/>
                  <a:pt x="1255" y="38"/>
                </a:cubicBezTo>
                <a:close/>
                <a:moveTo>
                  <a:pt x="760" y="39"/>
                </a:moveTo>
                <a:cubicBezTo>
                  <a:pt x="760" y="38"/>
                  <a:pt x="761" y="38"/>
                  <a:pt x="761" y="38"/>
                </a:cubicBezTo>
                <a:cubicBezTo>
                  <a:pt x="760" y="38"/>
                  <a:pt x="760" y="38"/>
                  <a:pt x="760" y="39"/>
                </a:cubicBezTo>
                <a:close/>
                <a:moveTo>
                  <a:pt x="796" y="38"/>
                </a:moveTo>
                <a:cubicBezTo>
                  <a:pt x="796" y="38"/>
                  <a:pt x="796" y="39"/>
                  <a:pt x="796" y="39"/>
                </a:cubicBezTo>
                <a:cubicBezTo>
                  <a:pt x="796" y="38"/>
                  <a:pt x="796" y="38"/>
                  <a:pt x="796" y="38"/>
                </a:cubicBezTo>
                <a:close/>
                <a:moveTo>
                  <a:pt x="1536" y="74"/>
                </a:moveTo>
                <a:cubicBezTo>
                  <a:pt x="1536" y="74"/>
                  <a:pt x="1536" y="74"/>
                  <a:pt x="1536" y="73"/>
                </a:cubicBezTo>
                <a:cubicBezTo>
                  <a:pt x="1536" y="73"/>
                  <a:pt x="1536" y="74"/>
                  <a:pt x="1536" y="74"/>
                </a:cubicBezTo>
                <a:close/>
                <a:moveTo>
                  <a:pt x="1550" y="73"/>
                </a:moveTo>
                <a:cubicBezTo>
                  <a:pt x="1549" y="73"/>
                  <a:pt x="1549" y="73"/>
                  <a:pt x="1549" y="74"/>
                </a:cubicBezTo>
                <a:cubicBezTo>
                  <a:pt x="1549" y="74"/>
                  <a:pt x="1550" y="73"/>
                  <a:pt x="1550" y="73"/>
                </a:cubicBezTo>
                <a:close/>
                <a:moveTo>
                  <a:pt x="1675" y="73"/>
                </a:moveTo>
                <a:cubicBezTo>
                  <a:pt x="1675" y="74"/>
                  <a:pt x="1675" y="74"/>
                  <a:pt x="1675" y="74"/>
                </a:cubicBezTo>
                <a:cubicBezTo>
                  <a:pt x="1675" y="74"/>
                  <a:pt x="1675" y="73"/>
                  <a:pt x="1675" y="73"/>
                </a:cubicBezTo>
                <a:close/>
                <a:moveTo>
                  <a:pt x="620" y="123"/>
                </a:moveTo>
                <a:cubicBezTo>
                  <a:pt x="619" y="123"/>
                  <a:pt x="619" y="123"/>
                  <a:pt x="619" y="123"/>
                </a:cubicBezTo>
                <a:cubicBezTo>
                  <a:pt x="619" y="123"/>
                  <a:pt x="619" y="123"/>
                  <a:pt x="620" y="123"/>
                </a:cubicBezTo>
                <a:close/>
                <a:moveTo>
                  <a:pt x="1704" y="74"/>
                </a:moveTo>
                <a:cubicBezTo>
                  <a:pt x="1704" y="74"/>
                  <a:pt x="1704" y="74"/>
                  <a:pt x="1704" y="73"/>
                </a:cubicBezTo>
                <a:cubicBezTo>
                  <a:pt x="1704" y="73"/>
                  <a:pt x="1704" y="74"/>
                  <a:pt x="1704" y="74"/>
                </a:cubicBezTo>
                <a:close/>
                <a:moveTo>
                  <a:pt x="1718" y="73"/>
                </a:moveTo>
                <a:cubicBezTo>
                  <a:pt x="1718" y="73"/>
                  <a:pt x="1717" y="73"/>
                  <a:pt x="1717" y="74"/>
                </a:cubicBezTo>
                <a:cubicBezTo>
                  <a:pt x="1718" y="74"/>
                  <a:pt x="1718" y="73"/>
                  <a:pt x="1718" y="73"/>
                </a:cubicBezTo>
                <a:close/>
                <a:moveTo>
                  <a:pt x="833" y="39"/>
                </a:moveTo>
                <a:cubicBezTo>
                  <a:pt x="833" y="39"/>
                  <a:pt x="833" y="38"/>
                  <a:pt x="833" y="38"/>
                </a:cubicBezTo>
                <a:cubicBezTo>
                  <a:pt x="833" y="38"/>
                  <a:pt x="833" y="38"/>
                  <a:pt x="833" y="39"/>
                </a:cubicBezTo>
                <a:close/>
                <a:moveTo>
                  <a:pt x="863" y="38"/>
                </a:moveTo>
                <a:cubicBezTo>
                  <a:pt x="863" y="38"/>
                  <a:pt x="863" y="39"/>
                  <a:pt x="864" y="39"/>
                </a:cubicBezTo>
                <a:cubicBezTo>
                  <a:pt x="864" y="38"/>
                  <a:pt x="863" y="38"/>
                  <a:pt x="863" y="38"/>
                </a:cubicBezTo>
                <a:close/>
                <a:moveTo>
                  <a:pt x="618" y="124"/>
                </a:moveTo>
                <a:cubicBezTo>
                  <a:pt x="618" y="124"/>
                  <a:pt x="618" y="124"/>
                  <a:pt x="618" y="124"/>
                </a:cubicBezTo>
                <a:cubicBezTo>
                  <a:pt x="618" y="124"/>
                  <a:pt x="618" y="124"/>
                  <a:pt x="618" y="124"/>
                </a:cubicBezTo>
                <a:close/>
                <a:moveTo>
                  <a:pt x="618" y="124"/>
                </a:moveTo>
                <a:cubicBezTo>
                  <a:pt x="618" y="125"/>
                  <a:pt x="618" y="125"/>
                  <a:pt x="618" y="125"/>
                </a:cubicBezTo>
                <a:cubicBezTo>
                  <a:pt x="618" y="125"/>
                  <a:pt x="618" y="125"/>
                  <a:pt x="618" y="124"/>
                </a:cubicBezTo>
                <a:close/>
                <a:moveTo>
                  <a:pt x="874" y="39"/>
                </a:moveTo>
                <a:cubicBezTo>
                  <a:pt x="874" y="38"/>
                  <a:pt x="874" y="38"/>
                  <a:pt x="874" y="38"/>
                </a:cubicBezTo>
                <a:cubicBezTo>
                  <a:pt x="874" y="38"/>
                  <a:pt x="874" y="38"/>
                  <a:pt x="874" y="39"/>
                </a:cubicBezTo>
                <a:close/>
                <a:moveTo>
                  <a:pt x="617" y="126"/>
                </a:moveTo>
                <a:cubicBezTo>
                  <a:pt x="617" y="126"/>
                  <a:pt x="617" y="126"/>
                  <a:pt x="617" y="126"/>
                </a:cubicBezTo>
                <a:cubicBezTo>
                  <a:pt x="617" y="126"/>
                  <a:pt x="617" y="126"/>
                  <a:pt x="617" y="126"/>
                </a:cubicBezTo>
                <a:close/>
                <a:moveTo>
                  <a:pt x="617" y="126"/>
                </a:moveTo>
                <a:cubicBezTo>
                  <a:pt x="617" y="126"/>
                  <a:pt x="616" y="126"/>
                  <a:pt x="616" y="127"/>
                </a:cubicBezTo>
                <a:cubicBezTo>
                  <a:pt x="617" y="126"/>
                  <a:pt x="617" y="126"/>
                  <a:pt x="617" y="126"/>
                </a:cubicBezTo>
                <a:close/>
                <a:moveTo>
                  <a:pt x="616" y="126"/>
                </a:moveTo>
                <a:cubicBezTo>
                  <a:pt x="616" y="127"/>
                  <a:pt x="616" y="127"/>
                  <a:pt x="616" y="127"/>
                </a:cubicBezTo>
                <a:cubicBezTo>
                  <a:pt x="616" y="127"/>
                  <a:pt x="616" y="127"/>
                  <a:pt x="616" y="126"/>
                </a:cubicBezTo>
                <a:close/>
                <a:moveTo>
                  <a:pt x="616" y="127"/>
                </a:moveTo>
                <a:cubicBezTo>
                  <a:pt x="616" y="127"/>
                  <a:pt x="616" y="127"/>
                  <a:pt x="616" y="127"/>
                </a:cubicBezTo>
                <a:cubicBezTo>
                  <a:pt x="616" y="127"/>
                  <a:pt x="616" y="127"/>
                  <a:pt x="616" y="127"/>
                </a:cubicBezTo>
                <a:close/>
                <a:moveTo>
                  <a:pt x="616" y="127"/>
                </a:moveTo>
                <a:cubicBezTo>
                  <a:pt x="615" y="127"/>
                  <a:pt x="615" y="127"/>
                  <a:pt x="615" y="128"/>
                </a:cubicBezTo>
                <a:cubicBezTo>
                  <a:pt x="616" y="128"/>
                  <a:pt x="616" y="127"/>
                  <a:pt x="616" y="127"/>
                </a:cubicBezTo>
                <a:close/>
                <a:moveTo>
                  <a:pt x="615" y="128"/>
                </a:moveTo>
                <a:cubicBezTo>
                  <a:pt x="615" y="128"/>
                  <a:pt x="615" y="128"/>
                  <a:pt x="615" y="128"/>
                </a:cubicBezTo>
                <a:cubicBezTo>
                  <a:pt x="615" y="128"/>
                  <a:pt x="615" y="128"/>
                  <a:pt x="615" y="128"/>
                </a:cubicBezTo>
                <a:close/>
                <a:moveTo>
                  <a:pt x="1365" y="74"/>
                </a:moveTo>
                <a:cubicBezTo>
                  <a:pt x="1365" y="74"/>
                  <a:pt x="1365" y="74"/>
                  <a:pt x="1364" y="74"/>
                </a:cubicBezTo>
                <a:cubicBezTo>
                  <a:pt x="1365" y="74"/>
                  <a:pt x="1365" y="74"/>
                  <a:pt x="1365" y="74"/>
                </a:cubicBezTo>
                <a:close/>
                <a:moveTo>
                  <a:pt x="614" y="129"/>
                </a:moveTo>
                <a:cubicBezTo>
                  <a:pt x="614" y="129"/>
                  <a:pt x="614" y="129"/>
                  <a:pt x="614" y="129"/>
                </a:cubicBezTo>
                <a:cubicBezTo>
                  <a:pt x="614" y="129"/>
                  <a:pt x="614" y="129"/>
                  <a:pt x="614" y="129"/>
                </a:cubicBezTo>
                <a:close/>
                <a:moveTo>
                  <a:pt x="614" y="129"/>
                </a:moveTo>
                <a:cubicBezTo>
                  <a:pt x="613" y="129"/>
                  <a:pt x="613" y="129"/>
                  <a:pt x="613" y="129"/>
                </a:cubicBezTo>
                <a:cubicBezTo>
                  <a:pt x="613" y="129"/>
                  <a:pt x="614" y="129"/>
                  <a:pt x="614" y="129"/>
                </a:cubicBezTo>
                <a:close/>
                <a:moveTo>
                  <a:pt x="1535" y="74"/>
                </a:moveTo>
                <a:cubicBezTo>
                  <a:pt x="1536" y="74"/>
                  <a:pt x="1536" y="74"/>
                  <a:pt x="1536" y="74"/>
                </a:cubicBezTo>
                <a:cubicBezTo>
                  <a:pt x="1536" y="74"/>
                  <a:pt x="1536" y="74"/>
                  <a:pt x="1535" y="74"/>
                </a:cubicBezTo>
                <a:close/>
                <a:moveTo>
                  <a:pt x="613" y="130"/>
                </a:moveTo>
                <a:cubicBezTo>
                  <a:pt x="612" y="130"/>
                  <a:pt x="612" y="130"/>
                  <a:pt x="612" y="130"/>
                </a:cubicBezTo>
                <a:cubicBezTo>
                  <a:pt x="612" y="130"/>
                  <a:pt x="612" y="130"/>
                  <a:pt x="613" y="130"/>
                </a:cubicBezTo>
                <a:close/>
                <a:moveTo>
                  <a:pt x="906" y="38"/>
                </a:moveTo>
                <a:cubicBezTo>
                  <a:pt x="906" y="38"/>
                  <a:pt x="906" y="39"/>
                  <a:pt x="906" y="39"/>
                </a:cubicBezTo>
                <a:cubicBezTo>
                  <a:pt x="906" y="38"/>
                  <a:pt x="906" y="38"/>
                  <a:pt x="906" y="38"/>
                </a:cubicBezTo>
                <a:close/>
                <a:moveTo>
                  <a:pt x="612" y="130"/>
                </a:moveTo>
                <a:cubicBezTo>
                  <a:pt x="611" y="130"/>
                  <a:pt x="611" y="130"/>
                  <a:pt x="611" y="131"/>
                </a:cubicBezTo>
                <a:cubicBezTo>
                  <a:pt x="611" y="131"/>
                  <a:pt x="611" y="131"/>
                  <a:pt x="612" y="130"/>
                </a:cubicBezTo>
                <a:close/>
                <a:moveTo>
                  <a:pt x="611" y="131"/>
                </a:moveTo>
                <a:cubicBezTo>
                  <a:pt x="611" y="131"/>
                  <a:pt x="611" y="131"/>
                  <a:pt x="610" y="131"/>
                </a:cubicBezTo>
                <a:cubicBezTo>
                  <a:pt x="611" y="131"/>
                  <a:pt x="611" y="131"/>
                  <a:pt x="611" y="131"/>
                </a:cubicBezTo>
                <a:close/>
                <a:moveTo>
                  <a:pt x="1078" y="38"/>
                </a:moveTo>
                <a:cubicBezTo>
                  <a:pt x="1078" y="38"/>
                  <a:pt x="1078" y="38"/>
                  <a:pt x="1078" y="38"/>
                </a:cubicBezTo>
                <a:cubicBezTo>
                  <a:pt x="1078" y="38"/>
                  <a:pt x="1078" y="38"/>
                  <a:pt x="1078" y="38"/>
                </a:cubicBezTo>
                <a:close/>
                <a:moveTo>
                  <a:pt x="1704" y="74"/>
                </a:moveTo>
                <a:cubicBezTo>
                  <a:pt x="1704" y="74"/>
                  <a:pt x="1704" y="74"/>
                  <a:pt x="1704" y="74"/>
                </a:cubicBezTo>
                <a:cubicBezTo>
                  <a:pt x="1704" y="74"/>
                  <a:pt x="1704" y="74"/>
                  <a:pt x="1704" y="74"/>
                </a:cubicBezTo>
                <a:close/>
                <a:moveTo>
                  <a:pt x="1116" y="39"/>
                </a:moveTo>
                <a:cubicBezTo>
                  <a:pt x="1116" y="39"/>
                  <a:pt x="1116" y="38"/>
                  <a:pt x="1116" y="38"/>
                </a:cubicBezTo>
                <a:cubicBezTo>
                  <a:pt x="1116" y="38"/>
                  <a:pt x="1116" y="38"/>
                  <a:pt x="1116" y="39"/>
                </a:cubicBezTo>
                <a:close/>
                <a:moveTo>
                  <a:pt x="1148" y="38"/>
                </a:moveTo>
                <a:cubicBezTo>
                  <a:pt x="1148" y="38"/>
                  <a:pt x="1148" y="39"/>
                  <a:pt x="1148" y="39"/>
                </a:cubicBezTo>
                <a:cubicBezTo>
                  <a:pt x="1148" y="38"/>
                  <a:pt x="1148" y="38"/>
                  <a:pt x="1148" y="38"/>
                </a:cubicBezTo>
                <a:close/>
                <a:moveTo>
                  <a:pt x="1255" y="38"/>
                </a:moveTo>
                <a:cubicBezTo>
                  <a:pt x="1256" y="38"/>
                  <a:pt x="1256" y="39"/>
                  <a:pt x="1256" y="39"/>
                </a:cubicBezTo>
                <a:cubicBezTo>
                  <a:pt x="1256" y="38"/>
                  <a:pt x="1256" y="38"/>
                  <a:pt x="1255" y="38"/>
                </a:cubicBezTo>
                <a:close/>
                <a:moveTo>
                  <a:pt x="664" y="39"/>
                </a:moveTo>
                <a:cubicBezTo>
                  <a:pt x="664" y="39"/>
                  <a:pt x="665" y="39"/>
                  <a:pt x="665" y="39"/>
                </a:cubicBezTo>
                <a:cubicBezTo>
                  <a:pt x="664" y="39"/>
                  <a:pt x="664" y="39"/>
                  <a:pt x="664" y="39"/>
                </a:cubicBezTo>
                <a:close/>
                <a:moveTo>
                  <a:pt x="1044" y="84"/>
                </a:moveTo>
                <a:cubicBezTo>
                  <a:pt x="1044" y="84"/>
                  <a:pt x="1044" y="84"/>
                  <a:pt x="1044" y="84"/>
                </a:cubicBezTo>
                <a:cubicBezTo>
                  <a:pt x="1044" y="84"/>
                  <a:pt x="1044" y="84"/>
                  <a:pt x="1044" y="84"/>
                </a:cubicBezTo>
                <a:close/>
                <a:moveTo>
                  <a:pt x="1638" y="50"/>
                </a:moveTo>
                <a:cubicBezTo>
                  <a:pt x="1638" y="51"/>
                  <a:pt x="1639" y="51"/>
                  <a:pt x="1639" y="51"/>
                </a:cubicBezTo>
                <a:cubicBezTo>
                  <a:pt x="1645" y="51"/>
                  <a:pt x="1650" y="52"/>
                  <a:pt x="1655" y="51"/>
                </a:cubicBezTo>
                <a:cubicBezTo>
                  <a:pt x="1659" y="51"/>
                  <a:pt x="1663" y="50"/>
                  <a:pt x="1665" y="48"/>
                </a:cubicBezTo>
                <a:cubicBezTo>
                  <a:pt x="1672" y="43"/>
                  <a:pt x="1673" y="37"/>
                  <a:pt x="1672" y="30"/>
                </a:cubicBezTo>
                <a:cubicBezTo>
                  <a:pt x="1671" y="24"/>
                  <a:pt x="1668" y="21"/>
                  <a:pt x="1663" y="19"/>
                </a:cubicBezTo>
                <a:cubicBezTo>
                  <a:pt x="1661" y="18"/>
                  <a:pt x="1659" y="18"/>
                  <a:pt x="1657" y="18"/>
                </a:cubicBezTo>
                <a:cubicBezTo>
                  <a:pt x="1651" y="17"/>
                  <a:pt x="1646" y="17"/>
                  <a:pt x="1640" y="17"/>
                </a:cubicBezTo>
                <a:cubicBezTo>
                  <a:pt x="1639" y="17"/>
                  <a:pt x="1639" y="17"/>
                  <a:pt x="1639" y="19"/>
                </a:cubicBezTo>
                <a:cubicBezTo>
                  <a:pt x="1638" y="24"/>
                  <a:pt x="1638" y="29"/>
                  <a:pt x="1638" y="34"/>
                </a:cubicBezTo>
                <a:cubicBezTo>
                  <a:pt x="1638" y="40"/>
                  <a:pt x="1639" y="45"/>
                  <a:pt x="1638" y="50"/>
                </a:cubicBezTo>
                <a:close/>
                <a:moveTo>
                  <a:pt x="1422" y="75"/>
                </a:moveTo>
                <a:cubicBezTo>
                  <a:pt x="1423" y="79"/>
                  <a:pt x="1425" y="84"/>
                  <a:pt x="1427" y="87"/>
                </a:cubicBezTo>
                <a:cubicBezTo>
                  <a:pt x="1432" y="94"/>
                  <a:pt x="1439" y="95"/>
                  <a:pt x="1445" y="93"/>
                </a:cubicBezTo>
                <a:cubicBezTo>
                  <a:pt x="1450" y="92"/>
                  <a:pt x="1452" y="89"/>
                  <a:pt x="1455" y="85"/>
                </a:cubicBezTo>
                <a:cubicBezTo>
                  <a:pt x="1457" y="80"/>
                  <a:pt x="1458" y="75"/>
                  <a:pt x="1459" y="70"/>
                </a:cubicBezTo>
                <a:cubicBezTo>
                  <a:pt x="1460" y="64"/>
                  <a:pt x="1460" y="57"/>
                  <a:pt x="1460" y="51"/>
                </a:cubicBezTo>
                <a:cubicBezTo>
                  <a:pt x="1459" y="45"/>
                  <a:pt x="1459" y="38"/>
                  <a:pt x="1457" y="32"/>
                </a:cubicBezTo>
                <a:cubicBezTo>
                  <a:pt x="1456" y="28"/>
                  <a:pt x="1455" y="25"/>
                  <a:pt x="1453" y="21"/>
                </a:cubicBezTo>
                <a:cubicBezTo>
                  <a:pt x="1449" y="16"/>
                  <a:pt x="1444" y="14"/>
                  <a:pt x="1437" y="15"/>
                </a:cubicBezTo>
                <a:cubicBezTo>
                  <a:pt x="1432" y="16"/>
                  <a:pt x="1429" y="19"/>
                  <a:pt x="1427" y="23"/>
                </a:cubicBezTo>
                <a:cubicBezTo>
                  <a:pt x="1425" y="26"/>
                  <a:pt x="1424" y="30"/>
                  <a:pt x="1423" y="34"/>
                </a:cubicBezTo>
                <a:cubicBezTo>
                  <a:pt x="1421" y="41"/>
                  <a:pt x="1421" y="48"/>
                  <a:pt x="1421" y="54"/>
                </a:cubicBezTo>
                <a:cubicBezTo>
                  <a:pt x="1421" y="62"/>
                  <a:pt x="1421" y="69"/>
                  <a:pt x="1422" y="75"/>
                </a:cubicBezTo>
                <a:close/>
                <a:moveTo>
                  <a:pt x="1043" y="61"/>
                </a:moveTo>
                <a:cubicBezTo>
                  <a:pt x="1052" y="61"/>
                  <a:pt x="1062" y="61"/>
                  <a:pt x="1072" y="61"/>
                </a:cubicBezTo>
                <a:cubicBezTo>
                  <a:pt x="1073" y="61"/>
                  <a:pt x="1075" y="61"/>
                  <a:pt x="1076" y="61"/>
                </a:cubicBezTo>
                <a:cubicBezTo>
                  <a:pt x="1077" y="61"/>
                  <a:pt x="1077" y="61"/>
                  <a:pt x="1077" y="60"/>
                </a:cubicBezTo>
                <a:cubicBezTo>
                  <a:pt x="1077" y="57"/>
                  <a:pt x="1076" y="54"/>
                  <a:pt x="1075" y="51"/>
                </a:cubicBezTo>
                <a:cubicBezTo>
                  <a:pt x="1073" y="47"/>
                  <a:pt x="1070" y="44"/>
                  <a:pt x="1066" y="43"/>
                </a:cubicBezTo>
                <a:cubicBezTo>
                  <a:pt x="1062" y="42"/>
                  <a:pt x="1059" y="42"/>
                  <a:pt x="1055" y="43"/>
                </a:cubicBezTo>
                <a:cubicBezTo>
                  <a:pt x="1048" y="44"/>
                  <a:pt x="1042" y="52"/>
                  <a:pt x="1041" y="61"/>
                </a:cubicBezTo>
                <a:cubicBezTo>
                  <a:pt x="1041" y="61"/>
                  <a:pt x="1042" y="61"/>
                  <a:pt x="1043" y="61"/>
                </a:cubicBezTo>
                <a:close/>
                <a:moveTo>
                  <a:pt x="760" y="61"/>
                </a:moveTo>
                <a:cubicBezTo>
                  <a:pt x="771" y="61"/>
                  <a:pt x="782" y="61"/>
                  <a:pt x="793" y="61"/>
                </a:cubicBezTo>
                <a:cubicBezTo>
                  <a:pt x="793" y="61"/>
                  <a:pt x="793" y="61"/>
                  <a:pt x="794" y="61"/>
                </a:cubicBezTo>
                <a:cubicBezTo>
                  <a:pt x="794" y="62"/>
                  <a:pt x="795" y="61"/>
                  <a:pt x="795" y="60"/>
                </a:cubicBezTo>
                <a:cubicBezTo>
                  <a:pt x="794" y="57"/>
                  <a:pt x="794" y="53"/>
                  <a:pt x="792" y="49"/>
                </a:cubicBezTo>
                <a:cubicBezTo>
                  <a:pt x="790" y="47"/>
                  <a:pt x="788" y="44"/>
                  <a:pt x="785" y="43"/>
                </a:cubicBezTo>
                <a:cubicBezTo>
                  <a:pt x="779" y="41"/>
                  <a:pt x="773" y="41"/>
                  <a:pt x="767" y="45"/>
                </a:cubicBezTo>
                <a:cubicBezTo>
                  <a:pt x="762" y="49"/>
                  <a:pt x="760" y="55"/>
                  <a:pt x="758" y="61"/>
                </a:cubicBezTo>
                <a:cubicBezTo>
                  <a:pt x="759" y="62"/>
                  <a:pt x="760" y="61"/>
                  <a:pt x="760" y="61"/>
                </a:cubicBezTo>
                <a:close/>
                <a:moveTo>
                  <a:pt x="1221" y="61"/>
                </a:moveTo>
                <a:cubicBezTo>
                  <a:pt x="1229" y="61"/>
                  <a:pt x="1238" y="61"/>
                  <a:pt x="1247" y="61"/>
                </a:cubicBezTo>
                <a:cubicBezTo>
                  <a:pt x="1249" y="61"/>
                  <a:pt x="1251" y="61"/>
                  <a:pt x="1254" y="61"/>
                </a:cubicBezTo>
                <a:cubicBezTo>
                  <a:pt x="1254" y="61"/>
                  <a:pt x="1255" y="61"/>
                  <a:pt x="1255" y="60"/>
                </a:cubicBezTo>
                <a:cubicBezTo>
                  <a:pt x="1254" y="57"/>
                  <a:pt x="1254" y="53"/>
                  <a:pt x="1252" y="50"/>
                </a:cubicBezTo>
                <a:cubicBezTo>
                  <a:pt x="1250" y="47"/>
                  <a:pt x="1248" y="44"/>
                  <a:pt x="1245" y="43"/>
                </a:cubicBezTo>
                <a:cubicBezTo>
                  <a:pt x="1239" y="41"/>
                  <a:pt x="1234" y="41"/>
                  <a:pt x="1229" y="45"/>
                </a:cubicBezTo>
                <a:cubicBezTo>
                  <a:pt x="1222" y="48"/>
                  <a:pt x="1220" y="54"/>
                  <a:pt x="1218" y="61"/>
                </a:cubicBezTo>
                <a:cubicBezTo>
                  <a:pt x="1219" y="61"/>
                  <a:pt x="1220" y="61"/>
                  <a:pt x="1221" y="61"/>
                </a:cubicBezTo>
                <a:close/>
                <a:moveTo>
                  <a:pt x="248" y="73"/>
                </a:moveTo>
                <a:cubicBezTo>
                  <a:pt x="248" y="75"/>
                  <a:pt x="248" y="77"/>
                  <a:pt x="249" y="78"/>
                </a:cubicBezTo>
                <a:cubicBezTo>
                  <a:pt x="251" y="85"/>
                  <a:pt x="255" y="90"/>
                  <a:pt x="262" y="93"/>
                </a:cubicBezTo>
                <a:cubicBezTo>
                  <a:pt x="265" y="94"/>
                  <a:pt x="269" y="94"/>
                  <a:pt x="272" y="94"/>
                </a:cubicBezTo>
                <a:cubicBezTo>
                  <a:pt x="281" y="93"/>
                  <a:pt x="286" y="89"/>
                  <a:pt x="289" y="81"/>
                </a:cubicBezTo>
                <a:cubicBezTo>
                  <a:pt x="290" y="78"/>
                  <a:pt x="291" y="75"/>
                  <a:pt x="291" y="72"/>
                </a:cubicBezTo>
                <a:cubicBezTo>
                  <a:pt x="292" y="66"/>
                  <a:pt x="291" y="60"/>
                  <a:pt x="289" y="55"/>
                </a:cubicBezTo>
                <a:cubicBezTo>
                  <a:pt x="287" y="49"/>
                  <a:pt x="283" y="45"/>
                  <a:pt x="277" y="43"/>
                </a:cubicBezTo>
                <a:cubicBezTo>
                  <a:pt x="274" y="42"/>
                  <a:pt x="271" y="42"/>
                  <a:pt x="269" y="42"/>
                </a:cubicBezTo>
                <a:cubicBezTo>
                  <a:pt x="260" y="42"/>
                  <a:pt x="253" y="47"/>
                  <a:pt x="250" y="55"/>
                </a:cubicBezTo>
                <a:cubicBezTo>
                  <a:pt x="248" y="59"/>
                  <a:pt x="247" y="64"/>
                  <a:pt x="247" y="68"/>
                </a:cubicBezTo>
                <a:cubicBezTo>
                  <a:pt x="247" y="70"/>
                  <a:pt x="247" y="72"/>
                  <a:pt x="248" y="73"/>
                </a:cubicBezTo>
                <a:close/>
                <a:moveTo>
                  <a:pt x="370" y="78"/>
                </a:moveTo>
                <a:cubicBezTo>
                  <a:pt x="372" y="86"/>
                  <a:pt x="377" y="91"/>
                  <a:pt x="384" y="93"/>
                </a:cubicBezTo>
                <a:cubicBezTo>
                  <a:pt x="387" y="94"/>
                  <a:pt x="391" y="94"/>
                  <a:pt x="394" y="94"/>
                </a:cubicBezTo>
                <a:cubicBezTo>
                  <a:pt x="402" y="93"/>
                  <a:pt x="408" y="89"/>
                  <a:pt x="411" y="81"/>
                </a:cubicBezTo>
                <a:cubicBezTo>
                  <a:pt x="412" y="78"/>
                  <a:pt x="412" y="75"/>
                  <a:pt x="413" y="71"/>
                </a:cubicBezTo>
                <a:cubicBezTo>
                  <a:pt x="413" y="65"/>
                  <a:pt x="413" y="60"/>
                  <a:pt x="410" y="54"/>
                </a:cubicBezTo>
                <a:cubicBezTo>
                  <a:pt x="408" y="48"/>
                  <a:pt x="404" y="45"/>
                  <a:pt x="398" y="43"/>
                </a:cubicBezTo>
                <a:cubicBezTo>
                  <a:pt x="395" y="42"/>
                  <a:pt x="393" y="42"/>
                  <a:pt x="390" y="42"/>
                </a:cubicBezTo>
                <a:cubicBezTo>
                  <a:pt x="381" y="42"/>
                  <a:pt x="374" y="47"/>
                  <a:pt x="371" y="55"/>
                </a:cubicBezTo>
                <a:cubicBezTo>
                  <a:pt x="369" y="59"/>
                  <a:pt x="369" y="64"/>
                  <a:pt x="369" y="68"/>
                </a:cubicBezTo>
                <a:cubicBezTo>
                  <a:pt x="369" y="72"/>
                  <a:pt x="369" y="75"/>
                  <a:pt x="370" y="78"/>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sp>
        <p:nvSpPr>
          <p:cNvPr id="20" name="Freeform 9"/>
          <p:cNvSpPr>
            <a:spLocks noEditPoints="1"/>
          </p:cNvSpPr>
          <p:nvPr/>
        </p:nvSpPr>
        <p:spPr bwMode="black">
          <a:xfrm>
            <a:off x="5576407" y="4735530"/>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endParaRPr lang="en-US">
              <a:solidFill>
                <a:prstClr val="black"/>
              </a:solidFill>
            </a:endParaRPr>
          </a:p>
        </p:txBody>
      </p:sp>
    </p:spTree>
    <p:extLst>
      <p:ext uri="{BB962C8B-B14F-4D97-AF65-F5344CB8AC3E}">
        <p14:creationId xmlns:p14="http://schemas.microsoft.com/office/powerpoint/2010/main" val="76165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15024" y="1214472"/>
            <a:ext cx="4762500" cy="4762500"/>
          </a:xfrm>
          <a:prstGeom prst="rect">
            <a:avLst/>
          </a:prstGeom>
        </p:spPr>
      </p:pic>
    </p:spTree>
    <p:extLst>
      <p:ext uri="{BB962C8B-B14F-4D97-AF65-F5344CB8AC3E}">
        <p14:creationId xmlns:p14="http://schemas.microsoft.com/office/powerpoint/2010/main" val="324256066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282949" y="1171765"/>
            <a:ext cx="11878890" cy="50544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3144017" y="1468103"/>
            <a:ext cx="2776436" cy="4325893"/>
            <a:chOff x="5365134" y="-2993496"/>
            <a:chExt cx="2776436" cy="4325893"/>
          </a:xfrm>
        </p:grpSpPr>
        <p:grpSp>
          <p:nvGrpSpPr>
            <p:cNvPr id="74" name="Group 73"/>
            <p:cNvGrpSpPr/>
            <p:nvPr/>
          </p:nvGrpSpPr>
          <p:grpSpPr>
            <a:xfrm>
              <a:off x="5365134" y="-2993496"/>
              <a:ext cx="2776436" cy="4325893"/>
              <a:chOff x="3146698" y="1467374"/>
              <a:chExt cx="2776436" cy="4325893"/>
            </a:xfrm>
          </p:grpSpPr>
          <p:sp>
            <p:nvSpPr>
              <p:cNvPr id="88" name="Text Placeholder 12"/>
              <p:cNvSpPr txBox="1">
                <a:spLocks/>
              </p:cNvSpPr>
              <p:nvPr/>
            </p:nvSpPr>
            <p:spPr>
              <a:xfrm>
                <a:off x="3146698" y="5128470"/>
                <a:ext cx="2776436" cy="6647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1600" spc="0" dirty="0" smtClean="0">
                    <a:solidFill>
                      <a:schemeClr val="bg2">
                        <a:lumMod val="50000"/>
                      </a:schemeClr>
                    </a:solidFill>
                    <a:latin typeface="Segoe UI" pitchFamily="34" charset="0"/>
                    <a:ea typeface="Segoe UI" pitchFamily="34" charset="0"/>
                    <a:cs typeface="Segoe UI" pitchFamily="34" charset="0"/>
                  </a:rPr>
                  <a:t>The </a:t>
                </a:r>
                <a:r>
                  <a:rPr lang="en-US" sz="1600" b="1" spc="0" dirty="0" smtClean="0">
                    <a:solidFill>
                      <a:schemeClr val="bg2">
                        <a:lumMod val="50000"/>
                      </a:schemeClr>
                    </a:solidFill>
                    <a:latin typeface="Segoe UI" pitchFamily="34" charset="0"/>
                    <a:ea typeface="Segoe UI" pitchFamily="34" charset="0"/>
                    <a:cs typeface="Segoe UI" pitchFamily="34" charset="0"/>
                  </a:rPr>
                  <a:t>explosion of </a:t>
                </a:r>
                <a:r>
                  <a:rPr lang="en-US" sz="1600" b="1" spc="0" dirty="0">
                    <a:solidFill>
                      <a:schemeClr val="bg2">
                        <a:lumMod val="50000"/>
                      </a:schemeClr>
                    </a:solidFill>
                    <a:latin typeface="Segoe UI" pitchFamily="34" charset="0"/>
                    <a:ea typeface="Segoe UI" pitchFamily="34" charset="0"/>
                    <a:cs typeface="Segoe UI" pitchFamily="34" charset="0"/>
                  </a:rPr>
                  <a:t>devices</a:t>
                </a:r>
                <a:r>
                  <a:rPr lang="en-US" sz="1600" b="1" spc="0" dirty="0" smtClean="0">
                    <a:solidFill>
                      <a:schemeClr val="bg2">
                        <a:lumMod val="50000"/>
                      </a:schemeClr>
                    </a:solidFill>
                    <a:latin typeface="Segoe UI" pitchFamily="34" charset="0"/>
                    <a:ea typeface="Segoe UI" pitchFamily="34" charset="0"/>
                    <a:cs typeface="Segoe UI" pitchFamily="34" charset="0"/>
                  </a:rPr>
                  <a:t> </a:t>
                </a:r>
                <a:r>
                  <a:rPr lang="en-US" sz="1600" spc="0" dirty="0" smtClean="0">
                    <a:solidFill>
                      <a:schemeClr val="bg2">
                        <a:lumMod val="50000"/>
                      </a:schemeClr>
                    </a:solidFill>
                    <a:latin typeface="Segoe UI" pitchFamily="34" charset="0"/>
                    <a:ea typeface="Segoe UI" pitchFamily="34" charset="0"/>
                    <a:cs typeface="Segoe UI" pitchFamily="34" charset="0"/>
                  </a:rPr>
                  <a:t>is eroding the standards-based approach to corporate IT.</a:t>
                </a:r>
                <a:endParaRPr lang="en-US" sz="1600" spc="0" dirty="0">
                  <a:solidFill>
                    <a:schemeClr val="bg2">
                      <a:lumMod val="50000"/>
                    </a:schemeClr>
                  </a:solidFill>
                  <a:latin typeface="Segoe UI" pitchFamily="34" charset="0"/>
                  <a:ea typeface="Segoe UI" pitchFamily="34" charset="0"/>
                  <a:cs typeface="Segoe UI" pitchFamily="34" charset="0"/>
                </a:endParaRPr>
              </a:p>
            </p:txBody>
          </p:sp>
          <p:sp>
            <p:nvSpPr>
              <p:cNvPr id="92" name="Text Placeholder 12"/>
              <p:cNvSpPr txBox="1">
                <a:spLocks/>
              </p:cNvSpPr>
              <p:nvPr/>
            </p:nvSpPr>
            <p:spPr>
              <a:xfrm>
                <a:off x="3841788" y="4526994"/>
                <a:ext cx="1135845"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3D5800"/>
                    </a:solidFill>
                    <a:latin typeface="Segoe UI" pitchFamily="34" charset="0"/>
                    <a:ea typeface="Segoe UI" pitchFamily="34" charset="0"/>
                    <a:cs typeface="Segoe UI" pitchFamily="34" charset="0"/>
                  </a:rPr>
                  <a:t>Devices</a:t>
                </a:r>
                <a:endParaRPr lang="en-US" sz="2000" b="1" spc="0" dirty="0">
                  <a:solidFill>
                    <a:srgbClr val="3D5800"/>
                  </a:solidFill>
                  <a:latin typeface="Segoe UI" pitchFamily="34" charset="0"/>
                  <a:ea typeface="Segoe UI" pitchFamily="34" charset="0"/>
                  <a:cs typeface="Segoe UI" pitchFamily="34" charset="0"/>
                </a:endParaRPr>
              </a:p>
            </p:txBody>
          </p:sp>
          <p:sp>
            <p:nvSpPr>
              <p:cNvPr id="103" name="Freeform 24"/>
              <p:cNvSpPr>
                <a:spLocks noChangeAspect="1"/>
              </p:cNvSpPr>
              <p:nvPr/>
            </p:nvSpPr>
            <p:spPr bwMode="auto">
              <a:xfrm>
                <a:off x="3439936" y="2935259"/>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4" name="Freeform 25"/>
              <p:cNvSpPr>
                <a:spLocks noChangeAspect="1"/>
              </p:cNvSpPr>
              <p:nvPr/>
            </p:nvSpPr>
            <p:spPr bwMode="auto">
              <a:xfrm>
                <a:off x="3493556" y="2473258"/>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12" name="Freeform 26"/>
              <p:cNvSpPr>
                <a:spLocks noChangeAspect="1"/>
              </p:cNvSpPr>
              <p:nvPr/>
            </p:nvSpPr>
            <p:spPr bwMode="auto">
              <a:xfrm>
                <a:off x="3493556" y="2473258"/>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113" name="Picture 1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94518" y="3300476"/>
                <a:ext cx="1215501" cy="811685"/>
              </a:xfrm>
              <a:prstGeom prst="rect">
                <a:avLst/>
              </a:prstGeom>
            </p:spPr>
          </p:pic>
          <p:pic>
            <p:nvPicPr>
              <p:cNvPr id="114" name="Picture 1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10331" y="2469871"/>
                <a:ext cx="416193" cy="769124"/>
              </a:xfrm>
              <a:prstGeom prst="rect">
                <a:avLst/>
              </a:prstGeom>
            </p:spPr>
          </p:pic>
          <p:pic>
            <p:nvPicPr>
              <p:cNvPr id="115" name="Picture 11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02268" y="1467374"/>
                <a:ext cx="957572" cy="957572"/>
              </a:xfrm>
              <a:prstGeom prst="rect">
                <a:avLst/>
              </a:prstGeom>
            </p:spPr>
          </p:pic>
          <p:pic>
            <p:nvPicPr>
              <p:cNvPr id="116" name="Picture 11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72156" y="1527079"/>
                <a:ext cx="526826" cy="788132"/>
              </a:xfrm>
              <a:prstGeom prst="rect">
                <a:avLst/>
              </a:prstGeom>
            </p:spPr>
          </p:pic>
        </p:grpSp>
        <p:pic>
          <p:nvPicPr>
            <p:cNvPr id="17" name="Picture 1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761038" y="-1963723"/>
              <a:ext cx="879100" cy="749926"/>
            </a:xfrm>
            <a:prstGeom prst="rect">
              <a:avLst/>
            </a:prstGeom>
          </p:spPr>
        </p:pic>
      </p:grpSp>
      <p:grpSp>
        <p:nvGrpSpPr>
          <p:cNvPr id="12" name="Group 11"/>
          <p:cNvGrpSpPr/>
          <p:nvPr/>
        </p:nvGrpSpPr>
        <p:grpSpPr>
          <a:xfrm>
            <a:off x="6443436" y="1515772"/>
            <a:ext cx="2605050" cy="4276031"/>
            <a:chOff x="4781054" y="-3123506"/>
            <a:chExt cx="2605050" cy="4276031"/>
          </a:xfrm>
        </p:grpSpPr>
        <p:sp>
          <p:nvSpPr>
            <p:cNvPr id="89" name="Text Placeholder 12"/>
            <p:cNvSpPr txBox="1">
              <a:spLocks/>
            </p:cNvSpPr>
            <p:nvPr/>
          </p:nvSpPr>
          <p:spPr>
            <a:xfrm>
              <a:off x="4781054" y="487728"/>
              <a:ext cx="2605050" cy="6647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1600" spc="0" dirty="0" smtClean="0">
                  <a:solidFill>
                    <a:schemeClr val="bg2">
                      <a:lumMod val="50000"/>
                    </a:schemeClr>
                  </a:solidFill>
                  <a:latin typeface="Segoe UI" pitchFamily="34" charset="0"/>
                  <a:ea typeface="Segoe UI" pitchFamily="34" charset="0"/>
                  <a:cs typeface="Segoe UI" pitchFamily="34" charset="0"/>
                </a:rPr>
                <a:t>Deploying and managing </a:t>
              </a:r>
              <a:r>
                <a:rPr lang="en-US" sz="1600" spc="0" dirty="0">
                  <a:solidFill>
                    <a:schemeClr val="bg2">
                      <a:lumMod val="50000"/>
                    </a:schemeClr>
                  </a:solidFill>
                  <a:latin typeface="Segoe UI" pitchFamily="34" charset="0"/>
                  <a:ea typeface="Segoe UI" pitchFamily="34" charset="0"/>
                  <a:cs typeface="Segoe UI" pitchFamily="34" charset="0"/>
                </a:rPr>
                <a:t>applications</a:t>
              </a:r>
              <a:r>
                <a:rPr lang="en-US" sz="1600" spc="0" dirty="0" smtClean="0">
                  <a:solidFill>
                    <a:schemeClr val="bg2">
                      <a:lumMod val="50000"/>
                    </a:schemeClr>
                  </a:solidFill>
                  <a:latin typeface="Segoe UI" pitchFamily="34" charset="0"/>
                  <a:ea typeface="Segoe UI" pitchFamily="34" charset="0"/>
                  <a:cs typeface="Segoe UI" pitchFamily="34" charset="0"/>
                </a:rPr>
                <a:t> </a:t>
              </a:r>
              <a:r>
                <a:rPr lang="en-US" sz="1600" b="1" spc="0" dirty="0" smtClean="0">
                  <a:solidFill>
                    <a:schemeClr val="bg2">
                      <a:lumMod val="50000"/>
                    </a:schemeClr>
                  </a:solidFill>
                  <a:latin typeface="Segoe UI" pitchFamily="34" charset="0"/>
                  <a:ea typeface="Segoe UI" pitchFamily="34" charset="0"/>
                  <a:cs typeface="Segoe UI" pitchFamily="34" charset="0"/>
                </a:rPr>
                <a:t>across platforms </a:t>
              </a:r>
              <a:r>
                <a:rPr lang="en-US" sz="1600" spc="0" dirty="0" smtClean="0">
                  <a:solidFill>
                    <a:schemeClr val="bg2">
                      <a:lumMod val="50000"/>
                    </a:schemeClr>
                  </a:solidFill>
                  <a:latin typeface="Segoe UI" pitchFamily="34" charset="0"/>
                  <a:ea typeface="Segoe UI" pitchFamily="34" charset="0"/>
                  <a:cs typeface="Segoe UI" pitchFamily="34" charset="0"/>
                </a:rPr>
                <a:t>is difficult.</a:t>
              </a:r>
              <a:endParaRPr lang="en-US" sz="1600" spc="0" dirty="0">
                <a:solidFill>
                  <a:schemeClr val="bg2">
                    <a:lumMod val="50000"/>
                  </a:schemeClr>
                </a:solidFill>
                <a:latin typeface="Segoe UI" pitchFamily="34" charset="0"/>
                <a:ea typeface="Segoe UI" pitchFamily="34" charset="0"/>
                <a:cs typeface="Segoe UI" pitchFamily="34" charset="0"/>
              </a:endParaRPr>
            </a:p>
          </p:txBody>
        </p:sp>
        <p:sp>
          <p:nvSpPr>
            <p:cNvPr id="90" name="Text Placeholder 12"/>
            <p:cNvSpPr txBox="1">
              <a:spLocks/>
            </p:cNvSpPr>
            <p:nvPr/>
          </p:nvSpPr>
          <p:spPr>
            <a:xfrm>
              <a:off x="5277045" y="-112942"/>
              <a:ext cx="1236539"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FF8C00"/>
                  </a:solidFill>
                  <a:latin typeface="Segoe UI" pitchFamily="34" charset="0"/>
                  <a:ea typeface="Segoe UI" pitchFamily="34" charset="0"/>
                  <a:cs typeface="Segoe UI" pitchFamily="34" charset="0"/>
                </a:rPr>
                <a:t>Apps</a:t>
              </a:r>
            </a:p>
          </p:txBody>
        </p:sp>
        <p:grpSp>
          <p:nvGrpSpPr>
            <p:cNvPr id="91" name="Group 90"/>
            <p:cNvGrpSpPr/>
            <p:nvPr/>
          </p:nvGrpSpPr>
          <p:grpSpPr>
            <a:xfrm>
              <a:off x="5046546" y="-3123506"/>
              <a:ext cx="1674215" cy="2510160"/>
              <a:chOff x="8801281" y="216504"/>
              <a:chExt cx="1491445" cy="2236132"/>
            </a:xfrm>
          </p:grpSpPr>
          <p:grpSp>
            <p:nvGrpSpPr>
              <p:cNvPr id="105" name="Group 104"/>
              <p:cNvGrpSpPr/>
              <p:nvPr/>
            </p:nvGrpSpPr>
            <p:grpSpPr>
              <a:xfrm>
                <a:off x="8801281" y="216504"/>
                <a:ext cx="1491445" cy="2236132"/>
                <a:chOff x="6649918" y="1518736"/>
                <a:chExt cx="1632914" cy="2448236"/>
              </a:xfrm>
            </p:grpSpPr>
            <p:sp>
              <p:nvSpPr>
                <p:cNvPr id="106"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8"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9"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10"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11"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grpSp>
            <p:nvGrpSpPr>
              <p:cNvPr id="93" name="Group 29"/>
              <p:cNvGrpSpPr>
                <a:grpSpLocks noChangeAspect="1"/>
              </p:cNvGrpSpPr>
              <p:nvPr/>
            </p:nvGrpSpPr>
            <p:grpSpPr bwMode="auto">
              <a:xfrm>
                <a:off x="8804898" y="979278"/>
                <a:ext cx="701892" cy="703330"/>
                <a:chOff x="5541" y="601"/>
                <a:chExt cx="488" cy="489"/>
              </a:xfrm>
              <a:solidFill>
                <a:schemeClr val="accent3"/>
              </a:solidFill>
            </p:grpSpPr>
            <p:sp>
              <p:nvSpPr>
                <p:cNvPr id="94"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5"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7"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8"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9"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0"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1"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2"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grp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grpSp>
      <p:sp>
        <p:nvSpPr>
          <p:cNvPr id="2" name="Title 1"/>
          <p:cNvSpPr>
            <a:spLocks noGrp="1"/>
          </p:cNvSpPr>
          <p:nvPr>
            <p:ph type="title"/>
          </p:nvPr>
        </p:nvSpPr>
        <p:spPr>
          <a:xfrm>
            <a:off x="282949" y="284524"/>
            <a:ext cx="11375536" cy="738664"/>
          </a:xfrm>
        </p:spPr>
        <p:txBody>
          <a:bodyPr/>
          <a:lstStyle/>
          <a:p>
            <a:r>
              <a:rPr lang="en-US" sz="4000" dirty="0"/>
              <a:t>Today’s </a:t>
            </a:r>
            <a:r>
              <a:rPr lang="en-US" sz="4000" dirty="0" smtClean="0"/>
              <a:t>challenges</a:t>
            </a:r>
            <a:endParaRPr lang="en-US" sz="4000" dirty="0"/>
          </a:p>
        </p:txBody>
      </p:sp>
      <p:grpSp>
        <p:nvGrpSpPr>
          <p:cNvPr id="242" name="Group 241"/>
          <p:cNvGrpSpPr/>
          <p:nvPr/>
        </p:nvGrpSpPr>
        <p:grpSpPr>
          <a:xfrm>
            <a:off x="9377082" y="1493977"/>
            <a:ext cx="2603757" cy="4520890"/>
            <a:chOff x="9377082" y="1493977"/>
            <a:chExt cx="2603757" cy="4520890"/>
          </a:xfrm>
        </p:grpSpPr>
        <p:sp>
          <p:nvSpPr>
            <p:cNvPr id="235" name="Text Placeholder 12"/>
            <p:cNvSpPr txBox="1">
              <a:spLocks/>
            </p:cNvSpPr>
            <p:nvPr/>
          </p:nvSpPr>
          <p:spPr>
            <a:xfrm>
              <a:off x="10189392" y="4527800"/>
              <a:ext cx="1013706"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442359"/>
                  </a:solidFill>
                  <a:latin typeface="Segoe UI" pitchFamily="34" charset="0"/>
                  <a:ea typeface="Segoe UI" pitchFamily="34" charset="0"/>
                  <a:cs typeface="Segoe UI" pitchFamily="34" charset="0"/>
                </a:rPr>
                <a:t>Data</a:t>
              </a:r>
            </a:p>
          </p:txBody>
        </p:sp>
        <p:sp>
          <p:nvSpPr>
            <p:cNvPr id="107" name="Text Placeholder 12"/>
            <p:cNvSpPr txBox="1">
              <a:spLocks/>
            </p:cNvSpPr>
            <p:nvPr/>
          </p:nvSpPr>
          <p:spPr>
            <a:xfrm>
              <a:off x="9377082" y="5128470"/>
              <a:ext cx="2603757" cy="886397"/>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1600" spc="0" dirty="0" smtClean="0">
                  <a:solidFill>
                    <a:schemeClr val="bg2">
                      <a:lumMod val="50000"/>
                    </a:schemeClr>
                  </a:solidFill>
                  <a:latin typeface="Segoe UI" pitchFamily="34" charset="0"/>
                  <a:ea typeface="Segoe UI" pitchFamily="34" charset="0"/>
                  <a:cs typeface="Segoe UI" pitchFamily="34" charset="0"/>
                </a:rPr>
                <a:t>Users need to be productive while </a:t>
              </a:r>
              <a:r>
                <a:rPr lang="en-US" sz="1600" b="1" spc="0" dirty="0" smtClean="0">
                  <a:solidFill>
                    <a:schemeClr val="bg2">
                      <a:lumMod val="50000"/>
                    </a:schemeClr>
                  </a:solidFill>
                  <a:latin typeface="Segoe UI" pitchFamily="34" charset="0"/>
                  <a:ea typeface="Segoe UI" pitchFamily="34" charset="0"/>
                  <a:cs typeface="Segoe UI" pitchFamily="34" charset="0"/>
                </a:rPr>
                <a:t>maintaining compliance and reducing risk.</a:t>
              </a:r>
              <a:endParaRPr lang="en-US" sz="1600" b="1" spc="0" dirty="0">
                <a:solidFill>
                  <a:schemeClr val="bg2">
                    <a:lumMod val="50000"/>
                  </a:schemeClr>
                </a:solidFill>
                <a:latin typeface="Segoe UI" pitchFamily="34" charset="0"/>
                <a:ea typeface="Segoe UI" pitchFamily="34" charset="0"/>
                <a:cs typeface="Segoe UI" pitchFamily="34" charset="0"/>
              </a:endParaRPr>
            </a:p>
          </p:txBody>
        </p:sp>
        <p:sp>
          <p:nvSpPr>
            <p:cNvPr id="84" name="Freeform 331"/>
            <p:cNvSpPr>
              <a:spLocks noChangeAspect="1" noEditPoints="1"/>
            </p:cNvSpPr>
            <p:nvPr/>
          </p:nvSpPr>
          <p:spPr bwMode="auto">
            <a:xfrm>
              <a:off x="10003498" y="2357157"/>
              <a:ext cx="792531" cy="77729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5" name="Freeform 346"/>
            <p:cNvSpPr>
              <a:spLocks noChangeAspect="1" noEditPoints="1"/>
            </p:cNvSpPr>
            <p:nvPr/>
          </p:nvSpPr>
          <p:spPr bwMode="auto">
            <a:xfrm>
              <a:off x="10978938" y="2441397"/>
              <a:ext cx="810401" cy="46280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7" name="Freeform 37"/>
            <p:cNvSpPr>
              <a:spLocks noEditPoints="1"/>
            </p:cNvSpPr>
            <p:nvPr/>
          </p:nvSpPr>
          <p:spPr bwMode="auto">
            <a:xfrm>
              <a:off x="10764801" y="1524029"/>
              <a:ext cx="1024538" cy="679243"/>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4" name="Picture 3"/>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065892" y="1493977"/>
              <a:ext cx="484577" cy="733242"/>
            </a:xfrm>
            <a:prstGeom prst="rect">
              <a:avLst/>
            </a:prstGeom>
          </p:spPr>
        </p:pic>
        <p:pic>
          <p:nvPicPr>
            <p:cNvPr id="8" name="Picture 7"/>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0477687" y="3219801"/>
              <a:ext cx="1072122" cy="714748"/>
            </a:xfrm>
            <a:prstGeom prst="rect">
              <a:avLst/>
            </a:prstGeom>
          </p:spPr>
        </p:pic>
      </p:grpSp>
      <p:grpSp>
        <p:nvGrpSpPr>
          <p:cNvPr id="9" name="Group 8"/>
          <p:cNvGrpSpPr/>
          <p:nvPr/>
        </p:nvGrpSpPr>
        <p:grpSpPr>
          <a:xfrm>
            <a:off x="443020" y="1542030"/>
            <a:ext cx="2384070" cy="4472837"/>
            <a:chOff x="443020" y="1542030"/>
            <a:chExt cx="2384070" cy="4472837"/>
          </a:xfrm>
        </p:grpSpPr>
        <p:sp>
          <p:nvSpPr>
            <p:cNvPr id="225" name="Text Placeholder 12"/>
            <p:cNvSpPr txBox="1">
              <a:spLocks/>
            </p:cNvSpPr>
            <p:nvPr/>
          </p:nvSpPr>
          <p:spPr>
            <a:xfrm>
              <a:off x="443020" y="5128470"/>
              <a:ext cx="2384070" cy="88639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spc="0" dirty="0">
                  <a:solidFill>
                    <a:schemeClr val="bg2">
                      <a:lumMod val="50000"/>
                    </a:schemeClr>
                  </a:solidFill>
                  <a:latin typeface="Segoe UI" pitchFamily="34" charset="0"/>
                  <a:ea typeface="Segoe UI" pitchFamily="34" charset="0"/>
                  <a:cs typeface="Segoe UI" pitchFamily="34" charset="0"/>
                </a:rPr>
                <a:t>Users</a:t>
              </a:r>
              <a:r>
                <a:rPr lang="en-US" sz="1600" spc="0" dirty="0" smtClean="0">
                  <a:solidFill>
                    <a:schemeClr val="accent1"/>
                  </a:solidFill>
                  <a:latin typeface="Segoe UI" pitchFamily="34" charset="0"/>
                  <a:ea typeface="Segoe UI" pitchFamily="34" charset="0"/>
                  <a:cs typeface="Segoe UI" pitchFamily="34" charset="0"/>
                </a:rPr>
                <a:t> </a:t>
              </a:r>
              <a:r>
                <a:rPr lang="en-US" sz="1600" spc="0" dirty="0" smtClean="0">
                  <a:solidFill>
                    <a:schemeClr val="bg2">
                      <a:lumMod val="50000"/>
                    </a:schemeClr>
                  </a:solidFill>
                  <a:latin typeface="Segoe UI" pitchFamily="34" charset="0"/>
                  <a:ea typeface="Segoe UI" pitchFamily="34" charset="0"/>
                  <a:cs typeface="Segoe UI" pitchFamily="34" charset="0"/>
                </a:rPr>
                <a:t>expect to be able to </a:t>
              </a:r>
              <a:r>
                <a:rPr lang="en-US" sz="1600" b="1" spc="0" dirty="0" smtClean="0">
                  <a:solidFill>
                    <a:schemeClr val="bg2">
                      <a:lumMod val="50000"/>
                    </a:schemeClr>
                  </a:solidFill>
                  <a:latin typeface="Segoe UI" pitchFamily="34" charset="0"/>
                  <a:ea typeface="Segoe UI" pitchFamily="34" charset="0"/>
                  <a:cs typeface="Segoe UI" pitchFamily="34" charset="0"/>
                </a:rPr>
                <a:t>work in any location </a:t>
              </a:r>
              <a:r>
                <a:rPr lang="en-US" sz="1600" spc="0" dirty="0" smtClean="0">
                  <a:solidFill>
                    <a:schemeClr val="bg2">
                      <a:lumMod val="50000"/>
                    </a:schemeClr>
                  </a:solidFill>
                  <a:latin typeface="Segoe UI" pitchFamily="34" charset="0"/>
                  <a:ea typeface="Segoe UI" pitchFamily="34" charset="0"/>
                  <a:cs typeface="Segoe UI" pitchFamily="34" charset="0"/>
                </a:rPr>
                <a:t>and have access to all their work resources.</a:t>
              </a:r>
              <a:endParaRPr lang="en-US" sz="1600" spc="0" dirty="0">
                <a:solidFill>
                  <a:schemeClr val="bg2">
                    <a:lumMod val="50000"/>
                  </a:schemeClr>
                </a:solidFill>
                <a:latin typeface="Segoe UI" pitchFamily="34" charset="0"/>
                <a:ea typeface="Segoe UI" pitchFamily="34" charset="0"/>
                <a:cs typeface="Segoe UI" pitchFamily="34" charset="0"/>
              </a:endParaRPr>
            </a:p>
          </p:txBody>
        </p:sp>
        <p:sp>
          <p:nvSpPr>
            <p:cNvPr id="232" name="Text Placeholder 12"/>
            <p:cNvSpPr txBox="1">
              <a:spLocks/>
            </p:cNvSpPr>
            <p:nvPr/>
          </p:nvSpPr>
          <p:spPr>
            <a:xfrm>
              <a:off x="1098248" y="4527800"/>
              <a:ext cx="930174" cy="3323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chemeClr val="accent1"/>
                  </a:solidFill>
                  <a:latin typeface="Segoe UI" pitchFamily="34" charset="0"/>
                  <a:ea typeface="Segoe UI" pitchFamily="34" charset="0"/>
                  <a:cs typeface="Segoe UI" pitchFamily="34" charset="0"/>
                </a:rPr>
                <a:t>Users</a:t>
              </a:r>
            </a:p>
          </p:txBody>
        </p:sp>
        <p:sp>
          <p:nvSpPr>
            <p:cNvPr id="7" name="Freeform 5"/>
            <p:cNvSpPr>
              <a:spLocks noEditPoints="1"/>
            </p:cNvSpPr>
            <p:nvPr/>
          </p:nvSpPr>
          <p:spPr bwMode="auto">
            <a:xfrm>
              <a:off x="735012" y="1542030"/>
              <a:ext cx="1627187" cy="244259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 name="Group 5"/>
          <p:cNvGrpSpPr/>
          <p:nvPr/>
        </p:nvGrpSpPr>
        <p:grpSpPr>
          <a:xfrm>
            <a:off x="2438600" y="2344805"/>
            <a:ext cx="908202" cy="995918"/>
            <a:chOff x="2438600" y="2344805"/>
            <a:chExt cx="908202" cy="995918"/>
          </a:xfrm>
        </p:grpSpPr>
        <p:sp>
          <p:nvSpPr>
            <p:cNvPr id="60" name="Left-Right Arrow 59"/>
            <p:cNvSpPr/>
            <p:nvPr/>
          </p:nvSpPr>
          <p:spPr bwMode="auto">
            <a:xfrm rot="20751099">
              <a:off x="2438600" y="2344805"/>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1" name="Left-Right Arrow 60"/>
            <p:cNvSpPr/>
            <p:nvPr/>
          </p:nvSpPr>
          <p:spPr bwMode="auto">
            <a:xfrm>
              <a:off x="2472154" y="2727456"/>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3" name="Left-Right Arrow 62"/>
            <p:cNvSpPr/>
            <p:nvPr/>
          </p:nvSpPr>
          <p:spPr bwMode="auto">
            <a:xfrm rot="772051">
              <a:off x="2458387" y="3098879"/>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5" name="Group 4"/>
          <p:cNvGrpSpPr/>
          <p:nvPr/>
        </p:nvGrpSpPr>
        <p:grpSpPr>
          <a:xfrm>
            <a:off x="5364615" y="2322919"/>
            <a:ext cx="1199027" cy="1020103"/>
            <a:chOff x="5499184" y="2265769"/>
            <a:chExt cx="957967" cy="1020103"/>
          </a:xfrm>
        </p:grpSpPr>
        <p:sp>
          <p:nvSpPr>
            <p:cNvPr id="64" name="Left-Right Arrow 63"/>
            <p:cNvSpPr/>
            <p:nvPr/>
          </p:nvSpPr>
          <p:spPr bwMode="auto">
            <a:xfrm rot="20751099">
              <a:off x="5499184" y="2265769"/>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5" name="Left-Right Arrow 64"/>
            <p:cNvSpPr/>
            <p:nvPr/>
          </p:nvSpPr>
          <p:spPr bwMode="auto">
            <a:xfrm rot="20610885">
              <a:off x="5547900" y="257857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6" name="Left-Right Arrow 65"/>
            <p:cNvSpPr/>
            <p:nvPr/>
          </p:nvSpPr>
          <p:spPr bwMode="auto">
            <a:xfrm rot="668595">
              <a:off x="5548192" y="302696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7" name="Left-Right Arrow 66"/>
            <p:cNvSpPr/>
            <p:nvPr/>
          </p:nvSpPr>
          <p:spPr bwMode="auto">
            <a:xfrm rot="2249269">
              <a:off x="5510157" y="2373128"/>
              <a:ext cx="946994"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9" name="Left-Right Arrow 68"/>
            <p:cNvSpPr/>
            <p:nvPr/>
          </p:nvSpPr>
          <p:spPr bwMode="auto">
            <a:xfrm rot="20312622">
              <a:off x="5533564" y="3044028"/>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10" name="Group 9"/>
          <p:cNvGrpSpPr/>
          <p:nvPr/>
        </p:nvGrpSpPr>
        <p:grpSpPr>
          <a:xfrm>
            <a:off x="8617504" y="2076063"/>
            <a:ext cx="1156082" cy="1459400"/>
            <a:chOff x="8617504" y="2076063"/>
            <a:chExt cx="1156082" cy="1459400"/>
          </a:xfrm>
        </p:grpSpPr>
        <p:grpSp>
          <p:nvGrpSpPr>
            <p:cNvPr id="77" name="Group 76"/>
            <p:cNvGrpSpPr/>
            <p:nvPr/>
          </p:nvGrpSpPr>
          <p:grpSpPr>
            <a:xfrm>
              <a:off x="8626065" y="2076063"/>
              <a:ext cx="1113051" cy="677203"/>
              <a:chOff x="5533564" y="2627719"/>
              <a:chExt cx="889276" cy="677203"/>
            </a:xfrm>
          </p:grpSpPr>
          <p:sp>
            <p:nvSpPr>
              <p:cNvPr id="78" name="Left-Right Arrow 77"/>
              <p:cNvSpPr/>
              <p:nvPr/>
            </p:nvSpPr>
            <p:spPr bwMode="auto">
              <a:xfrm rot="1109394">
                <a:off x="5537234" y="2627719"/>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9" name="Left-Right Arrow 78"/>
              <p:cNvSpPr/>
              <p:nvPr/>
            </p:nvSpPr>
            <p:spPr bwMode="auto">
              <a:xfrm rot="20610885">
                <a:off x="5547900" y="2645245"/>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80" name="Left-Right Arrow 79"/>
              <p:cNvSpPr/>
              <p:nvPr/>
            </p:nvSpPr>
            <p:spPr bwMode="auto">
              <a:xfrm rot="668595">
                <a:off x="5548192" y="302696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83" name="Left-Right Arrow 82"/>
              <p:cNvSpPr/>
              <p:nvPr/>
            </p:nvSpPr>
            <p:spPr bwMode="auto">
              <a:xfrm rot="20675659">
                <a:off x="5533564" y="3063078"/>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70" name="Group 69"/>
            <p:cNvGrpSpPr/>
            <p:nvPr/>
          </p:nvGrpSpPr>
          <p:grpSpPr>
            <a:xfrm>
              <a:off x="8617504" y="2848735"/>
              <a:ext cx="1156082" cy="686728"/>
              <a:chOff x="5499184" y="2618194"/>
              <a:chExt cx="923656" cy="686728"/>
            </a:xfrm>
          </p:grpSpPr>
          <p:sp>
            <p:nvSpPr>
              <p:cNvPr id="71" name="Left-Right Arrow 70"/>
              <p:cNvSpPr/>
              <p:nvPr/>
            </p:nvSpPr>
            <p:spPr bwMode="auto">
              <a:xfrm rot="20751099">
                <a:off x="5499184" y="2618194"/>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3" name="Left-Right Arrow 72"/>
              <p:cNvSpPr/>
              <p:nvPr/>
            </p:nvSpPr>
            <p:spPr bwMode="auto">
              <a:xfrm rot="668595">
                <a:off x="5548192" y="3026960"/>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6" name="Left-Right Arrow 75"/>
              <p:cNvSpPr/>
              <p:nvPr/>
            </p:nvSpPr>
            <p:spPr bwMode="auto">
              <a:xfrm rot="20675659">
                <a:off x="5533564" y="3063078"/>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5" name="Left-Right Arrow 74"/>
              <p:cNvSpPr/>
              <p:nvPr/>
            </p:nvSpPr>
            <p:spPr bwMode="auto">
              <a:xfrm rot="690585">
                <a:off x="5537633" y="2645244"/>
                <a:ext cx="874648" cy="241844"/>
              </a:xfrm>
              <a:prstGeom prst="leftRightArrow">
                <a:avLst/>
              </a:prstGeom>
              <a:solidFill>
                <a:srgbClr val="FFFFFF"/>
              </a:solidFill>
              <a:ln w="254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spTree>
    <p:extLst>
      <p:ext uri="{BB962C8B-B14F-4D97-AF65-F5344CB8AC3E}">
        <p14:creationId xmlns:p14="http://schemas.microsoft.com/office/powerpoint/2010/main" val="2897387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42"/>
                                        </p:tgtEl>
                                        <p:attrNameLst>
                                          <p:attrName>style.visibility</p:attrName>
                                        </p:attrNameLst>
                                      </p:cBhvr>
                                      <p:to>
                                        <p:strVal val="visible"/>
                                      </p:to>
                                    </p:set>
                                    <p:animEffect transition="in" filter="fade">
                                      <p:cBhvr>
                                        <p:cTn id="34"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bwMode="auto">
          <a:xfrm>
            <a:off x="282949" y="1171765"/>
            <a:ext cx="11878890" cy="50544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6"/>
          <p:cNvGrpSpPr/>
          <p:nvPr/>
        </p:nvGrpSpPr>
        <p:grpSpPr>
          <a:xfrm>
            <a:off x="2408795" y="1581592"/>
            <a:ext cx="1887864" cy="2747797"/>
            <a:chOff x="6023525" y="-762156"/>
            <a:chExt cx="1887864" cy="2747797"/>
          </a:xfrm>
        </p:grpSpPr>
        <p:grpSp>
          <p:nvGrpSpPr>
            <p:cNvPr id="73" name="Group 72"/>
            <p:cNvGrpSpPr/>
            <p:nvPr/>
          </p:nvGrpSpPr>
          <p:grpSpPr>
            <a:xfrm>
              <a:off x="6023525" y="-762156"/>
              <a:ext cx="1887864" cy="2747797"/>
              <a:chOff x="2412779" y="1580816"/>
              <a:chExt cx="1887864" cy="2747797"/>
            </a:xfrm>
          </p:grpSpPr>
          <p:sp>
            <p:nvSpPr>
              <p:cNvPr id="77" name="Text Placeholder 12"/>
              <p:cNvSpPr txBox="1">
                <a:spLocks/>
              </p:cNvSpPr>
              <p:nvPr/>
            </p:nvSpPr>
            <p:spPr>
              <a:xfrm>
                <a:off x="2893275" y="3924106"/>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3D5800"/>
                    </a:solidFill>
                    <a:latin typeface="+mn-lt"/>
                  </a:rPr>
                  <a:t>Devices</a:t>
                </a:r>
              </a:p>
            </p:txBody>
          </p:sp>
          <p:sp>
            <p:nvSpPr>
              <p:cNvPr id="78" name="Rectangle 77"/>
              <p:cNvSpPr/>
              <p:nvPr/>
            </p:nvSpPr>
            <p:spPr bwMode="auto">
              <a:xfrm>
                <a:off x="2412779" y="1580816"/>
                <a:ext cx="1887864" cy="2747797"/>
              </a:xfrm>
              <a:prstGeom prst="rect">
                <a:avLst/>
              </a:prstGeom>
              <a:noFill/>
              <a:ln>
                <a:solidFill>
                  <a:srgbClr val="3D58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79" name="Group 78"/>
              <p:cNvGrpSpPr/>
              <p:nvPr/>
            </p:nvGrpSpPr>
            <p:grpSpPr>
              <a:xfrm>
                <a:off x="2694451" y="1679521"/>
                <a:ext cx="1333710" cy="2237201"/>
                <a:chOff x="3632038" y="1206859"/>
                <a:chExt cx="1847223" cy="3098577"/>
              </a:xfrm>
            </p:grpSpPr>
            <p:sp>
              <p:nvSpPr>
                <p:cNvPr id="86" name="Freeform 24"/>
                <p:cNvSpPr>
                  <a:spLocks/>
                </p:cNvSpPr>
                <p:nvPr/>
              </p:nvSpPr>
              <p:spPr bwMode="auto">
                <a:xfrm>
                  <a:off x="3632038" y="2956925"/>
                  <a:ext cx="15888" cy="28910"/>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7" name="Freeform 25"/>
                <p:cNvSpPr>
                  <a:spLocks/>
                </p:cNvSpPr>
                <p:nvPr/>
              </p:nvSpPr>
              <p:spPr bwMode="auto">
                <a:xfrm>
                  <a:off x="3679701" y="2465467"/>
                  <a:ext cx="21845" cy="22715"/>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8" name="Freeform 26"/>
                <p:cNvSpPr>
                  <a:spLocks/>
                </p:cNvSpPr>
                <p:nvPr/>
              </p:nvSpPr>
              <p:spPr bwMode="auto">
                <a:xfrm>
                  <a:off x="3679701" y="2465467"/>
                  <a:ext cx="21845" cy="22715"/>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90" name="Picture 8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39081" y="3327102"/>
                  <a:ext cx="1465061" cy="978334"/>
                </a:xfrm>
                <a:prstGeom prst="rect">
                  <a:avLst/>
                </a:prstGeom>
              </p:spPr>
            </p:pic>
            <p:pic>
              <p:nvPicPr>
                <p:cNvPr id="91" name="Picture 9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47372" y="2347338"/>
                  <a:ext cx="486267" cy="898620"/>
                </a:xfrm>
                <a:prstGeom prst="rect">
                  <a:avLst/>
                </a:prstGeom>
              </p:spPr>
            </p:pic>
            <p:pic>
              <p:nvPicPr>
                <p:cNvPr id="92" name="Picture 9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60463" y="1206859"/>
                  <a:ext cx="1118798" cy="1118796"/>
                </a:xfrm>
                <a:prstGeom prst="rect">
                  <a:avLst/>
                </a:prstGeom>
              </p:spPr>
            </p:pic>
            <p:pic>
              <p:nvPicPr>
                <p:cNvPr id="93" name="Picture 9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96065" y="1276042"/>
                  <a:ext cx="615528" cy="920829"/>
                </a:xfrm>
                <a:prstGeom prst="rect">
                  <a:avLst/>
                </a:prstGeom>
              </p:spPr>
            </p:pic>
          </p:grpSp>
        </p:grpSp>
        <p:pic>
          <p:nvPicPr>
            <p:cNvPr id="5" name="Picture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12317" y="163009"/>
              <a:ext cx="770349" cy="657154"/>
            </a:xfrm>
            <a:prstGeom prst="rect">
              <a:avLst/>
            </a:prstGeom>
          </p:spPr>
        </p:pic>
      </p:grpSp>
      <p:grpSp>
        <p:nvGrpSpPr>
          <p:cNvPr id="249" name="Group 248"/>
          <p:cNvGrpSpPr/>
          <p:nvPr/>
        </p:nvGrpSpPr>
        <p:grpSpPr>
          <a:xfrm>
            <a:off x="4384618" y="1578811"/>
            <a:ext cx="1887864" cy="2747797"/>
            <a:chOff x="8592930" y="123553"/>
            <a:chExt cx="1887864" cy="2747797"/>
          </a:xfrm>
        </p:grpSpPr>
        <p:grpSp>
          <p:nvGrpSpPr>
            <p:cNvPr id="97" name="Group 96"/>
            <p:cNvGrpSpPr/>
            <p:nvPr/>
          </p:nvGrpSpPr>
          <p:grpSpPr>
            <a:xfrm>
              <a:off x="8592930" y="123553"/>
              <a:ext cx="1887864" cy="2747797"/>
              <a:chOff x="4373063" y="1580816"/>
              <a:chExt cx="1887864" cy="2747797"/>
            </a:xfrm>
          </p:grpSpPr>
          <p:sp>
            <p:nvSpPr>
              <p:cNvPr id="98" name="Text Placeholder 12"/>
              <p:cNvSpPr txBox="1">
                <a:spLocks/>
              </p:cNvSpPr>
              <p:nvPr/>
            </p:nvSpPr>
            <p:spPr>
              <a:xfrm>
                <a:off x="4853656" y="3885246"/>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FF8C00"/>
                    </a:solidFill>
                    <a:latin typeface="+mn-lt"/>
                  </a:rPr>
                  <a:t>Apps</a:t>
                </a:r>
              </a:p>
            </p:txBody>
          </p:sp>
          <p:sp>
            <p:nvSpPr>
              <p:cNvPr id="99" name="Rectangle 98"/>
              <p:cNvSpPr/>
              <p:nvPr/>
            </p:nvSpPr>
            <p:spPr bwMode="auto">
              <a:xfrm>
                <a:off x="4373063" y="1580816"/>
                <a:ext cx="1887864" cy="2747797"/>
              </a:xfrm>
              <a:prstGeom prst="rect">
                <a:avLst/>
              </a:prstGeom>
              <a:noFill/>
              <a:ln>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100" name="Group 99"/>
              <p:cNvGrpSpPr/>
              <p:nvPr/>
            </p:nvGrpSpPr>
            <p:grpSpPr>
              <a:xfrm>
                <a:off x="4581414" y="1673767"/>
                <a:ext cx="1491445" cy="2236132"/>
                <a:chOff x="6649918" y="1518736"/>
                <a:chExt cx="1632914" cy="2448236"/>
              </a:xfrm>
            </p:grpSpPr>
            <p:sp>
              <p:nvSpPr>
                <p:cNvPr id="101"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2"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chemeClr val="accent3"/>
                </a:solidFill>
                <a:ln>
                  <a:noFill/>
                  <a:headEnd type="none" w="med" len="med"/>
                  <a:tailEnd type="none" w="med" len="med"/>
                </a:ln>
                <a:effectLs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3"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4"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chemeClr val="accent3"/>
                </a:solidFill>
                <a:ln>
                  <a:noFill/>
                  <a:headEnd type="none" w="med" len="med"/>
                  <a:tailEnd type="none" w="med" len="med"/>
                </a:ln>
                <a:effec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05"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chemeClr val="accent3"/>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grpSp>
        <p:grpSp>
          <p:nvGrpSpPr>
            <p:cNvPr id="237" name="Group 29"/>
            <p:cNvGrpSpPr>
              <a:grpSpLocks noChangeAspect="1"/>
            </p:cNvGrpSpPr>
            <p:nvPr/>
          </p:nvGrpSpPr>
          <p:grpSpPr bwMode="auto">
            <a:xfrm>
              <a:off x="8804898" y="979278"/>
              <a:ext cx="701892" cy="703330"/>
              <a:chOff x="5541" y="601"/>
              <a:chExt cx="488" cy="489"/>
            </a:xfrm>
            <a:solidFill>
              <a:schemeClr val="accent3"/>
            </a:solidFill>
          </p:grpSpPr>
          <p:sp>
            <p:nvSpPr>
              <p:cNvPr id="240"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1"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2"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3"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4"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5"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6"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7"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grp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8"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grp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grpSp>
      <p:grpSp>
        <p:nvGrpSpPr>
          <p:cNvPr id="21" name="Group 20"/>
          <p:cNvGrpSpPr/>
          <p:nvPr/>
        </p:nvGrpSpPr>
        <p:grpSpPr>
          <a:xfrm>
            <a:off x="452494" y="1580816"/>
            <a:ext cx="1887864" cy="2747797"/>
            <a:chOff x="452494" y="1580816"/>
            <a:chExt cx="1887864" cy="2747797"/>
          </a:xfrm>
        </p:grpSpPr>
        <p:sp>
          <p:nvSpPr>
            <p:cNvPr id="232" name="Text Placeholder 12"/>
            <p:cNvSpPr txBox="1">
              <a:spLocks/>
            </p:cNvSpPr>
            <p:nvPr/>
          </p:nvSpPr>
          <p:spPr>
            <a:xfrm>
              <a:off x="839756" y="3928041"/>
              <a:ext cx="930174"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00188F"/>
                  </a:solidFill>
                  <a:latin typeface="Segoe UI" pitchFamily="34" charset="0"/>
                  <a:ea typeface="Segoe UI" pitchFamily="34" charset="0"/>
                  <a:cs typeface="Segoe UI" pitchFamily="34" charset="0"/>
                </a:rPr>
                <a:t>Users</a:t>
              </a:r>
            </a:p>
          </p:txBody>
        </p:sp>
        <p:sp>
          <p:nvSpPr>
            <p:cNvPr id="191" name="Rectangle 190"/>
            <p:cNvSpPr/>
            <p:nvPr/>
          </p:nvSpPr>
          <p:spPr bwMode="auto">
            <a:xfrm>
              <a:off x="452494" y="1580816"/>
              <a:ext cx="1887864" cy="2747797"/>
            </a:xfrm>
            <a:prstGeom prst="rect">
              <a:avLst/>
            </a:prstGeom>
            <a:noFill/>
            <a:ln>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18" name="Group 13"/>
            <p:cNvGrpSpPr>
              <a:grpSpLocks noChangeAspect="1"/>
            </p:cNvGrpSpPr>
            <p:nvPr/>
          </p:nvGrpSpPr>
          <p:grpSpPr bwMode="auto">
            <a:xfrm>
              <a:off x="657225" y="1822450"/>
              <a:ext cx="1330324" cy="1971675"/>
              <a:chOff x="414" y="1148"/>
              <a:chExt cx="838" cy="1242"/>
            </a:xfrm>
          </p:grpSpPr>
          <p:sp>
            <p:nvSpPr>
              <p:cNvPr id="19" name="AutoShape 12"/>
              <p:cNvSpPr>
                <a:spLocks noChangeAspect="1" noChangeArrowheads="1" noTextEdit="1"/>
              </p:cNvSpPr>
              <p:nvPr/>
            </p:nvSpPr>
            <p:spPr bwMode="auto">
              <a:xfrm>
                <a:off x="429" y="1148"/>
                <a:ext cx="823" cy="1242"/>
              </a:xfrm>
              <a:prstGeom prst="rect">
                <a:avLst/>
              </a:prstGeom>
              <a:blipFill dpi="0" rotWithShape="1">
                <a:blip r:embed="rId8">
                  <a:alphaModFix amt="9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4"/>
              <p:cNvSpPr>
                <a:spLocks noEditPoints="1"/>
              </p:cNvSpPr>
              <p:nvPr/>
            </p:nvSpPr>
            <p:spPr bwMode="auto">
              <a:xfrm>
                <a:off x="414" y="1148"/>
                <a:ext cx="828" cy="1241"/>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2" name="Title 1"/>
          <p:cNvSpPr>
            <a:spLocks noGrp="1"/>
          </p:cNvSpPr>
          <p:nvPr>
            <p:ph type="title"/>
          </p:nvPr>
        </p:nvSpPr>
        <p:spPr>
          <a:xfrm>
            <a:off x="249540" y="284524"/>
            <a:ext cx="11375536" cy="738664"/>
          </a:xfrm>
        </p:spPr>
        <p:txBody>
          <a:bodyPr/>
          <a:lstStyle/>
          <a:p>
            <a:r>
              <a:rPr lang="en-US" sz="4000" dirty="0" smtClean="0"/>
              <a:t>People-centric </a:t>
            </a:r>
            <a:r>
              <a:rPr lang="en-US" sz="4000" dirty="0"/>
              <a:t>IT</a:t>
            </a:r>
          </a:p>
        </p:txBody>
      </p:sp>
      <p:sp>
        <p:nvSpPr>
          <p:cNvPr id="3" name="Slide Number Placeholder 2"/>
          <p:cNvSpPr>
            <a:spLocks noGrp="1"/>
          </p:cNvSpPr>
          <p:nvPr>
            <p:ph type="sldNum" sz="quarter" idx="4294967295"/>
          </p:nvPr>
        </p:nvSpPr>
        <p:spPr>
          <a:xfrm>
            <a:off x="11650175" y="6573013"/>
            <a:ext cx="511664" cy="124650"/>
          </a:xfrm>
          <a:prstGeom prst="rect">
            <a:avLst/>
          </a:prstGeo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5</a:t>
            </a:fld>
            <a:endParaRPr dirty="0">
              <a:gradFill>
                <a:gsLst>
                  <a:gs pos="0">
                    <a:srgbClr val="505050"/>
                  </a:gs>
                  <a:gs pos="100000">
                    <a:srgbClr val="505050"/>
                  </a:gs>
                </a:gsLst>
                <a:lin ang="5400000" scaled="0"/>
              </a:gradFill>
            </a:endParaRPr>
          </a:p>
        </p:txBody>
      </p:sp>
      <p:sp>
        <p:nvSpPr>
          <p:cNvPr id="225" name="Text Placeholder 12"/>
          <p:cNvSpPr txBox="1">
            <a:spLocks/>
          </p:cNvSpPr>
          <p:nvPr/>
        </p:nvSpPr>
        <p:spPr>
          <a:xfrm>
            <a:off x="8915400" y="1620744"/>
            <a:ext cx="2917832" cy="1278812"/>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spc="0" dirty="0" smtClean="0">
                <a:solidFill>
                  <a:schemeClr val="bg2">
                    <a:lumMod val="50000"/>
                  </a:schemeClr>
                </a:solidFill>
                <a:latin typeface="Segoe UI" pitchFamily="34" charset="0"/>
                <a:ea typeface="Segoe UI" pitchFamily="34" charset="0"/>
                <a:cs typeface="Segoe UI" pitchFamily="34" charset="0"/>
              </a:rPr>
              <a:t>Enable your end </a:t>
            </a:r>
            <a:r>
              <a:rPr lang="en-US" sz="2000" b="1" spc="0" dirty="0">
                <a:solidFill>
                  <a:schemeClr val="bg2">
                    <a:lumMod val="50000"/>
                  </a:schemeClr>
                </a:solidFill>
                <a:latin typeface="Segoe UI" pitchFamily="34" charset="0"/>
                <a:ea typeface="Segoe UI" pitchFamily="34" charset="0"/>
                <a:cs typeface="Segoe UI" pitchFamily="34" charset="0"/>
              </a:rPr>
              <a:t>users</a:t>
            </a:r>
          </a:p>
          <a:p>
            <a:r>
              <a:rPr lang="en-US" sz="1600" spc="0" dirty="0" smtClean="0">
                <a:solidFill>
                  <a:schemeClr val="bg2">
                    <a:lumMod val="50000"/>
                  </a:schemeClr>
                </a:solidFill>
                <a:latin typeface="+mn-lt"/>
                <a:ea typeface="Segoe UI" pitchFamily="34" charset="0"/>
                <a:cs typeface="Segoe UI" pitchFamily="34" charset="0"/>
              </a:rPr>
              <a:t>Allow </a:t>
            </a:r>
            <a:r>
              <a:rPr lang="en-US" sz="1600" spc="0" dirty="0">
                <a:solidFill>
                  <a:schemeClr val="bg2">
                    <a:lumMod val="50000"/>
                  </a:schemeClr>
                </a:solidFill>
                <a:latin typeface="+mn-lt"/>
                <a:ea typeface="Segoe UI" pitchFamily="34" charset="0"/>
                <a:cs typeface="Segoe UI" pitchFamily="34" charset="0"/>
              </a:rPr>
              <a:t>users to work on the </a:t>
            </a:r>
            <a:r>
              <a:rPr lang="en-US" sz="1600" spc="0" dirty="0" smtClean="0">
                <a:solidFill>
                  <a:schemeClr val="bg2">
                    <a:lumMod val="50000"/>
                  </a:schemeClr>
                </a:solidFill>
                <a:latin typeface="+mn-lt"/>
                <a:ea typeface="Segoe UI" pitchFamily="34" charset="0"/>
                <a:cs typeface="Segoe UI" pitchFamily="34" charset="0"/>
              </a:rPr>
              <a:t>devices </a:t>
            </a:r>
            <a:r>
              <a:rPr lang="en-US" sz="1600" spc="0" dirty="0">
                <a:solidFill>
                  <a:schemeClr val="bg2">
                    <a:lumMod val="50000"/>
                  </a:schemeClr>
                </a:solidFill>
                <a:latin typeface="+mn-lt"/>
                <a:ea typeface="Segoe UI" pitchFamily="34" charset="0"/>
                <a:cs typeface="Segoe UI" pitchFamily="34" charset="0"/>
              </a:rPr>
              <a:t>of </a:t>
            </a:r>
            <a:r>
              <a:rPr lang="en-US" sz="1600" spc="0" dirty="0" smtClean="0">
                <a:solidFill>
                  <a:schemeClr val="bg2">
                    <a:lumMod val="50000"/>
                  </a:schemeClr>
                </a:solidFill>
                <a:latin typeface="+mn-lt"/>
                <a:ea typeface="Segoe UI" pitchFamily="34" charset="0"/>
                <a:cs typeface="Segoe UI" pitchFamily="34" charset="0"/>
              </a:rPr>
              <a:t>their choice and provide </a:t>
            </a:r>
            <a:r>
              <a:rPr lang="en-US" sz="1600" spc="0" dirty="0">
                <a:solidFill>
                  <a:schemeClr val="bg2">
                    <a:lumMod val="50000"/>
                  </a:schemeClr>
                </a:solidFill>
                <a:latin typeface="+mn-lt"/>
                <a:ea typeface="Segoe UI" pitchFamily="34" charset="0"/>
                <a:cs typeface="Segoe UI" pitchFamily="34" charset="0"/>
              </a:rPr>
              <a:t>consistent access to corporate </a:t>
            </a:r>
            <a:r>
              <a:rPr lang="en-US" sz="1600" spc="0" dirty="0" smtClean="0">
                <a:solidFill>
                  <a:schemeClr val="bg2">
                    <a:lumMod val="50000"/>
                  </a:schemeClr>
                </a:solidFill>
                <a:latin typeface="+mn-lt"/>
                <a:ea typeface="Segoe UI" pitchFamily="34" charset="0"/>
                <a:cs typeface="Segoe UI" pitchFamily="34" charset="0"/>
              </a:rPr>
              <a:t>resources.</a:t>
            </a:r>
            <a:endParaRPr lang="en-US" sz="1600" spc="0" dirty="0">
              <a:solidFill>
                <a:schemeClr val="bg2">
                  <a:lumMod val="50000"/>
                </a:schemeClr>
              </a:solidFill>
              <a:latin typeface="+mn-lt"/>
              <a:ea typeface="Segoe UI" pitchFamily="34" charset="0"/>
              <a:cs typeface="Segoe UI" pitchFamily="34" charset="0"/>
            </a:endParaRPr>
          </a:p>
        </p:txBody>
      </p:sp>
      <p:sp>
        <p:nvSpPr>
          <p:cNvPr id="226" name="Text Placeholder 12"/>
          <p:cNvSpPr txBox="1">
            <a:spLocks/>
          </p:cNvSpPr>
          <p:nvPr/>
        </p:nvSpPr>
        <p:spPr>
          <a:xfrm>
            <a:off x="8915400" y="3318665"/>
            <a:ext cx="2918668" cy="109568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2000" b="1" spc="0" dirty="0" smtClean="0">
                <a:solidFill>
                  <a:schemeClr val="bg2">
                    <a:lumMod val="50000"/>
                  </a:schemeClr>
                </a:solidFill>
                <a:latin typeface="Segoe UI" pitchFamily="34" charset="0"/>
                <a:ea typeface="Segoe UI" pitchFamily="34" charset="0"/>
                <a:cs typeface="Segoe UI" pitchFamily="34" charset="0"/>
              </a:rPr>
              <a:t>Unify your environment</a:t>
            </a:r>
          </a:p>
          <a:p>
            <a:pPr defTabSz="1243295">
              <a:spcAft>
                <a:spcPts val="1224"/>
              </a:spcAft>
              <a:defRPr/>
            </a:pPr>
            <a:r>
              <a:rPr lang="en-US" sz="1600" spc="0" dirty="0">
                <a:solidFill>
                  <a:schemeClr val="bg2">
                    <a:lumMod val="50000"/>
                  </a:schemeClr>
                </a:solidFill>
                <a:latin typeface="+mn-lt"/>
                <a:ea typeface="Segoe UI" pitchFamily="34" charset="0"/>
                <a:cs typeface="Segoe UI" pitchFamily="34" charset="0"/>
              </a:rPr>
              <a:t>Deliver </a:t>
            </a:r>
            <a:r>
              <a:rPr lang="en-US" sz="1600" spc="0" dirty="0" smtClean="0">
                <a:solidFill>
                  <a:schemeClr val="bg2">
                    <a:lumMod val="50000"/>
                  </a:schemeClr>
                </a:solidFill>
                <a:latin typeface="+mn-lt"/>
                <a:ea typeface="Segoe UI" pitchFamily="34" charset="0"/>
                <a:cs typeface="Segoe UI" pitchFamily="34" charset="0"/>
              </a:rPr>
              <a:t>a unified application </a:t>
            </a:r>
            <a:r>
              <a:rPr lang="en-US" sz="1600" spc="0" dirty="0">
                <a:solidFill>
                  <a:schemeClr val="bg2">
                    <a:lumMod val="50000"/>
                  </a:schemeClr>
                </a:solidFill>
                <a:latin typeface="+mn-lt"/>
                <a:ea typeface="Segoe UI" pitchFamily="34" charset="0"/>
                <a:cs typeface="Segoe UI" pitchFamily="34" charset="0"/>
              </a:rPr>
              <a:t>and device </a:t>
            </a:r>
            <a:r>
              <a:rPr lang="en-US" sz="1600" spc="0" dirty="0" smtClean="0">
                <a:solidFill>
                  <a:schemeClr val="bg2">
                    <a:lumMod val="50000"/>
                  </a:schemeClr>
                </a:solidFill>
                <a:latin typeface="+mn-lt"/>
                <a:ea typeface="Segoe UI" pitchFamily="34" charset="0"/>
                <a:cs typeface="Segoe UI" pitchFamily="34" charset="0"/>
              </a:rPr>
              <a:t>management</a:t>
            </a:r>
            <a:r>
              <a:rPr lang="en-US" sz="1600" spc="0" dirty="0" smtClean="0">
                <a:solidFill>
                  <a:srgbClr val="00188F"/>
                </a:solidFill>
                <a:latin typeface="+mn-lt"/>
                <a:ea typeface="Segoe UI" pitchFamily="34" charset="0"/>
                <a:cs typeface="Segoe UI" pitchFamily="34" charset="0"/>
              </a:rPr>
              <a:t> </a:t>
            </a:r>
            <a:r>
              <a:rPr lang="en-US" sz="1600" spc="0" dirty="0" smtClean="0">
                <a:solidFill>
                  <a:schemeClr val="bg2">
                    <a:lumMod val="50000"/>
                  </a:schemeClr>
                </a:solidFill>
                <a:latin typeface="+mn-lt"/>
                <a:ea typeface="Segoe UI" pitchFamily="34" charset="0"/>
                <a:cs typeface="Segoe UI" pitchFamily="34" charset="0"/>
              </a:rPr>
              <a:t>on-premises and in the cloud.</a:t>
            </a:r>
          </a:p>
        </p:txBody>
      </p:sp>
      <p:sp>
        <p:nvSpPr>
          <p:cNvPr id="227" name="Text Placeholder 12"/>
          <p:cNvSpPr txBox="1">
            <a:spLocks/>
          </p:cNvSpPr>
          <p:nvPr/>
        </p:nvSpPr>
        <p:spPr>
          <a:xfrm>
            <a:off x="8915400" y="4833459"/>
            <a:ext cx="2918668" cy="87408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295">
              <a:spcAft>
                <a:spcPts val="1224"/>
              </a:spcAft>
              <a:defRPr/>
            </a:pPr>
            <a:r>
              <a:rPr lang="en-US" sz="2000" b="1" spc="0" dirty="0" smtClean="0">
                <a:solidFill>
                  <a:schemeClr val="bg2">
                    <a:lumMod val="50000"/>
                  </a:schemeClr>
                </a:solidFill>
                <a:latin typeface="+mn-lt"/>
              </a:rPr>
              <a:t>Protect your </a:t>
            </a:r>
            <a:r>
              <a:rPr lang="en-US" sz="2000" b="1" spc="0" dirty="0">
                <a:solidFill>
                  <a:schemeClr val="bg2">
                    <a:lumMod val="50000"/>
                  </a:schemeClr>
                </a:solidFill>
                <a:latin typeface="+mn-lt"/>
              </a:rPr>
              <a:t>data</a:t>
            </a:r>
          </a:p>
          <a:p>
            <a:pPr defTabSz="1243295">
              <a:spcAft>
                <a:spcPts val="1224"/>
              </a:spcAft>
              <a:defRPr/>
            </a:pPr>
            <a:r>
              <a:rPr lang="en-US" sz="1600" spc="0" dirty="0" smtClean="0">
                <a:solidFill>
                  <a:schemeClr val="bg2">
                    <a:lumMod val="50000"/>
                  </a:schemeClr>
                </a:solidFill>
                <a:latin typeface="+mn-lt"/>
              </a:rPr>
              <a:t>Help protect corporate information and manage risk.</a:t>
            </a:r>
            <a:endParaRPr lang="en-US" sz="1600" spc="0" dirty="0">
              <a:solidFill>
                <a:schemeClr val="bg2">
                  <a:lumMod val="50000"/>
                </a:schemeClr>
              </a:solidFill>
              <a:latin typeface="+mn-lt"/>
            </a:endParaRPr>
          </a:p>
        </p:txBody>
      </p:sp>
      <p:sp>
        <p:nvSpPr>
          <p:cNvPr id="295" name="Freeform 12"/>
          <p:cNvSpPr>
            <a:spLocks noEditPoints="1"/>
          </p:cNvSpPr>
          <p:nvPr/>
        </p:nvSpPr>
        <p:spPr bwMode="auto">
          <a:xfrm>
            <a:off x="2907569" y="4480560"/>
            <a:ext cx="2863085" cy="1007135"/>
          </a:xfrm>
          <a:custGeom>
            <a:avLst/>
            <a:gdLst>
              <a:gd name="T0" fmla="*/ 341 w 1606"/>
              <a:gd name="T1" fmla="*/ 302 h 444"/>
              <a:gd name="T2" fmla="*/ 360 w 1606"/>
              <a:gd name="T3" fmla="*/ 276 h 444"/>
              <a:gd name="T4" fmla="*/ 388 w 1606"/>
              <a:gd name="T5" fmla="*/ 116 h 444"/>
              <a:gd name="T6" fmla="*/ 499 w 1606"/>
              <a:gd name="T7" fmla="*/ 50 h 444"/>
              <a:gd name="T8" fmla="*/ 263 w 1606"/>
              <a:gd name="T9" fmla="*/ 91 h 444"/>
              <a:gd name="T10" fmla="*/ 98 w 1606"/>
              <a:gd name="T11" fmla="*/ 187 h 444"/>
              <a:gd name="T12" fmla="*/ 61 w 1606"/>
              <a:gd name="T13" fmla="*/ 339 h 444"/>
              <a:gd name="T14" fmla="*/ 134 w 1606"/>
              <a:gd name="T15" fmla="*/ 365 h 444"/>
              <a:gd name="T16" fmla="*/ 405 w 1606"/>
              <a:gd name="T17" fmla="*/ 411 h 444"/>
              <a:gd name="T18" fmla="*/ 340 w 1606"/>
              <a:gd name="T19" fmla="*/ 323 h 444"/>
              <a:gd name="T20" fmla="*/ 463 w 1606"/>
              <a:gd name="T21" fmla="*/ 158 h 444"/>
              <a:gd name="T22" fmla="*/ 519 w 1606"/>
              <a:gd name="T23" fmla="*/ 168 h 444"/>
              <a:gd name="T24" fmla="*/ 519 w 1606"/>
              <a:gd name="T25" fmla="*/ 214 h 444"/>
              <a:gd name="T26" fmla="*/ 1500 w 1606"/>
              <a:gd name="T27" fmla="*/ 174 h 444"/>
              <a:gd name="T28" fmla="*/ 1216 w 1606"/>
              <a:gd name="T29" fmla="*/ 92 h 444"/>
              <a:gd name="T30" fmla="*/ 1046 w 1606"/>
              <a:gd name="T31" fmla="*/ 147 h 444"/>
              <a:gd name="T32" fmla="*/ 821 w 1606"/>
              <a:gd name="T33" fmla="*/ 110 h 444"/>
              <a:gd name="T34" fmla="*/ 408 w 1606"/>
              <a:gd name="T35" fmla="*/ 290 h 444"/>
              <a:gd name="T36" fmla="*/ 600 w 1606"/>
              <a:gd name="T37" fmla="*/ 394 h 444"/>
              <a:gd name="T38" fmla="*/ 823 w 1606"/>
              <a:gd name="T39" fmla="*/ 287 h 444"/>
              <a:gd name="T40" fmla="*/ 1014 w 1606"/>
              <a:gd name="T41" fmla="*/ 340 h 444"/>
              <a:gd name="T42" fmla="*/ 1087 w 1606"/>
              <a:gd name="T43" fmla="*/ 366 h 444"/>
              <a:gd name="T44" fmla="*/ 1358 w 1606"/>
              <a:gd name="T45" fmla="*/ 412 h 444"/>
              <a:gd name="T46" fmla="*/ 1502 w 1606"/>
              <a:gd name="T47" fmla="*/ 320 h 444"/>
              <a:gd name="T48" fmla="*/ 1528 w 1606"/>
              <a:gd name="T49" fmla="*/ 169 h 444"/>
              <a:gd name="T50" fmla="*/ 448 w 1606"/>
              <a:gd name="T51" fmla="*/ 239 h 444"/>
              <a:gd name="T52" fmla="*/ 448 w 1606"/>
              <a:gd name="T53" fmla="*/ 219 h 444"/>
              <a:gd name="T54" fmla="*/ 416 w 1606"/>
              <a:gd name="T55" fmla="*/ 171 h 444"/>
              <a:gd name="T56" fmla="*/ 417 w 1606"/>
              <a:gd name="T57" fmla="*/ 139 h 444"/>
              <a:gd name="T58" fmla="*/ 625 w 1606"/>
              <a:gd name="T59" fmla="*/ 58 h 444"/>
              <a:gd name="T60" fmla="*/ 625 w 1606"/>
              <a:gd name="T61" fmla="*/ 117 h 444"/>
              <a:gd name="T62" fmla="*/ 539 w 1606"/>
              <a:gd name="T63" fmla="*/ 212 h 444"/>
              <a:gd name="T64" fmla="*/ 539 w 1606"/>
              <a:gd name="T65" fmla="*/ 239 h 444"/>
              <a:gd name="T66" fmla="*/ 625 w 1606"/>
              <a:gd name="T67" fmla="*/ 339 h 444"/>
              <a:gd name="T68" fmla="*/ 462 w 1606"/>
              <a:gd name="T69" fmla="*/ 239 h 444"/>
              <a:gd name="T70" fmla="*/ 414 w 1606"/>
              <a:gd name="T71" fmla="*/ 273 h 444"/>
              <a:gd name="T72" fmla="*/ 471 w 1606"/>
              <a:gd name="T73" fmla="*/ 301 h 444"/>
              <a:gd name="T74" fmla="*/ 515 w 1606"/>
              <a:gd name="T75" fmla="*/ 249 h 444"/>
              <a:gd name="T76" fmla="*/ 498 w 1606"/>
              <a:gd name="T77" fmla="*/ 305 h 444"/>
              <a:gd name="T78" fmla="*/ 599 w 1606"/>
              <a:gd name="T79" fmla="*/ 379 h 444"/>
              <a:gd name="T80" fmla="*/ 415 w 1606"/>
              <a:gd name="T81" fmla="*/ 294 h 444"/>
              <a:gd name="T82" fmla="*/ 726 w 1606"/>
              <a:gd name="T83" fmla="*/ 342 h 444"/>
              <a:gd name="T84" fmla="*/ 1137 w 1606"/>
              <a:gd name="T85" fmla="*/ 256 h 444"/>
              <a:gd name="T86" fmla="*/ 771 w 1606"/>
              <a:gd name="T87" fmla="*/ 256 h 444"/>
              <a:gd name="T88" fmla="*/ 771 w 1606"/>
              <a:gd name="T89" fmla="*/ 127 h 444"/>
              <a:gd name="T90" fmla="*/ 1114 w 1606"/>
              <a:gd name="T91" fmla="*/ 168 h 444"/>
              <a:gd name="T92" fmla="*/ 1222 w 1606"/>
              <a:gd name="T93" fmla="*/ 2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6" h="444">
                <a:moveTo>
                  <a:pt x="340" y="323"/>
                </a:moveTo>
                <a:cubicBezTo>
                  <a:pt x="341" y="307"/>
                  <a:pt x="341" y="307"/>
                  <a:pt x="341" y="307"/>
                </a:cubicBezTo>
                <a:cubicBezTo>
                  <a:pt x="341" y="302"/>
                  <a:pt x="341" y="302"/>
                  <a:pt x="341" y="302"/>
                </a:cubicBezTo>
                <a:cubicBezTo>
                  <a:pt x="341" y="298"/>
                  <a:pt x="341" y="298"/>
                  <a:pt x="341" y="298"/>
                </a:cubicBezTo>
                <a:cubicBezTo>
                  <a:pt x="342" y="280"/>
                  <a:pt x="342" y="280"/>
                  <a:pt x="342" y="280"/>
                </a:cubicBezTo>
                <a:cubicBezTo>
                  <a:pt x="360" y="276"/>
                  <a:pt x="360" y="276"/>
                  <a:pt x="360" y="276"/>
                </a:cubicBezTo>
                <a:cubicBezTo>
                  <a:pt x="368" y="275"/>
                  <a:pt x="377" y="273"/>
                  <a:pt x="385" y="271"/>
                </a:cubicBezTo>
                <a:cubicBezTo>
                  <a:pt x="385" y="254"/>
                  <a:pt x="386" y="226"/>
                  <a:pt x="386" y="201"/>
                </a:cubicBezTo>
                <a:cubicBezTo>
                  <a:pt x="388" y="137"/>
                  <a:pt x="388" y="117"/>
                  <a:pt x="388" y="116"/>
                </a:cubicBezTo>
                <a:cubicBezTo>
                  <a:pt x="389" y="102"/>
                  <a:pt x="389" y="102"/>
                  <a:pt x="389" y="102"/>
                </a:cubicBezTo>
                <a:cubicBezTo>
                  <a:pt x="401" y="96"/>
                  <a:pt x="401" y="96"/>
                  <a:pt x="401" y="96"/>
                </a:cubicBezTo>
                <a:cubicBezTo>
                  <a:pt x="499" y="50"/>
                  <a:pt x="499" y="50"/>
                  <a:pt x="499" y="50"/>
                </a:cubicBezTo>
                <a:cubicBezTo>
                  <a:pt x="466" y="20"/>
                  <a:pt x="420" y="4"/>
                  <a:pt x="373" y="12"/>
                </a:cubicBezTo>
                <a:cubicBezTo>
                  <a:pt x="324" y="20"/>
                  <a:pt x="284" y="50"/>
                  <a:pt x="263" y="91"/>
                </a:cubicBezTo>
                <a:cubicBezTo>
                  <a:pt x="263" y="91"/>
                  <a:pt x="263" y="91"/>
                  <a:pt x="263" y="91"/>
                </a:cubicBezTo>
                <a:cubicBezTo>
                  <a:pt x="247" y="72"/>
                  <a:pt x="224" y="59"/>
                  <a:pt x="197" y="57"/>
                </a:cubicBezTo>
                <a:cubicBezTo>
                  <a:pt x="144" y="53"/>
                  <a:pt x="97" y="92"/>
                  <a:pt x="92" y="146"/>
                </a:cubicBezTo>
                <a:cubicBezTo>
                  <a:pt x="91" y="160"/>
                  <a:pt x="93" y="174"/>
                  <a:pt x="98" y="187"/>
                </a:cubicBezTo>
                <a:cubicBezTo>
                  <a:pt x="98" y="187"/>
                  <a:pt x="98" y="187"/>
                  <a:pt x="98" y="187"/>
                </a:cubicBezTo>
                <a:cubicBezTo>
                  <a:pt x="63" y="183"/>
                  <a:pt x="28" y="203"/>
                  <a:pt x="15" y="237"/>
                </a:cubicBezTo>
                <a:cubicBezTo>
                  <a:pt x="0" y="278"/>
                  <a:pt x="20" y="324"/>
                  <a:pt x="61" y="339"/>
                </a:cubicBezTo>
                <a:cubicBezTo>
                  <a:pt x="82" y="348"/>
                  <a:pt x="105" y="346"/>
                  <a:pt x="124" y="337"/>
                </a:cubicBezTo>
                <a:cubicBezTo>
                  <a:pt x="124" y="336"/>
                  <a:pt x="124" y="336"/>
                  <a:pt x="124" y="336"/>
                </a:cubicBezTo>
                <a:cubicBezTo>
                  <a:pt x="126" y="346"/>
                  <a:pt x="129" y="356"/>
                  <a:pt x="134" y="365"/>
                </a:cubicBezTo>
                <a:cubicBezTo>
                  <a:pt x="161" y="420"/>
                  <a:pt x="229" y="443"/>
                  <a:pt x="284" y="415"/>
                </a:cubicBezTo>
                <a:cubicBezTo>
                  <a:pt x="300" y="407"/>
                  <a:pt x="313" y="396"/>
                  <a:pt x="323" y="383"/>
                </a:cubicBezTo>
                <a:cubicBezTo>
                  <a:pt x="341" y="409"/>
                  <a:pt x="374" y="421"/>
                  <a:pt x="405" y="411"/>
                </a:cubicBezTo>
                <a:cubicBezTo>
                  <a:pt x="428" y="404"/>
                  <a:pt x="445" y="386"/>
                  <a:pt x="452" y="365"/>
                </a:cubicBezTo>
                <a:cubicBezTo>
                  <a:pt x="420" y="353"/>
                  <a:pt x="388" y="341"/>
                  <a:pt x="356" y="329"/>
                </a:cubicBezTo>
                <a:lnTo>
                  <a:pt x="340" y="323"/>
                </a:lnTo>
                <a:close/>
                <a:moveTo>
                  <a:pt x="519" y="99"/>
                </a:moveTo>
                <a:cubicBezTo>
                  <a:pt x="464" y="121"/>
                  <a:pt x="464" y="121"/>
                  <a:pt x="464" y="121"/>
                </a:cubicBezTo>
                <a:cubicBezTo>
                  <a:pt x="463" y="158"/>
                  <a:pt x="463" y="158"/>
                  <a:pt x="463" y="158"/>
                </a:cubicBezTo>
                <a:cubicBezTo>
                  <a:pt x="519" y="144"/>
                  <a:pt x="519" y="144"/>
                  <a:pt x="519" y="144"/>
                </a:cubicBezTo>
                <a:lnTo>
                  <a:pt x="519" y="99"/>
                </a:lnTo>
                <a:close/>
                <a:moveTo>
                  <a:pt x="519" y="168"/>
                </a:moveTo>
                <a:cubicBezTo>
                  <a:pt x="463" y="180"/>
                  <a:pt x="463" y="180"/>
                  <a:pt x="463" y="180"/>
                </a:cubicBezTo>
                <a:cubicBezTo>
                  <a:pt x="463" y="218"/>
                  <a:pt x="463" y="218"/>
                  <a:pt x="463" y="218"/>
                </a:cubicBezTo>
                <a:cubicBezTo>
                  <a:pt x="519" y="214"/>
                  <a:pt x="519" y="214"/>
                  <a:pt x="519" y="214"/>
                </a:cubicBezTo>
                <a:lnTo>
                  <a:pt x="519" y="168"/>
                </a:lnTo>
                <a:close/>
                <a:moveTo>
                  <a:pt x="1528" y="169"/>
                </a:moveTo>
                <a:cubicBezTo>
                  <a:pt x="1518" y="169"/>
                  <a:pt x="1509" y="170"/>
                  <a:pt x="1500" y="174"/>
                </a:cubicBezTo>
                <a:cubicBezTo>
                  <a:pt x="1501" y="162"/>
                  <a:pt x="1501" y="150"/>
                  <a:pt x="1499" y="138"/>
                </a:cubicBezTo>
                <a:cubicBezTo>
                  <a:pt x="1486" y="56"/>
                  <a:pt x="1409" y="0"/>
                  <a:pt x="1326" y="13"/>
                </a:cubicBezTo>
                <a:cubicBezTo>
                  <a:pt x="1277" y="21"/>
                  <a:pt x="1238" y="51"/>
                  <a:pt x="1216" y="92"/>
                </a:cubicBezTo>
                <a:cubicBezTo>
                  <a:pt x="1216" y="92"/>
                  <a:pt x="1216" y="92"/>
                  <a:pt x="1216" y="92"/>
                </a:cubicBezTo>
                <a:cubicBezTo>
                  <a:pt x="1200" y="73"/>
                  <a:pt x="1177" y="60"/>
                  <a:pt x="1151" y="58"/>
                </a:cubicBezTo>
                <a:cubicBezTo>
                  <a:pt x="1097" y="54"/>
                  <a:pt x="1050" y="93"/>
                  <a:pt x="1046" y="147"/>
                </a:cubicBezTo>
                <a:cubicBezTo>
                  <a:pt x="1046" y="149"/>
                  <a:pt x="1046" y="152"/>
                  <a:pt x="1046" y="155"/>
                </a:cubicBezTo>
                <a:cubicBezTo>
                  <a:pt x="821" y="155"/>
                  <a:pt x="821" y="155"/>
                  <a:pt x="821" y="155"/>
                </a:cubicBezTo>
                <a:cubicBezTo>
                  <a:pt x="821" y="135"/>
                  <a:pt x="821" y="118"/>
                  <a:pt x="821" y="110"/>
                </a:cubicBezTo>
                <a:cubicBezTo>
                  <a:pt x="625" y="15"/>
                  <a:pt x="625" y="15"/>
                  <a:pt x="625" y="15"/>
                </a:cubicBezTo>
                <a:cubicBezTo>
                  <a:pt x="411" y="117"/>
                  <a:pt x="411" y="117"/>
                  <a:pt x="411" y="117"/>
                </a:cubicBezTo>
                <a:cubicBezTo>
                  <a:pt x="411" y="120"/>
                  <a:pt x="408" y="287"/>
                  <a:pt x="408" y="290"/>
                </a:cubicBezTo>
                <a:cubicBezTo>
                  <a:pt x="393" y="293"/>
                  <a:pt x="379" y="296"/>
                  <a:pt x="364" y="299"/>
                </a:cubicBezTo>
                <a:cubicBezTo>
                  <a:pt x="364" y="302"/>
                  <a:pt x="364" y="305"/>
                  <a:pt x="364" y="308"/>
                </a:cubicBezTo>
                <a:cubicBezTo>
                  <a:pt x="442" y="337"/>
                  <a:pt x="518" y="365"/>
                  <a:pt x="600" y="394"/>
                </a:cubicBezTo>
                <a:cubicBezTo>
                  <a:pt x="682" y="367"/>
                  <a:pt x="743" y="345"/>
                  <a:pt x="841" y="312"/>
                </a:cubicBezTo>
                <a:cubicBezTo>
                  <a:pt x="840" y="305"/>
                  <a:pt x="839" y="298"/>
                  <a:pt x="838" y="291"/>
                </a:cubicBezTo>
                <a:cubicBezTo>
                  <a:pt x="833" y="290"/>
                  <a:pt x="828" y="289"/>
                  <a:pt x="823" y="287"/>
                </a:cubicBezTo>
                <a:cubicBezTo>
                  <a:pt x="823" y="285"/>
                  <a:pt x="823" y="279"/>
                  <a:pt x="823" y="269"/>
                </a:cubicBezTo>
                <a:cubicBezTo>
                  <a:pt x="964" y="269"/>
                  <a:pt x="964" y="269"/>
                  <a:pt x="964" y="269"/>
                </a:cubicBezTo>
                <a:cubicBezTo>
                  <a:pt x="965" y="300"/>
                  <a:pt x="984" y="328"/>
                  <a:pt x="1014" y="340"/>
                </a:cubicBezTo>
                <a:cubicBezTo>
                  <a:pt x="1036" y="348"/>
                  <a:pt x="1059" y="347"/>
                  <a:pt x="1078" y="337"/>
                </a:cubicBezTo>
                <a:cubicBezTo>
                  <a:pt x="1078" y="337"/>
                  <a:pt x="1078" y="337"/>
                  <a:pt x="1078" y="337"/>
                </a:cubicBezTo>
                <a:cubicBezTo>
                  <a:pt x="1080" y="347"/>
                  <a:pt x="1083" y="357"/>
                  <a:pt x="1087" y="366"/>
                </a:cubicBezTo>
                <a:cubicBezTo>
                  <a:pt x="1115" y="421"/>
                  <a:pt x="1182" y="444"/>
                  <a:pt x="1238" y="416"/>
                </a:cubicBezTo>
                <a:cubicBezTo>
                  <a:pt x="1253" y="408"/>
                  <a:pt x="1266" y="397"/>
                  <a:pt x="1276" y="384"/>
                </a:cubicBezTo>
                <a:cubicBezTo>
                  <a:pt x="1294" y="410"/>
                  <a:pt x="1327" y="422"/>
                  <a:pt x="1358" y="412"/>
                </a:cubicBezTo>
                <a:cubicBezTo>
                  <a:pt x="1385" y="404"/>
                  <a:pt x="1403" y="382"/>
                  <a:pt x="1408" y="357"/>
                </a:cubicBezTo>
                <a:cubicBezTo>
                  <a:pt x="1427" y="373"/>
                  <a:pt x="1454" y="375"/>
                  <a:pt x="1476" y="362"/>
                </a:cubicBezTo>
                <a:cubicBezTo>
                  <a:pt x="1491" y="352"/>
                  <a:pt x="1500" y="337"/>
                  <a:pt x="1502" y="320"/>
                </a:cubicBezTo>
                <a:cubicBezTo>
                  <a:pt x="1510" y="323"/>
                  <a:pt x="1519" y="325"/>
                  <a:pt x="1528" y="325"/>
                </a:cubicBezTo>
                <a:cubicBezTo>
                  <a:pt x="1571" y="325"/>
                  <a:pt x="1606" y="290"/>
                  <a:pt x="1606" y="247"/>
                </a:cubicBezTo>
                <a:cubicBezTo>
                  <a:pt x="1606" y="204"/>
                  <a:pt x="1571" y="169"/>
                  <a:pt x="1528" y="169"/>
                </a:cubicBezTo>
                <a:close/>
                <a:moveTo>
                  <a:pt x="414" y="273"/>
                </a:moveTo>
                <a:cubicBezTo>
                  <a:pt x="447" y="278"/>
                  <a:pt x="447" y="278"/>
                  <a:pt x="447" y="278"/>
                </a:cubicBezTo>
                <a:cubicBezTo>
                  <a:pt x="448" y="239"/>
                  <a:pt x="448" y="239"/>
                  <a:pt x="448" y="239"/>
                </a:cubicBezTo>
                <a:cubicBezTo>
                  <a:pt x="414" y="239"/>
                  <a:pt x="414" y="239"/>
                  <a:pt x="414" y="239"/>
                </a:cubicBezTo>
                <a:cubicBezTo>
                  <a:pt x="415" y="232"/>
                  <a:pt x="415" y="229"/>
                  <a:pt x="415" y="222"/>
                </a:cubicBezTo>
                <a:cubicBezTo>
                  <a:pt x="448" y="219"/>
                  <a:pt x="448" y="219"/>
                  <a:pt x="448" y="219"/>
                </a:cubicBezTo>
                <a:cubicBezTo>
                  <a:pt x="449" y="183"/>
                  <a:pt x="449" y="183"/>
                  <a:pt x="449" y="183"/>
                </a:cubicBezTo>
                <a:cubicBezTo>
                  <a:pt x="416" y="190"/>
                  <a:pt x="416" y="190"/>
                  <a:pt x="416" y="190"/>
                </a:cubicBezTo>
                <a:cubicBezTo>
                  <a:pt x="416" y="184"/>
                  <a:pt x="416" y="176"/>
                  <a:pt x="416" y="171"/>
                </a:cubicBezTo>
                <a:cubicBezTo>
                  <a:pt x="449" y="162"/>
                  <a:pt x="449" y="162"/>
                  <a:pt x="449" y="162"/>
                </a:cubicBezTo>
                <a:cubicBezTo>
                  <a:pt x="449" y="126"/>
                  <a:pt x="449" y="126"/>
                  <a:pt x="449" y="126"/>
                </a:cubicBezTo>
                <a:cubicBezTo>
                  <a:pt x="417" y="139"/>
                  <a:pt x="417" y="139"/>
                  <a:pt x="417" y="139"/>
                </a:cubicBezTo>
                <a:cubicBezTo>
                  <a:pt x="417" y="129"/>
                  <a:pt x="417" y="122"/>
                  <a:pt x="417" y="121"/>
                </a:cubicBezTo>
                <a:cubicBezTo>
                  <a:pt x="625" y="25"/>
                  <a:pt x="625" y="25"/>
                  <a:pt x="625" y="25"/>
                </a:cubicBezTo>
                <a:cubicBezTo>
                  <a:pt x="625" y="58"/>
                  <a:pt x="625" y="58"/>
                  <a:pt x="625" y="58"/>
                </a:cubicBezTo>
                <a:cubicBezTo>
                  <a:pt x="539" y="91"/>
                  <a:pt x="539" y="91"/>
                  <a:pt x="539" y="91"/>
                </a:cubicBezTo>
                <a:cubicBezTo>
                  <a:pt x="539" y="138"/>
                  <a:pt x="539" y="138"/>
                  <a:pt x="539" y="138"/>
                </a:cubicBezTo>
                <a:cubicBezTo>
                  <a:pt x="625" y="117"/>
                  <a:pt x="625" y="117"/>
                  <a:pt x="625" y="117"/>
                </a:cubicBezTo>
                <a:cubicBezTo>
                  <a:pt x="625" y="147"/>
                  <a:pt x="625" y="147"/>
                  <a:pt x="625" y="147"/>
                </a:cubicBezTo>
                <a:cubicBezTo>
                  <a:pt x="625" y="147"/>
                  <a:pt x="539" y="164"/>
                  <a:pt x="539" y="164"/>
                </a:cubicBezTo>
                <a:cubicBezTo>
                  <a:pt x="539" y="212"/>
                  <a:pt x="539" y="212"/>
                  <a:pt x="539" y="212"/>
                </a:cubicBezTo>
                <a:cubicBezTo>
                  <a:pt x="539" y="212"/>
                  <a:pt x="624" y="206"/>
                  <a:pt x="625" y="206"/>
                </a:cubicBezTo>
                <a:cubicBezTo>
                  <a:pt x="625" y="240"/>
                  <a:pt x="625" y="240"/>
                  <a:pt x="625" y="240"/>
                </a:cubicBezTo>
                <a:cubicBezTo>
                  <a:pt x="539" y="239"/>
                  <a:pt x="539" y="239"/>
                  <a:pt x="539" y="239"/>
                </a:cubicBezTo>
                <a:cubicBezTo>
                  <a:pt x="539" y="292"/>
                  <a:pt x="539" y="292"/>
                  <a:pt x="539" y="292"/>
                </a:cubicBezTo>
                <a:cubicBezTo>
                  <a:pt x="625" y="306"/>
                  <a:pt x="625" y="306"/>
                  <a:pt x="625" y="306"/>
                </a:cubicBezTo>
                <a:cubicBezTo>
                  <a:pt x="625" y="339"/>
                  <a:pt x="625" y="339"/>
                  <a:pt x="625" y="339"/>
                </a:cubicBezTo>
                <a:cubicBezTo>
                  <a:pt x="625" y="339"/>
                  <a:pt x="568" y="326"/>
                  <a:pt x="519" y="315"/>
                </a:cubicBezTo>
                <a:cubicBezTo>
                  <a:pt x="519" y="239"/>
                  <a:pt x="519" y="239"/>
                  <a:pt x="519" y="239"/>
                </a:cubicBezTo>
                <a:cubicBezTo>
                  <a:pt x="462" y="239"/>
                  <a:pt x="462" y="239"/>
                  <a:pt x="462" y="239"/>
                </a:cubicBezTo>
                <a:cubicBezTo>
                  <a:pt x="462" y="301"/>
                  <a:pt x="462" y="301"/>
                  <a:pt x="462" y="301"/>
                </a:cubicBezTo>
                <a:cubicBezTo>
                  <a:pt x="437" y="295"/>
                  <a:pt x="419" y="291"/>
                  <a:pt x="413" y="289"/>
                </a:cubicBezTo>
                <a:cubicBezTo>
                  <a:pt x="413" y="288"/>
                  <a:pt x="414" y="282"/>
                  <a:pt x="414" y="273"/>
                </a:cubicBezTo>
                <a:close/>
                <a:moveTo>
                  <a:pt x="476" y="249"/>
                </a:moveTo>
                <a:cubicBezTo>
                  <a:pt x="475" y="300"/>
                  <a:pt x="475" y="300"/>
                  <a:pt x="475" y="300"/>
                </a:cubicBezTo>
                <a:cubicBezTo>
                  <a:pt x="471" y="301"/>
                  <a:pt x="471" y="301"/>
                  <a:pt x="471" y="301"/>
                </a:cubicBezTo>
                <a:cubicBezTo>
                  <a:pt x="472" y="246"/>
                  <a:pt x="472" y="246"/>
                  <a:pt x="472" y="246"/>
                </a:cubicBezTo>
                <a:cubicBezTo>
                  <a:pt x="515" y="246"/>
                  <a:pt x="515" y="246"/>
                  <a:pt x="515" y="246"/>
                </a:cubicBezTo>
                <a:cubicBezTo>
                  <a:pt x="515" y="249"/>
                  <a:pt x="515" y="249"/>
                  <a:pt x="515" y="249"/>
                </a:cubicBezTo>
                <a:cubicBezTo>
                  <a:pt x="501" y="249"/>
                  <a:pt x="501" y="249"/>
                  <a:pt x="501" y="249"/>
                </a:cubicBezTo>
                <a:cubicBezTo>
                  <a:pt x="501" y="305"/>
                  <a:pt x="501" y="305"/>
                  <a:pt x="501" y="305"/>
                </a:cubicBezTo>
                <a:cubicBezTo>
                  <a:pt x="498" y="305"/>
                  <a:pt x="498" y="305"/>
                  <a:pt x="498" y="305"/>
                </a:cubicBezTo>
                <a:cubicBezTo>
                  <a:pt x="498" y="249"/>
                  <a:pt x="498" y="249"/>
                  <a:pt x="498" y="249"/>
                </a:cubicBezTo>
                <a:lnTo>
                  <a:pt x="476" y="249"/>
                </a:lnTo>
                <a:close/>
                <a:moveTo>
                  <a:pt x="599" y="379"/>
                </a:moveTo>
                <a:cubicBezTo>
                  <a:pt x="565" y="368"/>
                  <a:pt x="389" y="308"/>
                  <a:pt x="371" y="301"/>
                </a:cubicBezTo>
                <a:cubicBezTo>
                  <a:pt x="384" y="299"/>
                  <a:pt x="397" y="296"/>
                  <a:pt x="410" y="293"/>
                </a:cubicBezTo>
                <a:cubicBezTo>
                  <a:pt x="412" y="294"/>
                  <a:pt x="413" y="294"/>
                  <a:pt x="415" y="294"/>
                </a:cubicBezTo>
                <a:cubicBezTo>
                  <a:pt x="437" y="300"/>
                  <a:pt x="630" y="346"/>
                  <a:pt x="630" y="346"/>
                </a:cubicBezTo>
                <a:cubicBezTo>
                  <a:pt x="630" y="346"/>
                  <a:pt x="630" y="346"/>
                  <a:pt x="630" y="346"/>
                </a:cubicBezTo>
                <a:cubicBezTo>
                  <a:pt x="726" y="342"/>
                  <a:pt x="726" y="342"/>
                  <a:pt x="726" y="342"/>
                </a:cubicBezTo>
                <a:cubicBezTo>
                  <a:pt x="681" y="355"/>
                  <a:pt x="624" y="372"/>
                  <a:pt x="599" y="379"/>
                </a:cubicBezTo>
                <a:close/>
                <a:moveTo>
                  <a:pt x="1137" y="297"/>
                </a:moveTo>
                <a:cubicBezTo>
                  <a:pt x="1137" y="256"/>
                  <a:pt x="1137" y="256"/>
                  <a:pt x="1137" y="256"/>
                </a:cubicBezTo>
                <a:cubicBezTo>
                  <a:pt x="794" y="256"/>
                  <a:pt x="794" y="256"/>
                  <a:pt x="794" y="256"/>
                </a:cubicBezTo>
                <a:cubicBezTo>
                  <a:pt x="794" y="256"/>
                  <a:pt x="794" y="256"/>
                  <a:pt x="794" y="256"/>
                </a:cubicBezTo>
                <a:cubicBezTo>
                  <a:pt x="771" y="256"/>
                  <a:pt x="771" y="256"/>
                  <a:pt x="771" y="256"/>
                </a:cubicBezTo>
                <a:cubicBezTo>
                  <a:pt x="771" y="297"/>
                  <a:pt x="771" y="297"/>
                  <a:pt x="771" y="297"/>
                </a:cubicBezTo>
                <a:cubicBezTo>
                  <a:pt x="686" y="212"/>
                  <a:pt x="686" y="212"/>
                  <a:pt x="686" y="212"/>
                </a:cubicBezTo>
                <a:cubicBezTo>
                  <a:pt x="771" y="127"/>
                  <a:pt x="771" y="127"/>
                  <a:pt x="771" y="127"/>
                </a:cubicBezTo>
                <a:cubicBezTo>
                  <a:pt x="771" y="168"/>
                  <a:pt x="771" y="168"/>
                  <a:pt x="771" y="168"/>
                </a:cubicBezTo>
                <a:cubicBezTo>
                  <a:pt x="1114" y="168"/>
                  <a:pt x="1114" y="168"/>
                  <a:pt x="1114" y="168"/>
                </a:cubicBezTo>
                <a:cubicBezTo>
                  <a:pt x="1114" y="168"/>
                  <a:pt x="1114" y="168"/>
                  <a:pt x="1114" y="168"/>
                </a:cubicBezTo>
                <a:cubicBezTo>
                  <a:pt x="1137" y="168"/>
                  <a:pt x="1137" y="168"/>
                  <a:pt x="1137" y="168"/>
                </a:cubicBezTo>
                <a:cubicBezTo>
                  <a:pt x="1137" y="127"/>
                  <a:pt x="1137" y="127"/>
                  <a:pt x="1137" y="127"/>
                </a:cubicBezTo>
                <a:cubicBezTo>
                  <a:pt x="1222" y="212"/>
                  <a:pt x="1222" y="212"/>
                  <a:pt x="1222" y="212"/>
                </a:cubicBezTo>
                <a:lnTo>
                  <a:pt x="1137" y="297"/>
                </a:lnTo>
                <a:close/>
              </a:path>
            </a:pathLst>
          </a:custGeom>
          <a:solidFill>
            <a:srgbClr val="0070C0"/>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96" name="Text Placeholder 12"/>
          <p:cNvSpPr txBox="1">
            <a:spLocks/>
          </p:cNvSpPr>
          <p:nvPr/>
        </p:nvSpPr>
        <p:spPr>
          <a:xfrm>
            <a:off x="2470169" y="5499125"/>
            <a:ext cx="3848148"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spc="0" dirty="0" smtClean="0">
                <a:solidFill>
                  <a:srgbClr val="969696">
                    <a:lumMod val="50000"/>
                  </a:srgbClr>
                </a:solidFill>
                <a:latin typeface="+mn-lt"/>
              </a:rPr>
              <a:t>Management.  Access.  Protection.</a:t>
            </a:r>
            <a:endParaRPr lang="en-US" sz="2000" spc="0" dirty="0">
              <a:solidFill>
                <a:srgbClr val="969696">
                  <a:lumMod val="50000"/>
                </a:srgbClr>
              </a:solidFill>
              <a:latin typeface="+mn-lt"/>
            </a:endParaRPr>
          </a:p>
        </p:txBody>
      </p:sp>
      <p:sp>
        <p:nvSpPr>
          <p:cNvPr id="117" name="Freeform 24"/>
          <p:cNvSpPr>
            <a:spLocks/>
          </p:cNvSpPr>
          <p:nvPr/>
        </p:nvSpPr>
        <p:spPr bwMode="auto">
          <a:xfrm>
            <a:off x="2772578" y="2892931"/>
            <a:ext cx="10929" cy="18146"/>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30" name="Freeform 25"/>
          <p:cNvSpPr>
            <a:spLocks/>
          </p:cNvSpPr>
          <p:nvPr/>
        </p:nvSpPr>
        <p:spPr bwMode="auto">
          <a:xfrm>
            <a:off x="2805365" y="2584452"/>
            <a:ext cx="15027" cy="14258"/>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48" name="Freeform 26"/>
          <p:cNvSpPr>
            <a:spLocks/>
          </p:cNvSpPr>
          <p:nvPr/>
        </p:nvSpPr>
        <p:spPr bwMode="auto">
          <a:xfrm>
            <a:off x="2805365" y="2584452"/>
            <a:ext cx="15027" cy="14258"/>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88" name="Freeform 42"/>
          <p:cNvSpPr>
            <a:spLocks/>
          </p:cNvSpPr>
          <p:nvPr/>
        </p:nvSpPr>
        <p:spPr bwMode="auto">
          <a:xfrm>
            <a:off x="3451026" y="3240658"/>
            <a:ext cx="20869" cy="28948"/>
          </a:xfrm>
          <a:custGeom>
            <a:avLst/>
            <a:gdLst>
              <a:gd name="T0" fmla="*/ 46 w 46"/>
              <a:gd name="T1" fmla="*/ 0 h 65"/>
              <a:gd name="T2" fmla="*/ 35 w 46"/>
              <a:gd name="T3" fmla="*/ 6 h 65"/>
              <a:gd name="T4" fmla="*/ 21 w 46"/>
              <a:gd name="T5" fmla="*/ 19 h 65"/>
              <a:gd name="T6" fmla="*/ 7 w 46"/>
              <a:gd name="T7" fmla="*/ 38 h 65"/>
              <a:gd name="T8" fmla="*/ 0 w 46"/>
              <a:gd name="T9" fmla="*/ 65 h 65"/>
              <a:gd name="T10" fmla="*/ 7 w 46"/>
              <a:gd name="T11" fmla="*/ 38 h 65"/>
              <a:gd name="T12" fmla="*/ 21 w 46"/>
              <a:gd name="T13" fmla="*/ 19 h 65"/>
              <a:gd name="T14" fmla="*/ 35 w 46"/>
              <a:gd name="T15" fmla="*/ 6 h 65"/>
              <a:gd name="T16" fmla="*/ 46 w 46"/>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65">
                <a:moveTo>
                  <a:pt x="46" y="0"/>
                </a:moveTo>
                <a:cubicBezTo>
                  <a:pt x="43" y="1"/>
                  <a:pt x="40" y="3"/>
                  <a:pt x="35" y="6"/>
                </a:cubicBezTo>
                <a:cubicBezTo>
                  <a:pt x="31" y="10"/>
                  <a:pt x="26" y="14"/>
                  <a:pt x="21" y="19"/>
                </a:cubicBezTo>
                <a:cubicBezTo>
                  <a:pt x="16" y="24"/>
                  <a:pt x="11" y="31"/>
                  <a:pt x="7" y="38"/>
                </a:cubicBezTo>
                <a:cubicBezTo>
                  <a:pt x="4" y="46"/>
                  <a:pt x="1" y="55"/>
                  <a:pt x="0" y="65"/>
                </a:cubicBezTo>
                <a:cubicBezTo>
                  <a:pt x="1" y="55"/>
                  <a:pt x="4" y="46"/>
                  <a:pt x="7" y="38"/>
                </a:cubicBezTo>
                <a:cubicBezTo>
                  <a:pt x="11" y="31"/>
                  <a:pt x="16" y="24"/>
                  <a:pt x="21" y="19"/>
                </a:cubicBezTo>
                <a:cubicBezTo>
                  <a:pt x="26" y="14"/>
                  <a:pt x="31" y="10"/>
                  <a:pt x="35" y="6"/>
                </a:cubicBezTo>
                <a:cubicBezTo>
                  <a:pt x="40" y="3"/>
                  <a:pt x="43" y="1"/>
                  <a:pt x="46"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195" name="Rectangle 194"/>
          <p:cNvSpPr/>
          <p:nvPr/>
        </p:nvSpPr>
        <p:spPr bwMode="auto">
          <a:xfrm>
            <a:off x="452494" y="4423410"/>
            <a:ext cx="7883498" cy="1383030"/>
          </a:xfrm>
          <a:prstGeom prst="rect">
            <a:avLst/>
          </a:prstGeom>
          <a:noFill/>
          <a:ln>
            <a:solidFill>
              <a:schemeClr val="bg2">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9" name="Group 8"/>
          <p:cNvGrpSpPr/>
          <p:nvPr/>
        </p:nvGrpSpPr>
        <p:grpSpPr>
          <a:xfrm>
            <a:off x="6339630" y="1580816"/>
            <a:ext cx="1996362" cy="2748161"/>
            <a:chOff x="6339630" y="1580816"/>
            <a:chExt cx="1996362" cy="2748161"/>
          </a:xfrm>
        </p:grpSpPr>
        <p:sp>
          <p:nvSpPr>
            <p:cNvPr id="235" name="Text Placeholder 12"/>
            <p:cNvSpPr txBox="1">
              <a:spLocks/>
            </p:cNvSpPr>
            <p:nvPr/>
          </p:nvSpPr>
          <p:spPr>
            <a:xfrm>
              <a:off x="6884596" y="3902176"/>
              <a:ext cx="930174" cy="276999"/>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442359"/>
                  </a:solidFill>
                  <a:latin typeface="+mn-lt"/>
                </a:rPr>
                <a:t>Data</a:t>
              </a:r>
            </a:p>
          </p:txBody>
        </p:sp>
        <p:sp>
          <p:nvSpPr>
            <p:cNvPr id="194" name="Rectangle 193"/>
            <p:cNvSpPr/>
            <p:nvPr/>
          </p:nvSpPr>
          <p:spPr bwMode="auto">
            <a:xfrm>
              <a:off x="6339630" y="1580816"/>
              <a:ext cx="1996362" cy="2748161"/>
            </a:xfrm>
            <a:prstGeom prst="rect">
              <a:avLst/>
            </a:prstGeom>
            <a:noFill/>
            <a:ln>
              <a:solidFill>
                <a:srgbClr val="7030A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80" name="Group 79"/>
            <p:cNvGrpSpPr/>
            <p:nvPr/>
          </p:nvGrpSpPr>
          <p:grpSpPr>
            <a:xfrm>
              <a:off x="6549739" y="1682732"/>
              <a:ext cx="1571639" cy="2130236"/>
              <a:chOff x="9962648" y="1385701"/>
              <a:chExt cx="1880481" cy="2548848"/>
            </a:xfrm>
          </p:grpSpPr>
          <p:sp>
            <p:nvSpPr>
              <p:cNvPr id="81" name="Freeform 331"/>
              <p:cNvSpPr>
                <a:spLocks noChangeAspect="1" noEditPoints="1"/>
              </p:cNvSpPr>
              <p:nvPr/>
            </p:nvSpPr>
            <p:spPr bwMode="auto">
              <a:xfrm>
                <a:off x="9962648" y="2264337"/>
                <a:ext cx="887171" cy="87011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2" name="Freeform 346"/>
              <p:cNvSpPr>
                <a:spLocks noChangeAspect="1" noEditPoints="1"/>
              </p:cNvSpPr>
              <p:nvPr/>
            </p:nvSpPr>
            <p:spPr bwMode="auto">
              <a:xfrm>
                <a:off x="10935954" y="2386132"/>
                <a:ext cx="907175" cy="518067"/>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442359"/>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83" name="Freeform 37"/>
              <p:cNvSpPr>
                <a:spLocks noEditPoints="1"/>
              </p:cNvSpPr>
              <p:nvPr/>
            </p:nvSpPr>
            <p:spPr bwMode="auto">
              <a:xfrm>
                <a:off x="10696245" y="1385701"/>
                <a:ext cx="1146884" cy="817571"/>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442359"/>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84" name="Picture 8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061816" y="1406416"/>
                <a:ext cx="542443" cy="820803"/>
              </a:xfrm>
              <a:prstGeom prst="rect">
                <a:avLst/>
              </a:prstGeom>
            </p:spPr>
          </p:pic>
          <p:pic>
            <p:nvPicPr>
              <p:cNvPr id="85" name="Picture 84"/>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0403449" y="3134449"/>
                <a:ext cx="1200150" cy="800100"/>
              </a:xfrm>
              <a:prstGeom prst="rect">
                <a:avLst/>
              </a:prstGeom>
            </p:spPr>
          </p:pic>
        </p:grpSp>
      </p:grpSp>
      <p:sp>
        <p:nvSpPr>
          <p:cNvPr id="222" name="Left-Right Arrow 221"/>
          <p:cNvSpPr/>
          <p:nvPr/>
        </p:nvSpPr>
        <p:spPr bwMode="auto">
          <a:xfrm rot="5400000">
            <a:off x="5006048" y="4454713"/>
            <a:ext cx="894095" cy="322824"/>
          </a:xfrm>
          <a:prstGeom prst="leftRightArrow">
            <a:avLst/>
          </a:prstGeom>
          <a:solidFill>
            <a:srgbClr val="FFFFFF"/>
          </a:solidFill>
          <a:ln w="25400">
            <a:solidFill>
              <a:srgbClr val="FF8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23" name="Left-Right Arrow 222"/>
          <p:cNvSpPr/>
          <p:nvPr/>
        </p:nvSpPr>
        <p:spPr bwMode="auto">
          <a:xfrm rot="5400000">
            <a:off x="6852714" y="4455716"/>
            <a:ext cx="902931" cy="322824"/>
          </a:xfrm>
          <a:prstGeom prst="leftRightArrow">
            <a:avLst/>
          </a:prstGeom>
          <a:solidFill>
            <a:srgbClr val="FFFFFF"/>
          </a:solidFill>
          <a:ln w="25400">
            <a:solidFill>
              <a:srgbClr val="442359"/>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09" name="Left-Right Arrow 208"/>
          <p:cNvSpPr/>
          <p:nvPr/>
        </p:nvSpPr>
        <p:spPr bwMode="auto">
          <a:xfrm>
            <a:off x="5968186" y="3171475"/>
            <a:ext cx="702336" cy="322824"/>
          </a:xfrm>
          <a:prstGeom prst="leftRightArrow">
            <a:avLst/>
          </a:prstGeom>
          <a:solidFill>
            <a:srgbClr val="FFFFFF"/>
          </a:solidFill>
          <a:ln w="25400">
            <a:solidFill>
              <a:srgbClr val="FF8C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11" name="Left-Right Arrow 210"/>
          <p:cNvSpPr/>
          <p:nvPr/>
        </p:nvSpPr>
        <p:spPr bwMode="auto">
          <a:xfrm rot="5400000">
            <a:off x="842320" y="4458889"/>
            <a:ext cx="902927" cy="322824"/>
          </a:xfrm>
          <a:prstGeom prst="leftRightArrow">
            <a:avLst/>
          </a:prstGeom>
          <a:solidFill>
            <a:srgbClr val="FFFFFF"/>
          </a:solid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196" name="Left-Right Arrow 195"/>
          <p:cNvSpPr/>
          <p:nvPr/>
        </p:nvSpPr>
        <p:spPr bwMode="auto">
          <a:xfrm>
            <a:off x="2034018" y="3193827"/>
            <a:ext cx="702336" cy="322824"/>
          </a:xfrm>
          <a:prstGeom prst="leftRightArrow">
            <a:avLst/>
          </a:prstGeom>
          <a:solidFill>
            <a:srgbClr val="FFFFFF"/>
          </a:solidFill>
          <a:ln w="254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03" name="Left-Right Arrow 202"/>
          <p:cNvSpPr/>
          <p:nvPr/>
        </p:nvSpPr>
        <p:spPr bwMode="auto">
          <a:xfrm>
            <a:off x="3969724" y="3221135"/>
            <a:ext cx="702336" cy="322824"/>
          </a:xfrm>
          <a:prstGeom prst="leftRightArrow">
            <a:avLst/>
          </a:prstGeom>
          <a:solidFill>
            <a:srgbClr val="FFFFFF"/>
          </a:solidFill>
          <a:ln w="25400">
            <a:solidFill>
              <a:srgbClr val="3D58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12" name="Left-Right Arrow 211"/>
          <p:cNvSpPr/>
          <p:nvPr/>
        </p:nvSpPr>
        <p:spPr bwMode="auto">
          <a:xfrm rot="5400000">
            <a:off x="2905903" y="4458888"/>
            <a:ext cx="902926" cy="322824"/>
          </a:xfrm>
          <a:prstGeom prst="leftRightArrow">
            <a:avLst/>
          </a:prstGeom>
          <a:solidFill>
            <a:srgbClr val="FFFFFF"/>
          </a:solidFill>
          <a:ln w="25400">
            <a:solidFill>
              <a:srgbClr val="3D58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5728222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6"/>
                                        </p:tgtEl>
                                        <p:attrNameLst>
                                          <p:attrName>style.visibility</p:attrName>
                                        </p:attrNameLst>
                                      </p:cBhvr>
                                      <p:to>
                                        <p:strVal val="visible"/>
                                      </p:to>
                                    </p:set>
                                    <p:animEffect transition="in" filter="fade">
                                      <p:cBhvr>
                                        <p:cTn id="10" dur="500"/>
                                        <p:tgtEl>
                                          <p:spTgt spid="19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03"/>
                                        </p:tgtEl>
                                        <p:attrNameLst>
                                          <p:attrName>style.visibility</p:attrName>
                                        </p:attrNameLst>
                                      </p:cBhvr>
                                      <p:to>
                                        <p:strVal val="visible"/>
                                      </p:to>
                                    </p:set>
                                    <p:animEffect transition="in" filter="fade">
                                      <p:cBhvr>
                                        <p:cTn id="17" dur="500"/>
                                        <p:tgtEl>
                                          <p:spTgt spid="203"/>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49"/>
                                        </p:tgtEl>
                                        <p:attrNameLst>
                                          <p:attrName>style.visibility</p:attrName>
                                        </p:attrNameLst>
                                      </p:cBhvr>
                                      <p:to>
                                        <p:strVal val="visible"/>
                                      </p:to>
                                    </p:set>
                                    <p:animEffect transition="in" filter="fade">
                                      <p:cBhvr>
                                        <p:cTn id="21" dur="500"/>
                                        <p:tgtEl>
                                          <p:spTgt spid="2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9"/>
                                        </p:tgtEl>
                                        <p:attrNameLst>
                                          <p:attrName>style.visibility</p:attrName>
                                        </p:attrNameLst>
                                      </p:cBhvr>
                                      <p:to>
                                        <p:strVal val="visible"/>
                                      </p:to>
                                    </p:set>
                                    <p:animEffect transition="in" filter="fade">
                                      <p:cBhvr>
                                        <p:cTn id="24" dur="500"/>
                                        <p:tgtEl>
                                          <p:spTgt spid="209"/>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par>
                          <p:cTn id="29" fill="hold">
                            <p:stCondLst>
                              <p:cond delay="2000"/>
                            </p:stCondLst>
                            <p:childTnLst>
                              <p:par>
                                <p:cTn id="30" presetID="10" presetClass="entr" presetSubtype="0" fill="hold" grpId="0" nodeType="afterEffect">
                                  <p:stCondLst>
                                    <p:cond delay="1000"/>
                                  </p:stCondLst>
                                  <p:childTnLst>
                                    <p:set>
                                      <p:cBhvr>
                                        <p:cTn id="31" dur="1" fill="hold">
                                          <p:stCondLst>
                                            <p:cond delay="0"/>
                                          </p:stCondLst>
                                        </p:cTn>
                                        <p:tgtEl>
                                          <p:spTgt spid="195"/>
                                        </p:tgtEl>
                                        <p:attrNameLst>
                                          <p:attrName>style.visibility</p:attrName>
                                        </p:attrNameLst>
                                      </p:cBhvr>
                                      <p:to>
                                        <p:strVal val="visible"/>
                                      </p:to>
                                    </p:set>
                                    <p:animEffect transition="in" filter="fade">
                                      <p:cBhvr>
                                        <p:cTn id="32" dur="500"/>
                                        <p:tgtEl>
                                          <p:spTgt spid="19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95"/>
                                        </p:tgtEl>
                                        <p:attrNameLst>
                                          <p:attrName>style.visibility</p:attrName>
                                        </p:attrNameLst>
                                      </p:cBhvr>
                                      <p:to>
                                        <p:strVal val="visible"/>
                                      </p:to>
                                    </p:set>
                                    <p:animEffect transition="in" filter="fade">
                                      <p:cBhvr>
                                        <p:cTn id="35" dur="500"/>
                                        <p:tgtEl>
                                          <p:spTgt spid="29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96"/>
                                        </p:tgtEl>
                                        <p:attrNameLst>
                                          <p:attrName>style.visibility</p:attrName>
                                        </p:attrNameLst>
                                      </p:cBhvr>
                                      <p:to>
                                        <p:strVal val="visible"/>
                                      </p:to>
                                    </p:set>
                                    <p:animEffect transition="in" filter="fade">
                                      <p:cBhvr>
                                        <p:cTn id="38" dur="500"/>
                                        <p:tgtEl>
                                          <p:spTgt spid="296"/>
                                        </p:tgtEl>
                                      </p:cBhvr>
                                    </p:animEffect>
                                  </p:childTnLst>
                                </p:cTn>
                              </p:par>
                            </p:childTnLst>
                          </p:cTn>
                        </p:par>
                        <p:par>
                          <p:cTn id="39" fill="hold">
                            <p:stCondLst>
                              <p:cond delay="3500"/>
                            </p:stCondLst>
                            <p:childTnLst>
                              <p:par>
                                <p:cTn id="40" presetID="22" presetClass="entr" presetSubtype="1" fill="hold" grpId="0" nodeType="afterEffect">
                                  <p:stCondLst>
                                    <p:cond delay="0"/>
                                  </p:stCondLst>
                                  <p:childTnLst>
                                    <p:set>
                                      <p:cBhvr>
                                        <p:cTn id="41" dur="1" fill="hold">
                                          <p:stCondLst>
                                            <p:cond delay="0"/>
                                          </p:stCondLst>
                                        </p:cTn>
                                        <p:tgtEl>
                                          <p:spTgt spid="211"/>
                                        </p:tgtEl>
                                        <p:attrNameLst>
                                          <p:attrName>style.visibility</p:attrName>
                                        </p:attrNameLst>
                                      </p:cBhvr>
                                      <p:to>
                                        <p:strVal val="visible"/>
                                      </p:to>
                                    </p:set>
                                    <p:animEffect transition="in" filter="wipe(up)">
                                      <p:cBhvr>
                                        <p:cTn id="42" dur="500"/>
                                        <p:tgtEl>
                                          <p:spTgt spid="211"/>
                                        </p:tgtEl>
                                      </p:cBhvr>
                                    </p:animEffect>
                                  </p:childTnLst>
                                </p:cTn>
                              </p:par>
                            </p:childTnLst>
                          </p:cTn>
                        </p:par>
                        <p:par>
                          <p:cTn id="43" fill="hold">
                            <p:stCondLst>
                              <p:cond delay="4000"/>
                            </p:stCondLst>
                            <p:childTnLst>
                              <p:par>
                                <p:cTn id="44" presetID="22" presetClass="entr" presetSubtype="1" fill="hold" grpId="0" nodeType="afterEffect">
                                  <p:stCondLst>
                                    <p:cond delay="0"/>
                                  </p:stCondLst>
                                  <p:childTnLst>
                                    <p:set>
                                      <p:cBhvr>
                                        <p:cTn id="45" dur="1" fill="hold">
                                          <p:stCondLst>
                                            <p:cond delay="0"/>
                                          </p:stCondLst>
                                        </p:cTn>
                                        <p:tgtEl>
                                          <p:spTgt spid="212"/>
                                        </p:tgtEl>
                                        <p:attrNameLst>
                                          <p:attrName>style.visibility</p:attrName>
                                        </p:attrNameLst>
                                      </p:cBhvr>
                                      <p:to>
                                        <p:strVal val="visible"/>
                                      </p:to>
                                    </p:set>
                                    <p:animEffect transition="in" filter="wipe(up)">
                                      <p:cBhvr>
                                        <p:cTn id="46" dur="500"/>
                                        <p:tgtEl>
                                          <p:spTgt spid="212"/>
                                        </p:tgtEl>
                                      </p:cBhvr>
                                    </p:animEffect>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222"/>
                                        </p:tgtEl>
                                        <p:attrNameLst>
                                          <p:attrName>style.visibility</p:attrName>
                                        </p:attrNameLst>
                                      </p:cBhvr>
                                      <p:to>
                                        <p:strVal val="visible"/>
                                      </p:to>
                                    </p:set>
                                    <p:animEffect transition="in" filter="wipe(up)">
                                      <p:cBhvr>
                                        <p:cTn id="50" dur="500"/>
                                        <p:tgtEl>
                                          <p:spTgt spid="222"/>
                                        </p:tgtEl>
                                      </p:cBhvr>
                                    </p:animEffect>
                                  </p:childTnLst>
                                </p:cTn>
                              </p:par>
                            </p:childTnLst>
                          </p:cTn>
                        </p:par>
                        <p:par>
                          <p:cTn id="51" fill="hold">
                            <p:stCondLst>
                              <p:cond delay="5000"/>
                            </p:stCondLst>
                            <p:childTnLst>
                              <p:par>
                                <p:cTn id="52" presetID="22" presetClass="entr" presetSubtype="1" fill="hold" grpId="0" nodeType="afterEffect">
                                  <p:stCondLst>
                                    <p:cond delay="0"/>
                                  </p:stCondLst>
                                  <p:childTnLst>
                                    <p:set>
                                      <p:cBhvr>
                                        <p:cTn id="53" dur="1" fill="hold">
                                          <p:stCondLst>
                                            <p:cond delay="0"/>
                                          </p:stCondLst>
                                        </p:cTn>
                                        <p:tgtEl>
                                          <p:spTgt spid="223"/>
                                        </p:tgtEl>
                                        <p:attrNameLst>
                                          <p:attrName>style.visibility</p:attrName>
                                        </p:attrNameLst>
                                      </p:cBhvr>
                                      <p:to>
                                        <p:strVal val="visible"/>
                                      </p:to>
                                    </p:set>
                                    <p:animEffect transition="in" filter="wipe(up)">
                                      <p:cBhvr>
                                        <p:cTn id="54" dur="500"/>
                                        <p:tgtEl>
                                          <p:spTgt spid="223"/>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25"/>
                                        </p:tgtEl>
                                        <p:attrNameLst>
                                          <p:attrName>style.visibility</p:attrName>
                                        </p:attrNameLst>
                                      </p:cBhvr>
                                      <p:to>
                                        <p:strVal val="visible"/>
                                      </p:to>
                                    </p:set>
                                    <p:animEffect transition="in" filter="fade">
                                      <p:cBhvr>
                                        <p:cTn id="59" dur="500"/>
                                        <p:tgtEl>
                                          <p:spTgt spid="225"/>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226"/>
                                        </p:tgtEl>
                                        <p:attrNameLst>
                                          <p:attrName>style.visibility</p:attrName>
                                        </p:attrNameLst>
                                      </p:cBhvr>
                                      <p:to>
                                        <p:strVal val="visible"/>
                                      </p:to>
                                    </p:set>
                                    <p:animEffect transition="in" filter="fade">
                                      <p:cBhvr>
                                        <p:cTn id="64" dur="500"/>
                                        <p:tgtEl>
                                          <p:spTgt spid="226"/>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27"/>
                                        </p:tgtEl>
                                        <p:attrNameLst>
                                          <p:attrName>style.visibility</p:attrName>
                                        </p:attrNameLst>
                                      </p:cBhvr>
                                      <p:to>
                                        <p:strVal val="visible"/>
                                      </p:to>
                                    </p:set>
                                    <p:animEffect transition="in" filter="fade">
                                      <p:cBhvr>
                                        <p:cTn id="69"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p:bldP spid="226" grpId="0"/>
      <p:bldP spid="227" grpId="0"/>
      <p:bldP spid="295" grpId="0" animBg="1"/>
      <p:bldP spid="296" grpId="0"/>
      <p:bldP spid="195" grpId="0" animBg="1"/>
      <p:bldP spid="222" grpId="0" animBg="1"/>
      <p:bldP spid="223" grpId="0" animBg="1"/>
      <p:bldP spid="209" grpId="0" animBg="1"/>
      <p:bldP spid="211" grpId="0" animBg="1"/>
      <p:bldP spid="196" grpId="0" animBg="1"/>
      <p:bldP spid="203" grpId="0" animBg="1"/>
      <p:bldP spid="2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solidFill>
                  <a:schemeClr val="tx1"/>
                </a:solidFill>
              </a:rPr>
              <a:t>Selecting the Management </a:t>
            </a:r>
            <a:r>
              <a:rPr lang="en-US" sz="4000" dirty="0">
                <a:solidFill>
                  <a:schemeClr val="tx1"/>
                </a:solidFill>
              </a:rPr>
              <a:t>P</a:t>
            </a:r>
            <a:r>
              <a:rPr lang="en-US" sz="4000" dirty="0" smtClean="0">
                <a:solidFill>
                  <a:schemeClr val="tx1"/>
                </a:solidFill>
              </a:rPr>
              <a:t>latform</a:t>
            </a:r>
            <a:endParaRPr lang="en-US" sz="4000" dirty="0">
              <a:solidFill>
                <a:schemeClr val="tx1"/>
              </a:solidFill>
            </a:endParaRPr>
          </a:p>
        </p:txBody>
      </p:sp>
      <p:sp>
        <p:nvSpPr>
          <p:cNvPr id="11" name="Text Placeholder 10"/>
          <p:cNvSpPr>
            <a:spLocks noGrp="1"/>
          </p:cNvSpPr>
          <p:nvPr>
            <p:ph type="body" sz="quarter" idx="4294967295"/>
          </p:nvPr>
        </p:nvSpPr>
        <p:spPr>
          <a:xfrm>
            <a:off x="0" y="3600450"/>
            <a:ext cx="5946775" cy="3411703"/>
          </a:xfrm>
        </p:spPr>
        <p:txBody>
          <a:bodyPr/>
          <a:lstStyle/>
          <a:p>
            <a:pPr marL="0" indent="0" algn="ctr">
              <a:spcBef>
                <a:spcPts val="0"/>
              </a:spcBef>
              <a:buNone/>
            </a:pPr>
            <a:r>
              <a:rPr lang="en-US" sz="2000" b="1" dirty="0">
                <a:solidFill>
                  <a:schemeClr val="tx1"/>
                </a:solidFill>
                <a:latin typeface="+mn-lt"/>
              </a:rPr>
              <a:t>Unified Device Management</a:t>
            </a:r>
          </a:p>
          <a:p>
            <a:pPr marL="0" indent="0" algn="ctr">
              <a:spcBef>
                <a:spcPts val="0"/>
              </a:spcBef>
              <a:buNone/>
            </a:pPr>
            <a:r>
              <a:rPr lang="en-US" sz="2000" b="1" dirty="0">
                <a:solidFill>
                  <a:schemeClr val="tx1"/>
                </a:solidFill>
                <a:latin typeface="+mn-lt"/>
              </a:rPr>
              <a:t>System Center 2012 R2 Configuration Manager with Windows </a:t>
            </a:r>
            <a:r>
              <a:rPr lang="en-US" sz="2000" b="1" dirty="0" smtClean="0">
                <a:solidFill>
                  <a:schemeClr val="tx1"/>
                </a:solidFill>
                <a:latin typeface="+mn-lt"/>
              </a:rPr>
              <a:t>Intune</a:t>
            </a:r>
          </a:p>
          <a:p>
            <a:pPr marL="0" indent="0" algn="ctr">
              <a:spcBef>
                <a:spcPts val="0"/>
              </a:spcBef>
              <a:buNone/>
            </a:pPr>
            <a:endParaRPr lang="en-US" sz="2000" b="1" dirty="0">
              <a:solidFill>
                <a:schemeClr val="tx1"/>
              </a:solidFill>
              <a:latin typeface="+mn-lt"/>
            </a:endParaRPr>
          </a:p>
          <a:p>
            <a:pPr marL="0" indent="0">
              <a:buNone/>
            </a:pPr>
            <a:endParaRPr lang="en-US" sz="100" dirty="0">
              <a:latin typeface="+mn-lt"/>
            </a:endParaRPr>
          </a:p>
          <a:p>
            <a:pPr marL="342900" lvl="1" indent="0">
              <a:buNone/>
            </a:pPr>
            <a:r>
              <a:rPr lang="en-US" sz="1600" dirty="0" smtClean="0"/>
              <a:t>Build on existing Configuration Manager deployment</a:t>
            </a:r>
          </a:p>
          <a:p>
            <a:pPr marL="342900" lvl="1" indent="0">
              <a:buNone/>
            </a:pPr>
            <a:r>
              <a:rPr lang="en-US" sz="1600" dirty="0" smtClean="0"/>
              <a:t>Full PC management (OS Deployment, Endpoint Protection, application delivery control, rich reporting)</a:t>
            </a:r>
          </a:p>
          <a:p>
            <a:pPr marL="342900" lvl="1" indent="0">
              <a:buNone/>
            </a:pPr>
            <a:r>
              <a:rPr lang="en-US" sz="1600" dirty="0" smtClean="0"/>
              <a:t>Deep policy control requirements</a:t>
            </a:r>
          </a:p>
          <a:p>
            <a:pPr marL="342900" lvl="1" indent="0">
              <a:buNone/>
            </a:pPr>
            <a:r>
              <a:rPr lang="en-US" sz="1600" dirty="0" smtClean="0"/>
              <a:t>Scale to 100,000 devices</a:t>
            </a:r>
          </a:p>
          <a:p>
            <a:pPr marL="342900" lvl="1" indent="0">
              <a:buNone/>
            </a:pPr>
            <a:r>
              <a:rPr lang="en-US" sz="1600" dirty="0" smtClean="0"/>
              <a:t>Extensible administration tools (RBA, PowerShell, SQL Reporting Services)</a:t>
            </a:r>
            <a:endParaRPr lang="en-US" sz="1600" dirty="0"/>
          </a:p>
          <a:p>
            <a:pPr lvl="1"/>
            <a:endParaRPr lang="en-US" sz="1800" dirty="0" smtClean="0"/>
          </a:p>
        </p:txBody>
      </p:sp>
      <p:sp>
        <p:nvSpPr>
          <p:cNvPr id="4" name="Rectangle 3"/>
          <p:cNvSpPr/>
          <p:nvPr/>
        </p:nvSpPr>
        <p:spPr>
          <a:xfrm>
            <a:off x="6980662" y="3668271"/>
            <a:ext cx="4974747" cy="2308324"/>
          </a:xfrm>
          <a:prstGeom prst="rect">
            <a:avLst/>
          </a:prstGeom>
        </p:spPr>
        <p:txBody>
          <a:bodyPr wrap="square">
            <a:spAutoFit/>
          </a:bodyPr>
          <a:lstStyle/>
          <a:p>
            <a:pPr algn="ctr"/>
            <a:r>
              <a:rPr lang="en-US" sz="2000" b="1" dirty="0" smtClean="0"/>
              <a:t>Cloud-based Management</a:t>
            </a:r>
          </a:p>
          <a:p>
            <a:pPr algn="ctr"/>
            <a:r>
              <a:rPr lang="en-US" sz="2000" b="1" dirty="0" smtClean="0"/>
              <a:t>Standalone Windows Intune</a:t>
            </a:r>
          </a:p>
          <a:p>
            <a:pPr lvl="1"/>
            <a:endParaRPr lang="en-US" sz="1000" dirty="0" smtClean="0">
              <a:solidFill>
                <a:schemeClr val="accent1"/>
              </a:solidFill>
            </a:endParaRPr>
          </a:p>
          <a:p>
            <a:pPr lvl="1"/>
            <a:endParaRPr lang="en-US" sz="1000" dirty="0">
              <a:solidFill>
                <a:schemeClr val="accent1"/>
              </a:solidFill>
            </a:endParaRPr>
          </a:p>
          <a:p>
            <a:pPr lvl="1"/>
            <a:endParaRPr lang="en-US" sz="1000" dirty="0" smtClean="0">
              <a:solidFill>
                <a:schemeClr val="accent1"/>
              </a:solidFill>
            </a:endParaRPr>
          </a:p>
          <a:p>
            <a:pPr lvl="1"/>
            <a:endParaRPr lang="en-US" sz="800" dirty="0" smtClean="0">
              <a:solidFill>
                <a:schemeClr val="accent1"/>
              </a:solidFill>
            </a:endParaRPr>
          </a:p>
          <a:p>
            <a:r>
              <a:rPr lang="en-US" sz="1600" dirty="0" smtClean="0"/>
              <a:t>No existing Configuration Manager deployment</a:t>
            </a:r>
          </a:p>
          <a:p>
            <a:r>
              <a:rPr lang="en-US" sz="1600" dirty="0" smtClean="0"/>
              <a:t>Simplified policy control</a:t>
            </a:r>
          </a:p>
          <a:p>
            <a:r>
              <a:rPr lang="en-US" sz="1600" dirty="0" smtClean="0"/>
              <a:t>Less than 7,000 devices and 4,000 users</a:t>
            </a:r>
          </a:p>
          <a:p>
            <a:r>
              <a:rPr lang="en-US" sz="1600" dirty="0" smtClean="0"/>
              <a:t>Simple web-based administration console</a:t>
            </a:r>
            <a:endParaRPr lang="en-US" sz="1600" dirty="0"/>
          </a:p>
        </p:txBody>
      </p:sp>
      <p:sp>
        <p:nvSpPr>
          <p:cNvPr id="19" name="Freeform 320"/>
          <p:cNvSpPr>
            <a:spLocks/>
          </p:cNvSpPr>
          <p:nvPr/>
        </p:nvSpPr>
        <p:spPr bwMode="auto">
          <a:xfrm>
            <a:off x="7738945" y="1348207"/>
            <a:ext cx="3646449" cy="1817008"/>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9525" cap="flat" cmpd="sng" algn="ctr">
            <a:noFill/>
            <a:prstDash val="solid"/>
            <a:headEnd type="none" w="med" len="med"/>
            <a:tailEnd type="none" w="med" len="med"/>
          </a:ln>
          <a:effectLst/>
          <a:extLst/>
        </p:spPr>
        <p:txBody>
          <a:bodyPr vert="horz" wrap="square" lIns="111575" tIns="0" rIns="111575" bIns="55787" numCol="1" rtlCol="0" anchor="ctr" anchorCtr="0" compatLnSpc="1">
            <a:prstTxWarp prst="textNoShape">
              <a:avLst/>
            </a:prstTxWarp>
          </a:bodyPr>
          <a:lstStyle/>
          <a:p>
            <a:pPr defTabSz="1115446"/>
            <a:endParaRPr lang="en-US" sz="1372" b="1" kern="0" dirty="0">
              <a:solidFill>
                <a:schemeClr val="accent1"/>
              </a:solidFill>
              <a:latin typeface="Segoe" pitchFamily="34" charset="0"/>
            </a:endParaRPr>
          </a:p>
          <a:p>
            <a:pPr defTabSz="1115446"/>
            <a:r>
              <a:rPr lang="en-US" sz="1372" b="1" kern="0" dirty="0">
                <a:solidFill>
                  <a:schemeClr val="accent1"/>
                </a:solidFill>
                <a:latin typeface="Segoe" pitchFamily="34" charset="0"/>
              </a:rPr>
              <a:t>       </a:t>
            </a:r>
          </a:p>
        </p:txBody>
      </p:sp>
      <p:pic>
        <p:nvPicPr>
          <p:cNvPr id="20" name="Picture 2"/>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8226336" y="2426576"/>
            <a:ext cx="2605334" cy="3721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1" name="Group 20"/>
          <p:cNvGrpSpPr/>
          <p:nvPr/>
        </p:nvGrpSpPr>
        <p:grpSpPr>
          <a:xfrm>
            <a:off x="1378074" y="1158275"/>
            <a:ext cx="2730233" cy="2445746"/>
            <a:chOff x="1378074" y="1158275"/>
            <a:chExt cx="2730233" cy="2445746"/>
          </a:xfrm>
        </p:grpSpPr>
        <p:grpSp>
          <p:nvGrpSpPr>
            <p:cNvPr id="22" name="Group 21"/>
            <p:cNvGrpSpPr/>
            <p:nvPr/>
          </p:nvGrpSpPr>
          <p:grpSpPr>
            <a:xfrm>
              <a:off x="2191175" y="1158275"/>
              <a:ext cx="1917132" cy="2445746"/>
              <a:chOff x="2282832" y="1252806"/>
              <a:chExt cx="2801613" cy="3574107"/>
            </a:xfrm>
          </p:grpSpPr>
          <p:grpSp>
            <p:nvGrpSpPr>
              <p:cNvPr id="24" name="Group 40"/>
              <p:cNvGrpSpPr/>
              <p:nvPr/>
            </p:nvGrpSpPr>
            <p:grpSpPr>
              <a:xfrm>
                <a:off x="2679260" y="1252806"/>
                <a:ext cx="2405185" cy="3574107"/>
                <a:chOff x="-722039" y="1238027"/>
                <a:chExt cx="1547395" cy="2299436"/>
              </a:xfrm>
            </p:grpSpPr>
            <p:pic>
              <p:nvPicPr>
                <p:cNvPr id="31" name="Picture 3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2039" y="3000125"/>
                  <a:ext cx="804663" cy="537338"/>
                </a:xfrm>
                <a:prstGeom prst="rect">
                  <a:avLst/>
                </a:prstGeom>
              </p:spPr>
            </p:pic>
            <p:pic>
              <p:nvPicPr>
                <p:cNvPr id="32" name="Picture 3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2261" y="2026816"/>
                  <a:ext cx="313095" cy="578601"/>
                </a:xfrm>
                <a:prstGeom prst="rect">
                  <a:avLst/>
                </a:prstGeom>
              </p:spPr>
            </p:pic>
            <p:pic>
              <p:nvPicPr>
                <p:cNvPr id="33" name="Picture 3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8053" y="1238027"/>
                  <a:ext cx="312849" cy="468023"/>
                </a:xfrm>
                <a:prstGeom prst="rect">
                  <a:avLst/>
                </a:prstGeom>
              </p:spPr>
            </p:pic>
          </p:grpSp>
          <p:sp>
            <p:nvSpPr>
              <p:cNvPr id="25" name="Freeform 24"/>
              <p:cNvSpPr>
                <a:spLocks noEditPoints="1"/>
              </p:cNvSpPr>
              <p:nvPr/>
            </p:nvSpPr>
            <p:spPr bwMode="auto">
              <a:xfrm>
                <a:off x="3034863" y="2478853"/>
                <a:ext cx="713671" cy="1078248"/>
              </a:xfrm>
              <a:custGeom>
                <a:avLst/>
                <a:gdLst>
                  <a:gd name="T0" fmla="*/ 275 w 1015"/>
                  <a:gd name="T1" fmla="*/ 545 h 1534"/>
                  <a:gd name="T2" fmla="*/ 324 w 1015"/>
                  <a:gd name="T3" fmla="*/ 578 h 1534"/>
                  <a:gd name="T4" fmla="*/ 374 w 1015"/>
                  <a:gd name="T5" fmla="*/ 605 h 1534"/>
                  <a:gd name="T6" fmla="*/ 418 w 1015"/>
                  <a:gd name="T7" fmla="*/ 626 h 1534"/>
                  <a:gd name="T8" fmla="*/ 448 w 1015"/>
                  <a:gd name="T9" fmla="*/ 638 h 1534"/>
                  <a:gd name="T10" fmla="*/ 460 w 1015"/>
                  <a:gd name="T11" fmla="*/ 643 h 1534"/>
                  <a:gd name="T12" fmla="*/ 543 w 1015"/>
                  <a:gd name="T13" fmla="*/ 640 h 1534"/>
                  <a:gd name="T14" fmla="*/ 608 w 1015"/>
                  <a:gd name="T15" fmla="*/ 620 h 1534"/>
                  <a:gd name="T16" fmla="*/ 661 w 1015"/>
                  <a:gd name="T17" fmla="*/ 599 h 1534"/>
                  <a:gd name="T18" fmla="*/ 707 w 1015"/>
                  <a:gd name="T19" fmla="*/ 570 h 1534"/>
                  <a:gd name="T20" fmla="*/ 760 w 1015"/>
                  <a:gd name="T21" fmla="*/ 527 h 1534"/>
                  <a:gd name="T22" fmla="*/ 832 w 1015"/>
                  <a:gd name="T23" fmla="*/ 649 h 1534"/>
                  <a:gd name="T24" fmla="*/ 901 w 1015"/>
                  <a:gd name="T25" fmla="*/ 775 h 1534"/>
                  <a:gd name="T26" fmla="*/ 959 w 1015"/>
                  <a:gd name="T27" fmla="*/ 907 h 1534"/>
                  <a:gd name="T28" fmla="*/ 999 w 1015"/>
                  <a:gd name="T29" fmla="*/ 1043 h 1534"/>
                  <a:gd name="T30" fmla="*/ 1015 w 1015"/>
                  <a:gd name="T31" fmla="*/ 1185 h 1534"/>
                  <a:gd name="T32" fmla="*/ 1013 w 1015"/>
                  <a:gd name="T33" fmla="*/ 1254 h 1534"/>
                  <a:gd name="T34" fmla="*/ 1003 w 1015"/>
                  <a:gd name="T35" fmla="*/ 1321 h 1534"/>
                  <a:gd name="T36" fmla="*/ 974 w 1015"/>
                  <a:gd name="T37" fmla="*/ 1381 h 1534"/>
                  <a:gd name="T38" fmla="*/ 930 w 1015"/>
                  <a:gd name="T39" fmla="*/ 1420 h 1534"/>
                  <a:gd name="T40" fmla="*/ 880 w 1015"/>
                  <a:gd name="T41" fmla="*/ 1451 h 1534"/>
                  <a:gd name="T42" fmla="*/ 806 w 1015"/>
                  <a:gd name="T43" fmla="*/ 1485 h 1534"/>
                  <a:gd name="T44" fmla="*/ 710 w 1015"/>
                  <a:gd name="T45" fmla="*/ 1511 h 1534"/>
                  <a:gd name="T46" fmla="*/ 609 w 1015"/>
                  <a:gd name="T47" fmla="*/ 1526 h 1534"/>
                  <a:gd name="T48" fmla="*/ 509 w 1015"/>
                  <a:gd name="T49" fmla="*/ 1534 h 1534"/>
                  <a:gd name="T50" fmla="*/ 455 w 1015"/>
                  <a:gd name="T51" fmla="*/ 1530 h 1534"/>
                  <a:gd name="T52" fmla="*/ 353 w 1015"/>
                  <a:gd name="T53" fmla="*/ 1519 h 1534"/>
                  <a:gd name="T54" fmla="*/ 254 w 1015"/>
                  <a:gd name="T55" fmla="*/ 1499 h 1534"/>
                  <a:gd name="T56" fmla="*/ 161 w 1015"/>
                  <a:gd name="T57" fmla="*/ 1464 h 1534"/>
                  <a:gd name="T58" fmla="*/ 108 w 1015"/>
                  <a:gd name="T59" fmla="*/ 1436 h 1534"/>
                  <a:gd name="T60" fmla="*/ 60 w 1015"/>
                  <a:gd name="T61" fmla="*/ 1402 h 1534"/>
                  <a:gd name="T62" fmla="*/ 23 w 1015"/>
                  <a:gd name="T63" fmla="*/ 1353 h 1534"/>
                  <a:gd name="T64" fmla="*/ 4 w 1015"/>
                  <a:gd name="T65" fmla="*/ 1288 h 1534"/>
                  <a:gd name="T66" fmla="*/ 0 w 1015"/>
                  <a:gd name="T67" fmla="*/ 1220 h 1534"/>
                  <a:gd name="T68" fmla="*/ 4 w 1015"/>
                  <a:gd name="T69" fmla="*/ 1114 h 1534"/>
                  <a:gd name="T70" fmla="*/ 31 w 1015"/>
                  <a:gd name="T71" fmla="*/ 974 h 1534"/>
                  <a:gd name="T72" fmla="*/ 81 w 1015"/>
                  <a:gd name="T73" fmla="*/ 841 h 1534"/>
                  <a:gd name="T74" fmla="*/ 145 w 1015"/>
                  <a:gd name="T75" fmla="*/ 711 h 1534"/>
                  <a:gd name="T76" fmla="*/ 217 w 1015"/>
                  <a:gd name="T77" fmla="*/ 587 h 1534"/>
                  <a:gd name="T78" fmla="*/ 505 w 1015"/>
                  <a:gd name="T79" fmla="*/ 0 h 1534"/>
                  <a:gd name="T80" fmla="*/ 599 w 1015"/>
                  <a:gd name="T81" fmla="*/ 15 h 1534"/>
                  <a:gd name="T82" fmla="*/ 679 w 1015"/>
                  <a:gd name="T83" fmla="*/ 57 h 1534"/>
                  <a:gd name="T84" fmla="*/ 744 w 1015"/>
                  <a:gd name="T85" fmla="*/ 122 h 1534"/>
                  <a:gd name="T86" fmla="*/ 786 w 1015"/>
                  <a:gd name="T87" fmla="*/ 202 h 1534"/>
                  <a:gd name="T88" fmla="*/ 801 w 1015"/>
                  <a:gd name="T89" fmla="*/ 296 h 1534"/>
                  <a:gd name="T90" fmla="*/ 786 w 1015"/>
                  <a:gd name="T91" fmla="*/ 389 h 1534"/>
                  <a:gd name="T92" fmla="*/ 744 w 1015"/>
                  <a:gd name="T93" fmla="*/ 471 h 1534"/>
                  <a:gd name="T94" fmla="*/ 679 w 1015"/>
                  <a:gd name="T95" fmla="*/ 535 h 1534"/>
                  <a:gd name="T96" fmla="*/ 599 w 1015"/>
                  <a:gd name="T97" fmla="*/ 577 h 1534"/>
                  <a:gd name="T98" fmla="*/ 505 w 1015"/>
                  <a:gd name="T99" fmla="*/ 593 h 1534"/>
                  <a:gd name="T100" fmla="*/ 411 w 1015"/>
                  <a:gd name="T101" fmla="*/ 577 h 1534"/>
                  <a:gd name="T102" fmla="*/ 330 w 1015"/>
                  <a:gd name="T103" fmla="*/ 535 h 1534"/>
                  <a:gd name="T104" fmla="*/ 266 w 1015"/>
                  <a:gd name="T105" fmla="*/ 471 h 1534"/>
                  <a:gd name="T106" fmla="*/ 224 w 1015"/>
                  <a:gd name="T107" fmla="*/ 389 h 1534"/>
                  <a:gd name="T108" fmla="*/ 208 w 1015"/>
                  <a:gd name="T109" fmla="*/ 296 h 1534"/>
                  <a:gd name="T110" fmla="*/ 224 w 1015"/>
                  <a:gd name="T111" fmla="*/ 202 h 1534"/>
                  <a:gd name="T112" fmla="*/ 266 w 1015"/>
                  <a:gd name="T113" fmla="*/ 122 h 1534"/>
                  <a:gd name="T114" fmla="*/ 330 w 1015"/>
                  <a:gd name="T115" fmla="*/ 57 h 1534"/>
                  <a:gd name="T116" fmla="*/ 411 w 1015"/>
                  <a:gd name="T117" fmla="*/ 15 h 1534"/>
                  <a:gd name="T118" fmla="*/ 505 w 1015"/>
                  <a:gd name="T119" fmla="*/ 0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5" h="1534">
                    <a:moveTo>
                      <a:pt x="253" y="527"/>
                    </a:moveTo>
                    <a:lnTo>
                      <a:pt x="275" y="545"/>
                    </a:lnTo>
                    <a:lnTo>
                      <a:pt x="299" y="562"/>
                    </a:lnTo>
                    <a:lnTo>
                      <a:pt x="324" y="578"/>
                    </a:lnTo>
                    <a:lnTo>
                      <a:pt x="349" y="593"/>
                    </a:lnTo>
                    <a:lnTo>
                      <a:pt x="374" y="605"/>
                    </a:lnTo>
                    <a:lnTo>
                      <a:pt x="397" y="616"/>
                    </a:lnTo>
                    <a:lnTo>
                      <a:pt x="418" y="626"/>
                    </a:lnTo>
                    <a:lnTo>
                      <a:pt x="435" y="632"/>
                    </a:lnTo>
                    <a:lnTo>
                      <a:pt x="448" y="638"/>
                    </a:lnTo>
                    <a:lnTo>
                      <a:pt x="458" y="642"/>
                    </a:lnTo>
                    <a:lnTo>
                      <a:pt x="460" y="643"/>
                    </a:lnTo>
                    <a:lnTo>
                      <a:pt x="505" y="727"/>
                    </a:lnTo>
                    <a:lnTo>
                      <a:pt x="543" y="640"/>
                    </a:lnTo>
                    <a:lnTo>
                      <a:pt x="579" y="630"/>
                    </a:lnTo>
                    <a:lnTo>
                      <a:pt x="608" y="620"/>
                    </a:lnTo>
                    <a:lnTo>
                      <a:pt x="636" y="610"/>
                    </a:lnTo>
                    <a:lnTo>
                      <a:pt x="661" y="599"/>
                    </a:lnTo>
                    <a:lnTo>
                      <a:pt x="683" y="586"/>
                    </a:lnTo>
                    <a:lnTo>
                      <a:pt x="707" y="570"/>
                    </a:lnTo>
                    <a:lnTo>
                      <a:pt x="732" y="550"/>
                    </a:lnTo>
                    <a:lnTo>
                      <a:pt x="760" y="527"/>
                    </a:lnTo>
                    <a:lnTo>
                      <a:pt x="797" y="587"/>
                    </a:lnTo>
                    <a:lnTo>
                      <a:pt x="832" y="649"/>
                    </a:lnTo>
                    <a:lnTo>
                      <a:pt x="868" y="711"/>
                    </a:lnTo>
                    <a:lnTo>
                      <a:pt x="901" y="775"/>
                    </a:lnTo>
                    <a:lnTo>
                      <a:pt x="933" y="841"/>
                    </a:lnTo>
                    <a:lnTo>
                      <a:pt x="959" y="907"/>
                    </a:lnTo>
                    <a:lnTo>
                      <a:pt x="982" y="974"/>
                    </a:lnTo>
                    <a:lnTo>
                      <a:pt x="999" y="1043"/>
                    </a:lnTo>
                    <a:lnTo>
                      <a:pt x="1011" y="1114"/>
                    </a:lnTo>
                    <a:lnTo>
                      <a:pt x="1015" y="1185"/>
                    </a:lnTo>
                    <a:lnTo>
                      <a:pt x="1015" y="1220"/>
                    </a:lnTo>
                    <a:lnTo>
                      <a:pt x="1013" y="1254"/>
                    </a:lnTo>
                    <a:lnTo>
                      <a:pt x="1011" y="1288"/>
                    </a:lnTo>
                    <a:lnTo>
                      <a:pt x="1003" y="1321"/>
                    </a:lnTo>
                    <a:lnTo>
                      <a:pt x="991" y="1353"/>
                    </a:lnTo>
                    <a:lnTo>
                      <a:pt x="974" y="1381"/>
                    </a:lnTo>
                    <a:lnTo>
                      <a:pt x="954" y="1402"/>
                    </a:lnTo>
                    <a:lnTo>
                      <a:pt x="930" y="1420"/>
                    </a:lnTo>
                    <a:lnTo>
                      <a:pt x="906" y="1436"/>
                    </a:lnTo>
                    <a:lnTo>
                      <a:pt x="880" y="1451"/>
                    </a:lnTo>
                    <a:lnTo>
                      <a:pt x="852" y="1464"/>
                    </a:lnTo>
                    <a:lnTo>
                      <a:pt x="806" y="1485"/>
                    </a:lnTo>
                    <a:lnTo>
                      <a:pt x="758" y="1499"/>
                    </a:lnTo>
                    <a:lnTo>
                      <a:pt x="710" y="1511"/>
                    </a:lnTo>
                    <a:lnTo>
                      <a:pt x="660" y="1519"/>
                    </a:lnTo>
                    <a:lnTo>
                      <a:pt x="609" y="1526"/>
                    </a:lnTo>
                    <a:lnTo>
                      <a:pt x="558" y="1530"/>
                    </a:lnTo>
                    <a:lnTo>
                      <a:pt x="509" y="1534"/>
                    </a:lnTo>
                    <a:lnTo>
                      <a:pt x="505" y="1534"/>
                    </a:lnTo>
                    <a:lnTo>
                      <a:pt x="455" y="1530"/>
                    </a:lnTo>
                    <a:lnTo>
                      <a:pt x="405" y="1526"/>
                    </a:lnTo>
                    <a:lnTo>
                      <a:pt x="353" y="1519"/>
                    </a:lnTo>
                    <a:lnTo>
                      <a:pt x="303" y="1511"/>
                    </a:lnTo>
                    <a:lnTo>
                      <a:pt x="254" y="1499"/>
                    </a:lnTo>
                    <a:lnTo>
                      <a:pt x="207" y="1485"/>
                    </a:lnTo>
                    <a:lnTo>
                      <a:pt x="161" y="1464"/>
                    </a:lnTo>
                    <a:lnTo>
                      <a:pt x="134" y="1451"/>
                    </a:lnTo>
                    <a:lnTo>
                      <a:pt x="108" y="1436"/>
                    </a:lnTo>
                    <a:lnTo>
                      <a:pt x="83" y="1420"/>
                    </a:lnTo>
                    <a:lnTo>
                      <a:pt x="60" y="1402"/>
                    </a:lnTo>
                    <a:lnTo>
                      <a:pt x="39" y="1381"/>
                    </a:lnTo>
                    <a:lnTo>
                      <a:pt x="23" y="1353"/>
                    </a:lnTo>
                    <a:lnTo>
                      <a:pt x="10" y="1321"/>
                    </a:lnTo>
                    <a:lnTo>
                      <a:pt x="4" y="1288"/>
                    </a:lnTo>
                    <a:lnTo>
                      <a:pt x="0" y="1254"/>
                    </a:lnTo>
                    <a:lnTo>
                      <a:pt x="0" y="1220"/>
                    </a:lnTo>
                    <a:lnTo>
                      <a:pt x="0" y="1185"/>
                    </a:lnTo>
                    <a:lnTo>
                      <a:pt x="4" y="1114"/>
                    </a:lnTo>
                    <a:lnTo>
                      <a:pt x="14" y="1043"/>
                    </a:lnTo>
                    <a:lnTo>
                      <a:pt x="31" y="974"/>
                    </a:lnTo>
                    <a:lnTo>
                      <a:pt x="54" y="907"/>
                    </a:lnTo>
                    <a:lnTo>
                      <a:pt x="81" y="841"/>
                    </a:lnTo>
                    <a:lnTo>
                      <a:pt x="112" y="775"/>
                    </a:lnTo>
                    <a:lnTo>
                      <a:pt x="145" y="711"/>
                    </a:lnTo>
                    <a:lnTo>
                      <a:pt x="180" y="649"/>
                    </a:lnTo>
                    <a:lnTo>
                      <a:pt x="217" y="587"/>
                    </a:lnTo>
                    <a:lnTo>
                      <a:pt x="253" y="527"/>
                    </a:lnTo>
                    <a:close/>
                    <a:moveTo>
                      <a:pt x="505" y="0"/>
                    </a:moveTo>
                    <a:lnTo>
                      <a:pt x="553" y="4"/>
                    </a:lnTo>
                    <a:lnTo>
                      <a:pt x="599" y="15"/>
                    </a:lnTo>
                    <a:lnTo>
                      <a:pt x="641" y="33"/>
                    </a:lnTo>
                    <a:lnTo>
                      <a:pt x="679" y="57"/>
                    </a:lnTo>
                    <a:lnTo>
                      <a:pt x="714" y="87"/>
                    </a:lnTo>
                    <a:lnTo>
                      <a:pt x="744" y="122"/>
                    </a:lnTo>
                    <a:lnTo>
                      <a:pt x="768" y="160"/>
                    </a:lnTo>
                    <a:lnTo>
                      <a:pt x="786" y="202"/>
                    </a:lnTo>
                    <a:lnTo>
                      <a:pt x="797" y="248"/>
                    </a:lnTo>
                    <a:lnTo>
                      <a:pt x="801" y="296"/>
                    </a:lnTo>
                    <a:lnTo>
                      <a:pt x="797" y="345"/>
                    </a:lnTo>
                    <a:lnTo>
                      <a:pt x="786" y="389"/>
                    </a:lnTo>
                    <a:lnTo>
                      <a:pt x="768" y="432"/>
                    </a:lnTo>
                    <a:lnTo>
                      <a:pt x="744" y="471"/>
                    </a:lnTo>
                    <a:lnTo>
                      <a:pt x="714" y="506"/>
                    </a:lnTo>
                    <a:lnTo>
                      <a:pt x="679" y="535"/>
                    </a:lnTo>
                    <a:lnTo>
                      <a:pt x="641" y="560"/>
                    </a:lnTo>
                    <a:lnTo>
                      <a:pt x="599" y="577"/>
                    </a:lnTo>
                    <a:lnTo>
                      <a:pt x="553" y="589"/>
                    </a:lnTo>
                    <a:lnTo>
                      <a:pt x="505" y="593"/>
                    </a:lnTo>
                    <a:lnTo>
                      <a:pt x="456" y="589"/>
                    </a:lnTo>
                    <a:lnTo>
                      <a:pt x="411" y="577"/>
                    </a:lnTo>
                    <a:lnTo>
                      <a:pt x="369" y="560"/>
                    </a:lnTo>
                    <a:lnTo>
                      <a:pt x="330" y="535"/>
                    </a:lnTo>
                    <a:lnTo>
                      <a:pt x="295" y="506"/>
                    </a:lnTo>
                    <a:lnTo>
                      <a:pt x="266" y="471"/>
                    </a:lnTo>
                    <a:lnTo>
                      <a:pt x="241" y="432"/>
                    </a:lnTo>
                    <a:lnTo>
                      <a:pt x="224" y="389"/>
                    </a:lnTo>
                    <a:lnTo>
                      <a:pt x="212" y="345"/>
                    </a:lnTo>
                    <a:lnTo>
                      <a:pt x="208" y="296"/>
                    </a:lnTo>
                    <a:lnTo>
                      <a:pt x="212" y="248"/>
                    </a:lnTo>
                    <a:lnTo>
                      <a:pt x="224" y="202"/>
                    </a:lnTo>
                    <a:lnTo>
                      <a:pt x="241" y="160"/>
                    </a:lnTo>
                    <a:lnTo>
                      <a:pt x="266" y="122"/>
                    </a:lnTo>
                    <a:lnTo>
                      <a:pt x="295" y="87"/>
                    </a:lnTo>
                    <a:lnTo>
                      <a:pt x="330" y="57"/>
                    </a:lnTo>
                    <a:lnTo>
                      <a:pt x="369" y="33"/>
                    </a:lnTo>
                    <a:lnTo>
                      <a:pt x="411" y="15"/>
                    </a:lnTo>
                    <a:lnTo>
                      <a:pt x="456" y="4"/>
                    </a:lnTo>
                    <a:lnTo>
                      <a:pt x="505"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Oval 25"/>
              <p:cNvSpPr/>
              <p:nvPr/>
            </p:nvSpPr>
            <p:spPr bwMode="auto">
              <a:xfrm>
                <a:off x="2705062" y="2341384"/>
                <a:ext cx="1353496" cy="1353496"/>
              </a:xfrm>
              <a:prstGeom prst="ellipse">
                <a:avLst/>
              </a:prstGeom>
              <a:noFill/>
              <a:ln w="1905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GB" sz="2000" spc="-50" dirty="0" smtClean="0">
                  <a:gradFill>
                    <a:gsLst>
                      <a:gs pos="1250">
                        <a:schemeClr val="bg1"/>
                      </a:gs>
                      <a:gs pos="10417">
                        <a:schemeClr val="bg1"/>
                      </a:gs>
                    </a:gsLst>
                    <a:lin ang="5400000" scaled="0"/>
                  </a:gradFill>
                </a:endParaRPr>
              </a:p>
            </p:txBody>
          </p:sp>
          <p:cxnSp>
            <p:nvCxnSpPr>
              <p:cNvPr id="27" name="Straight Connector 26"/>
              <p:cNvCxnSpPr>
                <a:stCxn id="26" idx="2"/>
              </p:cNvCxnSpPr>
              <p:nvPr/>
            </p:nvCxnSpPr>
            <p:spPr>
              <a:xfrm flipH="1">
                <a:off x="2282832" y="3018132"/>
                <a:ext cx="422230" cy="0"/>
              </a:xfrm>
              <a:prstGeom prst="line">
                <a:avLst/>
              </a:prstGeom>
              <a:ln w="15875">
                <a:solidFill>
                  <a:srgbClr val="0070C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6" idx="6"/>
              </p:cNvCxnSpPr>
              <p:nvPr/>
            </p:nvCxnSpPr>
            <p:spPr>
              <a:xfrm>
                <a:off x="4058558" y="3018132"/>
                <a:ext cx="453766" cy="0"/>
              </a:xfrm>
              <a:prstGeom prst="line">
                <a:avLst/>
              </a:prstGeom>
              <a:ln w="15875">
                <a:solidFill>
                  <a:srgbClr val="0070C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26" idx="0"/>
              </p:cNvCxnSpPr>
              <p:nvPr/>
            </p:nvCxnSpPr>
            <p:spPr>
              <a:xfrm flipV="1">
                <a:off x="3381810" y="2044557"/>
                <a:ext cx="0" cy="296827"/>
              </a:xfrm>
              <a:prstGeom prst="line">
                <a:avLst/>
              </a:prstGeom>
              <a:ln w="15875">
                <a:solidFill>
                  <a:srgbClr val="0070C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3394896" y="3694880"/>
                <a:ext cx="0" cy="296827"/>
              </a:xfrm>
              <a:prstGeom prst="line">
                <a:avLst/>
              </a:prstGeom>
              <a:ln w="15875">
                <a:solidFill>
                  <a:srgbClr val="0070C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78074" y="2005069"/>
              <a:ext cx="721423" cy="615418"/>
            </a:xfrm>
            <a:prstGeom prst="rect">
              <a:avLst/>
            </a:prstGeom>
          </p:spPr>
        </p:pic>
      </p:grpSp>
    </p:spTree>
    <p:extLst>
      <p:ext uri="{BB962C8B-B14F-4D97-AF65-F5344CB8AC3E}">
        <p14:creationId xmlns:p14="http://schemas.microsoft.com/office/powerpoint/2010/main" val="14831958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iguration Manager MDM Features</a:t>
            </a:r>
            <a:endParaRPr lang="en-US" dirty="0"/>
          </a:p>
        </p:txBody>
      </p:sp>
      <p:sp>
        <p:nvSpPr>
          <p:cNvPr id="5" name="TextBox 4"/>
          <p:cNvSpPr txBox="1"/>
          <p:nvPr/>
        </p:nvSpPr>
        <p:spPr>
          <a:xfrm>
            <a:off x="447473" y="1521373"/>
            <a:ext cx="11430000" cy="3284092"/>
          </a:xfrm>
          <a:prstGeom prst="rect">
            <a:avLst/>
          </a:prstGeom>
          <a:noFill/>
        </p:spPr>
        <p:txBody>
          <a:bodyPr wrap="square" rtlCol="0">
            <a:spAutoFit/>
          </a:bodyPr>
          <a:lstStyle/>
          <a:p>
            <a:r>
              <a:rPr lang="en-US" sz="2800" dirty="0" smtClean="0">
                <a:latin typeface="+mj-lt"/>
              </a:rPr>
              <a:t>Features</a:t>
            </a:r>
            <a:endParaRPr lang="en-US" sz="2800" dirty="0">
              <a:latin typeface="+mj-lt"/>
            </a:endParaRPr>
          </a:p>
          <a:p>
            <a:pPr marL="466159" indent="-466159">
              <a:buFont typeface="Arial" panose="020B0604020202020204" pitchFamily="34" charset="0"/>
              <a:buChar char="•"/>
            </a:pPr>
            <a:r>
              <a:rPr lang="en-US" sz="2447" dirty="0">
                <a:latin typeface="+mj-lt"/>
              </a:rPr>
              <a:t>Over the air device </a:t>
            </a:r>
            <a:r>
              <a:rPr lang="en-US" sz="2447" dirty="0" smtClean="0">
                <a:latin typeface="+mj-lt"/>
              </a:rPr>
              <a:t>enrollment</a:t>
            </a:r>
            <a:endParaRPr lang="en-US" sz="2447" dirty="0">
              <a:latin typeface="+mj-lt"/>
            </a:endParaRPr>
          </a:p>
          <a:p>
            <a:pPr marL="466159" indent="-466159">
              <a:buFont typeface="Arial" panose="020B0604020202020204" pitchFamily="34" charset="0"/>
              <a:buChar char="•"/>
            </a:pPr>
            <a:r>
              <a:rPr lang="en-US" sz="2447" dirty="0" smtClean="0">
                <a:latin typeface="+mj-lt"/>
              </a:rPr>
              <a:t>User-targeted available app deployment</a:t>
            </a:r>
            <a:endParaRPr lang="en-US" sz="2447" dirty="0">
              <a:latin typeface="+mj-lt"/>
            </a:endParaRPr>
          </a:p>
          <a:p>
            <a:pPr marL="466159" indent="-466159">
              <a:buFont typeface="Arial" panose="020B0604020202020204" pitchFamily="34" charset="0"/>
              <a:buChar char="•"/>
            </a:pPr>
            <a:r>
              <a:rPr lang="en-US" sz="2447" dirty="0">
                <a:latin typeface="+mj-lt"/>
              </a:rPr>
              <a:t>User and device settings </a:t>
            </a:r>
            <a:r>
              <a:rPr lang="en-US" sz="2447" dirty="0" smtClean="0">
                <a:latin typeface="+mj-lt"/>
              </a:rPr>
              <a:t>management</a:t>
            </a:r>
            <a:endParaRPr lang="en-US" sz="2447" dirty="0">
              <a:latin typeface="+mj-lt"/>
            </a:endParaRPr>
          </a:p>
          <a:p>
            <a:pPr marL="466159" indent="-466159">
              <a:buFont typeface="Arial" panose="020B0604020202020204" pitchFamily="34" charset="0"/>
              <a:buChar char="•"/>
            </a:pPr>
            <a:r>
              <a:rPr lang="en-US" sz="2447" dirty="0">
                <a:latin typeface="+mj-lt"/>
              </a:rPr>
              <a:t>Device </a:t>
            </a:r>
            <a:r>
              <a:rPr lang="en-US" sz="2447" dirty="0" smtClean="0">
                <a:latin typeface="+mj-lt"/>
              </a:rPr>
              <a:t>inventory</a:t>
            </a:r>
            <a:endParaRPr lang="en-US" sz="2447" dirty="0">
              <a:latin typeface="+mj-lt"/>
            </a:endParaRPr>
          </a:p>
          <a:p>
            <a:pPr marL="466159" indent="-466159">
              <a:buFont typeface="Arial" panose="020B0604020202020204" pitchFamily="34" charset="0"/>
              <a:buChar char="•"/>
            </a:pPr>
            <a:r>
              <a:rPr lang="en-US" sz="2447" dirty="0">
                <a:latin typeface="+mj-lt"/>
              </a:rPr>
              <a:t>Remote device </a:t>
            </a:r>
            <a:r>
              <a:rPr lang="en-US" sz="2447" dirty="0" smtClean="0">
                <a:latin typeface="+mj-lt"/>
              </a:rPr>
              <a:t>retirement</a:t>
            </a:r>
            <a:endParaRPr lang="en-US" sz="2447" dirty="0">
              <a:latin typeface="+mj-lt"/>
            </a:endParaRPr>
          </a:p>
          <a:p>
            <a:pPr marL="466159" indent="-466159">
              <a:buFont typeface="Arial" panose="020B0604020202020204" pitchFamily="34" charset="0"/>
              <a:buChar char="•"/>
            </a:pPr>
            <a:r>
              <a:rPr lang="en-US" sz="2447" dirty="0">
                <a:latin typeface="+mj-lt"/>
              </a:rPr>
              <a:t>Remote device </a:t>
            </a:r>
            <a:r>
              <a:rPr lang="en-US" sz="2447" dirty="0" smtClean="0">
                <a:latin typeface="+mj-lt"/>
              </a:rPr>
              <a:t>wipe</a:t>
            </a:r>
            <a:endParaRPr lang="en-US" sz="2447" dirty="0">
              <a:latin typeface="+mj-lt"/>
            </a:endParaRPr>
          </a:p>
          <a:p>
            <a:endParaRPr lang="en-US" sz="2855" dirty="0"/>
          </a:p>
        </p:txBody>
      </p:sp>
    </p:spTree>
    <p:extLst>
      <p:ext uri="{BB962C8B-B14F-4D97-AF65-F5344CB8AC3E}">
        <p14:creationId xmlns:p14="http://schemas.microsoft.com/office/powerpoint/2010/main" val="71025025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460" y="306401"/>
            <a:ext cx="11866377" cy="1292662"/>
          </a:xfrm>
        </p:spPr>
        <p:txBody>
          <a:bodyPr/>
          <a:lstStyle/>
          <a:p>
            <a:r>
              <a:rPr lang="en-US" sz="4000" dirty="0"/>
              <a:t>Windows Intune integrated with System Center 2012 R2 Configuration Manager</a:t>
            </a:r>
          </a:p>
        </p:txBody>
      </p:sp>
      <p:sp>
        <p:nvSpPr>
          <p:cNvPr id="6" name="TextBox 5"/>
          <p:cNvSpPr txBox="1"/>
          <p:nvPr/>
        </p:nvSpPr>
        <p:spPr>
          <a:xfrm>
            <a:off x="709760" y="3851743"/>
            <a:ext cx="600781" cy="615361"/>
          </a:xfrm>
          <a:prstGeom prst="rect">
            <a:avLst/>
          </a:prstGeom>
          <a:noFill/>
        </p:spPr>
        <p:txBody>
          <a:bodyPr wrap="none" lIns="179238" tIns="143391" rIns="179238" bIns="143391" rtlCol="0">
            <a:spAutoFit/>
          </a:bodyPr>
          <a:lstStyle/>
          <a:p>
            <a:pPr algn="ctr">
              <a:lnSpc>
                <a:spcPct val="90000"/>
              </a:lnSpc>
            </a:pPr>
            <a:r>
              <a:rPr lang="en-US" sz="2352" dirty="0">
                <a:gradFill>
                  <a:gsLst>
                    <a:gs pos="2917">
                      <a:schemeClr val="tx1"/>
                    </a:gs>
                    <a:gs pos="30000">
                      <a:schemeClr val="tx1"/>
                    </a:gs>
                  </a:gsLst>
                  <a:lin ang="5400000" scaled="0"/>
                </a:gradFill>
              </a:rPr>
              <a:t>IT</a:t>
            </a:r>
          </a:p>
        </p:txBody>
      </p:sp>
      <p:cxnSp>
        <p:nvCxnSpPr>
          <p:cNvPr id="9" name="Straight Arrow Connector 8"/>
          <p:cNvCxnSpPr/>
          <p:nvPr/>
        </p:nvCxnSpPr>
        <p:spPr>
          <a:xfrm flipH="1">
            <a:off x="1622288" y="3272988"/>
            <a:ext cx="582022" cy="0"/>
          </a:xfrm>
          <a:prstGeom prst="straightConnector1">
            <a:avLst/>
          </a:prstGeom>
          <a:ln w="1905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7188513" y="2430875"/>
            <a:ext cx="2365628" cy="14676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908"/>
            <a:r>
              <a:rPr lang="en-US" sz="1372" b="1" dirty="0">
                <a:solidFill>
                  <a:schemeClr val="tx1"/>
                </a:solidFill>
              </a:rPr>
              <a:t>Mac</a:t>
            </a:r>
            <a:r>
              <a:rPr lang="en-US" sz="1372" dirty="0">
                <a:solidFill>
                  <a:schemeClr val="tx1"/>
                </a:solidFill>
              </a:rPr>
              <a:t> OS X</a:t>
            </a:r>
          </a:p>
        </p:txBody>
      </p:sp>
      <p:sp>
        <p:nvSpPr>
          <p:cNvPr id="16" name="Rectangle 15"/>
          <p:cNvSpPr/>
          <p:nvPr/>
        </p:nvSpPr>
        <p:spPr bwMode="auto">
          <a:xfrm>
            <a:off x="7292161" y="1508242"/>
            <a:ext cx="2365628" cy="14676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908"/>
            <a:r>
              <a:rPr lang="en-US" sz="1372" b="1" dirty="0">
                <a:solidFill>
                  <a:schemeClr val="tx1"/>
                </a:solidFill>
              </a:rPr>
              <a:t>Windows PCs</a:t>
            </a:r>
          </a:p>
          <a:p>
            <a:pPr algn="ctr" defTabSz="895908"/>
            <a:r>
              <a:rPr lang="en-US" sz="1372" dirty="0">
                <a:solidFill>
                  <a:schemeClr val="tx1"/>
                </a:solidFill>
              </a:rPr>
              <a:t>(x86/64, Intel </a:t>
            </a:r>
            <a:r>
              <a:rPr lang="en-US" sz="1372" dirty="0" err="1">
                <a:solidFill>
                  <a:schemeClr val="tx1"/>
                </a:solidFill>
              </a:rPr>
              <a:t>SoC</a:t>
            </a:r>
            <a:r>
              <a:rPr lang="en-US" sz="1372" dirty="0">
                <a:solidFill>
                  <a:schemeClr val="tx1"/>
                </a:solidFill>
              </a:rPr>
              <a:t>), </a:t>
            </a:r>
          </a:p>
          <a:p>
            <a:pPr algn="ctr" defTabSz="895908"/>
            <a:r>
              <a:rPr lang="en-US" sz="1372" dirty="0">
                <a:solidFill>
                  <a:schemeClr val="tx1"/>
                </a:solidFill>
              </a:rPr>
              <a:t>Windows to Go</a:t>
            </a:r>
          </a:p>
          <a:p>
            <a:pPr algn="ctr" defTabSz="895908"/>
            <a:r>
              <a:rPr lang="en-US" sz="1372" dirty="0">
                <a:solidFill>
                  <a:schemeClr val="tx1"/>
                </a:solidFill>
              </a:rPr>
              <a:t>Windows Embedded</a:t>
            </a:r>
          </a:p>
        </p:txBody>
      </p:sp>
      <p:cxnSp>
        <p:nvCxnSpPr>
          <p:cNvPr id="15" name="Straight Connector 14"/>
          <p:cNvCxnSpPr/>
          <p:nvPr/>
        </p:nvCxnSpPr>
        <p:spPr>
          <a:xfrm>
            <a:off x="7492182" y="2030056"/>
            <a:ext cx="0" cy="1239604"/>
          </a:xfrm>
          <a:prstGeom prst="line">
            <a:avLst/>
          </a:prstGeom>
          <a:ln w="19050" cap="rnd" cmpd="sng">
            <a:solidFill>
              <a:srgbClr val="0070C0"/>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116326" y="2429368"/>
            <a:ext cx="282263" cy="0"/>
          </a:xfrm>
          <a:prstGeom prst="straightConnector1">
            <a:avLst/>
          </a:prstGeom>
          <a:ln w="1905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7020070" y="4808376"/>
            <a:ext cx="282263" cy="0"/>
          </a:xfrm>
          <a:prstGeom prst="straightConnector1">
            <a:avLst/>
          </a:prstGeom>
          <a:ln w="1905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bwMode="auto">
          <a:xfrm>
            <a:off x="7202696" y="4102302"/>
            <a:ext cx="2586632" cy="146768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08" rIns="0" bIns="44808" numCol="1" rtlCol="0" anchor="ctr" anchorCtr="0" compatLnSpc="1">
            <a:prstTxWarp prst="textNoShape">
              <a:avLst/>
            </a:prstTxWarp>
          </a:bodyPr>
          <a:lstStyle/>
          <a:p>
            <a:pPr algn="ctr" defTabSz="895908"/>
            <a:r>
              <a:rPr lang="en-US" sz="1372" b="1" dirty="0">
                <a:solidFill>
                  <a:schemeClr val="tx1"/>
                </a:solidFill>
              </a:rPr>
              <a:t>Windows RT, </a:t>
            </a:r>
            <a:r>
              <a:rPr lang="en-US" sz="1372" dirty="0">
                <a:solidFill>
                  <a:schemeClr val="tx1"/>
                </a:solidFill>
              </a:rPr>
              <a:t/>
            </a:r>
            <a:br>
              <a:rPr lang="en-US" sz="1372" dirty="0">
                <a:solidFill>
                  <a:schemeClr val="tx1"/>
                </a:solidFill>
              </a:rPr>
            </a:br>
            <a:r>
              <a:rPr lang="en-US" sz="1372" b="1" dirty="0">
                <a:solidFill>
                  <a:schemeClr val="tx1"/>
                </a:solidFill>
              </a:rPr>
              <a:t>Windows Phone 8</a:t>
            </a:r>
            <a:br>
              <a:rPr lang="en-US" sz="1372" b="1" dirty="0">
                <a:solidFill>
                  <a:schemeClr val="tx1"/>
                </a:solidFill>
              </a:rPr>
            </a:br>
            <a:r>
              <a:rPr lang="en-US" sz="1372" b="1" dirty="0" err="1">
                <a:solidFill>
                  <a:schemeClr val="tx1"/>
                </a:solidFill>
              </a:rPr>
              <a:t>iOS</a:t>
            </a:r>
            <a:r>
              <a:rPr lang="en-US" sz="1372" b="1" dirty="0">
                <a:solidFill>
                  <a:schemeClr val="tx1"/>
                </a:solidFill>
              </a:rPr>
              <a:t>, Android</a:t>
            </a:r>
          </a:p>
        </p:txBody>
      </p:sp>
      <p:cxnSp>
        <p:nvCxnSpPr>
          <p:cNvPr id="40" name="Straight Connector 39"/>
          <p:cNvCxnSpPr/>
          <p:nvPr/>
        </p:nvCxnSpPr>
        <p:spPr>
          <a:xfrm>
            <a:off x="7492181" y="4360065"/>
            <a:ext cx="0" cy="931332"/>
          </a:xfrm>
          <a:prstGeom prst="line">
            <a:avLst/>
          </a:prstGeom>
          <a:ln w="19050" cap="rnd" cmpd="sng">
            <a:solidFill>
              <a:srgbClr val="0070C0"/>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9" name="Freeform 320"/>
          <p:cNvSpPr>
            <a:spLocks/>
          </p:cNvSpPr>
          <p:nvPr/>
        </p:nvSpPr>
        <p:spPr bwMode="auto">
          <a:xfrm>
            <a:off x="4329275" y="4092667"/>
            <a:ext cx="2552380" cy="1271839"/>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9525" cap="flat" cmpd="sng" algn="ctr">
            <a:noFill/>
            <a:prstDash val="solid"/>
            <a:headEnd type="none" w="med" len="med"/>
            <a:tailEnd type="none" w="med" len="med"/>
          </a:ln>
          <a:effectLst/>
          <a:extLst/>
        </p:spPr>
        <p:txBody>
          <a:bodyPr vert="horz" wrap="square" lIns="111575" tIns="0" rIns="111575" bIns="55787" numCol="1" rtlCol="0" anchor="ctr" anchorCtr="0" compatLnSpc="1">
            <a:prstTxWarp prst="textNoShape">
              <a:avLst/>
            </a:prstTxWarp>
          </a:bodyPr>
          <a:lstStyle/>
          <a:p>
            <a:pPr defTabSz="1115446"/>
            <a:endParaRPr lang="en-US" sz="1372" b="1" kern="0" dirty="0">
              <a:solidFill>
                <a:schemeClr val="accent1"/>
              </a:solidFill>
              <a:latin typeface="Segoe" pitchFamily="34" charset="0"/>
            </a:endParaRPr>
          </a:p>
          <a:p>
            <a:pPr defTabSz="1115446"/>
            <a:r>
              <a:rPr lang="en-US" sz="1372" b="1" kern="0" dirty="0">
                <a:solidFill>
                  <a:schemeClr val="accent1"/>
                </a:solidFill>
                <a:latin typeface="Segoe" pitchFamily="34" charset="0"/>
              </a:rPr>
              <a:t>       </a:t>
            </a:r>
          </a:p>
        </p:txBody>
      </p:sp>
      <p:cxnSp>
        <p:nvCxnSpPr>
          <p:cNvPr id="70" name="Straight Arrow Connector 69"/>
          <p:cNvCxnSpPr/>
          <p:nvPr/>
        </p:nvCxnSpPr>
        <p:spPr>
          <a:xfrm flipH="1">
            <a:off x="3813922" y="2548503"/>
            <a:ext cx="502195" cy="721157"/>
          </a:xfrm>
          <a:prstGeom prst="straightConnector1">
            <a:avLst/>
          </a:prstGeom>
          <a:ln w="1905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5797884" y="2798623"/>
            <a:ext cx="1" cy="1303332"/>
          </a:xfrm>
          <a:prstGeom prst="straightConnector1">
            <a:avLst/>
          </a:prstGeom>
          <a:ln w="19050"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67" name="Picture 2"/>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4624493" y="4843004"/>
            <a:ext cx="1961944" cy="280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Picture 7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54141" y="1737413"/>
            <a:ext cx="1009340" cy="1009340"/>
          </a:xfrm>
          <a:prstGeom prst="rect">
            <a:avLst/>
          </a:prstGeom>
        </p:spPr>
      </p:pic>
      <p:sp>
        <p:nvSpPr>
          <p:cNvPr id="79" name="Freeform 14"/>
          <p:cNvSpPr>
            <a:spLocks noEditPoints="1"/>
          </p:cNvSpPr>
          <p:nvPr/>
        </p:nvSpPr>
        <p:spPr bwMode="auto">
          <a:xfrm>
            <a:off x="507773" y="2448539"/>
            <a:ext cx="1004757" cy="1505924"/>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89" name="Group 963"/>
          <p:cNvGrpSpPr>
            <a:grpSpLocks noChangeAspect="1"/>
          </p:cNvGrpSpPr>
          <p:nvPr/>
        </p:nvGrpSpPr>
        <p:grpSpPr bwMode="auto">
          <a:xfrm>
            <a:off x="2319971" y="2765584"/>
            <a:ext cx="1354600" cy="1161373"/>
            <a:chOff x="5915" y="3068"/>
            <a:chExt cx="1346" cy="1154"/>
          </a:xfrm>
          <a:solidFill>
            <a:srgbClr val="0070C0"/>
          </a:solidFill>
        </p:grpSpPr>
        <p:sp>
          <p:nvSpPr>
            <p:cNvPr id="90" name="Freeform 965"/>
            <p:cNvSpPr>
              <a:spLocks noEditPoints="1"/>
            </p:cNvSpPr>
            <p:nvPr/>
          </p:nvSpPr>
          <p:spPr bwMode="auto">
            <a:xfrm>
              <a:off x="6189" y="3203"/>
              <a:ext cx="841" cy="695"/>
            </a:xfrm>
            <a:custGeom>
              <a:avLst/>
              <a:gdLst>
                <a:gd name="T0" fmla="*/ 84 w 1681"/>
                <a:gd name="T1" fmla="*/ 436 h 1390"/>
                <a:gd name="T2" fmla="*/ 84 w 1681"/>
                <a:gd name="T3" fmla="*/ 733 h 1390"/>
                <a:gd name="T4" fmla="*/ 84 w 1681"/>
                <a:gd name="T5" fmla="*/ 1069 h 1390"/>
                <a:gd name="T6" fmla="*/ 84 w 1681"/>
                <a:gd name="T7" fmla="*/ 1285 h 1390"/>
                <a:gd name="T8" fmla="*/ 152 w 1681"/>
                <a:gd name="T9" fmla="*/ 1303 h 1390"/>
                <a:gd name="T10" fmla="*/ 453 w 1681"/>
                <a:gd name="T11" fmla="*/ 1302 h 1390"/>
                <a:gd name="T12" fmla="*/ 872 w 1681"/>
                <a:gd name="T13" fmla="*/ 1302 h 1390"/>
                <a:gd name="T14" fmla="*/ 1282 w 1681"/>
                <a:gd name="T15" fmla="*/ 1300 h 1390"/>
                <a:gd name="T16" fmla="*/ 1551 w 1681"/>
                <a:gd name="T17" fmla="*/ 1300 h 1390"/>
                <a:gd name="T18" fmla="*/ 779 w 1681"/>
                <a:gd name="T19" fmla="*/ 249 h 1390"/>
                <a:gd name="T20" fmla="*/ 1223 w 1681"/>
                <a:gd name="T21" fmla="*/ 249 h 1390"/>
                <a:gd name="T22" fmla="*/ 1559 w 1681"/>
                <a:gd name="T23" fmla="*/ 250 h 1390"/>
                <a:gd name="T24" fmla="*/ 1669 w 1681"/>
                <a:gd name="T25" fmla="*/ 293 h 1390"/>
                <a:gd name="T26" fmla="*/ 1681 w 1681"/>
                <a:gd name="T27" fmla="*/ 399 h 1390"/>
                <a:gd name="T28" fmla="*/ 1679 w 1681"/>
                <a:gd name="T29" fmla="*/ 665 h 1390"/>
                <a:gd name="T30" fmla="*/ 1678 w 1681"/>
                <a:gd name="T31" fmla="*/ 1007 h 1390"/>
                <a:gd name="T32" fmla="*/ 1677 w 1681"/>
                <a:gd name="T33" fmla="*/ 1252 h 1390"/>
                <a:gd name="T34" fmla="*/ 1659 w 1681"/>
                <a:gd name="T35" fmla="*/ 1355 h 1390"/>
                <a:gd name="T36" fmla="*/ 1547 w 1681"/>
                <a:gd name="T37" fmla="*/ 1389 h 1390"/>
                <a:gd name="T38" fmla="*/ 1377 w 1681"/>
                <a:gd name="T39" fmla="*/ 1389 h 1390"/>
                <a:gd name="T40" fmla="*/ 1015 w 1681"/>
                <a:gd name="T41" fmla="*/ 1389 h 1390"/>
                <a:gd name="T42" fmla="*/ 598 w 1681"/>
                <a:gd name="T43" fmla="*/ 1390 h 1390"/>
                <a:gd name="T44" fmla="*/ 260 w 1681"/>
                <a:gd name="T45" fmla="*/ 1390 h 1390"/>
                <a:gd name="T46" fmla="*/ 117 w 1681"/>
                <a:gd name="T47" fmla="*/ 1390 h 1390"/>
                <a:gd name="T48" fmla="*/ 14 w 1681"/>
                <a:gd name="T49" fmla="*/ 1347 h 1390"/>
                <a:gd name="T50" fmla="*/ 1 w 1681"/>
                <a:gd name="T51" fmla="*/ 1247 h 1390"/>
                <a:gd name="T52" fmla="*/ 1 w 1681"/>
                <a:gd name="T53" fmla="*/ 1067 h 1390"/>
                <a:gd name="T54" fmla="*/ 1 w 1681"/>
                <a:gd name="T55" fmla="*/ 748 h 1390"/>
                <a:gd name="T56" fmla="*/ 0 w 1681"/>
                <a:gd name="T57" fmla="*/ 464 h 1390"/>
                <a:gd name="T58" fmla="*/ 1 w 1681"/>
                <a:gd name="T59" fmla="*/ 344 h 1390"/>
                <a:gd name="T60" fmla="*/ 50 w 1681"/>
                <a:gd name="T61" fmla="*/ 260 h 1390"/>
                <a:gd name="T62" fmla="*/ 156 w 1681"/>
                <a:gd name="T63" fmla="*/ 250 h 1390"/>
                <a:gd name="T64" fmla="*/ 430 w 1681"/>
                <a:gd name="T65" fmla="*/ 249 h 1390"/>
                <a:gd name="T66" fmla="*/ 1247 w 1681"/>
                <a:gd name="T67" fmla="*/ 94 h 1390"/>
                <a:gd name="T68" fmla="*/ 1393 w 1681"/>
                <a:gd name="T69" fmla="*/ 130 h 1390"/>
                <a:gd name="T70" fmla="*/ 1491 w 1681"/>
                <a:gd name="T71" fmla="*/ 129 h 1390"/>
                <a:gd name="T72" fmla="*/ 1547 w 1681"/>
                <a:gd name="T73" fmla="*/ 99 h 1390"/>
                <a:gd name="T74" fmla="*/ 1568 w 1681"/>
                <a:gd name="T75" fmla="*/ 43 h 1390"/>
                <a:gd name="T76" fmla="*/ 1542 w 1681"/>
                <a:gd name="T77" fmla="*/ 69 h 1390"/>
                <a:gd name="T78" fmla="*/ 1648 w 1681"/>
                <a:gd name="T79" fmla="*/ 18 h 1390"/>
                <a:gd name="T80" fmla="*/ 1681 w 1681"/>
                <a:gd name="T81" fmla="*/ 119 h 1390"/>
                <a:gd name="T82" fmla="*/ 1672 w 1681"/>
                <a:gd name="T83" fmla="*/ 202 h 1390"/>
                <a:gd name="T84" fmla="*/ 1597 w 1681"/>
                <a:gd name="T85" fmla="*/ 177 h 1390"/>
                <a:gd name="T86" fmla="*/ 1387 w 1681"/>
                <a:gd name="T87" fmla="*/ 176 h 1390"/>
                <a:gd name="T88" fmla="*/ 995 w 1681"/>
                <a:gd name="T89" fmla="*/ 175 h 1390"/>
                <a:gd name="T90" fmla="*/ 556 w 1681"/>
                <a:gd name="T91" fmla="*/ 173 h 1390"/>
                <a:gd name="T92" fmla="*/ 207 w 1681"/>
                <a:gd name="T93" fmla="*/ 170 h 1390"/>
                <a:gd name="T94" fmla="*/ 68 w 1681"/>
                <a:gd name="T95" fmla="*/ 170 h 1390"/>
                <a:gd name="T96" fmla="*/ 5 w 1681"/>
                <a:gd name="T97" fmla="*/ 143 h 1390"/>
                <a:gd name="T98" fmla="*/ 41 w 1681"/>
                <a:gd name="T99" fmla="*/ 20 h 1390"/>
                <a:gd name="T100" fmla="*/ 150 w 1681"/>
                <a:gd name="T101" fmla="*/ 1 h 1390"/>
                <a:gd name="T102" fmla="*/ 413 w 1681"/>
                <a:gd name="T103" fmla="*/ 1 h 1390"/>
                <a:gd name="T104" fmla="*/ 851 w 1681"/>
                <a:gd name="T105" fmla="*/ 1 h 1390"/>
                <a:gd name="T106" fmla="*/ 1309 w 1681"/>
                <a:gd name="T107" fmla="*/ 1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1" h="1390">
                  <a:moveTo>
                    <a:pt x="84" y="335"/>
                  </a:moveTo>
                  <a:lnTo>
                    <a:pt x="84" y="340"/>
                  </a:lnTo>
                  <a:lnTo>
                    <a:pt x="84" y="353"/>
                  </a:lnTo>
                  <a:lnTo>
                    <a:pt x="84" y="374"/>
                  </a:lnTo>
                  <a:lnTo>
                    <a:pt x="84" y="402"/>
                  </a:lnTo>
                  <a:lnTo>
                    <a:pt x="84" y="436"/>
                  </a:lnTo>
                  <a:lnTo>
                    <a:pt x="84" y="475"/>
                  </a:lnTo>
                  <a:lnTo>
                    <a:pt x="84" y="521"/>
                  </a:lnTo>
                  <a:lnTo>
                    <a:pt x="84" y="570"/>
                  </a:lnTo>
                  <a:lnTo>
                    <a:pt x="84" y="621"/>
                  </a:lnTo>
                  <a:lnTo>
                    <a:pt x="84" y="676"/>
                  </a:lnTo>
                  <a:lnTo>
                    <a:pt x="84" y="733"/>
                  </a:lnTo>
                  <a:lnTo>
                    <a:pt x="84" y="790"/>
                  </a:lnTo>
                  <a:lnTo>
                    <a:pt x="84" y="849"/>
                  </a:lnTo>
                  <a:lnTo>
                    <a:pt x="84" y="906"/>
                  </a:lnTo>
                  <a:lnTo>
                    <a:pt x="84" y="963"/>
                  </a:lnTo>
                  <a:lnTo>
                    <a:pt x="84" y="1018"/>
                  </a:lnTo>
                  <a:lnTo>
                    <a:pt x="84" y="1069"/>
                  </a:lnTo>
                  <a:lnTo>
                    <a:pt x="84" y="1118"/>
                  </a:lnTo>
                  <a:lnTo>
                    <a:pt x="84" y="1163"/>
                  </a:lnTo>
                  <a:lnTo>
                    <a:pt x="84" y="1203"/>
                  </a:lnTo>
                  <a:lnTo>
                    <a:pt x="84" y="1237"/>
                  </a:lnTo>
                  <a:lnTo>
                    <a:pt x="84" y="1265"/>
                  </a:lnTo>
                  <a:lnTo>
                    <a:pt x="84" y="1285"/>
                  </a:lnTo>
                  <a:lnTo>
                    <a:pt x="83" y="1298"/>
                  </a:lnTo>
                  <a:lnTo>
                    <a:pt x="83" y="1303"/>
                  </a:lnTo>
                  <a:lnTo>
                    <a:pt x="88" y="1303"/>
                  </a:lnTo>
                  <a:lnTo>
                    <a:pt x="101" y="1303"/>
                  </a:lnTo>
                  <a:lnTo>
                    <a:pt x="123" y="1303"/>
                  </a:lnTo>
                  <a:lnTo>
                    <a:pt x="152" y="1303"/>
                  </a:lnTo>
                  <a:lnTo>
                    <a:pt x="188" y="1303"/>
                  </a:lnTo>
                  <a:lnTo>
                    <a:pt x="231" y="1302"/>
                  </a:lnTo>
                  <a:lnTo>
                    <a:pt x="279" y="1302"/>
                  </a:lnTo>
                  <a:lnTo>
                    <a:pt x="332" y="1302"/>
                  </a:lnTo>
                  <a:lnTo>
                    <a:pt x="391" y="1302"/>
                  </a:lnTo>
                  <a:lnTo>
                    <a:pt x="453" y="1302"/>
                  </a:lnTo>
                  <a:lnTo>
                    <a:pt x="517" y="1302"/>
                  </a:lnTo>
                  <a:lnTo>
                    <a:pt x="585" y="1302"/>
                  </a:lnTo>
                  <a:lnTo>
                    <a:pt x="655" y="1302"/>
                  </a:lnTo>
                  <a:lnTo>
                    <a:pt x="727" y="1302"/>
                  </a:lnTo>
                  <a:lnTo>
                    <a:pt x="800" y="1302"/>
                  </a:lnTo>
                  <a:lnTo>
                    <a:pt x="872" y="1302"/>
                  </a:lnTo>
                  <a:lnTo>
                    <a:pt x="945" y="1302"/>
                  </a:lnTo>
                  <a:lnTo>
                    <a:pt x="1017" y="1300"/>
                  </a:lnTo>
                  <a:lnTo>
                    <a:pt x="1087" y="1300"/>
                  </a:lnTo>
                  <a:lnTo>
                    <a:pt x="1155" y="1300"/>
                  </a:lnTo>
                  <a:lnTo>
                    <a:pt x="1220" y="1300"/>
                  </a:lnTo>
                  <a:lnTo>
                    <a:pt x="1282" y="1300"/>
                  </a:lnTo>
                  <a:lnTo>
                    <a:pt x="1341" y="1300"/>
                  </a:lnTo>
                  <a:lnTo>
                    <a:pt x="1394" y="1300"/>
                  </a:lnTo>
                  <a:lnTo>
                    <a:pt x="1442" y="1300"/>
                  </a:lnTo>
                  <a:lnTo>
                    <a:pt x="1485" y="1300"/>
                  </a:lnTo>
                  <a:lnTo>
                    <a:pt x="1521" y="1300"/>
                  </a:lnTo>
                  <a:lnTo>
                    <a:pt x="1551" y="1300"/>
                  </a:lnTo>
                  <a:lnTo>
                    <a:pt x="1572" y="1300"/>
                  </a:lnTo>
                  <a:lnTo>
                    <a:pt x="1585" y="1300"/>
                  </a:lnTo>
                  <a:lnTo>
                    <a:pt x="1590" y="1300"/>
                  </a:lnTo>
                  <a:lnTo>
                    <a:pt x="1596" y="341"/>
                  </a:lnTo>
                  <a:lnTo>
                    <a:pt x="84" y="335"/>
                  </a:lnTo>
                  <a:close/>
                  <a:moveTo>
                    <a:pt x="779" y="249"/>
                  </a:moveTo>
                  <a:lnTo>
                    <a:pt x="854" y="249"/>
                  </a:lnTo>
                  <a:lnTo>
                    <a:pt x="931" y="249"/>
                  </a:lnTo>
                  <a:lnTo>
                    <a:pt x="1006" y="249"/>
                  </a:lnTo>
                  <a:lnTo>
                    <a:pt x="1080" y="249"/>
                  </a:lnTo>
                  <a:lnTo>
                    <a:pt x="1152" y="249"/>
                  </a:lnTo>
                  <a:lnTo>
                    <a:pt x="1223" y="249"/>
                  </a:lnTo>
                  <a:lnTo>
                    <a:pt x="1290" y="250"/>
                  </a:lnTo>
                  <a:lnTo>
                    <a:pt x="1353" y="250"/>
                  </a:lnTo>
                  <a:lnTo>
                    <a:pt x="1412" y="250"/>
                  </a:lnTo>
                  <a:lnTo>
                    <a:pt x="1467" y="250"/>
                  </a:lnTo>
                  <a:lnTo>
                    <a:pt x="1516" y="250"/>
                  </a:lnTo>
                  <a:lnTo>
                    <a:pt x="1559" y="250"/>
                  </a:lnTo>
                  <a:lnTo>
                    <a:pt x="1595" y="250"/>
                  </a:lnTo>
                  <a:lnTo>
                    <a:pt x="1616" y="253"/>
                  </a:lnTo>
                  <a:lnTo>
                    <a:pt x="1634" y="259"/>
                  </a:lnTo>
                  <a:lnTo>
                    <a:pt x="1648" y="268"/>
                  </a:lnTo>
                  <a:lnTo>
                    <a:pt x="1660" y="279"/>
                  </a:lnTo>
                  <a:lnTo>
                    <a:pt x="1669" y="293"/>
                  </a:lnTo>
                  <a:lnTo>
                    <a:pt x="1675" y="309"/>
                  </a:lnTo>
                  <a:lnTo>
                    <a:pt x="1678" y="324"/>
                  </a:lnTo>
                  <a:lnTo>
                    <a:pt x="1681" y="342"/>
                  </a:lnTo>
                  <a:lnTo>
                    <a:pt x="1681" y="359"/>
                  </a:lnTo>
                  <a:lnTo>
                    <a:pt x="1681" y="375"/>
                  </a:lnTo>
                  <a:lnTo>
                    <a:pt x="1681" y="399"/>
                  </a:lnTo>
                  <a:lnTo>
                    <a:pt x="1681" y="431"/>
                  </a:lnTo>
                  <a:lnTo>
                    <a:pt x="1681" y="468"/>
                  </a:lnTo>
                  <a:lnTo>
                    <a:pt x="1679" y="511"/>
                  </a:lnTo>
                  <a:lnTo>
                    <a:pt x="1679" y="559"/>
                  </a:lnTo>
                  <a:lnTo>
                    <a:pt x="1679" y="610"/>
                  </a:lnTo>
                  <a:lnTo>
                    <a:pt x="1679" y="665"/>
                  </a:lnTo>
                  <a:lnTo>
                    <a:pt x="1679" y="721"/>
                  </a:lnTo>
                  <a:lnTo>
                    <a:pt x="1678" y="779"/>
                  </a:lnTo>
                  <a:lnTo>
                    <a:pt x="1678" y="838"/>
                  </a:lnTo>
                  <a:lnTo>
                    <a:pt x="1678" y="895"/>
                  </a:lnTo>
                  <a:lnTo>
                    <a:pt x="1678" y="952"/>
                  </a:lnTo>
                  <a:lnTo>
                    <a:pt x="1678" y="1007"/>
                  </a:lnTo>
                  <a:lnTo>
                    <a:pt x="1677" y="1060"/>
                  </a:lnTo>
                  <a:lnTo>
                    <a:pt x="1677" y="1109"/>
                  </a:lnTo>
                  <a:lnTo>
                    <a:pt x="1677" y="1153"/>
                  </a:lnTo>
                  <a:lnTo>
                    <a:pt x="1677" y="1192"/>
                  </a:lnTo>
                  <a:lnTo>
                    <a:pt x="1677" y="1225"/>
                  </a:lnTo>
                  <a:lnTo>
                    <a:pt x="1677" y="1252"/>
                  </a:lnTo>
                  <a:lnTo>
                    <a:pt x="1676" y="1271"/>
                  </a:lnTo>
                  <a:lnTo>
                    <a:pt x="1676" y="1281"/>
                  </a:lnTo>
                  <a:lnTo>
                    <a:pt x="1676" y="1302"/>
                  </a:lnTo>
                  <a:lnTo>
                    <a:pt x="1673" y="1321"/>
                  </a:lnTo>
                  <a:lnTo>
                    <a:pt x="1669" y="1340"/>
                  </a:lnTo>
                  <a:lnTo>
                    <a:pt x="1659" y="1355"/>
                  </a:lnTo>
                  <a:lnTo>
                    <a:pt x="1645" y="1371"/>
                  </a:lnTo>
                  <a:lnTo>
                    <a:pt x="1627" y="1382"/>
                  </a:lnTo>
                  <a:lnTo>
                    <a:pt x="1608" y="1386"/>
                  </a:lnTo>
                  <a:lnTo>
                    <a:pt x="1588" y="1390"/>
                  </a:lnTo>
                  <a:lnTo>
                    <a:pt x="1568" y="1390"/>
                  </a:lnTo>
                  <a:lnTo>
                    <a:pt x="1547" y="1389"/>
                  </a:lnTo>
                  <a:lnTo>
                    <a:pt x="1537" y="1389"/>
                  </a:lnTo>
                  <a:lnTo>
                    <a:pt x="1520" y="1389"/>
                  </a:lnTo>
                  <a:lnTo>
                    <a:pt x="1495" y="1389"/>
                  </a:lnTo>
                  <a:lnTo>
                    <a:pt x="1461" y="1389"/>
                  </a:lnTo>
                  <a:lnTo>
                    <a:pt x="1422" y="1389"/>
                  </a:lnTo>
                  <a:lnTo>
                    <a:pt x="1377" y="1389"/>
                  </a:lnTo>
                  <a:lnTo>
                    <a:pt x="1326" y="1389"/>
                  </a:lnTo>
                  <a:lnTo>
                    <a:pt x="1270" y="1389"/>
                  </a:lnTo>
                  <a:lnTo>
                    <a:pt x="1212" y="1389"/>
                  </a:lnTo>
                  <a:lnTo>
                    <a:pt x="1149" y="1389"/>
                  </a:lnTo>
                  <a:lnTo>
                    <a:pt x="1083" y="1389"/>
                  </a:lnTo>
                  <a:lnTo>
                    <a:pt x="1015" y="1389"/>
                  </a:lnTo>
                  <a:lnTo>
                    <a:pt x="946" y="1390"/>
                  </a:lnTo>
                  <a:lnTo>
                    <a:pt x="876" y="1390"/>
                  </a:lnTo>
                  <a:lnTo>
                    <a:pt x="806" y="1390"/>
                  </a:lnTo>
                  <a:lnTo>
                    <a:pt x="735" y="1390"/>
                  </a:lnTo>
                  <a:lnTo>
                    <a:pt x="666" y="1390"/>
                  </a:lnTo>
                  <a:lnTo>
                    <a:pt x="598" y="1390"/>
                  </a:lnTo>
                  <a:lnTo>
                    <a:pt x="533" y="1390"/>
                  </a:lnTo>
                  <a:lnTo>
                    <a:pt x="471" y="1390"/>
                  </a:lnTo>
                  <a:lnTo>
                    <a:pt x="411" y="1390"/>
                  </a:lnTo>
                  <a:lnTo>
                    <a:pt x="356" y="1390"/>
                  </a:lnTo>
                  <a:lnTo>
                    <a:pt x="305" y="1390"/>
                  </a:lnTo>
                  <a:lnTo>
                    <a:pt x="260" y="1390"/>
                  </a:lnTo>
                  <a:lnTo>
                    <a:pt x="221" y="1390"/>
                  </a:lnTo>
                  <a:lnTo>
                    <a:pt x="188" y="1390"/>
                  </a:lnTo>
                  <a:lnTo>
                    <a:pt x="163" y="1390"/>
                  </a:lnTo>
                  <a:lnTo>
                    <a:pt x="145" y="1390"/>
                  </a:lnTo>
                  <a:lnTo>
                    <a:pt x="137" y="1390"/>
                  </a:lnTo>
                  <a:lnTo>
                    <a:pt x="117" y="1390"/>
                  </a:lnTo>
                  <a:lnTo>
                    <a:pt x="96" y="1390"/>
                  </a:lnTo>
                  <a:lnTo>
                    <a:pt x="76" y="1389"/>
                  </a:lnTo>
                  <a:lnTo>
                    <a:pt x="56" y="1385"/>
                  </a:lnTo>
                  <a:lnTo>
                    <a:pt x="39" y="1376"/>
                  </a:lnTo>
                  <a:lnTo>
                    <a:pt x="25" y="1362"/>
                  </a:lnTo>
                  <a:lnTo>
                    <a:pt x="14" y="1347"/>
                  </a:lnTo>
                  <a:lnTo>
                    <a:pt x="8" y="1329"/>
                  </a:lnTo>
                  <a:lnTo>
                    <a:pt x="3" y="1310"/>
                  </a:lnTo>
                  <a:lnTo>
                    <a:pt x="2" y="1290"/>
                  </a:lnTo>
                  <a:lnTo>
                    <a:pt x="1" y="1269"/>
                  </a:lnTo>
                  <a:lnTo>
                    <a:pt x="1" y="1252"/>
                  </a:lnTo>
                  <a:lnTo>
                    <a:pt x="1" y="1247"/>
                  </a:lnTo>
                  <a:lnTo>
                    <a:pt x="1" y="1234"/>
                  </a:lnTo>
                  <a:lnTo>
                    <a:pt x="1" y="1213"/>
                  </a:lnTo>
                  <a:lnTo>
                    <a:pt x="1" y="1185"/>
                  </a:lnTo>
                  <a:lnTo>
                    <a:pt x="1" y="1150"/>
                  </a:lnTo>
                  <a:lnTo>
                    <a:pt x="1" y="1111"/>
                  </a:lnTo>
                  <a:lnTo>
                    <a:pt x="1" y="1067"/>
                  </a:lnTo>
                  <a:lnTo>
                    <a:pt x="1" y="1018"/>
                  </a:lnTo>
                  <a:lnTo>
                    <a:pt x="1" y="968"/>
                  </a:lnTo>
                  <a:lnTo>
                    <a:pt x="1" y="914"/>
                  </a:lnTo>
                  <a:lnTo>
                    <a:pt x="1" y="859"/>
                  </a:lnTo>
                  <a:lnTo>
                    <a:pt x="1" y="803"/>
                  </a:lnTo>
                  <a:lnTo>
                    <a:pt x="1" y="748"/>
                  </a:lnTo>
                  <a:lnTo>
                    <a:pt x="0" y="694"/>
                  </a:lnTo>
                  <a:lnTo>
                    <a:pt x="0" y="641"/>
                  </a:lnTo>
                  <a:lnTo>
                    <a:pt x="0" y="591"/>
                  </a:lnTo>
                  <a:lnTo>
                    <a:pt x="0" y="545"/>
                  </a:lnTo>
                  <a:lnTo>
                    <a:pt x="0" y="502"/>
                  </a:lnTo>
                  <a:lnTo>
                    <a:pt x="0" y="464"/>
                  </a:lnTo>
                  <a:lnTo>
                    <a:pt x="0" y="433"/>
                  </a:lnTo>
                  <a:lnTo>
                    <a:pt x="0" y="406"/>
                  </a:lnTo>
                  <a:lnTo>
                    <a:pt x="0" y="388"/>
                  </a:lnTo>
                  <a:lnTo>
                    <a:pt x="1" y="379"/>
                  </a:lnTo>
                  <a:lnTo>
                    <a:pt x="1" y="361"/>
                  </a:lnTo>
                  <a:lnTo>
                    <a:pt x="1" y="344"/>
                  </a:lnTo>
                  <a:lnTo>
                    <a:pt x="2" y="326"/>
                  </a:lnTo>
                  <a:lnTo>
                    <a:pt x="5" y="310"/>
                  </a:lnTo>
                  <a:lnTo>
                    <a:pt x="10" y="294"/>
                  </a:lnTo>
                  <a:lnTo>
                    <a:pt x="20" y="280"/>
                  </a:lnTo>
                  <a:lnTo>
                    <a:pt x="34" y="268"/>
                  </a:lnTo>
                  <a:lnTo>
                    <a:pt x="50" y="260"/>
                  </a:lnTo>
                  <a:lnTo>
                    <a:pt x="68" y="255"/>
                  </a:lnTo>
                  <a:lnTo>
                    <a:pt x="86" y="251"/>
                  </a:lnTo>
                  <a:lnTo>
                    <a:pt x="105" y="250"/>
                  </a:lnTo>
                  <a:lnTo>
                    <a:pt x="123" y="250"/>
                  </a:lnTo>
                  <a:lnTo>
                    <a:pt x="134" y="250"/>
                  </a:lnTo>
                  <a:lnTo>
                    <a:pt x="156" y="250"/>
                  </a:lnTo>
                  <a:lnTo>
                    <a:pt x="186" y="250"/>
                  </a:lnTo>
                  <a:lnTo>
                    <a:pt x="221" y="250"/>
                  </a:lnTo>
                  <a:lnTo>
                    <a:pt x="266" y="249"/>
                  </a:lnTo>
                  <a:lnTo>
                    <a:pt x="316" y="249"/>
                  </a:lnTo>
                  <a:lnTo>
                    <a:pt x="370" y="249"/>
                  </a:lnTo>
                  <a:lnTo>
                    <a:pt x="430" y="249"/>
                  </a:lnTo>
                  <a:lnTo>
                    <a:pt x="494" y="249"/>
                  </a:lnTo>
                  <a:lnTo>
                    <a:pt x="562" y="249"/>
                  </a:lnTo>
                  <a:lnTo>
                    <a:pt x="633" y="249"/>
                  </a:lnTo>
                  <a:lnTo>
                    <a:pt x="705" y="249"/>
                  </a:lnTo>
                  <a:lnTo>
                    <a:pt x="779" y="249"/>
                  </a:lnTo>
                  <a:close/>
                  <a:moveTo>
                    <a:pt x="1247" y="94"/>
                  </a:moveTo>
                  <a:lnTo>
                    <a:pt x="1247" y="125"/>
                  </a:lnTo>
                  <a:lnTo>
                    <a:pt x="1355" y="125"/>
                  </a:lnTo>
                  <a:lnTo>
                    <a:pt x="1355" y="94"/>
                  </a:lnTo>
                  <a:lnTo>
                    <a:pt x="1247" y="94"/>
                  </a:lnTo>
                  <a:close/>
                  <a:moveTo>
                    <a:pt x="1393" y="62"/>
                  </a:moveTo>
                  <a:lnTo>
                    <a:pt x="1393" y="130"/>
                  </a:lnTo>
                  <a:lnTo>
                    <a:pt x="1472" y="130"/>
                  </a:lnTo>
                  <a:lnTo>
                    <a:pt x="1472" y="62"/>
                  </a:lnTo>
                  <a:lnTo>
                    <a:pt x="1393" y="62"/>
                  </a:lnTo>
                  <a:close/>
                  <a:moveTo>
                    <a:pt x="1495" y="43"/>
                  </a:moveTo>
                  <a:lnTo>
                    <a:pt x="1528" y="86"/>
                  </a:lnTo>
                  <a:lnTo>
                    <a:pt x="1491" y="129"/>
                  </a:lnTo>
                  <a:lnTo>
                    <a:pt x="1522" y="129"/>
                  </a:lnTo>
                  <a:lnTo>
                    <a:pt x="1542" y="101"/>
                  </a:lnTo>
                  <a:lnTo>
                    <a:pt x="1545" y="98"/>
                  </a:lnTo>
                  <a:lnTo>
                    <a:pt x="1545" y="95"/>
                  </a:lnTo>
                  <a:lnTo>
                    <a:pt x="1546" y="95"/>
                  </a:lnTo>
                  <a:lnTo>
                    <a:pt x="1547" y="99"/>
                  </a:lnTo>
                  <a:lnTo>
                    <a:pt x="1548" y="101"/>
                  </a:lnTo>
                  <a:lnTo>
                    <a:pt x="1567" y="129"/>
                  </a:lnTo>
                  <a:lnTo>
                    <a:pt x="1598" y="129"/>
                  </a:lnTo>
                  <a:lnTo>
                    <a:pt x="1563" y="86"/>
                  </a:lnTo>
                  <a:lnTo>
                    <a:pt x="1598" y="43"/>
                  </a:lnTo>
                  <a:lnTo>
                    <a:pt x="1568" y="43"/>
                  </a:lnTo>
                  <a:lnTo>
                    <a:pt x="1551" y="69"/>
                  </a:lnTo>
                  <a:lnTo>
                    <a:pt x="1548" y="73"/>
                  </a:lnTo>
                  <a:lnTo>
                    <a:pt x="1547" y="76"/>
                  </a:lnTo>
                  <a:lnTo>
                    <a:pt x="1546" y="76"/>
                  </a:lnTo>
                  <a:lnTo>
                    <a:pt x="1545" y="73"/>
                  </a:lnTo>
                  <a:lnTo>
                    <a:pt x="1542" y="69"/>
                  </a:lnTo>
                  <a:lnTo>
                    <a:pt x="1526" y="43"/>
                  </a:lnTo>
                  <a:lnTo>
                    <a:pt x="1495" y="43"/>
                  </a:lnTo>
                  <a:close/>
                  <a:moveTo>
                    <a:pt x="1595" y="0"/>
                  </a:moveTo>
                  <a:lnTo>
                    <a:pt x="1616" y="2"/>
                  </a:lnTo>
                  <a:lnTo>
                    <a:pt x="1634" y="8"/>
                  </a:lnTo>
                  <a:lnTo>
                    <a:pt x="1648" y="18"/>
                  </a:lnTo>
                  <a:lnTo>
                    <a:pt x="1659" y="30"/>
                  </a:lnTo>
                  <a:lnTo>
                    <a:pt x="1669" y="44"/>
                  </a:lnTo>
                  <a:lnTo>
                    <a:pt x="1673" y="62"/>
                  </a:lnTo>
                  <a:lnTo>
                    <a:pt x="1678" y="80"/>
                  </a:lnTo>
                  <a:lnTo>
                    <a:pt x="1681" y="99"/>
                  </a:lnTo>
                  <a:lnTo>
                    <a:pt x="1681" y="119"/>
                  </a:lnTo>
                  <a:lnTo>
                    <a:pt x="1681" y="138"/>
                  </a:lnTo>
                  <a:lnTo>
                    <a:pt x="1681" y="157"/>
                  </a:lnTo>
                  <a:lnTo>
                    <a:pt x="1679" y="176"/>
                  </a:lnTo>
                  <a:lnTo>
                    <a:pt x="1678" y="193"/>
                  </a:lnTo>
                  <a:lnTo>
                    <a:pt x="1678" y="207"/>
                  </a:lnTo>
                  <a:lnTo>
                    <a:pt x="1672" y="202"/>
                  </a:lnTo>
                  <a:lnTo>
                    <a:pt x="1664" y="197"/>
                  </a:lnTo>
                  <a:lnTo>
                    <a:pt x="1653" y="189"/>
                  </a:lnTo>
                  <a:lnTo>
                    <a:pt x="1640" y="183"/>
                  </a:lnTo>
                  <a:lnTo>
                    <a:pt x="1625" y="179"/>
                  </a:lnTo>
                  <a:lnTo>
                    <a:pt x="1605" y="177"/>
                  </a:lnTo>
                  <a:lnTo>
                    <a:pt x="1597" y="177"/>
                  </a:lnTo>
                  <a:lnTo>
                    <a:pt x="1582" y="177"/>
                  </a:lnTo>
                  <a:lnTo>
                    <a:pt x="1557" y="177"/>
                  </a:lnTo>
                  <a:lnTo>
                    <a:pt x="1523" y="177"/>
                  </a:lnTo>
                  <a:lnTo>
                    <a:pt x="1484" y="177"/>
                  </a:lnTo>
                  <a:lnTo>
                    <a:pt x="1439" y="176"/>
                  </a:lnTo>
                  <a:lnTo>
                    <a:pt x="1387" y="176"/>
                  </a:lnTo>
                  <a:lnTo>
                    <a:pt x="1331" y="176"/>
                  </a:lnTo>
                  <a:lnTo>
                    <a:pt x="1270" y="176"/>
                  </a:lnTo>
                  <a:lnTo>
                    <a:pt x="1205" y="175"/>
                  </a:lnTo>
                  <a:lnTo>
                    <a:pt x="1137" y="175"/>
                  </a:lnTo>
                  <a:lnTo>
                    <a:pt x="1067" y="175"/>
                  </a:lnTo>
                  <a:lnTo>
                    <a:pt x="995" y="175"/>
                  </a:lnTo>
                  <a:lnTo>
                    <a:pt x="921" y="174"/>
                  </a:lnTo>
                  <a:lnTo>
                    <a:pt x="847" y="174"/>
                  </a:lnTo>
                  <a:lnTo>
                    <a:pt x="772" y="174"/>
                  </a:lnTo>
                  <a:lnTo>
                    <a:pt x="699" y="173"/>
                  </a:lnTo>
                  <a:lnTo>
                    <a:pt x="627" y="173"/>
                  </a:lnTo>
                  <a:lnTo>
                    <a:pt x="556" y="173"/>
                  </a:lnTo>
                  <a:lnTo>
                    <a:pt x="488" y="173"/>
                  </a:lnTo>
                  <a:lnTo>
                    <a:pt x="423" y="172"/>
                  </a:lnTo>
                  <a:lnTo>
                    <a:pt x="362" y="172"/>
                  </a:lnTo>
                  <a:lnTo>
                    <a:pt x="305" y="172"/>
                  </a:lnTo>
                  <a:lnTo>
                    <a:pt x="254" y="172"/>
                  </a:lnTo>
                  <a:lnTo>
                    <a:pt x="207" y="170"/>
                  </a:lnTo>
                  <a:lnTo>
                    <a:pt x="168" y="170"/>
                  </a:lnTo>
                  <a:lnTo>
                    <a:pt x="134" y="170"/>
                  </a:lnTo>
                  <a:lnTo>
                    <a:pt x="109" y="170"/>
                  </a:lnTo>
                  <a:lnTo>
                    <a:pt x="93" y="170"/>
                  </a:lnTo>
                  <a:lnTo>
                    <a:pt x="84" y="170"/>
                  </a:lnTo>
                  <a:lnTo>
                    <a:pt x="68" y="170"/>
                  </a:lnTo>
                  <a:lnTo>
                    <a:pt x="50" y="172"/>
                  </a:lnTo>
                  <a:lnTo>
                    <a:pt x="34" y="175"/>
                  </a:lnTo>
                  <a:lnTo>
                    <a:pt x="19" y="182"/>
                  </a:lnTo>
                  <a:lnTo>
                    <a:pt x="7" y="194"/>
                  </a:lnTo>
                  <a:lnTo>
                    <a:pt x="6" y="168"/>
                  </a:lnTo>
                  <a:lnTo>
                    <a:pt x="5" y="143"/>
                  </a:lnTo>
                  <a:lnTo>
                    <a:pt x="5" y="118"/>
                  </a:lnTo>
                  <a:lnTo>
                    <a:pt x="6" y="93"/>
                  </a:lnTo>
                  <a:lnTo>
                    <a:pt x="10" y="67"/>
                  </a:lnTo>
                  <a:lnTo>
                    <a:pt x="19" y="46"/>
                  </a:lnTo>
                  <a:lnTo>
                    <a:pt x="28" y="32"/>
                  </a:lnTo>
                  <a:lnTo>
                    <a:pt x="41" y="20"/>
                  </a:lnTo>
                  <a:lnTo>
                    <a:pt x="57" y="12"/>
                  </a:lnTo>
                  <a:lnTo>
                    <a:pt x="75" y="7"/>
                  </a:lnTo>
                  <a:lnTo>
                    <a:pt x="93" y="3"/>
                  </a:lnTo>
                  <a:lnTo>
                    <a:pt x="112" y="1"/>
                  </a:lnTo>
                  <a:lnTo>
                    <a:pt x="131" y="1"/>
                  </a:lnTo>
                  <a:lnTo>
                    <a:pt x="150" y="1"/>
                  </a:lnTo>
                  <a:lnTo>
                    <a:pt x="176" y="1"/>
                  </a:lnTo>
                  <a:lnTo>
                    <a:pt x="210" y="1"/>
                  </a:lnTo>
                  <a:lnTo>
                    <a:pt x="250" y="1"/>
                  </a:lnTo>
                  <a:lnTo>
                    <a:pt x="299" y="1"/>
                  </a:lnTo>
                  <a:lnTo>
                    <a:pt x="354" y="1"/>
                  </a:lnTo>
                  <a:lnTo>
                    <a:pt x="413" y="1"/>
                  </a:lnTo>
                  <a:lnTo>
                    <a:pt x="479" y="1"/>
                  </a:lnTo>
                  <a:lnTo>
                    <a:pt x="548" y="1"/>
                  </a:lnTo>
                  <a:lnTo>
                    <a:pt x="620" y="1"/>
                  </a:lnTo>
                  <a:lnTo>
                    <a:pt x="696" y="1"/>
                  </a:lnTo>
                  <a:lnTo>
                    <a:pt x="772" y="1"/>
                  </a:lnTo>
                  <a:lnTo>
                    <a:pt x="851" y="1"/>
                  </a:lnTo>
                  <a:lnTo>
                    <a:pt x="930" y="1"/>
                  </a:lnTo>
                  <a:lnTo>
                    <a:pt x="1009" y="1"/>
                  </a:lnTo>
                  <a:lnTo>
                    <a:pt x="1087" y="1"/>
                  </a:lnTo>
                  <a:lnTo>
                    <a:pt x="1163" y="1"/>
                  </a:lnTo>
                  <a:lnTo>
                    <a:pt x="1237" y="1"/>
                  </a:lnTo>
                  <a:lnTo>
                    <a:pt x="1309" y="1"/>
                  </a:lnTo>
                  <a:lnTo>
                    <a:pt x="1377" y="1"/>
                  </a:lnTo>
                  <a:lnTo>
                    <a:pt x="1440" y="1"/>
                  </a:lnTo>
                  <a:lnTo>
                    <a:pt x="1497" y="0"/>
                  </a:lnTo>
                  <a:lnTo>
                    <a:pt x="1549" y="0"/>
                  </a:lnTo>
                  <a:lnTo>
                    <a:pt x="15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966"/>
            <p:cNvSpPr>
              <a:spLocks noEditPoints="1"/>
            </p:cNvSpPr>
            <p:nvPr/>
          </p:nvSpPr>
          <p:spPr bwMode="auto">
            <a:xfrm>
              <a:off x="5915" y="3068"/>
              <a:ext cx="1346" cy="1154"/>
            </a:xfrm>
            <a:custGeom>
              <a:avLst/>
              <a:gdLst>
                <a:gd name="T0" fmla="*/ 195 w 2693"/>
                <a:gd name="T1" fmla="*/ 155 h 2309"/>
                <a:gd name="T2" fmla="*/ 158 w 2693"/>
                <a:gd name="T3" fmla="*/ 217 h 2309"/>
                <a:gd name="T4" fmla="*/ 180 w 2693"/>
                <a:gd name="T5" fmla="*/ 1806 h 2309"/>
                <a:gd name="T6" fmla="*/ 233 w 2693"/>
                <a:gd name="T7" fmla="*/ 1825 h 2309"/>
                <a:gd name="T8" fmla="*/ 558 w 2693"/>
                <a:gd name="T9" fmla="*/ 1825 h 2309"/>
                <a:gd name="T10" fmla="*/ 1332 w 2693"/>
                <a:gd name="T11" fmla="*/ 1825 h 2309"/>
                <a:gd name="T12" fmla="*/ 1978 w 2693"/>
                <a:gd name="T13" fmla="*/ 1825 h 2309"/>
                <a:gd name="T14" fmla="*/ 2486 w 2693"/>
                <a:gd name="T15" fmla="*/ 1823 h 2309"/>
                <a:gd name="T16" fmla="*/ 2534 w 2693"/>
                <a:gd name="T17" fmla="*/ 1774 h 2309"/>
                <a:gd name="T18" fmla="*/ 2527 w 2693"/>
                <a:gd name="T19" fmla="*/ 180 h 2309"/>
                <a:gd name="T20" fmla="*/ 2467 w 2693"/>
                <a:gd name="T21" fmla="*/ 145 h 2309"/>
                <a:gd name="T22" fmla="*/ 2446 w 2693"/>
                <a:gd name="T23" fmla="*/ 145 h 2309"/>
                <a:gd name="T24" fmla="*/ 2090 w 2693"/>
                <a:gd name="T25" fmla="*/ 145 h 2309"/>
                <a:gd name="T26" fmla="*/ 1831 w 2693"/>
                <a:gd name="T27" fmla="*/ 145 h 2309"/>
                <a:gd name="T28" fmla="*/ 721 w 2693"/>
                <a:gd name="T29" fmla="*/ 145 h 2309"/>
                <a:gd name="T30" fmla="*/ 93 w 2693"/>
                <a:gd name="T31" fmla="*/ 0 h 2309"/>
                <a:gd name="T32" fmla="*/ 179 w 2693"/>
                <a:gd name="T33" fmla="*/ 0 h 2309"/>
                <a:gd name="T34" fmla="*/ 363 w 2693"/>
                <a:gd name="T35" fmla="*/ 0 h 2309"/>
                <a:gd name="T36" fmla="*/ 707 w 2693"/>
                <a:gd name="T37" fmla="*/ 0 h 2309"/>
                <a:gd name="T38" fmla="*/ 1379 w 2693"/>
                <a:gd name="T39" fmla="*/ 0 h 2309"/>
                <a:gd name="T40" fmla="*/ 2248 w 2693"/>
                <a:gd name="T41" fmla="*/ 0 h 2309"/>
                <a:gd name="T42" fmla="*/ 2650 w 2693"/>
                <a:gd name="T43" fmla="*/ 11 h 2309"/>
                <a:gd name="T44" fmla="*/ 2693 w 2693"/>
                <a:gd name="T45" fmla="*/ 82 h 2309"/>
                <a:gd name="T46" fmla="*/ 2693 w 2693"/>
                <a:gd name="T47" fmla="*/ 116 h 2309"/>
                <a:gd name="T48" fmla="*/ 2693 w 2693"/>
                <a:gd name="T49" fmla="*/ 801 h 2309"/>
                <a:gd name="T50" fmla="*/ 2693 w 2693"/>
                <a:gd name="T51" fmla="*/ 1888 h 2309"/>
                <a:gd name="T52" fmla="*/ 2650 w 2693"/>
                <a:gd name="T53" fmla="*/ 1963 h 2309"/>
                <a:gd name="T54" fmla="*/ 2465 w 2693"/>
                <a:gd name="T55" fmla="*/ 1975 h 2309"/>
                <a:gd name="T56" fmla="*/ 2233 w 2693"/>
                <a:gd name="T57" fmla="*/ 1975 h 2309"/>
                <a:gd name="T58" fmla="*/ 1829 w 2693"/>
                <a:gd name="T59" fmla="*/ 1988 h 2309"/>
                <a:gd name="T60" fmla="*/ 1837 w 2693"/>
                <a:gd name="T61" fmla="*/ 2060 h 2309"/>
                <a:gd name="T62" fmla="*/ 1863 w 2693"/>
                <a:gd name="T63" fmla="*/ 2122 h 2309"/>
                <a:gd name="T64" fmla="*/ 1938 w 2693"/>
                <a:gd name="T65" fmla="*/ 2152 h 2309"/>
                <a:gd name="T66" fmla="*/ 1989 w 2693"/>
                <a:gd name="T67" fmla="*/ 2155 h 2309"/>
                <a:gd name="T68" fmla="*/ 2043 w 2693"/>
                <a:gd name="T69" fmla="*/ 2197 h 2309"/>
                <a:gd name="T70" fmla="*/ 2046 w 2693"/>
                <a:gd name="T71" fmla="*/ 2223 h 2309"/>
                <a:gd name="T72" fmla="*/ 2034 w 2693"/>
                <a:gd name="T73" fmla="*/ 2284 h 2309"/>
                <a:gd name="T74" fmla="*/ 1989 w 2693"/>
                <a:gd name="T75" fmla="*/ 2309 h 2309"/>
                <a:gd name="T76" fmla="*/ 1978 w 2693"/>
                <a:gd name="T77" fmla="*/ 2309 h 2309"/>
                <a:gd name="T78" fmla="*/ 1637 w 2693"/>
                <a:gd name="T79" fmla="*/ 2309 h 2309"/>
                <a:gd name="T80" fmla="*/ 979 w 2693"/>
                <a:gd name="T81" fmla="*/ 2309 h 2309"/>
                <a:gd name="T82" fmla="*/ 705 w 2693"/>
                <a:gd name="T83" fmla="*/ 2297 h 2309"/>
                <a:gd name="T84" fmla="*/ 681 w 2693"/>
                <a:gd name="T85" fmla="*/ 2216 h 2309"/>
                <a:gd name="T86" fmla="*/ 720 w 2693"/>
                <a:gd name="T87" fmla="*/ 2159 h 2309"/>
                <a:gd name="T88" fmla="*/ 788 w 2693"/>
                <a:gd name="T89" fmla="*/ 2148 h 2309"/>
                <a:gd name="T90" fmla="*/ 863 w 2693"/>
                <a:gd name="T91" fmla="*/ 2133 h 2309"/>
                <a:gd name="T92" fmla="*/ 905 w 2693"/>
                <a:gd name="T93" fmla="*/ 2078 h 2309"/>
                <a:gd name="T94" fmla="*/ 917 w 2693"/>
                <a:gd name="T95" fmla="*/ 2003 h 2309"/>
                <a:gd name="T96" fmla="*/ 801 w 2693"/>
                <a:gd name="T97" fmla="*/ 1975 h 2309"/>
                <a:gd name="T98" fmla="*/ 586 w 2693"/>
                <a:gd name="T99" fmla="*/ 1975 h 2309"/>
                <a:gd name="T100" fmla="*/ 68 w 2693"/>
                <a:gd name="T101" fmla="*/ 1973 h 2309"/>
                <a:gd name="T102" fmla="*/ 4 w 2693"/>
                <a:gd name="T103" fmla="*/ 1912 h 2309"/>
                <a:gd name="T104" fmla="*/ 0 w 2693"/>
                <a:gd name="T105" fmla="*/ 1887 h 2309"/>
                <a:gd name="T106" fmla="*/ 0 w 2693"/>
                <a:gd name="T107" fmla="*/ 1873 h 2309"/>
                <a:gd name="T108" fmla="*/ 0 w 2693"/>
                <a:gd name="T109" fmla="*/ 1329 h 2309"/>
                <a:gd name="T110" fmla="*/ 0 w 2693"/>
                <a:gd name="T111" fmla="*/ 985 h 2309"/>
                <a:gd name="T112" fmla="*/ 0 w 2693"/>
                <a:gd name="T113" fmla="*/ 520 h 2309"/>
                <a:gd name="T114" fmla="*/ 4 w 2693"/>
                <a:gd name="T115" fmla="*/ 60 h 2309"/>
                <a:gd name="T116" fmla="*/ 68 w 2693"/>
                <a:gd name="T117" fmla="*/ 2 h 2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93" h="2309">
                  <a:moveTo>
                    <a:pt x="404" y="145"/>
                  </a:moveTo>
                  <a:lnTo>
                    <a:pt x="233" y="145"/>
                  </a:lnTo>
                  <a:lnTo>
                    <a:pt x="212" y="148"/>
                  </a:lnTo>
                  <a:lnTo>
                    <a:pt x="195" y="155"/>
                  </a:lnTo>
                  <a:lnTo>
                    <a:pt x="180" y="166"/>
                  </a:lnTo>
                  <a:lnTo>
                    <a:pt x="168" y="180"/>
                  </a:lnTo>
                  <a:lnTo>
                    <a:pt x="160" y="197"/>
                  </a:lnTo>
                  <a:lnTo>
                    <a:pt x="158" y="217"/>
                  </a:lnTo>
                  <a:lnTo>
                    <a:pt x="158" y="1755"/>
                  </a:lnTo>
                  <a:lnTo>
                    <a:pt x="160" y="1774"/>
                  </a:lnTo>
                  <a:lnTo>
                    <a:pt x="168" y="1792"/>
                  </a:lnTo>
                  <a:lnTo>
                    <a:pt x="180" y="1806"/>
                  </a:lnTo>
                  <a:lnTo>
                    <a:pt x="195" y="1817"/>
                  </a:lnTo>
                  <a:lnTo>
                    <a:pt x="212" y="1823"/>
                  </a:lnTo>
                  <a:lnTo>
                    <a:pt x="233" y="1825"/>
                  </a:lnTo>
                  <a:lnTo>
                    <a:pt x="233" y="1825"/>
                  </a:lnTo>
                  <a:lnTo>
                    <a:pt x="233" y="1825"/>
                  </a:lnTo>
                  <a:lnTo>
                    <a:pt x="234" y="1825"/>
                  </a:lnTo>
                  <a:lnTo>
                    <a:pt x="512" y="1825"/>
                  </a:lnTo>
                  <a:lnTo>
                    <a:pt x="558" y="1825"/>
                  </a:lnTo>
                  <a:lnTo>
                    <a:pt x="609" y="1825"/>
                  </a:lnTo>
                  <a:lnTo>
                    <a:pt x="1127" y="1825"/>
                  </a:lnTo>
                  <a:lnTo>
                    <a:pt x="1226" y="1825"/>
                  </a:lnTo>
                  <a:lnTo>
                    <a:pt x="1332" y="1825"/>
                  </a:lnTo>
                  <a:lnTo>
                    <a:pt x="1567" y="1825"/>
                  </a:lnTo>
                  <a:lnTo>
                    <a:pt x="1695" y="1825"/>
                  </a:lnTo>
                  <a:lnTo>
                    <a:pt x="1832" y="1825"/>
                  </a:lnTo>
                  <a:lnTo>
                    <a:pt x="1978" y="1825"/>
                  </a:lnTo>
                  <a:lnTo>
                    <a:pt x="2133" y="1825"/>
                  </a:lnTo>
                  <a:lnTo>
                    <a:pt x="2295" y="1825"/>
                  </a:lnTo>
                  <a:lnTo>
                    <a:pt x="2467" y="1825"/>
                  </a:lnTo>
                  <a:lnTo>
                    <a:pt x="2486" y="1823"/>
                  </a:lnTo>
                  <a:lnTo>
                    <a:pt x="2502" y="1817"/>
                  </a:lnTo>
                  <a:lnTo>
                    <a:pt x="2517" y="1806"/>
                  </a:lnTo>
                  <a:lnTo>
                    <a:pt x="2527" y="1792"/>
                  </a:lnTo>
                  <a:lnTo>
                    <a:pt x="2534" y="1774"/>
                  </a:lnTo>
                  <a:lnTo>
                    <a:pt x="2538" y="1755"/>
                  </a:lnTo>
                  <a:lnTo>
                    <a:pt x="2538" y="217"/>
                  </a:lnTo>
                  <a:lnTo>
                    <a:pt x="2534" y="197"/>
                  </a:lnTo>
                  <a:lnTo>
                    <a:pt x="2527" y="180"/>
                  </a:lnTo>
                  <a:lnTo>
                    <a:pt x="2517" y="166"/>
                  </a:lnTo>
                  <a:lnTo>
                    <a:pt x="2502" y="155"/>
                  </a:lnTo>
                  <a:lnTo>
                    <a:pt x="2486" y="148"/>
                  </a:lnTo>
                  <a:lnTo>
                    <a:pt x="2467" y="145"/>
                  </a:lnTo>
                  <a:lnTo>
                    <a:pt x="2467" y="145"/>
                  </a:lnTo>
                  <a:lnTo>
                    <a:pt x="2467" y="145"/>
                  </a:lnTo>
                  <a:lnTo>
                    <a:pt x="2453" y="145"/>
                  </a:lnTo>
                  <a:lnTo>
                    <a:pt x="2446" y="145"/>
                  </a:lnTo>
                  <a:lnTo>
                    <a:pt x="2437" y="145"/>
                  </a:lnTo>
                  <a:lnTo>
                    <a:pt x="2188" y="145"/>
                  </a:lnTo>
                  <a:lnTo>
                    <a:pt x="2141" y="145"/>
                  </a:lnTo>
                  <a:lnTo>
                    <a:pt x="2090" y="145"/>
                  </a:lnTo>
                  <a:lnTo>
                    <a:pt x="2034" y="145"/>
                  </a:lnTo>
                  <a:lnTo>
                    <a:pt x="1972" y="145"/>
                  </a:lnTo>
                  <a:lnTo>
                    <a:pt x="1904" y="145"/>
                  </a:lnTo>
                  <a:lnTo>
                    <a:pt x="1831" y="145"/>
                  </a:lnTo>
                  <a:lnTo>
                    <a:pt x="1133" y="145"/>
                  </a:lnTo>
                  <a:lnTo>
                    <a:pt x="1004" y="145"/>
                  </a:lnTo>
                  <a:lnTo>
                    <a:pt x="867" y="145"/>
                  </a:lnTo>
                  <a:lnTo>
                    <a:pt x="721" y="145"/>
                  </a:lnTo>
                  <a:lnTo>
                    <a:pt x="568" y="145"/>
                  </a:lnTo>
                  <a:lnTo>
                    <a:pt x="404" y="145"/>
                  </a:lnTo>
                  <a:close/>
                  <a:moveTo>
                    <a:pt x="93" y="0"/>
                  </a:moveTo>
                  <a:lnTo>
                    <a:pt x="93" y="0"/>
                  </a:lnTo>
                  <a:lnTo>
                    <a:pt x="106" y="0"/>
                  </a:lnTo>
                  <a:lnTo>
                    <a:pt x="113" y="0"/>
                  </a:lnTo>
                  <a:lnTo>
                    <a:pt x="122" y="0"/>
                  </a:lnTo>
                  <a:lnTo>
                    <a:pt x="179" y="0"/>
                  </a:lnTo>
                  <a:lnTo>
                    <a:pt x="200" y="0"/>
                  </a:lnTo>
                  <a:lnTo>
                    <a:pt x="226" y="0"/>
                  </a:lnTo>
                  <a:lnTo>
                    <a:pt x="322" y="0"/>
                  </a:lnTo>
                  <a:lnTo>
                    <a:pt x="363" y="0"/>
                  </a:lnTo>
                  <a:lnTo>
                    <a:pt x="407" y="0"/>
                  </a:lnTo>
                  <a:lnTo>
                    <a:pt x="457" y="0"/>
                  </a:lnTo>
                  <a:lnTo>
                    <a:pt x="512" y="0"/>
                  </a:lnTo>
                  <a:lnTo>
                    <a:pt x="707" y="0"/>
                  </a:lnTo>
                  <a:lnTo>
                    <a:pt x="783" y="0"/>
                  </a:lnTo>
                  <a:lnTo>
                    <a:pt x="866" y="0"/>
                  </a:lnTo>
                  <a:lnTo>
                    <a:pt x="1263" y="0"/>
                  </a:lnTo>
                  <a:lnTo>
                    <a:pt x="1379" y="0"/>
                  </a:lnTo>
                  <a:lnTo>
                    <a:pt x="1505" y="0"/>
                  </a:lnTo>
                  <a:lnTo>
                    <a:pt x="1637" y="0"/>
                  </a:lnTo>
                  <a:lnTo>
                    <a:pt x="1776" y="0"/>
                  </a:lnTo>
                  <a:lnTo>
                    <a:pt x="2248" y="0"/>
                  </a:lnTo>
                  <a:lnTo>
                    <a:pt x="2422" y="0"/>
                  </a:lnTo>
                  <a:lnTo>
                    <a:pt x="2606" y="0"/>
                  </a:lnTo>
                  <a:lnTo>
                    <a:pt x="2630" y="2"/>
                  </a:lnTo>
                  <a:lnTo>
                    <a:pt x="2650" y="11"/>
                  </a:lnTo>
                  <a:lnTo>
                    <a:pt x="2668" y="24"/>
                  </a:lnTo>
                  <a:lnTo>
                    <a:pt x="2681" y="41"/>
                  </a:lnTo>
                  <a:lnTo>
                    <a:pt x="2689" y="60"/>
                  </a:lnTo>
                  <a:lnTo>
                    <a:pt x="2693" y="82"/>
                  </a:lnTo>
                  <a:lnTo>
                    <a:pt x="2693" y="82"/>
                  </a:lnTo>
                  <a:lnTo>
                    <a:pt x="2693" y="83"/>
                  </a:lnTo>
                  <a:lnTo>
                    <a:pt x="2693" y="106"/>
                  </a:lnTo>
                  <a:lnTo>
                    <a:pt x="2693" y="116"/>
                  </a:lnTo>
                  <a:lnTo>
                    <a:pt x="2693" y="129"/>
                  </a:lnTo>
                  <a:lnTo>
                    <a:pt x="2693" y="641"/>
                  </a:lnTo>
                  <a:lnTo>
                    <a:pt x="2693" y="718"/>
                  </a:lnTo>
                  <a:lnTo>
                    <a:pt x="2693" y="801"/>
                  </a:lnTo>
                  <a:lnTo>
                    <a:pt x="2693" y="891"/>
                  </a:lnTo>
                  <a:lnTo>
                    <a:pt x="2693" y="1646"/>
                  </a:lnTo>
                  <a:lnTo>
                    <a:pt x="2693" y="1735"/>
                  </a:lnTo>
                  <a:lnTo>
                    <a:pt x="2693" y="1888"/>
                  </a:lnTo>
                  <a:lnTo>
                    <a:pt x="2689" y="1912"/>
                  </a:lnTo>
                  <a:lnTo>
                    <a:pt x="2681" y="1932"/>
                  </a:lnTo>
                  <a:lnTo>
                    <a:pt x="2668" y="1950"/>
                  </a:lnTo>
                  <a:lnTo>
                    <a:pt x="2650" y="1963"/>
                  </a:lnTo>
                  <a:lnTo>
                    <a:pt x="2630" y="1973"/>
                  </a:lnTo>
                  <a:lnTo>
                    <a:pt x="2606" y="1975"/>
                  </a:lnTo>
                  <a:lnTo>
                    <a:pt x="2496" y="1975"/>
                  </a:lnTo>
                  <a:lnTo>
                    <a:pt x="2465" y="1975"/>
                  </a:lnTo>
                  <a:lnTo>
                    <a:pt x="2390" y="1975"/>
                  </a:lnTo>
                  <a:lnTo>
                    <a:pt x="2344" y="1975"/>
                  </a:lnTo>
                  <a:lnTo>
                    <a:pt x="2293" y="1975"/>
                  </a:lnTo>
                  <a:lnTo>
                    <a:pt x="2233" y="1975"/>
                  </a:lnTo>
                  <a:lnTo>
                    <a:pt x="2167" y="1975"/>
                  </a:lnTo>
                  <a:lnTo>
                    <a:pt x="1828" y="1975"/>
                  </a:lnTo>
                  <a:lnTo>
                    <a:pt x="1828" y="1979"/>
                  </a:lnTo>
                  <a:lnTo>
                    <a:pt x="1829" y="1988"/>
                  </a:lnTo>
                  <a:lnTo>
                    <a:pt x="1830" y="2003"/>
                  </a:lnTo>
                  <a:lnTo>
                    <a:pt x="1831" y="2021"/>
                  </a:lnTo>
                  <a:lnTo>
                    <a:pt x="1834" y="2040"/>
                  </a:lnTo>
                  <a:lnTo>
                    <a:pt x="1837" y="2060"/>
                  </a:lnTo>
                  <a:lnTo>
                    <a:pt x="1841" y="2078"/>
                  </a:lnTo>
                  <a:lnTo>
                    <a:pt x="1844" y="2095"/>
                  </a:lnTo>
                  <a:lnTo>
                    <a:pt x="1849" y="2105"/>
                  </a:lnTo>
                  <a:lnTo>
                    <a:pt x="1863" y="2122"/>
                  </a:lnTo>
                  <a:lnTo>
                    <a:pt x="1880" y="2135"/>
                  </a:lnTo>
                  <a:lnTo>
                    <a:pt x="1899" y="2143"/>
                  </a:lnTo>
                  <a:lnTo>
                    <a:pt x="1919" y="2148"/>
                  </a:lnTo>
                  <a:lnTo>
                    <a:pt x="1938" y="2152"/>
                  </a:lnTo>
                  <a:lnTo>
                    <a:pt x="1956" y="2153"/>
                  </a:lnTo>
                  <a:lnTo>
                    <a:pt x="1972" y="2154"/>
                  </a:lnTo>
                  <a:lnTo>
                    <a:pt x="1983" y="2155"/>
                  </a:lnTo>
                  <a:lnTo>
                    <a:pt x="1989" y="2155"/>
                  </a:lnTo>
                  <a:lnTo>
                    <a:pt x="2006" y="2159"/>
                  </a:lnTo>
                  <a:lnTo>
                    <a:pt x="2022" y="2167"/>
                  </a:lnTo>
                  <a:lnTo>
                    <a:pt x="2034" y="2180"/>
                  </a:lnTo>
                  <a:lnTo>
                    <a:pt x="2043" y="2197"/>
                  </a:lnTo>
                  <a:lnTo>
                    <a:pt x="2046" y="2216"/>
                  </a:lnTo>
                  <a:lnTo>
                    <a:pt x="2046" y="2216"/>
                  </a:lnTo>
                  <a:lnTo>
                    <a:pt x="2046" y="2219"/>
                  </a:lnTo>
                  <a:lnTo>
                    <a:pt x="2046" y="2223"/>
                  </a:lnTo>
                  <a:lnTo>
                    <a:pt x="2046" y="2233"/>
                  </a:lnTo>
                  <a:lnTo>
                    <a:pt x="2046" y="2248"/>
                  </a:lnTo>
                  <a:lnTo>
                    <a:pt x="2043" y="2267"/>
                  </a:lnTo>
                  <a:lnTo>
                    <a:pt x="2034" y="2284"/>
                  </a:lnTo>
                  <a:lnTo>
                    <a:pt x="2022" y="2297"/>
                  </a:lnTo>
                  <a:lnTo>
                    <a:pt x="2006" y="2306"/>
                  </a:lnTo>
                  <a:lnTo>
                    <a:pt x="1989" y="2309"/>
                  </a:lnTo>
                  <a:lnTo>
                    <a:pt x="1989" y="2309"/>
                  </a:lnTo>
                  <a:lnTo>
                    <a:pt x="1989" y="2309"/>
                  </a:lnTo>
                  <a:lnTo>
                    <a:pt x="1986" y="2309"/>
                  </a:lnTo>
                  <a:lnTo>
                    <a:pt x="1983" y="2309"/>
                  </a:lnTo>
                  <a:lnTo>
                    <a:pt x="1978" y="2309"/>
                  </a:lnTo>
                  <a:lnTo>
                    <a:pt x="1779" y="2309"/>
                  </a:lnTo>
                  <a:lnTo>
                    <a:pt x="1737" y="2309"/>
                  </a:lnTo>
                  <a:lnTo>
                    <a:pt x="1689" y="2309"/>
                  </a:lnTo>
                  <a:lnTo>
                    <a:pt x="1637" y="2309"/>
                  </a:lnTo>
                  <a:lnTo>
                    <a:pt x="1443" y="2309"/>
                  </a:lnTo>
                  <a:lnTo>
                    <a:pt x="1365" y="2309"/>
                  </a:lnTo>
                  <a:lnTo>
                    <a:pt x="1279" y="2309"/>
                  </a:lnTo>
                  <a:lnTo>
                    <a:pt x="979" y="2309"/>
                  </a:lnTo>
                  <a:lnTo>
                    <a:pt x="863" y="2309"/>
                  </a:lnTo>
                  <a:lnTo>
                    <a:pt x="738" y="2309"/>
                  </a:lnTo>
                  <a:lnTo>
                    <a:pt x="720" y="2306"/>
                  </a:lnTo>
                  <a:lnTo>
                    <a:pt x="705" y="2297"/>
                  </a:lnTo>
                  <a:lnTo>
                    <a:pt x="692" y="2284"/>
                  </a:lnTo>
                  <a:lnTo>
                    <a:pt x="684" y="2267"/>
                  </a:lnTo>
                  <a:lnTo>
                    <a:pt x="681" y="2248"/>
                  </a:lnTo>
                  <a:lnTo>
                    <a:pt x="681" y="2216"/>
                  </a:lnTo>
                  <a:lnTo>
                    <a:pt x="684" y="2197"/>
                  </a:lnTo>
                  <a:lnTo>
                    <a:pt x="692" y="2180"/>
                  </a:lnTo>
                  <a:lnTo>
                    <a:pt x="705" y="2167"/>
                  </a:lnTo>
                  <a:lnTo>
                    <a:pt x="720" y="2159"/>
                  </a:lnTo>
                  <a:lnTo>
                    <a:pt x="738" y="2155"/>
                  </a:lnTo>
                  <a:lnTo>
                    <a:pt x="751" y="2155"/>
                  </a:lnTo>
                  <a:lnTo>
                    <a:pt x="769" y="2151"/>
                  </a:lnTo>
                  <a:lnTo>
                    <a:pt x="788" y="2148"/>
                  </a:lnTo>
                  <a:lnTo>
                    <a:pt x="807" y="2147"/>
                  </a:lnTo>
                  <a:lnTo>
                    <a:pt x="828" y="2143"/>
                  </a:lnTo>
                  <a:lnTo>
                    <a:pt x="845" y="2140"/>
                  </a:lnTo>
                  <a:lnTo>
                    <a:pt x="863" y="2133"/>
                  </a:lnTo>
                  <a:lnTo>
                    <a:pt x="880" y="2122"/>
                  </a:lnTo>
                  <a:lnTo>
                    <a:pt x="893" y="2105"/>
                  </a:lnTo>
                  <a:lnTo>
                    <a:pt x="899" y="2095"/>
                  </a:lnTo>
                  <a:lnTo>
                    <a:pt x="905" y="2078"/>
                  </a:lnTo>
                  <a:lnTo>
                    <a:pt x="909" y="2060"/>
                  </a:lnTo>
                  <a:lnTo>
                    <a:pt x="912" y="2040"/>
                  </a:lnTo>
                  <a:lnTo>
                    <a:pt x="915" y="2021"/>
                  </a:lnTo>
                  <a:lnTo>
                    <a:pt x="917" y="2003"/>
                  </a:lnTo>
                  <a:lnTo>
                    <a:pt x="918" y="1988"/>
                  </a:lnTo>
                  <a:lnTo>
                    <a:pt x="919" y="1979"/>
                  </a:lnTo>
                  <a:lnTo>
                    <a:pt x="919" y="1975"/>
                  </a:lnTo>
                  <a:lnTo>
                    <a:pt x="801" y="1975"/>
                  </a:lnTo>
                  <a:lnTo>
                    <a:pt x="770" y="1975"/>
                  </a:lnTo>
                  <a:lnTo>
                    <a:pt x="689" y="1975"/>
                  </a:lnTo>
                  <a:lnTo>
                    <a:pt x="640" y="1975"/>
                  </a:lnTo>
                  <a:lnTo>
                    <a:pt x="586" y="1975"/>
                  </a:lnTo>
                  <a:lnTo>
                    <a:pt x="524" y="1975"/>
                  </a:lnTo>
                  <a:lnTo>
                    <a:pt x="453" y="1975"/>
                  </a:lnTo>
                  <a:lnTo>
                    <a:pt x="93" y="1975"/>
                  </a:lnTo>
                  <a:lnTo>
                    <a:pt x="68" y="1973"/>
                  </a:lnTo>
                  <a:lnTo>
                    <a:pt x="47" y="1963"/>
                  </a:lnTo>
                  <a:lnTo>
                    <a:pt x="28" y="1950"/>
                  </a:lnTo>
                  <a:lnTo>
                    <a:pt x="13" y="1932"/>
                  </a:lnTo>
                  <a:lnTo>
                    <a:pt x="4" y="1912"/>
                  </a:lnTo>
                  <a:lnTo>
                    <a:pt x="0" y="1888"/>
                  </a:lnTo>
                  <a:lnTo>
                    <a:pt x="0" y="1888"/>
                  </a:lnTo>
                  <a:lnTo>
                    <a:pt x="0" y="1888"/>
                  </a:lnTo>
                  <a:lnTo>
                    <a:pt x="0" y="1887"/>
                  </a:lnTo>
                  <a:lnTo>
                    <a:pt x="0" y="1886"/>
                  </a:lnTo>
                  <a:lnTo>
                    <a:pt x="0" y="1882"/>
                  </a:lnTo>
                  <a:lnTo>
                    <a:pt x="0" y="1879"/>
                  </a:lnTo>
                  <a:lnTo>
                    <a:pt x="0" y="1873"/>
                  </a:lnTo>
                  <a:lnTo>
                    <a:pt x="0" y="1866"/>
                  </a:lnTo>
                  <a:lnTo>
                    <a:pt x="0" y="1855"/>
                  </a:lnTo>
                  <a:lnTo>
                    <a:pt x="0" y="1843"/>
                  </a:lnTo>
                  <a:lnTo>
                    <a:pt x="0" y="1329"/>
                  </a:lnTo>
                  <a:lnTo>
                    <a:pt x="0" y="1253"/>
                  </a:lnTo>
                  <a:lnTo>
                    <a:pt x="0" y="1171"/>
                  </a:lnTo>
                  <a:lnTo>
                    <a:pt x="0" y="1081"/>
                  </a:lnTo>
                  <a:lnTo>
                    <a:pt x="0" y="985"/>
                  </a:lnTo>
                  <a:lnTo>
                    <a:pt x="0" y="880"/>
                  </a:lnTo>
                  <a:lnTo>
                    <a:pt x="0" y="768"/>
                  </a:lnTo>
                  <a:lnTo>
                    <a:pt x="0" y="649"/>
                  </a:lnTo>
                  <a:lnTo>
                    <a:pt x="0" y="520"/>
                  </a:lnTo>
                  <a:lnTo>
                    <a:pt x="0" y="383"/>
                  </a:lnTo>
                  <a:lnTo>
                    <a:pt x="0" y="237"/>
                  </a:lnTo>
                  <a:lnTo>
                    <a:pt x="0" y="82"/>
                  </a:lnTo>
                  <a:lnTo>
                    <a:pt x="4" y="60"/>
                  </a:lnTo>
                  <a:lnTo>
                    <a:pt x="13" y="41"/>
                  </a:lnTo>
                  <a:lnTo>
                    <a:pt x="28" y="24"/>
                  </a:lnTo>
                  <a:lnTo>
                    <a:pt x="47" y="11"/>
                  </a:lnTo>
                  <a:lnTo>
                    <a:pt x="68" y="2"/>
                  </a:lnTo>
                  <a:lnTo>
                    <a:pt x="93" y="0"/>
                  </a:lnTo>
                  <a:lnTo>
                    <a:pt x="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2" name="TextBox 91"/>
          <p:cNvSpPr txBox="1"/>
          <p:nvPr/>
        </p:nvSpPr>
        <p:spPr>
          <a:xfrm>
            <a:off x="2274670" y="3918174"/>
            <a:ext cx="1494640" cy="738664"/>
          </a:xfrm>
          <a:prstGeom prst="rect">
            <a:avLst/>
          </a:prstGeom>
          <a:noFill/>
        </p:spPr>
        <p:txBody>
          <a:bodyPr wrap="none" lIns="182880" tIns="146304" rIns="182880" bIns="146304" rtlCol="0">
            <a:spAutoFit/>
          </a:bodyPr>
          <a:lstStyle/>
          <a:p>
            <a:pPr algn="ctr">
              <a:lnSpc>
                <a:spcPct val="90000"/>
              </a:lnSpc>
            </a:pPr>
            <a:r>
              <a:rPr lang="en-GB" sz="1600" spc="-50" dirty="0" smtClean="0">
                <a:gradFill>
                  <a:gsLst>
                    <a:gs pos="2917">
                      <a:schemeClr val="tx1"/>
                    </a:gs>
                    <a:gs pos="30000">
                      <a:schemeClr val="tx1"/>
                    </a:gs>
                  </a:gsLst>
                  <a:lin ang="5400000" scaled="0"/>
                </a:gradFill>
              </a:rPr>
              <a:t>Single Admin</a:t>
            </a:r>
          </a:p>
          <a:p>
            <a:pPr algn="ctr">
              <a:lnSpc>
                <a:spcPct val="90000"/>
              </a:lnSpc>
            </a:pPr>
            <a:r>
              <a:rPr lang="en-GB" sz="1600" spc="-50" dirty="0" smtClean="0">
                <a:gradFill>
                  <a:gsLst>
                    <a:gs pos="2917">
                      <a:schemeClr val="tx1"/>
                    </a:gs>
                    <a:gs pos="30000">
                      <a:schemeClr val="tx1"/>
                    </a:gs>
                  </a:gsLst>
                  <a:lin ang="5400000" scaled="0"/>
                </a:gradFill>
              </a:rPr>
              <a:t>Console</a:t>
            </a:r>
          </a:p>
        </p:txBody>
      </p:sp>
      <p:sp>
        <p:nvSpPr>
          <p:cNvPr id="30" name="Freeform 21"/>
          <p:cNvSpPr>
            <a:spLocks noEditPoints="1"/>
          </p:cNvSpPr>
          <p:nvPr/>
        </p:nvSpPr>
        <p:spPr bwMode="auto">
          <a:xfrm>
            <a:off x="4444068" y="2260879"/>
            <a:ext cx="2539906" cy="390815"/>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pic>
        <p:nvPicPr>
          <p:cNvPr id="34" name="Picture 3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588584" y="2798624"/>
            <a:ext cx="940454" cy="802264"/>
          </a:xfrm>
          <a:prstGeom prst="rect">
            <a:avLst/>
          </a:prstGeom>
        </p:spPr>
      </p:pic>
      <p:grpSp>
        <p:nvGrpSpPr>
          <p:cNvPr id="5" name="Group 4"/>
          <p:cNvGrpSpPr/>
          <p:nvPr/>
        </p:nvGrpSpPr>
        <p:grpSpPr>
          <a:xfrm>
            <a:off x="9716073" y="4143761"/>
            <a:ext cx="1677004" cy="1528675"/>
            <a:chOff x="9716073" y="4143761"/>
            <a:chExt cx="1677004" cy="1528675"/>
          </a:xfrm>
        </p:grpSpPr>
        <p:grpSp>
          <p:nvGrpSpPr>
            <p:cNvPr id="37" name="Group 36"/>
            <p:cNvGrpSpPr/>
            <p:nvPr/>
          </p:nvGrpSpPr>
          <p:grpSpPr>
            <a:xfrm>
              <a:off x="9716073" y="4143761"/>
              <a:ext cx="1677004" cy="1528674"/>
              <a:chOff x="9716073" y="4143761"/>
              <a:chExt cx="1677004" cy="1528674"/>
            </a:xfrm>
          </p:grpSpPr>
          <p:pic>
            <p:nvPicPr>
              <p:cNvPr id="39" name="Picture 3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35291" y="4143761"/>
                <a:ext cx="1057786" cy="706366"/>
              </a:xfrm>
              <a:prstGeom prst="rect">
                <a:avLst/>
              </a:prstGeom>
            </p:spPr>
          </p:pic>
          <p:pic>
            <p:nvPicPr>
              <p:cNvPr id="41" name="Picture 4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16073" y="4187440"/>
                <a:ext cx="444416" cy="664847"/>
              </a:xfrm>
              <a:prstGeom prst="rect">
                <a:avLst/>
              </a:prstGeom>
            </p:spPr>
          </p:pic>
          <p:pic>
            <p:nvPicPr>
              <p:cNvPr id="42" name="Picture 4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58811" y="4945294"/>
                <a:ext cx="393475" cy="727141"/>
              </a:xfrm>
              <a:prstGeom prst="rect">
                <a:avLst/>
              </a:prstGeom>
            </p:spPr>
          </p:pic>
          <p:sp>
            <p:nvSpPr>
              <p:cNvPr id="45" name="Freeform 14"/>
              <p:cNvSpPr>
                <a:spLocks/>
              </p:cNvSpPr>
              <p:nvPr/>
            </p:nvSpPr>
            <p:spPr bwMode="auto">
              <a:xfrm>
                <a:off x="10943315" y="4867281"/>
                <a:ext cx="156554" cy="7772"/>
              </a:xfrm>
              <a:custGeom>
                <a:avLst/>
                <a:gdLst>
                  <a:gd name="T0" fmla="*/ 19 w 709"/>
                  <a:gd name="T1" fmla="*/ 0 h 36"/>
                  <a:gd name="T2" fmla="*/ 692 w 709"/>
                  <a:gd name="T3" fmla="*/ 0 h 36"/>
                  <a:gd name="T4" fmla="*/ 701 w 709"/>
                  <a:gd name="T5" fmla="*/ 3 h 36"/>
                  <a:gd name="T6" fmla="*/ 707 w 709"/>
                  <a:gd name="T7" fmla="*/ 10 h 36"/>
                  <a:gd name="T8" fmla="*/ 709 w 709"/>
                  <a:gd name="T9" fmla="*/ 18 h 36"/>
                  <a:gd name="T10" fmla="*/ 707 w 709"/>
                  <a:gd name="T11" fmla="*/ 27 h 36"/>
                  <a:gd name="T12" fmla="*/ 701 w 709"/>
                  <a:gd name="T13" fmla="*/ 33 h 36"/>
                  <a:gd name="T14" fmla="*/ 692 w 709"/>
                  <a:gd name="T15" fmla="*/ 36 h 36"/>
                  <a:gd name="T16" fmla="*/ 19 w 709"/>
                  <a:gd name="T17" fmla="*/ 36 h 36"/>
                  <a:gd name="T18" fmla="*/ 10 w 709"/>
                  <a:gd name="T19" fmla="*/ 33 h 36"/>
                  <a:gd name="T20" fmla="*/ 3 w 709"/>
                  <a:gd name="T21" fmla="*/ 27 h 36"/>
                  <a:gd name="T22" fmla="*/ 0 w 709"/>
                  <a:gd name="T23" fmla="*/ 18 h 36"/>
                  <a:gd name="T24" fmla="*/ 3 w 709"/>
                  <a:gd name="T25" fmla="*/ 10 h 36"/>
                  <a:gd name="T26" fmla="*/ 10 w 709"/>
                  <a:gd name="T27" fmla="*/ 3 h 36"/>
                  <a:gd name="T28" fmla="*/ 19 w 709"/>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36">
                    <a:moveTo>
                      <a:pt x="19" y="0"/>
                    </a:moveTo>
                    <a:lnTo>
                      <a:pt x="692" y="0"/>
                    </a:lnTo>
                    <a:lnTo>
                      <a:pt x="701" y="3"/>
                    </a:lnTo>
                    <a:lnTo>
                      <a:pt x="707" y="10"/>
                    </a:lnTo>
                    <a:lnTo>
                      <a:pt x="709" y="18"/>
                    </a:lnTo>
                    <a:lnTo>
                      <a:pt x="707" y="27"/>
                    </a:lnTo>
                    <a:lnTo>
                      <a:pt x="701" y="33"/>
                    </a:lnTo>
                    <a:lnTo>
                      <a:pt x="692" y="36"/>
                    </a:lnTo>
                    <a:lnTo>
                      <a:pt x="19" y="36"/>
                    </a:lnTo>
                    <a:lnTo>
                      <a:pt x="10" y="33"/>
                    </a:lnTo>
                    <a:lnTo>
                      <a:pt x="3" y="27"/>
                    </a:lnTo>
                    <a:lnTo>
                      <a:pt x="0" y="18"/>
                    </a:lnTo>
                    <a:lnTo>
                      <a:pt x="3" y="10"/>
                    </a:lnTo>
                    <a:lnTo>
                      <a:pt x="10" y="3"/>
                    </a:lnTo>
                    <a:lnTo>
                      <a:pt x="19" y="0"/>
                    </a:lnTo>
                    <a:close/>
                  </a:path>
                </a:pathLst>
              </a:custGeom>
              <a:solidFill>
                <a:srgbClr val="FFFFFF"/>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4" name="Picture 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686550" y="4910358"/>
              <a:ext cx="513530" cy="762078"/>
            </a:xfrm>
            <a:prstGeom prst="rect">
              <a:avLst/>
            </a:prstGeom>
          </p:spPr>
        </p:pic>
      </p:grpSp>
    </p:spTree>
    <p:extLst>
      <p:ext uri="{BB962C8B-B14F-4D97-AF65-F5344CB8AC3E}">
        <p14:creationId xmlns:p14="http://schemas.microsoft.com/office/powerpoint/2010/main" val="2843000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2606" y="292082"/>
            <a:ext cx="11375536" cy="738664"/>
          </a:xfrm>
        </p:spPr>
        <p:txBody>
          <a:bodyPr vert="horz" wrap="square" lIns="146304" tIns="91440" rIns="146304" bIns="91440" rtlCol="0" anchor="t">
            <a:spAutoFit/>
          </a:bodyPr>
          <a:lstStyle/>
          <a:p>
            <a:r>
              <a:rPr lang="en-US" sz="4000" dirty="0">
                <a:solidFill>
                  <a:srgbClr val="FFFFFF"/>
                </a:solidFill>
              </a:rPr>
              <a:t>Platform </a:t>
            </a:r>
            <a:r>
              <a:rPr lang="en-US" sz="4000" dirty="0" smtClean="0">
                <a:solidFill>
                  <a:srgbClr val="FFFFFF"/>
                </a:solidFill>
              </a:rPr>
              <a:t>Support in ConfigMgr R2</a:t>
            </a:r>
            <a:endParaRPr lang="en-US" sz="4000" dirty="0">
              <a:solidFill>
                <a:srgbClr val="FFFFFF"/>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340373480"/>
              </p:ext>
            </p:extLst>
          </p:nvPr>
        </p:nvGraphicFramePr>
        <p:xfrm>
          <a:off x="460375" y="1169708"/>
          <a:ext cx="11539517" cy="5349208"/>
        </p:xfrm>
        <a:graphic>
          <a:graphicData uri="http://schemas.openxmlformats.org/drawingml/2006/table">
            <a:tbl>
              <a:tblPr firstRow="1" bandRow="1">
                <a:tableStyleId>{5C22544A-7EE6-4342-B048-85BDC9FD1C3A}</a:tableStyleId>
              </a:tblPr>
              <a:tblGrid>
                <a:gridCol w="2527672"/>
                <a:gridCol w="4191014"/>
                <a:gridCol w="4820831"/>
              </a:tblGrid>
              <a:tr h="503558">
                <a:tc>
                  <a:txBody>
                    <a:bodyPr/>
                    <a:lstStyle/>
                    <a:p>
                      <a:r>
                        <a:rPr lang="en-US" sz="1800" dirty="0" smtClean="0">
                          <a:solidFill>
                            <a:srgbClr val="FFFFFF"/>
                          </a:solidFill>
                        </a:rPr>
                        <a:t>OS Platform</a:t>
                      </a:r>
                      <a:endParaRPr lang="en-US" sz="1800" dirty="0">
                        <a:solidFill>
                          <a:srgbClr val="FFFFFF"/>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800" dirty="0" smtClean="0">
                          <a:solidFill>
                            <a:srgbClr val="FFFFFF"/>
                          </a:solidFill>
                        </a:rPr>
                        <a:t>Management Agent</a:t>
                      </a:r>
                      <a:endParaRPr lang="en-US" sz="1800" dirty="0">
                        <a:solidFill>
                          <a:srgbClr val="FFFFFF"/>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US" sz="1800" dirty="0" smtClean="0">
                          <a:solidFill>
                            <a:srgbClr val="FFFFFF"/>
                          </a:solidFill>
                        </a:rPr>
                        <a:t>End User Experience</a:t>
                      </a:r>
                      <a:endParaRPr lang="en-US" sz="1800" dirty="0">
                        <a:solidFill>
                          <a:srgbClr val="FFFFFF"/>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1212385">
                <a:tc>
                  <a:txBody>
                    <a:bodyPr/>
                    <a:lstStyle/>
                    <a:p>
                      <a:r>
                        <a:rPr lang="en-US" sz="1800" b="1" dirty="0" smtClean="0">
                          <a:solidFill>
                            <a:schemeClr val="accent2"/>
                          </a:solidFill>
                        </a:rPr>
                        <a:t>Windows 8.1 PC</a:t>
                      </a:r>
                      <a:endParaRPr lang="en-US" sz="1800" b="1" dirty="0">
                        <a:solidFill>
                          <a:schemeClr val="accent2"/>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algn="ctr"/>
                      <a:r>
                        <a:rPr lang="en-US" sz="1800" b="1" kern="1200" dirty="0" err="1" smtClean="0">
                          <a:solidFill>
                            <a:schemeClr val="accent2"/>
                          </a:solidFill>
                          <a:latin typeface="+mn-lt"/>
                          <a:ea typeface="+mn-ea"/>
                          <a:cs typeface="+mn-cs"/>
                        </a:rPr>
                        <a:t>ConfigMgr</a:t>
                      </a:r>
                      <a:r>
                        <a:rPr lang="en-US" sz="1800" b="1" kern="1200" dirty="0" smtClean="0">
                          <a:solidFill>
                            <a:schemeClr val="accent2"/>
                          </a:solidFill>
                          <a:latin typeface="+mn-lt"/>
                          <a:ea typeface="+mn-ea"/>
                          <a:cs typeface="+mn-cs"/>
                        </a:rPr>
                        <a:t> Agent</a:t>
                      </a:r>
                    </a:p>
                    <a:p>
                      <a:pPr algn="ctr"/>
                      <a:r>
                        <a:rPr lang="en-US" sz="1800" b="1" dirty="0" smtClean="0">
                          <a:solidFill>
                            <a:schemeClr val="accent3"/>
                          </a:solidFill>
                        </a:rPr>
                        <a:t> </a:t>
                      </a:r>
                      <a:r>
                        <a:rPr lang="en-US" sz="1800" b="0" dirty="0" smtClean="0">
                          <a:solidFill>
                            <a:schemeClr val="tx1"/>
                          </a:solidFill>
                        </a:rPr>
                        <a:t>Or</a:t>
                      </a:r>
                    </a:p>
                    <a:p>
                      <a:pPr algn="ctr"/>
                      <a:r>
                        <a:rPr lang="en-US" sz="1800" b="1" kern="1200" dirty="0" smtClean="0">
                          <a:solidFill>
                            <a:schemeClr val="accent2"/>
                          </a:solidFill>
                          <a:latin typeface="+mn-lt"/>
                          <a:ea typeface="+mn-ea"/>
                          <a:cs typeface="+mn-cs"/>
                        </a:rPr>
                        <a:t>Management Agent(OMA-DM)</a:t>
                      </a:r>
                      <a:endParaRPr lang="en-US" sz="1800" b="1" kern="1200" dirty="0">
                        <a:solidFill>
                          <a:schemeClr val="accent2"/>
                        </a:solidFill>
                        <a:latin typeface="+mn-lt"/>
                        <a:ea typeface="+mn-ea"/>
                        <a:cs typeface="+mn-cs"/>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1" kern="1200" dirty="0" smtClean="0">
                          <a:solidFill>
                            <a:schemeClr val="accent2"/>
                          </a:solidFill>
                          <a:latin typeface="+mn-lt"/>
                          <a:ea typeface="+mn-ea"/>
                          <a:cs typeface="+mn-cs"/>
                        </a:rPr>
                        <a:t>Software Center/Application Catalog</a:t>
                      </a:r>
                    </a:p>
                    <a:p>
                      <a:endParaRPr lang="en-US" sz="1800" b="1" kern="1200" dirty="0" smtClean="0">
                        <a:solidFill>
                          <a:schemeClr val="accent2"/>
                        </a:solidFill>
                        <a:latin typeface="+mn-lt"/>
                        <a:ea typeface="+mn-ea"/>
                        <a:cs typeface="+mn-cs"/>
                      </a:endParaRPr>
                    </a:p>
                    <a:p>
                      <a:pPr marL="0" marR="0" indent="0" algn="l" defTabSz="914363" rtl="0" eaLnBrk="1" fontAlgn="auto" latinLnBrk="0" hangingPunct="1">
                        <a:lnSpc>
                          <a:spcPct val="100000"/>
                        </a:lnSpc>
                        <a:spcBef>
                          <a:spcPts val="0"/>
                        </a:spcBef>
                        <a:spcAft>
                          <a:spcPts val="0"/>
                        </a:spcAft>
                        <a:buClrTx/>
                        <a:buSzTx/>
                        <a:buFontTx/>
                        <a:buNone/>
                        <a:tabLst/>
                        <a:defRPr/>
                      </a:pPr>
                      <a:r>
                        <a:rPr lang="en-US" sz="1800" b="1" kern="1200" dirty="0" smtClean="0">
                          <a:solidFill>
                            <a:schemeClr val="accent2"/>
                          </a:solidFill>
                          <a:latin typeface="+mn-lt"/>
                          <a:ea typeface="+mn-ea"/>
                          <a:cs typeface="+mn-cs"/>
                        </a:rPr>
                        <a:t>Windows Company Portal app</a:t>
                      </a:r>
                    </a:p>
                    <a:p>
                      <a:endParaRPr lang="en-US" sz="1800" b="1" dirty="0">
                        <a:solidFill>
                          <a:schemeClr val="accent3"/>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r>
              <a:tr h="652822">
                <a:tc>
                  <a:txBody>
                    <a:bodyPr/>
                    <a:lstStyle/>
                    <a:p>
                      <a:r>
                        <a:rPr lang="en-US" sz="1800" b="0" dirty="0" smtClean="0">
                          <a:solidFill>
                            <a:schemeClr val="tx1"/>
                          </a:solidFill>
                        </a:rPr>
                        <a:t>Windows PC (Win8,Win7,Vista,XP)</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ConfigMgr Agent</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Software Center/Application Catalog</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03558">
                <a:tc>
                  <a:txBody>
                    <a:bodyPr/>
                    <a:lstStyle/>
                    <a:p>
                      <a:r>
                        <a:rPr lang="en-US" sz="1800" b="0" dirty="0" smtClean="0">
                          <a:solidFill>
                            <a:schemeClr val="tx1"/>
                          </a:solidFill>
                        </a:rPr>
                        <a:t>Windows RT</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Management agent (OMA-DM)</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Windows Company </a:t>
                      </a:r>
                      <a:r>
                        <a:rPr lang="en-US" sz="1800" b="0" baseline="0" dirty="0" smtClean="0">
                          <a:solidFill>
                            <a:schemeClr val="tx1"/>
                          </a:solidFill>
                        </a:rPr>
                        <a:t>Portal app</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03558">
                <a:tc>
                  <a:txBody>
                    <a:bodyPr/>
                    <a:lstStyle/>
                    <a:p>
                      <a:r>
                        <a:rPr lang="en-US" sz="1800" b="0" dirty="0" smtClean="0">
                          <a:solidFill>
                            <a:schemeClr val="tx1"/>
                          </a:solidFill>
                        </a:rPr>
                        <a:t>Windows Phone 8</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0" dirty="0" smtClean="0">
                          <a:solidFill>
                            <a:schemeClr val="tx1"/>
                          </a:solidFill>
                        </a:rPr>
                        <a:t>Management agent (OMA-DM)</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Windows Phone 8 Company Portal</a:t>
                      </a:r>
                      <a:r>
                        <a:rPr lang="en-US" sz="1800" b="0" baseline="0" dirty="0" smtClean="0">
                          <a:solidFill>
                            <a:schemeClr val="tx1"/>
                          </a:solidFill>
                        </a:rPr>
                        <a:t> </a:t>
                      </a:r>
                      <a:r>
                        <a:rPr lang="en-US" sz="1800" b="0" dirty="0" smtClean="0">
                          <a:solidFill>
                            <a:schemeClr val="tx1"/>
                          </a:solidFill>
                        </a:rPr>
                        <a:t>app</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03558">
                <a:tc>
                  <a:txBody>
                    <a:bodyPr/>
                    <a:lstStyle/>
                    <a:p>
                      <a:r>
                        <a:rPr lang="en-US" sz="1800" b="0" dirty="0" err="1" smtClean="0">
                          <a:solidFill>
                            <a:schemeClr val="tx1"/>
                          </a:solidFill>
                        </a:rPr>
                        <a:t>iOS</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Apple MDM Protocol</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1" kern="1200" dirty="0" smtClean="0">
                          <a:solidFill>
                            <a:schemeClr val="accent2"/>
                          </a:solidFill>
                          <a:latin typeface="+mn-lt"/>
                          <a:ea typeface="+mn-ea"/>
                          <a:cs typeface="+mn-cs"/>
                        </a:rPr>
                        <a:t>Native iOS Company Portal App</a:t>
                      </a:r>
                      <a:endParaRPr lang="en-US" sz="1800" b="1" kern="1200" dirty="0">
                        <a:solidFill>
                          <a:schemeClr val="accent2"/>
                        </a:solidFill>
                        <a:latin typeface="+mn-lt"/>
                        <a:ea typeface="+mn-ea"/>
                        <a:cs typeface="+mn-cs"/>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462653">
                <a:tc>
                  <a:txBody>
                    <a:bodyPr/>
                    <a:lstStyle/>
                    <a:p>
                      <a:r>
                        <a:rPr lang="en-US" sz="1800" b="0" dirty="0" smtClean="0">
                          <a:solidFill>
                            <a:schemeClr val="tx1"/>
                          </a:solidFill>
                        </a:rPr>
                        <a:t>Android</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1" kern="1200" dirty="0" smtClean="0">
                          <a:solidFill>
                            <a:schemeClr val="accent2"/>
                          </a:solidFill>
                          <a:latin typeface="+mn-lt"/>
                          <a:ea typeface="+mn-ea"/>
                          <a:cs typeface="+mn-cs"/>
                        </a:rPr>
                        <a:t>Android MDM agent (OMA-DM)</a:t>
                      </a:r>
                      <a:endParaRPr lang="en-US" sz="1800" b="1" kern="1200" dirty="0">
                        <a:solidFill>
                          <a:schemeClr val="accent2"/>
                        </a:solidFill>
                        <a:latin typeface="+mn-lt"/>
                        <a:ea typeface="+mn-ea"/>
                        <a:cs typeface="+mn-cs"/>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1" kern="1200" dirty="0" smtClean="0">
                          <a:solidFill>
                            <a:schemeClr val="accent2"/>
                          </a:solidFill>
                          <a:latin typeface="+mn-lt"/>
                          <a:ea typeface="+mn-ea"/>
                          <a:cs typeface="+mn-cs"/>
                        </a:rPr>
                        <a:t>Native Android Company Portal App</a:t>
                      </a:r>
                      <a:endParaRPr lang="en-US" sz="1800" b="1" kern="1200" dirty="0">
                        <a:solidFill>
                          <a:schemeClr val="accent2"/>
                        </a:solidFill>
                        <a:latin typeface="+mn-lt"/>
                        <a:ea typeface="+mn-ea"/>
                        <a:cs typeface="+mn-cs"/>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03558">
                <a:tc>
                  <a:txBody>
                    <a:bodyPr/>
                    <a:lstStyle/>
                    <a:p>
                      <a:r>
                        <a:rPr lang="en-US" sz="1800" b="0" dirty="0" smtClean="0">
                          <a:solidFill>
                            <a:schemeClr val="tx1"/>
                          </a:solidFill>
                        </a:rPr>
                        <a:t>Mac</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ConfigMgr Agent</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c>
                  <a:txBody>
                    <a:bodyPr/>
                    <a:lstStyle/>
                    <a:p>
                      <a:r>
                        <a:rPr lang="en-US" sz="1800" b="0" dirty="0" smtClean="0">
                          <a:solidFill>
                            <a:schemeClr val="tx1"/>
                          </a:solidFill>
                        </a:rPr>
                        <a:t>Limited</a:t>
                      </a:r>
                      <a:r>
                        <a:rPr lang="en-US" sz="1800" b="0" baseline="0" dirty="0" smtClean="0">
                          <a:solidFill>
                            <a:schemeClr val="tx1"/>
                          </a:solidFill>
                        </a:rPr>
                        <a:t> self service experience</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noFill/>
                  </a:tcPr>
                </a:tc>
              </a:tr>
              <a:tr h="503558">
                <a:tc>
                  <a:txBody>
                    <a:bodyPr/>
                    <a:lstStyle/>
                    <a:p>
                      <a:r>
                        <a:rPr lang="en-US" sz="1800" b="0" dirty="0" smtClean="0">
                          <a:solidFill>
                            <a:schemeClr val="tx1"/>
                          </a:solidFill>
                        </a:rPr>
                        <a:t>Linux/Unix</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r>
                        <a:rPr lang="en-US" sz="1800" b="0" dirty="0" smtClean="0">
                          <a:solidFill>
                            <a:schemeClr val="tx1"/>
                          </a:solidFill>
                        </a:rPr>
                        <a:t>ConfigMgr Agent</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r>
                        <a:rPr lang="en-US" sz="1800" b="0" dirty="0" smtClean="0">
                          <a:solidFill>
                            <a:schemeClr val="tx1"/>
                          </a:solidFill>
                        </a:rPr>
                        <a:t>N/A</a:t>
                      </a:r>
                      <a:endParaRPr lang="en-US" sz="1800" b="0" dirty="0">
                        <a:solidFill>
                          <a:schemeClr val="tx1"/>
                        </a:solidFill>
                      </a:endParaRPr>
                    </a:p>
                  </a:txBody>
                  <a:tcPr marL="93260" marR="93260" marT="46630" marB="466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081636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3.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chEd 2013 Speaker PPT Template</Template>
  <TotalTime>0</TotalTime>
  <Words>4122</Words>
  <Application>Microsoft Office PowerPoint</Application>
  <PresentationFormat>Custom</PresentationFormat>
  <Paragraphs>500</Paragraphs>
  <Slides>34</Slides>
  <Notes>22</Notes>
  <HiddenSlides>0</HiddenSlides>
  <MMClips>0</MMClips>
  <ScaleCrop>false</ScaleCrop>
  <HeadingPairs>
    <vt:vector size="6" baseType="variant">
      <vt:variant>
        <vt:lpstr>Fonts Used</vt:lpstr>
      </vt:variant>
      <vt:variant>
        <vt:i4>7</vt:i4>
      </vt:variant>
      <vt:variant>
        <vt:lpstr>Theme</vt:lpstr>
      </vt:variant>
      <vt:variant>
        <vt:i4>3</vt:i4>
      </vt:variant>
      <vt:variant>
        <vt:lpstr>Slide Titles</vt:lpstr>
      </vt:variant>
      <vt:variant>
        <vt:i4>34</vt:i4>
      </vt:variant>
    </vt:vector>
  </HeadingPairs>
  <TitlesOfParts>
    <vt:vector size="44" baseType="lpstr">
      <vt:lpstr>Segoe</vt:lpstr>
      <vt:lpstr>Wingdings</vt:lpstr>
      <vt:lpstr>Calibri</vt:lpstr>
      <vt:lpstr>Arial</vt:lpstr>
      <vt:lpstr>Segoe UI Light</vt:lpstr>
      <vt:lpstr>Segoe UI</vt:lpstr>
      <vt:lpstr>Consolas</vt:lpstr>
      <vt:lpstr>TechEd_2013_Template_r09</vt:lpstr>
      <vt:lpstr>TechEd_2013_Template_16x9</vt:lpstr>
      <vt:lpstr>1_TechEd_2013_Template_16x9</vt:lpstr>
      <vt:lpstr>PowerPoint Presentation</vt:lpstr>
      <vt:lpstr>Unified Modern Device Management with Microsoft System Center 2012 Configuration Manager SP1 Integrated with Windows Intune </vt:lpstr>
      <vt:lpstr>Agenda </vt:lpstr>
      <vt:lpstr>Today’s challenges</vt:lpstr>
      <vt:lpstr>People-centric IT</vt:lpstr>
      <vt:lpstr>Selecting the Management Platform</vt:lpstr>
      <vt:lpstr>Configuration Manager MDM Features</vt:lpstr>
      <vt:lpstr>Windows Intune integrated with System Center 2012 R2 Configuration Manager</vt:lpstr>
      <vt:lpstr>Platform Support in ConfigMgr R2</vt:lpstr>
      <vt:lpstr>Registering and Enrolling Devices</vt:lpstr>
      <vt:lpstr>Mobile Device Enrollment in R2</vt:lpstr>
      <vt:lpstr>Demo - Enrollment</vt:lpstr>
      <vt:lpstr>Troubleshooting Device Enrollment </vt:lpstr>
      <vt:lpstr>What’s New in Mobile Device Inventory?</vt:lpstr>
      <vt:lpstr>Demo - Inventory</vt:lpstr>
      <vt:lpstr>Settings management</vt:lpstr>
      <vt:lpstr>Mobile Device Settings in ConfigMgr 2012 R2</vt:lpstr>
      <vt:lpstr>Resource Access Configuration</vt:lpstr>
      <vt:lpstr>VPN Profile Management</vt:lpstr>
      <vt:lpstr>Wi-Fi and Certificate Profiles</vt:lpstr>
      <vt:lpstr>Work Folders</vt:lpstr>
      <vt:lpstr>Demo – Settings Management</vt:lpstr>
      <vt:lpstr>Corporate Data Protection</vt:lpstr>
      <vt:lpstr>Selective Wipe</vt:lpstr>
      <vt:lpstr>Full and Selective Wipe</vt:lpstr>
      <vt:lpstr>Demo – Retire &amp; Wipe </vt:lpstr>
      <vt:lpstr>Unified Device Management Recap</vt:lpstr>
      <vt:lpstr>Related content</vt:lpstr>
      <vt:lpstr>Windows Track Resources</vt:lpstr>
      <vt:lpstr>Resources</vt:lpstr>
      <vt:lpstr>Complete an evaluation on CommNet and enter to win!</vt:lpstr>
      <vt:lpstr>For More Information</vt:lpstr>
      <vt:lpstr>Evaluate this sess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CA-B343 Unified Modern Device Management with Microsoft System Center 2012 Configuration Manager SP1 Integrated with Windows Intune</dc:title>
  <dc:subject/>
  <dc:creator/>
  <cp:keywords/>
  <dc:description>Formatting by: Ryan Gordon, Silverfox Productions, Inc.</dc:description>
  <cp:lastModifiedBy/>
  <cp:revision>1</cp:revision>
  <dcterms:created xsi:type="dcterms:W3CDTF">2013-05-29T03:52:59Z</dcterms:created>
  <dcterms:modified xsi:type="dcterms:W3CDTF">2013-06-05T20:18:38Z</dcterms:modified>
</cp:coreProperties>
</file>